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58" r:id="rId4"/>
    <p:sldMasterId id="2147483982" r:id="rId5"/>
    <p:sldMasterId id="2147483960" r:id="rId6"/>
    <p:sldMasterId id="2147484004" r:id="rId7"/>
  </p:sldMasterIdLst>
  <p:notesMasterIdLst>
    <p:notesMasterId r:id="rId161"/>
  </p:notesMasterIdLst>
  <p:handoutMasterIdLst>
    <p:handoutMasterId r:id="rId162"/>
  </p:handoutMasterIdLst>
  <p:sldIdLst>
    <p:sldId id="278" r:id="rId8"/>
    <p:sldId id="462" r:id="rId9"/>
    <p:sldId id="451" r:id="rId10"/>
    <p:sldId id="260" r:id="rId11"/>
    <p:sldId id="274" r:id="rId12"/>
    <p:sldId id="281" r:id="rId13"/>
    <p:sldId id="486" r:id="rId14"/>
    <p:sldId id="333" r:id="rId15"/>
    <p:sldId id="330" r:id="rId16"/>
    <p:sldId id="331" r:id="rId17"/>
    <p:sldId id="484" r:id="rId18"/>
    <p:sldId id="410" r:id="rId19"/>
    <p:sldId id="386" r:id="rId20"/>
    <p:sldId id="494" r:id="rId21"/>
    <p:sldId id="336" r:id="rId22"/>
    <p:sldId id="468" r:id="rId23"/>
    <p:sldId id="490" r:id="rId24"/>
    <p:sldId id="452" r:id="rId25"/>
    <p:sldId id="463" r:id="rId26"/>
    <p:sldId id="458" r:id="rId27"/>
    <p:sldId id="492" r:id="rId28"/>
    <p:sldId id="454" r:id="rId29"/>
    <p:sldId id="419" r:id="rId30"/>
    <p:sldId id="488" r:id="rId31"/>
    <p:sldId id="453" r:id="rId32"/>
    <p:sldId id="491" r:id="rId33"/>
    <p:sldId id="489" r:id="rId34"/>
    <p:sldId id="470" r:id="rId35"/>
    <p:sldId id="471" r:id="rId36"/>
    <p:sldId id="472" r:id="rId37"/>
    <p:sldId id="473" r:id="rId38"/>
    <p:sldId id="474" r:id="rId39"/>
    <p:sldId id="467" r:id="rId40"/>
    <p:sldId id="475" r:id="rId41"/>
    <p:sldId id="337" r:id="rId42"/>
    <p:sldId id="338" r:id="rId43"/>
    <p:sldId id="347" r:id="rId44"/>
    <p:sldId id="341" r:id="rId45"/>
    <p:sldId id="378" r:id="rId46"/>
    <p:sldId id="339" r:id="rId47"/>
    <p:sldId id="340" r:id="rId48"/>
    <p:sldId id="379" r:id="rId49"/>
    <p:sldId id="344" r:id="rId50"/>
    <p:sldId id="343" r:id="rId51"/>
    <p:sldId id="342" r:id="rId52"/>
    <p:sldId id="380" r:id="rId53"/>
    <p:sldId id="381" r:id="rId54"/>
    <p:sldId id="345" r:id="rId55"/>
    <p:sldId id="446" r:id="rId56"/>
    <p:sldId id="461" r:id="rId57"/>
    <p:sldId id="447" r:id="rId58"/>
    <p:sldId id="346" r:id="rId59"/>
    <p:sldId id="348" r:id="rId60"/>
    <p:sldId id="349" r:id="rId61"/>
    <p:sldId id="440" r:id="rId62"/>
    <p:sldId id="350" r:id="rId63"/>
    <p:sldId id="351" r:id="rId64"/>
    <p:sldId id="352" r:id="rId65"/>
    <p:sldId id="353" r:id="rId66"/>
    <p:sldId id="354" r:id="rId67"/>
    <p:sldId id="382" r:id="rId68"/>
    <p:sldId id="432" r:id="rId69"/>
    <p:sldId id="355" r:id="rId70"/>
    <p:sldId id="356" r:id="rId71"/>
    <p:sldId id="357" r:id="rId72"/>
    <p:sldId id="358" r:id="rId73"/>
    <p:sldId id="465" r:id="rId74"/>
    <p:sldId id="466" r:id="rId75"/>
    <p:sldId id="359" r:id="rId76"/>
    <p:sldId id="430" r:id="rId77"/>
    <p:sldId id="5491" r:id="rId78"/>
    <p:sldId id="5493" r:id="rId79"/>
    <p:sldId id="477" r:id="rId80"/>
    <p:sldId id="478" r:id="rId81"/>
    <p:sldId id="481" r:id="rId82"/>
    <p:sldId id="479" r:id="rId83"/>
    <p:sldId id="482" r:id="rId84"/>
    <p:sldId id="483" r:id="rId85"/>
    <p:sldId id="363" r:id="rId86"/>
    <p:sldId id="364" r:id="rId87"/>
    <p:sldId id="365" r:id="rId88"/>
    <p:sldId id="366" r:id="rId89"/>
    <p:sldId id="367" r:id="rId90"/>
    <p:sldId id="368" r:id="rId91"/>
    <p:sldId id="369" r:id="rId92"/>
    <p:sldId id="370" r:id="rId93"/>
    <p:sldId id="371" r:id="rId94"/>
    <p:sldId id="372" r:id="rId95"/>
    <p:sldId id="373" r:id="rId96"/>
    <p:sldId id="374" r:id="rId97"/>
    <p:sldId id="5494" r:id="rId98"/>
    <p:sldId id="377" r:id="rId99"/>
    <p:sldId id="476" r:id="rId100"/>
    <p:sldId id="429" r:id="rId101"/>
    <p:sldId id="437" r:id="rId102"/>
    <p:sldId id="325" r:id="rId103"/>
    <p:sldId id="435" r:id="rId104"/>
    <p:sldId id="438" r:id="rId105"/>
    <p:sldId id="460" r:id="rId106"/>
    <p:sldId id="456" r:id="rId107"/>
    <p:sldId id="433" r:id="rId108"/>
    <p:sldId id="326" r:id="rId109"/>
    <p:sldId id="405" r:id="rId110"/>
    <p:sldId id="408" r:id="rId111"/>
    <p:sldId id="407" r:id="rId112"/>
    <p:sldId id="406" r:id="rId113"/>
    <p:sldId id="409" r:id="rId114"/>
    <p:sldId id="424" r:id="rId115"/>
    <p:sldId id="423" r:id="rId116"/>
    <p:sldId id="425" r:id="rId117"/>
    <p:sldId id="427" r:id="rId118"/>
    <p:sldId id="426" r:id="rId119"/>
    <p:sldId id="375" r:id="rId120"/>
    <p:sldId id="376" r:id="rId121"/>
    <p:sldId id="411" r:id="rId122"/>
    <p:sldId id="412" r:id="rId123"/>
    <p:sldId id="485" r:id="rId124"/>
    <p:sldId id="383" r:id="rId125"/>
    <p:sldId id="385" r:id="rId126"/>
    <p:sldId id="384" r:id="rId127"/>
    <p:sldId id="387" r:id="rId128"/>
    <p:sldId id="388" r:id="rId129"/>
    <p:sldId id="441" r:id="rId130"/>
    <p:sldId id="389" r:id="rId131"/>
    <p:sldId id="390" r:id="rId132"/>
    <p:sldId id="392" r:id="rId133"/>
    <p:sldId id="391" r:id="rId134"/>
    <p:sldId id="393" r:id="rId135"/>
    <p:sldId id="394" r:id="rId136"/>
    <p:sldId id="417" r:id="rId137"/>
    <p:sldId id="395" r:id="rId138"/>
    <p:sldId id="428" r:id="rId139"/>
    <p:sldId id="413" r:id="rId140"/>
    <p:sldId id="414" r:id="rId141"/>
    <p:sldId id="418" r:id="rId142"/>
    <p:sldId id="416" r:id="rId143"/>
    <p:sldId id="401" r:id="rId144"/>
    <p:sldId id="403" r:id="rId145"/>
    <p:sldId id="404" r:id="rId146"/>
    <p:sldId id="402" r:id="rId147"/>
    <p:sldId id="400" r:id="rId148"/>
    <p:sldId id="397" r:id="rId149"/>
    <p:sldId id="396" r:id="rId150"/>
    <p:sldId id="398" r:id="rId151"/>
    <p:sldId id="399" r:id="rId152"/>
    <p:sldId id="439" r:id="rId153"/>
    <p:sldId id="431" r:id="rId154"/>
    <p:sldId id="442" r:id="rId155"/>
    <p:sldId id="445" r:id="rId156"/>
    <p:sldId id="444" r:id="rId157"/>
    <p:sldId id="493" r:id="rId158"/>
    <p:sldId id="443" r:id="rId159"/>
    <p:sldId id="335" r:id="rId160"/>
  </p:sldIdLst>
  <p:sldSz cx="9144000" cy="5143500" type="screen16x9"/>
  <p:notesSz cx="6858000" cy="9144000"/>
  <p:custDataLst>
    <p:tags r:id="rId163"/>
  </p:custDataLst>
  <p:defaultText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7" pos="2744" userDrawn="1">
          <p15:clr>
            <a:srgbClr val="A4A3A4"/>
          </p15:clr>
        </p15:guide>
        <p15:guide id="8" orient="horz" pos="16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6667"/>
    <a:srgbClr val="97D8EB"/>
    <a:srgbClr val="2C1A32"/>
    <a:srgbClr val="5253BA"/>
    <a:srgbClr val="2E3651"/>
    <a:srgbClr val="76244C"/>
    <a:srgbClr val="7E8298"/>
    <a:srgbClr val="5D6177"/>
    <a:srgbClr val="FF6327"/>
    <a:srgbClr val="01D1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6AB06D-5900-4049-B5C7-54693BD65C41}" v="3" dt="2021-11-09T10:49:40.324"/>
  </p1510:revLst>
</p1510:revInfo>
</file>

<file path=ppt/tableStyles.xml><?xml version="1.0" encoding="utf-8"?>
<a:tblStyleLst xmlns:a="http://schemas.openxmlformats.org/drawingml/2006/main" def="{0660B408-B3CF-4A94-85FC-2B1E0A45F4A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147" autoAdjust="0"/>
    <p:restoredTop sz="86067" autoAdjust="0"/>
  </p:normalViewPr>
  <p:slideViewPr>
    <p:cSldViewPr snapToGrid="0">
      <p:cViewPr varScale="1">
        <p:scale>
          <a:sx n="95" d="100"/>
          <a:sy n="95" d="100"/>
        </p:scale>
        <p:origin x="1387" y="53"/>
      </p:cViewPr>
      <p:guideLst>
        <p:guide pos="2744"/>
        <p:guide orient="horz" pos="162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91" d="100"/>
          <a:sy n="91" d="100"/>
        </p:scale>
        <p:origin x="2898" y="66"/>
      </p:cViewPr>
      <p:guideLst/>
    </p:cSldViewPr>
  </p:notesViewPr>
  <p:gridSpacing cx="72000" cy="72000"/>
</p:viewPr>
</file>

<file path=ppt/_rels/presentation.xml.rels><?xml version="1.0" encoding="UTF-8" standalone="yes"?>
<Relationships xmlns="http://schemas.openxmlformats.org/package/2006/relationships"><Relationship Id="rId117" Type="http://schemas.openxmlformats.org/officeDocument/2006/relationships/slide" Target="slides/slide110.xml"/><Relationship Id="rId21" Type="http://schemas.openxmlformats.org/officeDocument/2006/relationships/slide" Target="slides/slide14.xml"/><Relationship Id="rId42" Type="http://schemas.openxmlformats.org/officeDocument/2006/relationships/slide" Target="slides/slide35.xml"/><Relationship Id="rId63" Type="http://schemas.openxmlformats.org/officeDocument/2006/relationships/slide" Target="slides/slide56.xml"/><Relationship Id="rId84" Type="http://schemas.openxmlformats.org/officeDocument/2006/relationships/slide" Target="slides/slide77.xml"/><Relationship Id="rId138" Type="http://schemas.openxmlformats.org/officeDocument/2006/relationships/slide" Target="slides/slide131.xml"/><Relationship Id="rId159" Type="http://schemas.openxmlformats.org/officeDocument/2006/relationships/slide" Target="slides/slide152.xml"/><Relationship Id="rId107" Type="http://schemas.openxmlformats.org/officeDocument/2006/relationships/slide" Target="slides/slide100.xml"/><Relationship Id="rId11" Type="http://schemas.openxmlformats.org/officeDocument/2006/relationships/slide" Target="slides/slide4.xml"/><Relationship Id="rId32" Type="http://schemas.openxmlformats.org/officeDocument/2006/relationships/slide" Target="slides/slide25.xml"/><Relationship Id="rId53" Type="http://schemas.openxmlformats.org/officeDocument/2006/relationships/slide" Target="slides/slide46.xml"/><Relationship Id="rId74" Type="http://schemas.openxmlformats.org/officeDocument/2006/relationships/slide" Target="slides/slide67.xml"/><Relationship Id="rId128" Type="http://schemas.openxmlformats.org/officeDocument/2006/relationships/slide" Target="slides/slide121.xml"/><Relationship Id="rId149" Type="http://schemas.openxmlformats.org/officeDocument/2006/relationships/slide" Target="slides/slide142.xml"/><Relationship Id="rId5" Type="http://schemas.openxmlformats.org/officeDocument/2006/relationships/slideMaster" Target="slideMasters/slideMaster2.xml"/><Relationship Id="rId95" Type="http://schemas.openxmlformats.org/officeDocument/2006/relationships/slide" Target="slides/slide88.xml"/><Relationship Id="rId160" Type="http://schemas.openxmlformats.org/officeDocument/2006/relationships/slide" Target="slides/slide153.xml"/><Relationship Id="rId22" Type="http://schemas.openxmlformats.org/officeDocument/2006/relationships/slide" Target="slides/slide15.xml"/><Relationship Id="rId43" Type="http://schemas.openxmlformats.org/officeDocument/2006/relationships/slide" Target="slides/slide36.xml"/><Relationship Id="rId64" Type="http://schemas.openxmlformats.org/officeDocument/2006/relationships/slide" Target="slides/slide57.xml"/><Relationship Id="rId118" Type="http://schemas.openxmlformats.org/officeDocument/2006/relationships/slide" Target="slides/slide111.xml"/><Relationship Id="rId139" Type="http://schemas.openxmlformats.org/officeDocument/2006/relationships/slide" Target="slides/slide132.xml"/><Relationship Id="rId85" Type="http://schemas.openxmlformats.org/officeDocument/2006/relationships/slide" Target="slides/slide78.xml"/><Relationship Id="rId150" Type="http://schemas.openxmlformats.org/officeDocument/2006/relationships/slide" Target="slides/slide143.xml"/><Relationship Id="rId12" Type="http://schemas.openxmlformats.org/officeDocument/2006/relationships/slide" Target="slides/slide5.xml"/><Relationship Id="rId17" Type="http://schemas.openxmlformats.org/officeDocument/2006/relationships/slide" Target="slides/slide10.xml"/><Relationship Id="rId33" Type="http://schemas.openxmlformats.org/officeDocument/2006/relationships/slide" Target="slides/slide26.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slide" Target="slides/slide96.xml"/><Relationship Id="rId108" Type="http://schemas.openxmlformats.org/officeDocument/2006/relationships/slide" Target="slides/slide101.xml"/><Relationship Id="rId124" Type="http://schemas.openxmlformats.org/officeDocument/2006/relationships/slide" Target="slides/slide117.xml"/><Relationship Id="rId129" Type="http://schemas.openxmlformats.org/officeDocument/2006/relationships/slide" Target="slides/slide122.xml"/><Relationship Id="rId54" Type="http://schemas.openxmlformats.org/officeDocument/2006/relationships/slide" Target="slides/slide47.xml"/><Relationship Id="rId70" Type="http://schemas.openxmlformats.org/officeDocument/2006/relationships/slide" Target="slides/slide63.xml"/><Relationship Id="rId75" Type="http://schemas.openxmlformats.org/officeDocument/2006/relationships/slide" Target="slides/slide68.xml"/><Relationship Id="rId91" Type="http://schemas.openxmlformats.org/officeDocument/2006/relationships/slide" Target="slides/slide84.xml"/><Relationship Id="rId96" Type="http://schemas.openxmlformats.org/officeDocument/2006/relationships/slide" Target="slides/slide89.xml"/><Relationship Id="rId140" Type="http://schemas.openxmlformats.org/officeDocument/2006/relationships/slide" Target="slides/slide133.xml"/><Relationship Id="rId145" Type="http://schemas.openxmlformats.org/officeDocument/2006/relationships/slide" Target="slides/slide138.xml"/><Relationship Id="rId161" Type="http://schemas.openxmlformats.org/officeDocument/2006/relationships/notesMaster" Target="notesMasters/notesMaster1.xml"/><Relationship Id="rId16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6.xml"/><Relationship Id="rId28" Type="http://schemas.openxmlformats.org/officeDocument/2006/relationships/slide" Target="slides/slide21.xml"/><Relationship Id="rId49" Type="http://schemas.openxmlformats.org/officeDocument/2006/relationships/slide" Target="slides/slide42.xml"/><Relationship Id="rId114" Type="http://schemas.openxmlformats.org/officeDocument/2006/relationships/slide" Target="slides/slide107.xml"/><Relationship Id="rId119" Type="http://schemas.openxmlformats.org/officeDocument/2006/relationships/slide" Target="slides/slide112.xml"/><Relationship Id="rId44" Type="http://schemas.openxmlformats.org/officeDocument/2006/relationships/slide" Target="slides/slide37.xml"/><Relationship Id="rId60" Type="http://schemas.openxmlformats.org/officeDocument/2006/relationships/slide" Target="slides/slide53.xml"/><Relationship Id="rId65" Type="http://schemas.openxmlformats.org/officeDocument/2006/relationships/slide" Target="slides/slide58.xml"/><Relationship Id="rId81" Type="http://schemas.openxmlformats.org/officeDocument/2006/relationships/slide" Target="slides/slide74.xml"/><Relationship Id="rId86" Type="http://schemas.openxmlformats.org/officeDocument/2006/relationships/slide" Target="slides/slide79.xml"/><Relationship Id="rId130" Type="http://schemas.openxmlformats.org/officeDocument/2006/relationships/slide" Target="slides/slide123.xml"/><Relationship Id="rId135" Type="http://schemas.openxmlformats.org/officeDocument/2006/relationships/slide" Target="slides/slide128.xml"/><Relationship Id="rId151" Type="http://schemas.openxmlformats.org/officeDocument/2006/relationships/slide" Target="slides/slide144.xml"/><Relationship Id="rId156" Type="http://schemas.openxmlformats.org/officeDocument/2006/relationships/slide" Target="slides/slide149.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slide" Target="slides/slide10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120" Type="http://schemas.openxmlformats.org/officeDocument/2006/relationships/slide" Target="slides/slide113.xml"/><Relationship Id="rId125" Type="http://schemas.openxmlformats.org/officeDocument/2006/relationships/slide" Target="slides/slide118.xml"/><Relationship Id="rId141" Type="http://schemas.openxmlformats.org/officeDocument/2006/relationships/slide" Target="slides/slide134.xml"/><Relationship Id="rId146" Type="http://schemas.openxmlformats.org/officeDocument/2006/relationships/slide" Target="slides/slide139.xml"/><Relationship Id="rId167"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slide" Target="slides/slide85.xml"/><Relationship Id="rId162" Type="http://schemas.openxmlformats.org/officeDocument/2006/relationships/handoutMaster" Target="handoutMasters/handoutMaster1.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slide" Target="slides/slide103.xml"/><Relationship Id="rId115" Type="http://schemas.openxmlformats.org/officeDocument/2006/relationships/slide" Target="slides/slide108.xml"/><Relationship Id="rId131" Type="http://schemas.openxmlformats.org/officeDocument/2006/relationships/slide" Target="slides/slide124.xml"/><Relationship Id="rId136" Type="http://schemas.openxmlformats.org/officeDocument/2006/relationships/slide" Target="slides/slide129.xml"/><Relationship Id="rId157" Type="http://schemas.openxmlformats.org/officeDocument/2006/relationships/slide" Target="slides/slide150.xml"/><Relationship Id="rId61" Type="http://schemas.openxmlformats.org/officeDocument/2006/relationships/slide" Target="slides/slide54.xml"/><Relationship Id="rId82" Type="http://schemas.openxmlformats.org/officeDocument/2006/relationships/slide" Target="slides/slide75.xml"/><Relationship Id="rId152" Type="http://schemas.openxmlformats.org/officeDocument/2006/relationships/slide" Target="slides/slide14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126" Type="http://schemas.openxmlformats.org/officeDocument/2006/relationships/slide" Target="slides/slide119.xml"/><Relationship Id="rId147" Type="http://schemas.openxmlformats.org/officeDocument/2006/relationships/slide" Target="slides/slide140.xml"/><Relationship Id="rId168" Type="http://schemas.microsoft.com/office/2015/10/relationships/revisionInfo" Target="revisionInfo.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slide" Target="slides/slide91.xml"/><Relationship Id="rId121" Type="http://schemas.openxmlformats.org/officeDocument/2006/relationships/slide" Target="slides/slide114.xml"/><Relationship Id="rId142" Type="http://schemas.openxmlformats.org/officeDocument/2006/relationships/slide" Target="slides/slide135.xml"/><Relationship Id="rId163" Type="http://schemas.openxmlformats.org/officeDocument/2006/relationships/tags" Target="tags/tag1.xml"/><Relationship Id="rId3" Type="http://schemas.openxmlformats.org/officeDocument/2006/relationships/customXml" Target="../customXml/item3.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 Id="rId116" Type="http://schemas.openxmlformats.org/officeDocument/2006/relationships/slide" Target="slides/slide109.xml"/><Relationship Id="rId137" Type="http://schemas.openxmlformats.org/officeDocument/2006/relationships/slide" Target="slides/slide130.xml"/><Relationship Id="rId158" Type="http://schemas.openxmlformats.org/officeDocument/2006/relationships/slide" Target="slides/slide151.xml"/><Relationship Id="rId20" Type="http://schemas.openxmlformats.org/officeDocument/2006/relationships/slide" Target="slides/slide13.xml"/><Relationship Id="rId41" Type="http://schemas.openxmlformats.org/officeDocument/2006/relationships/slide" Target="slides/slide34.xml"/><Relationship Id="rId62" Type="http://schemas.openxmlformats.org/officeDocument/2006/relationships/slide" Target="slides/slide55.xml"/><Relationship Id="rId83" Type="http://schemas.openxmlformats.org/officeDocument/2006/relationships/slide" Target="slides/slide76.xml"/><Relationship Id="rId88" Type="http://schemas.openxmlformats.org/officeDocument/2006/relationships/slide" Target="slides/slide81.xml"/><Relationship Id="rId111" Type="http://schemas.openxmlformats.org/officeDocument/2006/relationships/slide" Target="slides/slide104.xml"/><Relationship Id="rId132" Type="http://schemas.openxmlformats.org/officeDocument/2006/relationships/slide" Target="slides/slide125.xml"/><Relationship Id="rId153" Type="http://schemas.openxmlformats.org/officeDocument/2006/relationships/slide" Target="slides/slide146.xml"/><Relationship Id="rId15" Type="http://schemas.openxmlformats.org/officeDocument/2006/relationships/slide" Target="slides/slide8.xml"/><Relationship Id="rId36" Type="http://schemas.openxmlformats.org/officeDocument/2006/relationships/slide" Target="slides/slide29.xml"/><Relationship Id="rId57" Type="http://schemas.openxmlformats.org/officeDocument/2006/relationships/slide" Target="slides/slide50.xml"/><Relationship Id="rId106" Type="http://schemas.openxmlformats.org/officeDocument/2006/relationships/slide" Target="slides/slide99.xml"/><Relationship Id="rId127" Type="http://schemas.openxmlformats.org/officeDocument/2006/relationships/slide" Target="slides/slide120.xml"/><Relationship Id="rId10" Type="http://schemas.openxmlformats.org/officeDocument/2006/relationships/slide" Target="slides/slide3.xml"/><Relationship Id="rId31" Type="http://schemas.openxmlformats.org/officeDocument/2006/relationships/slide" Target="slides/slide24.xml"/><Relationship Id="rId52" Type="http://schemas.openxmlformats.org/officeDocument/2006/relationships/slide" Target="slides/slide45.xml"/><Relationship Id="rId73" Type="http://schemas.openxmlformats.org/officeDocument/2006/relationships/slide" Target="slides/slide66.xml"/><Relationship Id="rId78" Type="http://schemas.openxmlformats.org/officeDocument/2006/relationships/slide" Target="slides/slide71.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122" Type="http://schemas.openxmlformats.org/officeDocument/2006/relationships/slide" Target="slides/slide115.xml"/><Relationship Id="rId143" Type="http://schemas.openxmlformats.org/officeDocument/2006/relationships/slide" Target="slides/slide136.xml"/><Relationship Id="rId148" Type="http://schemas.openxmlformats.org/officeDocument/2006/relationships/slide" Target="slides/slide141.xml"/><Relationship Id="rId16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26" Type="http://schemas.openxmlformats.org/officeDocument/2006/relationships/slide" Target="slides/slide19.xml"/><Relationship Id="rId47" Type="http://schemas.openxmlformats.org/officeDocument/2006/relationships/slide" Target="slides/slide40.xml"/><Relationship Id="rId68" Type="http://schemas.openxmlformats.org/officeDocument/2006/relationships/slide" Target="slides/slide61.xml"/><Relationship Id="rId89" Type="http://schemas.openxmlformats.org/officeDocument/2006/relationships/slide" Target="slides/slide82.xml"/><Relationship Id="rId112" Type="http://schemas.openxmlformats.org/officeDocument/2006/relationships/slide" Target="slides/slide105.xml"/><Relationship Id="rId133" Type="http://schemas.openxmlformats.org/officeDocument/2006/relationships/slide" Target="slides/slide126.xml"/><Relationship Id="rId154" Type="http://schemas.openxmlformats.org/officeDocument/2006/relationships/slide" Target="slides/slide147.xml"/><Relationship Id="rId16" Type="http://schemas.openxmlformats.org/officeDocument/2006/relationships/slide" Target="slides/slide9.xml"/><Relationship Id="rId37" Type="http://schemas.openxmlformats.org/officeDocument/2006/relationships/slide" Target="slides/slide30.xml"/><Relationship Id="rId58" Type="http://schemas.openxmlformats.org/officeDocument/2006/relationships/slide" Target="slides/slide51.xml"/><Relationship Id="rId79" Type="http://schemas.openxmlformats.org/officeDocument/2006/relationships/slide" Target="slides/slide72.xml"/><Relationship Id="rId102" Type="http://schemas.openxmlformats.org/officeDocument/2006/relationships/slide" Target="slides/slide95.xml"/><Relationship Id="rId123" Type="http://schemas.openxmlformats.org/officeDocument/2006/relationships/slide" Target="slides/slide116.xml"/><Relationship Id="rId144" Type="http://schemas.openxmlformats.org/officeDocument/2006/relationships/slide" Target="slides/slide137.xml"/><Relationship Id="rId90" Type="http://schemas.openxmlformats.org/officeDocument/2006/relationships/slide" Target="slides/slide83.xml"/><Relationship Id="rId165" Type="http://schemas.openxmlformats.org/officeDocument/2006/relationships/viewProps" Target="viewProps.xml"/><Relationship Id="rId27" Type="http://schemas.openxmlformats.org/officeDocument/2006/relationships/slide" Target="slides/slide20.xml"/><Relationship Id="rId48" Type="http://schemas.openxmlformats.org/officeDocument/2006/relationships/slide" Target="slides/slide41.xml"/><Relationship Id="rId69" Type="http://schemas.openxmlformats.org/officeDocument/2006/relationships/slide" Target="slides/slide62.xml"/><Relationship Id="rId113" Type="http://schemas.openxmlformats.org/officeDocument/2006/relationships/slide" Target="slides/slide106.xml"/><Relationship Id="rId134" Type="http://schemas.openxmlformats.org/officeDocument/2006/relationships/slide" Target="slides/slide127.xml"/><Relationship Id="rId80" Type="http://schemas.openxmlformats.org/officeDocument/2006/relationships/slide" Target="slides/slide73.xml"/><Relationship Id="rId155" Type="http://schemas.openxmlformats.org/officeDocument/2006/relationships/slide" Target="slides/slide14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B4780F1-976B-3C4E-87FF-C93065426930}" type="datetime1">
              <a:rPr lang="pl-PL" sz="1000" smtClean="0"/>
              <a:t>06.12.2021</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N°›</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D4F85012-B477-794C-9B27-4335578B0AC4}" type="datetime1">
              <a:rPr lang="pl-PL" smtClean="0"/>
              <a:t>06.1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N°›</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hf hdr="0" dt="0"/>
  <p:notesStyle>
    <a:lvl1pPr marL="0" indent="0" algn="l" defTabSz="685800" rtl="0" eaLnBrk="1" latinLnBrk="0" hangingPunct="1">
      <a:buFont typeface="Arial" panose="020B0604020202020204" pitchFamily="34" charset="0"/>
      <a:buNone/>
      <a:defRPr sz="750" kern="1200" baseline="0">
        <a:solidFill>
          <a:schemeClr val="tx1"/>
        </a:solidFill>
        <a:latin typeface="+mn-lt"/>
        <a:ea typeface="+mn-ea"/>
        <a:cs typeface="+mn-cs"/>
      </a:defRPr>
    </a:lvl1pPr>
    <a:lvl2pPr marL="342900" indent="0" algn="l" defTabSz="685800" rtl="0" eaLnBrk="1" latinLnBrk="0" hangingPunct="1">
      <a:buFont typeface="Arial" panose="020B0604020202020204" pitchFamily="34" charset="0"/>
      <a:buNone/>
      <a:defRPr sz="675" kern="1200">
        <a:solidFill>
          <a:schemeClr val="tx1"/>
        </a:solidFill>
        <a:latin typeface="+mn-lt"/>
        <a:ea typeface="+mn-ea"/>
        <a:cs typeface="+mn-cs"/>
      </a:defRPr>
    </a:lvl2pPr>
    <a:lvl3pPr marL="685800" indent="0" algn="l" defTabSz="685800" rtl="0" eaLnBrk="1" latinLnBrk="0" hangingPunct="1">
      <a:buFont typeface="Arial" panose="020B0604020202020204" pitchFamily="34" charset="0"/>
      <a:buNone/>
      <a:defRPr sz="675" kern="1200">
        <a:solidFill>
          <a:schemeClr val="tx1"/>
        </a:solidFill>
        <a:latin typeface="+mn-lt"/>
        <a:ea typeface="+mn-ea"/>
        <a:cs typeface="+mn-cs"/>
      </a:defRPr>
    </a:lvl3pPr>
    <a:lvl4pPr marL="1028700" indent="0" algn="l" defTabSz="685800" rtl="0" eaLnBrk="1" latinLnBrk="0" hangingPunct="1">
      <a:buFont typeface="Arial" panose="020B0604020202020204" pitchFamily="34" charset="0"/>
      <a:buNone/>
      <a:defRPr sz="675" kern="1200">
        <a:solidFill>
          <a:schemeClr val="tx1"/>
        </a:solidFill>
        <a:latin typeface="+mn-lt"/>
        <a:ea typeface="+mn-ea"/>
        <a:cs typeface="+mn-cs"/>
      </a:defRPr>
    </a:lvl4pPr>
    <a:lvl5pPr marL="1371600" indent="0" algn="l" defTabSz="685800" rtl="0" eaLnBrk="1" latinLnBrk="0" hangingPunct="1">
      <a:buFont typeface="Arial" panose="020B0604020202020204" pitchFamily="34" charset="0"/>
      <a:buNone/>
      <a:defRPr sz="675"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
        <p:nvSpPr>
          <p:cNvPr id="4" name="Footer Placeholder 3"/>
          <p:cNvSpPr>
            <a:spLocks noGrp="1"/>
          </p:cNvSpPr>
          <p:nvPr>
            <p:ph type="ftr" sz="quarter" idx="4"/>
          </p:nvPr>
        </p:nvSpPr>
        <p:spPr/>
        <p:txBody>
          <a:bodyPr/>
          <a:lstStyle/>
          <a:p>
            <a:endParaRPr lang="pt-BR"/>
          </a:p>
        </p:txBody>
      </p:sp>
      <p:sp>
        <p:nvSpPr>
          <p:cNvPr id="5" name="Slide Number Placeholder 4"/>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27850777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25</a:t>
            </a:fld>
            <a:endParaRPr lang="pt-BR"/>
          </a:p>
        </p:txBody>
      </p:sp>
    </p:spTree>
    <p:extLst>
      <p:ext uri="{BB962C8B-B14F-4D97-AF65-F5344CB8AC3E}">
        <p14:creationId xmlns:p14="http://schemas.microsoft.com/office/powerpoint/2010/main" val="11565841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26</a:t>
            </a:fld>
            <a:endParaRPr lang="pt-BR"/>
          </a:p>
        </p:txBody>
      </p:sp>
    </p:spTree>
    <p:extLst>
      <p:ext uri="{BB962C8B-B14F-4D97-AF65-F5344CB8AC3E}">
        <p14:creationId xmlns:p14="http://schemas.microsoft.com/office/powerpoint/2010/main" val="35783905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38</a:t>
            </a:fld>
            <a:endParaRPr lang="pt-BR"/>
          </a:p>
        </p:txBody>
      </p:sp>
    </p:spTree>
    <p:extLst>
      <p:ext uri="{BB962C8B-B14F-4D97-AF65-F5344CB8AC3E}">
        <p14:creationId xmlns:p14="http://schemas.microsoft.com/office/powerpoint/2010/main" val="6071124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52</a:t>
            </a:fld>
            <a:endParaRPr lang="pt-BR"/>
          </a:p>
        </p:txBody>
      </p:sp>
    </p:spTree>
    <p:extLst>
      <p:ext uri="{BB962C8B-B14F-4D97-AF65-F5344CB8AC3E}">
        <p14:creationId xmlns:p14="http://schemas.microsoft.com/office/powerpoint/2010/main" val="27357081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70</a:t>
            </a:fld>
            <a:endParaRPr lang="pt-BR"/>
          </a:p>
        </p:txBody>
      </p:sp>
    </p:spTree>
    <p:extLst>
      <p:ext uri="{BB962C8B-B14F-4D97-AF65-F5344CB8AC3E}">
        <p14:creationId xmlns:p14="http://schemas.microsoft.com/office/powerpoint/2010/main" val="40520697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79</a:t>
            </a:fld>
            <a:endParaRPr lang="pt-BR"/>
          </a:p>
        </p:txBody>
      </p:sp>
    </p:spTree>
    <p:extLst>
      <p:ext uri="{BB962C8B-B14F-4D97-AF65-F5344CB8AC3E}">
        <p14:creationId xmlns:p14="http://schemas.microsoft.com/office/powerpoint/2010/main" val="26106837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93</a:t>
            </a:fld>
            <a:endParaRPr lang="pt-BR"/>
          </a:p>
        </p:txBody>
      </p:sp>
    </p:spTree>
    <p:extLst>
      <p:ext uri="{BB962C8B-B14F-4D97-AF65-F5344CB8AC3E}">
        <p14:creationId xmlns:p14="http://schemas.microsoft.com/office/powerpoint/2010/main" val="22914118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100</a:t>
            </a:fld>
            <a:endParaRPr lang="pt-BR"/>
          </a:p>
        </p:txBody>
      </p:sp>
    </p:spTree>
    <p:extLst>
      <p:ext uri="{BB962C8B-B14F-4D97-AF65-F5344CB8AC3E}">
        <p14:creationId xmlns:p14="http://schemas.microsoft.com/office/powerpoint/2010/main" val="8328427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103</a:t>
            </a:fld>
            <a:endParaRPr lang="pt-BR"/>
          </a:p>
        </p:txBody>
      </p:sp>
    </p:spTree>
    <p:extLst>
      <p:ext uri="{BB962C8B-B14F-4D97-AF65-F5344CB8AC3E}">
        <p14:creationId xmlns:p14="http://schemas.microsoft.com/office/powerpoint/2010/main" val="26368182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107</a:t>
            </a:fld>
            <a:endParaRPr lang="pt-BR"/>
          </a:p>
        </p:txBody>
      </p:sp>
    </p:spTree>
    <p:extLst>
      <p:ext uri="{BB962C8B-B14F-4D97-AF65-F5344CB8AC3E}">
        <p14:creationId xmlns:p14="http://schemas.microsoft.com/office/powerpoint/2010/main" val="4262243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
        <p:nvSpPr>
          <p:cNvPr id="4" name="Footer Placeholder 3"/>
          <p:cNvSpPr>
            <a:spLocks noGrp="1"/>
          </p:cNvSpPr>
          <p:nvPr>
            <p:ph type="ftr" sz="quarter" idx="4"/>
          </p:nvPr>
        </p:nvSpPr>
        <p:spPr/>
        <p:txBody>
          <a:bodyPr/>
          <a:lstStyle/>
          <a:p>
            <a:endParaRPr lang="pt-BR"/>
          </a:p>
        </p:txBody>
      </p:sp>
      <p:sp>
        <p:nvSpPr>
          <p:cNvPr id="5" name="Slide Number Placeholder 4"/>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6325373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112</a:t>
            </a:fld>
            <a:endParaRPr lang="pt-BR"/>
          </a:p>
        </p:txBody>
      </p:sp>
    </p:spTree>
    <p:extLst>
      <p:ext uri="{BB962C8B-B14F-4D97-AF65-F5344CB8AC3E}">
        <p14:creationId xmlns:p14="http://schemas.microsoft.com/office/powerpoint/2010/main" val="1824409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118</a:t>
            </a:fld>
            <a:endParaRPr lang="pt-BR"/>
          </a:p>
        </p:txBody>
      </p:sp>
    </p:spTree>
    <p:extLst>
      <p:ext uri="{BB962C8B-B14F-4D97-AF65-F5344CB8AC3E}">
        <p14:creationId xmlns:p14="http://schemas.microsoft.com/office/powerpoint/2010/main" val="27394386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128</a:t>
            </a:fld>
            <a:endParaRPr lang="pt-BR"/>
          </a:p>
        </p:txBody>
      </p:sp>
    </p:spTree>
    <p:extLst>
      <p:ext uri="{BB962C8B-B14F-4D97-AF65-F5344CB8AC3E}">
        <p14:creationId xmlns:p14="http://schemas.microsoft.com/office/powerpoint/2010/main" val="8521389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132</a:t>
            </a:fld>
            <a:endParaRPr lang="pt-BR"/>
          </a:p>
        </p:txBody>
      </p:sp>
    </p:spTree>
    <p:extLst>
      <p:ext uri="{BB962C8B-B14F-4D97-AF65-F5344CB8AC3E}">
        <p14:creationId xmlns:p14="http://schemas.microsoft.com/office/powerpoint/2010/main" val="11739575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134</a:t>
            </a:fld>
            <a:endParaRPr lang="pt-BR"/>
          </a:p>
        </p:txBody>
      </p:sp>
    </p:spTree>
    <p:extLst>
      <p:ext uri="{BB962C8B-B14F-4D97-AF65-F5344CB8AC3E}">
        <p14:creationId xmlns:p14="http://schemas.microsoft.com/office/powerpoint/2010/main" val="32652837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137</a:t>
            </a:fld>
            <a:endParaRPr lang="pt-BR"/>
          </a:p>
        </p:txBody>
      </p:sp>
    </p:spTree>
    <p:extLst>
      <p:ext uri="{BB962C8B-B14F-4D97-AF65-F5344CB8AC3E}">
        <p14:creationId xmlns:p14="http://schemas.microsoft.com/office/powerpoint/2010/main" val="298984522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144</a:t>
            </a:fld>
            <a:endParaRPr lang="pt-BR"/>
          </a:p>
        </p:txBody>
      </p:sp>
    </p:spTree>
    <p:extLst>
      <p:ext uri="{BB962C8B-B14F-4D97-AF65-F5344CB8AC3E}">
        <p14:creationId xmlns:p14="http://schemas.microsoft.com/office/powerpoint/2010/main" val="35837985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147</a:t>
            </a:fld>
            <a:endParaRPr lang="pt-BR"/>
          </a:p>
        </p:txBody>
      </p:sp>
    </p:spTree>
    <p:extLst>
      <p:ext uri="{BB962C8B-B14F-4D97-AF65-F5344CB8AC3E}">
        <p14:creationId xmlns:p14="http://schemas.microsoft.com/office/powerpoint/2010/main" val="20304412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152</a:t>
            </a:fld>
            <a:endParaRPr lang="pt-BR"/>
          </a:p>
        </p:txBody>
      </p:sp>
    </p:spTree>
    <p:extLst>
      <p:ext uri="{BB962C8B-B14F-4D97-AF65-F5344CB8AC3E}">
        <p14:creationId xmlns:p14="http://schemas.microsoft.com/office/powerpoint/2010/main" val="1812669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Footer Placeholder 3"/>
          <p:cNvSpPr>
            <a:spLocks noGrp="1"/>
          </p:cNvSpPr>
          <p:nvPr>
            <p:ph type="ftr" sz="quarter" idx="4"/>
          </p:nvPr>
        </p:nvSpPr>
        <p:spPr/>
        <p:txBody>
          <a:bodyPr/>
          <a:lstStyle/>
          <a:p>
            <a:endParaRPr lang="pt-BR"/>
          </a:p>
        </p:txBody>
      </p:sp>
      <p:sp>
        <p:nvSpPr>
          <p:cNvPr id="5" name="Slide Number Placeholder 4"/>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1924167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5567792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5128096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2051539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20</a:t>
            </a:fld>
            <a:endParaRPr lang="pt-BR"/>
          </a:p>
        </p:txBody>
      </p:sp>
    </p:spTree>
    <p:extLst>
      <p:ext uri="{BB962C8B-B14F-4D97-AF65-F5344CB8AC3E}">
        <p14:creationId xmlns:p14="http://schemas.microsoft.com/office/powerpoint/2010/main" val="36966358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24701553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endParaRPr lang="pt-BR"/>
          </a:p>
        </p:txBody>
      </p:sp>
      <p:sp>
        <p:nvSpPr>
          <p:cNvPr id="5" name="Espace réservé du numéro de diapositive 4"/>
          <p:cNvSpPr>
            <a:spLocks noGrp="1"/>
          </p:cNvSpPr>
          <p:nvPr>
            <p:ph type="sldNum" sz="quarter" idx="5"/>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28408017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www.odigo.com/" TargetMode="External"/><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www.odigo.com/"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www.odigo.com/"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www.odigo.com/" TargetMode="External"/><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Odigo-Cover_General-light">
    <p:spTree>
      <p:nvGrpSpPr>
        <p:cNvPr id="1" name=""/>
        <p:cNvGrpSpPr/>
        <p:nvPr/>
      </p:nvGrpSpPr>
      <p:grpSpPr>
        <a:xfrm>
          <a:off x="0" y="0"/>
          <a:ext cx="0" cy="0"/>
          <a:chOff x="0" y="0"/>
          <a:chExt cx="0" cy="0"/>
        </a:xfrm>
      </p:grpSpPr>
      <p:grpSp>
        <p:nvGrpSpPr>
          <p:cNvPr id="59" name="Group 1">
            <a:extLst>
              <a:ext uri="{FF2B5EF4-FFF2-40B4-BE49-F238E27FC236}">
                <a16:creationId xmlns:a16="http://schemas.microsoft.com/office/drawing/2014/main" id="{88A86E07-E707-5145-B954-C6B24E4AB39E}"/>
              </a:ext>
            </a:extLst>
          </p:cNvPr>
          <p:cNvGrpSpPr>
            <a:grpSpLocks/>
          </p:cNvGrpSpPr>
          <p:nvPr userDrawn="1"/>
        </p:nvGrpSpPr>
        <p:grpSpPr bwMode="auto">
          <a:xfrm>
            <a:off x="1209941" y="1995487"/>
            <a:ext cx="4480635" cy="4565012"/>
            <a:chOff x="1584325" y="-192088"/>
            <a:chExt cx="7423150" cy="7559676"/>
          </a:xfrm>
        </p:grpSpPr>
        <p:sp>
          <p:nvSpPr>
            <p:cNvPr id="60" name="Freeform 1">
              <a:extLst>
                <a:ext uri="{FF2B5EF4-FFF2-40B4-BE49-F238E27FC236}">
                  <a16:creationId xmlns:a16="http://schemas.microsoft.com/office/drawing/2014/main" id="{4213FA40-A0B0-1B45-8894-B6271A91A6B2}"/>
                </a:ext>
              </a:extLst>
            </p:cNvPr>
            <p:cNvSpPr>
              <a:spLocks noChangeArrowheads="1"/>
            </p:cNvSpPr>
            <p:nvPr/>
          </p:nvSpPr>
          <p:spPr bwMode="auto">
            <a:xfrm>
              <a:off x="5702300" y="-192088"/>
              <a:ext cx="3305175" cy="3165476"/>
            </a:xfrm>
            <a:custGeom>
              <a:avLst/>
              <a:gdLst>
                <a:gd name="T0" fmla="*/ 0 w 9182"/>
                <a:gd name="T1" fmla="*/ 0 h 8794"/>
                <a:gd name="T2" fmla="*/ 0 w 9182"/>
                <a:gd name="T3" fmla="*/ 1368563 h 8794"/>
                <a:gd name="T4" fmla="*/ 1796572 w 9182"/>
                <a:gd name="T5" fmla="*/ 1368563 h 8794"/>
                <a:gd name="T6" fmla="*/ 1796572 w 9182"/>
                <a:gd name="T7" fmla="*/ 3165116 h 8794"/>
                <a:gd name="T8" fmla="*/ 3304815 w 9182"/>
                <a:gd name="T9" fmla="*/ 3165116 h 8794"/>
                <a:gd name="T10" fmla="*/ 3304815 w 9182"/>
                <a:gd name="T11" fmla="*/ 0 h 8794"/>
                <a:gd name="T12" fmla="*/ 0 w 9182"/>
                <a:gd name="T13" fmla="*/ 0 h 87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182" h="8794">
                  <a:moveTo>
                    <a:pt x="0" y="0"/>
                  </a:moveTo>
                  <a:lnTo>
                    <a:pt x="0" y="3802"/>
                  </a:lnTo>
                  <a:lnTo>
                    <a:pt x="4991" y="3802"/>
                  </a:lnTo>
                  <a:lnTo>
                    <a:pt x="4991" y="8793"/>
                  </a:lnTo>
                  <a:lnTo>
                    <a:pt x="9181" y="8793"/>
                  </a:lnTo>
                  <a:lnTo>
                    <a:pt x="9181"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1" name="Freeform 2">
              <a:extLst>
                <a:ext uri="{FF2B5EF4-FFF2-40B4-BE49-F238E27FC236}">
                  <a16:creationId xmlns:a16="http://schemas.microsoft.com/office/drawing/2014/main" id="{22EF8DFB-2EFE-F14A-BFFE-F21A7EAF9833}"/>
                </a:ext>
              </a:extLst>
            </p:cNvPr>
            <p:cNvSpPr>
              <a:spLocks noChangeArrowheads="1"/>
            </p:cNvSpPr>
            <p:nvPr/>
          </p:nvSpPr>
          <p:spPr bwMode="auto">
            <a:xfrm>
              <a:off x="1584325" y="1036638"/>
              <a:ext cx="6469063" cy="6330950"/>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
        <p:nvSpPr>
          <p:cNvPr id="2" name="Title 1">
            <a:extLst>
              <a:ext uri="{FF2B5EF4-FFF2-40B4-BE49-F238E27FC236}">
                <a16:creationId xmlns:a16="http://schemas.microsoft.com/office/drawing/2014/main" id="{0D402FA9-5415-A549-AA59-7A032EE6A06E}"/>
              </a:ext>
            </a:extLst>
          </p:cNvPr>
          <p:cNvSpPr>
            <a:spLocks noGrp="1"/>
          </p:cNvSpPr>
          <p:nvPr>
            <p:ph type="title" hasCustomPrompt="1"/>
          </p:nvPr>
        </p:nvSpPr>
        <p:spPr>
          <a:xfrm>
            <a:off x="-1" y="808038"/>
            <a:ext cx="4812237" cy="1187447"/>
          </a:xfrm>
          <a:prstGeom prst="rect">
            <a:avLst/>
          </a:prstGeom>
        </p:spPr>
        <p:txBody>
          <a:bodyPr lIns="432000" tIns="180000" rIns="72000" bIns="0"/>
          <a:lstStyle>
            <a:lvl1pPr>
              <a:defRPr lang="pl-PL" dirty="0"/>
            </a:lvl1pPr>
          </a:lstStyle>
          <a:p>
            <a:pPr lvl="0"/>
            <a:r>
              <a:rPr lang="en-US" noProof="0"/>
              <a:t>Sample presentation title</a:t>
            </a:r>
          </a:p>
        </p:txBody>
      </p:sp>
      <p:sp>
        <p:nvSpPr>
          <p:cNvPr id="20" name="Text Placeholder 19">
            <a:extLst>
              <a:ext uri="{FF2B5EF4-FFF2-40B4-BE49-F238E27FC236}">
                <a16:creationId xmlns:a16="http://schemas.microsoft.com/office/drawing/2014/main" id="{E9BFB6C4-08A5-BA43-A8EE-6725DD021A57}"/>
              </a:ext>
            </a:extLst>
          </p:cNvPr>
          <p:cNvSpPr>
            <a:spLocks noGrp="1"/>
          </p:cNvSpPr>
          <p:nvPr>
            <p:ph type="body" sz="quarter" idx="10" hasCustomPrompt="1"/>
          </p:nvPr>
        </p:nvSpPr>
        <p:spPr>
          <a:xfrm>
            <a:off x="0" y="1995488"/>
            <a:ext cx="5688012" cy="455087"/>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grpSp>
        <p:nvGrpSpPr>
          <p:cNvPr id="9" name="Group 8">
            <a:extLst>
              <a:ext uri="{FF2B5EF4-FFF2-40B4-BE49-F238E27FC236}">
                <a16:creationId xmlns:a16="http://schemas.microsoft.com/office/drawing/2014/main" id="{977C145F-0F0D-D044-8124-39A32F4DE717}"/>
              </a:ext>
            </a:extLst>
          </p:cNvPr>
          <p:cNvGrpSpPr/>
          <p:nvPr userDrawn="1"/>
        </p:nvGrpSpPr>
        <p:grpSpPr>
          <a:xfrm>
            <a:off x="7391345" y="416351"/>
            <a:ext cx="1336166" cy="539307"/>
            <a:chOff x="2286000" y="2193925"/>
            <a:chExt cx="6835775" cy="2759075"/>
          </a:xfrm>
        </p:grpSpPr>
        <p:sp>
          <p:nvSpPr>
            <p:cNvPr id="10" name="Freeform 1">
              <a:extLst>
                <a:ext uri="{FF2B5EF4-FFF2-40B4-BE49-F238E27FC236}">
                  <a16:creationId xmlns:a16="http://schemas.microsoft.com/office/drawing/2014/main" id="{1A427EA0-BD4E-914B-A711-5DD4AC1DB54B}"/>
                </a:ext>
              </a:extLst>
            </p:cNvPr>
            <p:cNvSpPr>
              <a:spLocks noChangeArrowheads="1"/>
            </p:cNvSpPr>
            <p:nvPr/>
          </p:nvSpPr>
          <p:spPr bwMode="auto">
            <a:xfrm>
              <a:off x="8378825" y="2471738"/>
              <a:ext cx="742950" cy="706437"/>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1" name="Freeform 2">
              <a:extLst>
                <a:ext uri="{FF2B5EF4-FFF2-40B4-BE49-F238E27FC236}">
                  <a16:creationId xmlns:a16="http://schemas.microsoft.com/office/drawing/2014/main" id="{422C006E-07AC-1E4F-94CC-D9EAAC9227EB}"/>
                </a:ext>
              </a:extLst>
            </p:cNvPr>
            <p:cNvSpPr>
              <a:spLocks noChangeArrowheads="1"/>
            </p:cNvSpPr>
            <p:nvPr/>
          </p:nvSpPr>
          <p:spPr bwMode="auto">
            <a:xfrm>
              <a:off x="5299075" y="2781300"/>
              <a:ext cx="333375" cy="1349375"/>
            </a:xfrm>
            <a:custGeom>
              <a:avLst/>
              <a:gdLst>
                <a:gd name="T0" fmla="*/ 0 w 927"/>
                <a:gd name="T1" fmla="*/ 3749 h 3750"/>
                <a:gd name="T2" fmla="*/ 926 w 927"/>
                <a:gd name="T3" fmla="*/ 3749 h 3750"/>
                <a:gd name="T4" fmla="*/ 926 w 927"/>
                <a:gd name="T5" fmla="*/ 0 h 3750"/>
                <a:gd name="T6" fmla="*/ 0 w 927"/>
                <a:gd name="T7" fmla="*/ 0 h 3750"/>
                <a:gd name="T8" fmla="*/ 0 w 927"/>
                <a:gd name="T9" fmla="*/ 3749 h 3750"/>
              </a:gdLst>
              <a:ahLst/>
              <a:cxnLst>
                <a:cxn ang="0">
                  <a:pos x="T0" y="T1"/>
                </a:cxn>
                <a:cxn ang="0">
                  <a:pos x="T2" y="T3"/>
                </a:cxn>
                <a:cxn ang="0">
                  <a:pos x="T4" y="T5"/>
                </a:cxn>
                <a:cxn ang="0">
                  <a:pos x="T6" y="T7"/>
                </a:cxn>
                <a:cxn ang="0">
                  <a:pos x="T8" y="T9"/>
                </a:cxn>
              </a:cxnLst>
              <a:rect l="0" t="0" r="r" b="b"/>
              <a:pathLst>
                <a:path w="927" h="3750">
                  <a:moveTo>
                    <a:pt x="0" y="3749"/>
                  </a:moveTo>
                  <a:lnTo>
                    <a:pt x="926" y="3749"/>
                  </a:lnTo>
                  <a:lnTo>
                    <a:pt x="926" y="0"/>
                  </a:lnTo>
                  <a:lnTo>
                    <a:pt x="0" y="0"/>
                  </a:lnTo>
                  <a:lnTo>
                    <a:pt x="0" y="3749"/>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2" name="Freeform 3">
              <a:extLst>
                <a:ext uri="{FF2B5EF4-FFF2-40B4-BE49-F238E27FC236}">
                  <a16:creationId xmlns:a16="http://schemas.microsoft.com/office/drawing/2014/main" id="{DF531AF6-5DE1-6049-AF54-D39963704488}"/>
                </a:ext>
              </a:extLst>
            </p:cNvPr>
            <p:cNvSpPr>
              <a:spLocks noChangeArrowheads="1"/>
            </p:cNvSpPr>
            <p:nvPr/>
          </p:nvSpPr>
          <p:spPr bwMode="auto">
            <a:xfrm>
              <a:off x="3781425" y="2193925"/>
              <a:ext cx="1206500" cy="1973263"/>
            </a:xfrm>
            <a:custGeom>
              <a:avLst/>
              <a:gdLst>
                <a:gd name="T0" fmla="*/ 2426 w 3353"/>
                <a:gd name="T1" fmla="*/ 1631 h 5480"/>
                <a:gd name="T2" fmla="*/ 2426 w 3353"/>
                <a:gd name="T3" fmla="*/ 1631 h 5480"/>
                <a:gd name="T4" fmla="*/ 2459 w 3353"/>
                <a:gd name="T5" fmla="*/ 1940 h 5480"/>
                <a:gd name="T6" fmla="*/ 1290 w 3353"/>
                <a:gd name="T7" fmla="*/ 1532 h 5480"/>
                <a:gd name="T8" fmla="*/ 0 w 3353"/>
                <a:gd name="T9" fmla="*/ 1995 h 5480"/>
                <a:gd name="T10" fmla="*/ 463 w 3353"/>
                <a:gd name="T11" fmla="*/ 2833 h 5480"/>
                <a:gd name="T12" fmla="*/ 1323 w 3353"/>
                <a:gd name="T13" fmla="*/ 2403 h 5480"/>
                <a:gd name="T14" fmla="*/ 2393 w 3353"/>
                <a:gd name="T15" fmla="*/ 3506 h 5480"/>
                <a:gd name="T16" fmla="*/ 1323 w 3353"/>
                <a:gd name="T17" fmla="*/ 4619 h 5480"/>
                <a:gd name="T18" fmla="*/ 485 w 3353"/>
                <a:gd name="T19" fmla="*/ 4178 h 5480"/>
                <a:gd name="T20" fmla="*/ 0 w 3353"/>
                <a:gd name="T21" fmla="*/ 5049 h 5480"/>
                <a:gd name="T22" fmla="*/ 1290 w 3353"/>
                <a:gd name="T23" fmla="*/ 5479 h 5480"/>
                <a:gd name="T24" fmla="*/ 2459 w 3353"/>
                <a:gd name="T25" fmla="*/ 5071 h 5480"/>
                <a:gd name="T26" fmla="*/ 2492 w 3353"/>
                <a:gd name="T27" fmla="*/ 5380 h 5480"/>
                <a:gd name="T28" fmla="*/ 3352 w 3353"/>
                <a:gd name="T29" fmla="*/ 5380 h 5480"/>
                <a:gd name="T30" fmla="*/ 3352 w 3353"/>
                <a:gd name="T31" fmla="*/ 0 h 5480"/>
                <a:gd name="T32" fmla="*/ 2426 w 3353"/>
                <a:gd name="T33" fmla="*/ 0 h 5480"/>
                <a:gd name="T34" fmla="*/ 2426 w 3353"/>
                <a:gd name="T35" fmla="*/ 1631 h 5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53" h="5480">
                  <a:moveTo>
                    <a:pt x="2426" y="1631"/>
                  </a:moveTo>
                  <a:lnTo>
                    <a:pt x="2426" y="1631"/>
                  </a:lnTo>
                  <a:cubicBezTo>
                    <a:pt x="2426" y="1819"/>
                    <a:pt x="2459" y="1940"/>
                    <a:pt x="2459" y="1940"/>
                  </a:cubicBezTo>
                  <a:cubicBezTo>
                    <a:pt x="2150" y="1720"/>
                    <a:pt x="1786" y="1532"/>
                    <a:pt x="1290" y="1532"/>
                  </a:cubicBezTo>
                  <a:cubicBezTo>
                    <a:pt x="794" y="1532"/>
                    <a:pt x="364" y="1720"/>
                    <a:pt x="0" y="1995"/>
                  </a:cubicBezTo>
                  <a:cubicBezTo>
                    <a:pt x="210" y="2249"/>
                    <a:pt x="364" y="2524"/>
                    <a:pt x="463" y="2833"/>
                  </a:cubicBezTo>
                  <a:cubicBezTo>
                    <a:pt x="673" y="2557"/>
                    <a:pt x="948" y="2403"/>
                    <a:pt x="1323" y="2403"/>
                  </a:cubicBezTo>
                  <a:cubicBezTo>
                    <a:pt x="1963" y="2403"/>
                    <a:pt x="2393" y="2833"/>
                    <a:pt x="2393" y="3506"/>
                  </a:cubicBezTo>
                  <a:cubicBezTo>
                    <a:pt x="2393" y="4211"/>
                    <a:pt x="1941" y="4619"/>
                    <a:pt x="1323" y="4619"/>
                  </a:cubicBezTo>
                  <a:cubicBezTo>
                    <a:pt x="982" y="4619"/>
                    <a:pt x="673" y="4465"/>
                    <a:pt x="485" y="4178"/>
                  </a:cubicBezTo>
                  <a:cubicBezTo>
                    <a:pt x="397" y="4520"/>
                    <a:pt x="210" y="4795"/>
                    <a:pt x="0" y="5049"/>
                  </a:cubicBezTo>
                  <a:cubicBezTo>
                    <a:pt x="364" y="5325"/>
                    <a:pt x="794" y="5479"/>
                    <a:pt x="1290" y="5479"/>
                  </a:cubicBezTo>
                  <a:cubicBezTo>
                    <a:pt x="1753" y="5479"/>
                    <a:pt x="2183" y="5292"/>
                    <a:pt x="2459" y="5071"/>
                  </a:cubicBezTo>
                  <a:cubicBezTo>
                    <a:pt x="2492" y="5380"/>
                    <a:pt x="2492" y="5380"/>
                    <a:pt x="2492" y="5380"/>
                  </a:cubicBezTo>
                  <a:cubicBezTo>
                    <a:pt x="3352" y="5380"/>
                    <a:pt x="3352" y="5380"/>
                    <a:pt x="3352" y="5380"/>
                  </a:cubicBezTo>
                  <a:cubicBezTo>
                    <a:pt x="3352" y="0"/>
                    <a:pt x="3352" y="0"/>
                    <a:pt x="3352" y="0"/>
                  </a:cubicBezTo>
                  <a:cubicBezTo>
                    <a:pt x="2426" y="0"/>
                    <a:pt x="2426" y="0"/>
                    <a:pt x="2426" y="0"/>
                  </a:cubicBezTo>
                  <a:lnTo>
                    <a:pt x="2426" y="1631"/>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3" name="Freeform 4">
              <a:extLst>
                <a:ext uri="{FF2B5EF4-FFF2-40B4-BE49-F238E27FC236}">
                  <a16:creationId xmlns:a16="http://schemas.microsoft.com/office/drawing/2014/main" id="{8F140D81-2378-584E-8EB4-A513F316716C}"/>
                </a:ext>
              </a:extLst>
            </p:cNvPr>
            <p:cNvSpPr>
              <a:spLocks noChangeArrowheads="1"/>
            </p:cNvSpPr>
            <p:nvPr/>
          </p:nvSpPr>
          <p:spPr bwMode="auto">
            <a:xfrm>
              <a:off x="2286000" y="2746375"/>
              <a:ext cx="1441450" cy="1420813"/>
            </a:xfrm>
            <a:custGeom>
              <a:avLst/>
              <a:gdLst>
                <a:gd name="T0" fmla="*/ 1995 w 4003"/>
                <a:gd name="T1" fmla="*/ 0 h 3948"/>
                <a:gd name="T2" fmla="*/ 1995 w 4003"/>
                <a:gd name="T3" fmla="*/ 0 h 3948"/>
                <a:gd name="T4" fmla="*/ 0 w 4003"/>
                <a:gd name="T5" fmla="*/ 1974 h 3948"/>
                <a:gd name="T6" fmla="*/ 1995 w 4003"/>
                <a:gd name="T7" fmla="*/ 3947 h 3948"/>
                <a:gd name="T8" fmla="*/ 4002 w 4003"/>
                <a:gd name="T9" fmla="*/ 1974 h 3948"/>
                <a:gd name="T10" fmla="*/ 1995 w 4003"/>
                <a:gd name="T11" fmla="*/ 0 h 3948"/>
                <a:gd name="T12" fmla="*/ 1995 w 4003"/>
                <a:gd name="T13" fmla="*/ 3087 h 3948"/>
                <a:gd name="T14" fmla="*/ 1995 w 4003"/>
                <a:gd name="T15" fmla="*/ 3087 h 3948"/>
                <a:gd name="T16" fmla="*/ 926 w 4003"/>
                <a:gd name="T17" fmla="*/ 1974 h 3948"/>
                <a:gd name="T18" fmla="*/ 1995 w 4003"/>
                <a:gd name="T19" fmla="*/ 871 h 3948"/>
                <a:gd name="T20" fmla="*/ 3076 w 4003"/>
                <a:gd name="T21" fmla="*/ 1974 h 3948"/>
                <a:gd name="T22" fmla="*/ 1995 w 4003"/>
                <a:gd name="T23" fmla="*/ 3087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3" h="3948">
                  <a:moveTo>
                    <a:pt x="1995" y="0"/>
                  </a:moveTo>
                  <a:lnTo>
                    <a:pt x="1995" y="0"/>
                  </a:lnTo>
                  <a:cubicBezTo>
                    <a:pt x="860" y="0"/>
                    <a:pt x="0" y="893"/>
                    <a:pt x="0" y="1974"/>
                  </a:cubicBezTo>
                  <a:cubicBezTo>
                    <a:pt x="0" y="3109"/>
                    <a:pt x="860" y="3947"/>
                    <a:pt x="1995" y="3947"/>
                  </a:cubicBezTo>
                  <a:cubicBezTo>
                    <a:pt x="3142" y="3947"/>
                    <a:pt x="4002" y="3109"/>
                    <a:pt x="4002" y="1974"/>
                  </a:cubicBezTo>
                  <a:cubicBezTo>
                    <a:pt x="4002" y="893"/>
                    <a:pt x="3142" y="0"/>
                    <a:pt x="1995" y="0"/>
                  </a:cubicBezTo>
                  <a:close/>
                  <a:moveTo>
                    <a:pt x="1995" y="3087"/>
                  </a:moveTo>
                  <a:lnTo>
                    <a:pt x="1995" y="3087"/>
                  </a:lnTo>
                  <a:cubicBezTo>
                    <a:pt x="1389" y="3087"/>
                    <a:pt x="926" y="2624"/>
                    <a:pt x="926" y="1974"/>
                  </a:cubicBezTo>
                  <a:cubicBezTo>
                    <a:pt x="926" y="1356"/>
                    <a:pt x="1356" y="871"/>
                    <a:pt x="1995" y="871"/>
                  </a:cubicBezTo>
                  <a:cubicBezTo>
                    <a:pt x="2646" y="871"/>
                    <a:pt x="3076" y="1356"/>
                    <a:pt x="3076" y="1974"/>
                  </a:cubicBezTo>
                  <a:cubicBezTo>
                    <a:pt x="3076" y="2624"/>
                    <a:pt x="2613" y="3087"/>
                    <a:pt x="1995" y="3087"/>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4" name="Freeform 5">
              <a:extLst>
                <a:ext uri="{FF2B5EF4-FFF2-40B4-BE49-F238E27FC236}">
                  <a16:creationId xmlns:a16="http://schemas.microsoft.com/office/drawing/2014/main" id="{14295C39-B77B-FA48-A996-CC9089FC619E}"/>
                </a:ext>
              </a:extLst>
            </p:cNvPr>
            <p:cNvSpPr>
              <a:spLocks noChangeArrowheads="1"/>
            </p:cNvSpPr>
            <p:nvPr/>
          </p:nvSpPr>
          <p:spPr bwMode="auto">
            <a:xfrm>
              <a:off x="5862638" y="2627313"/>
              <a:ext cx="1420812" cy="2325687"/>
            </a:xfrm>
            <a:custGeom>
              <a:avLst/>
              <a:gdLst>
                <a:gd name="T0" fmla="*/ 3914 w 3948"/>
                <a:gd name="T1" fmla="*/ 2216 h 6462"/>
                <a:gd name="T2" fmla="*/ 3914 w 3948"/>
                <a:gd name="T3" fmla="*/ 2216 h 6462"/>
                <a:gd name="T4" fmla="*/ 3517 w 3948"/>
                <a:gd name="T5" fmla="*/ 1048 h 6462"/>
                <a:gd name="T6" fmla="*/ 3947 w 3948"/>
                <a:gd name="T7" fmla="*/ 519 h 6462"/>
                <a:gd name="T8" fmla="*/ 3263 w 3948"/>
                <a:gd name="T9" fmla="*/ 0 h 6462"/>
                <a:gd name="T10" fmla="*/ 2800 w 3948"/>
                <a:gd name="T11" fmla="*/ 519 h 6462"/>
                <a:gd name="T12" fmla="*/ 1940 w 3948"/>
                <a:gd name="T13" fmla="*/ 331 h 6462"/>
                <a:gd name="T14" fmla="*/ 0 w 3948"/>
                <a:gd name="T15" fmla="*/ 2305 h 6462"/>
                <a:gd name="T16" fmla="*/ 1510 w 3948"/>
                <a:gd name="T17" fmla="*/ 4057 h 6462"/>
                <a:gd name="T18" fmla="*/ 2954 w 3948"/>
                <a:gd name="T19" fmla="*/ 4895 h 6462"/>
                <a:gd name="T20" fmla="*/ 2061 w 3948"/>
                <a:gd name="T21" fmla="*/ 5568 h 6462"/>
                <a:gd name="T22" fmla="*/ 1080 w 3948"/>
                <a:gd name="T23" fmla="*/ 4829 h 6462"/>
                <a:gd name="T24" fmla="*/ 1080 w 3948"/>
                <a:gd name="T25" fmla="*/ 4741 h 6462"/>
                <a:gd name="T26" fmla="*/ 132 w 3948"/>
                <a:gd name="T27" fmla="*/ 4741 h 6462"/>
                <a:gd name="T28" fmla="*/ 132 w 3948"/>
                <a:gd name="T29" fmla="*/ 4829 h 6462"/>
                <a:gd name="T30" fmla="*/ 2039 w 3948"/>
                <a:gd name="T31" fmla="*/ 6461 h 6462"/>
                <a:gd name="T32" fmla="*/ 3914 w 3948"/>
                <a:gd name="T33" fmla="*/ 4951 h 6462"/>
                <a:gd name="T34" fmla="*/ 3021 w 3948"/>
                <a:gd name="T35" fmla="*/ 3694 h 6462"/>
                <a:gd name="T36" fmla="*/ 3914 w 3948"/>
                <a:gd name="T37" fmla="*/ 2216 h 6462"/>
                <a:gd name="T38" fmla="*/ 1940 w 3948"/>
                <a:gd name="T39" fmla="*/ 3286 h 6462"/>
                <a:gd name="T40" fmla="*/ 1940 w 3948"/>
                <a:gd name="T41" fmla="*/ 3286 h 6462"/>
                <a:gd name="T42" fmla="*/ 959 w 3948"/>
                <a:gd name="T43" fmla="*/ 2238 h 6462"/>
                <a:gd name="T44" fmla="*/ 1940 w 3948"/>
                <a:gd name="T45" fmla="*/ 1202 h 6462"/>
                <a:gd name="T46" fmla="*/ 2954 w 3948"/>
                <a:gd name="T47" fmla="*/ 2238 h 6462"/>
                <a:gd name="T48" fmla="*/ 1940 w 3948"/>
                <a:gd name="T49" fmla="*/ 3286 h 6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8" h="6462">
                  <a:moveTo>
                    <a:pt x="3914" y="2216"/>
                  </a:moveTo>
                  <a:lnTo>
                    <a:pt x="3914" y="2216"/>
                  </a:lnTo>
                  <a:cubicBezTo>
                    <a:pt x="3914" y="1786"/>
                    <a:pt x="3759" y="1356"/>
                    <a:pt x="3517" y="1048"/>
                  </a:cubicBezTo>
                  <a:cubicBezTo>
                    <a:pt x="3947" y="519"/>
                    <a:pt x="3947" y="519"/>
                    <a:pt x="3947" y="519"/>
                  </a:cubicBezTo>
                  <a:cubicBezTo>
                    <a:pt x="3263" y="0"/>
                    <a:pt x="3263" y="0"/>
                    <a:pt x="3263" y="0"/>
                  </a:cubicBezTo>
                  <a:cubicBezTo>
                    <a:pt x="2800" y="519"/>
                    <a:pt x="2800" y="519"/>
                    <a:pt x="2800" y="519"/>
                  </a:cubicBezTo>
                  <a:cubicBezTo>
                    <a:pt x="2558" y="397"/>
                    <a:pt x="2282" y="331"/>
                    <a:pt x="1940" y="331"/>
                  </a:cubicBezTo>
                  <a:cubicBezTo>
                    <a:pt x="805" y="331"/>
                    <a:pt x="0" y="1202"/>
                    <a:pt x="0" y="2305"/>
                  </a:cubicBezTo>
                  <a:cubicBezTo>
                    <a:pt x="0" y="3286"/>
                    <a:pt x="595" y="3903"/>
                    <a:pt x="1510" y="4057"/>
                  </a:cubicBezTo>
                  <a:cubicBezTo>
                    <a:pt x="2128" y="4179"/>
                    <a:pt x="2954" y="4157"/>
                    <a:pt x="2954" y="4895"/>
                  </a:cubicBezTo>
                  <a:cubicBezTo>
                    <a:pt x="2954" y="5292"/>
                    <a:pt x="2679" y="5568"/>
                    <a:pt x="2061" y="5568"/>
                  </a:cubicBezTo>
                  <a:cubicBezTo>
                    <a:pt x="1422" y="5568"/>
                    <a:pt x="1080" y="5193"/>
                    <a:pt x="1080" y="4829"/>
                  </a:cubicBezTo>
                  <a:cubicBezTo>
                    <a:pt x="1080" y="4796"/>
                    <a:pt x="1080" y="4763"/>
                    <a:pt x="1080" y="4741"/>
                  </a:cubicBezTo>
                  <a:cubicBezTo>
                    <a:pt x="132" y="4741"/>
                    <a:pt x="132" y="4741"/>
                    <a:pt x="132" y="4741"/>
                  </a:cubicBezTo>
                  <a:cubicBezTo>
                    <a:pt x="132" y="4763"/>
                    <a:pt x="132" y="4796"/>
                    <a:pt x="132" y="4829"/>
                  </a:cubicBezTo>
                  <a:cubicBezTo>
                    <a:pt x="132" y="5689"/>
                    <a:pt x="871" y="6461"/>
                    <a:pt x="2039" y="6461"/>
                  </a:cubicBezTo>
                  <a:cubicBezTo>
                    <a:pt x="3329" y="6461"/>
                    <a:pt x="3914" y="5689"/>
                    <a:pt x="3914" y="4951"/>
                  </a:cubicBezTo>
                  <a:cubicBezTo>
                    <a:pt x="3914" y="4245"/>
                    <a:pt x="3539" y="3870"/>
                    <a:pt x="3021" y="3694"/>
                  </a:cubicBezTo>
                  <a:cubicBezTo>
                    <a:pt x="3539" y="3440"/>
                    <a:pt x="3914" y="2889"/>
                    <a:pt x="3914" y="2216"/>
                  </a:cubicBezTo>
                  <a:close/>
                  <a:moveTo>
                    <a:pt x="1940" y="3286"/>
                  </a:moveTo>
                  <a:lnTo>
                    <a:pt x="1940" y="3286"/>
                  </a:lnTo>
                  <a:cubicBezTo>
                    <a:pt x="1356" y="3286"/>
                    <a:pt x="959" y="2889"/>
                    <a:pt x="959" y="2238"/>
                  </a:cubicBezTo>
                  <a:cubicBezTo>
                    <a:pt x="959" y="1632"/>
                    <a:pt x="1334" y="1202"/>
                    <a:pt x="1940" y="1202"/>
                  </a:cubicBezTo>
                  <a:cubicBezTo>
                    <a:pt x="2591" y="1202"/>
                    <a:pt x="2954" y="1632"/>
                    <a:pt x="2954" y="2238"/>
                  </a:cubicBezTo>
                  <a:cubicBezTo>
                    <a:pt x="2954" y="2889"/>
                    <a:pt x="2624" y="3286"/>
                    <a:pt x="1940" y="3286"/>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5" name="Freeform 6">
              <a:extLst>
                <a:ext uri="{FF2B5EF4-FFF2-40B4-BE49-F238E27FC236}">
                  <a16:creationId xmlns:a16="http://schemas.microsoft.com/office/drawing/2014/main" id="{C9476405-6195-D746-9FD0-D63CA571A043}"/>
                </a:ext>
              </a:extLst>
            </p:cNvPr>
            <p:cNvSpPr>
              <a:spLocks noChangeArrowheads="1"/>
            </p:cNvSpPr>
            <p:nvPr/>
          </p:nvSpPr>
          <p:spPr bwMode="auto">
            <a:xfrm>
              <a:off x="5299075" y="2193925"/>
              <a:ext cx="333375" cy="322263"/>
            </a:xfrm>
            <a:custGeom>
              <a:avLst/>
              <a:gdLst>
                <a:gd name="T0" fmla="*/ 0 w 927"/>
                <a:gd name="T1" fmla="*/ 893 h 894"/>
                <a:gd name="T2" fmla="*/ 926 w 927"/>
                <a:gd name="T3" fmla="*/ 893 h 894"/>
                <a:gd name="T4" fmla="*/ 926 w 927"/>
                <a:gd name="T5" fmla="*/ 0 h 894"/>
                <a:gd name="T6" fmla="*/ 0 w 927"/>
                <a:gd name="T7" fmla="*/ 0 h 894"/>
                <a:gd name="T8" fmla="*/ 0 w 927"/>
                <a:gd name="T9" fmla="*/ 893 h 894"/>
              </a:gdLst>
              <a:ahLst/>
              <a:cxnLst>
                <a:cxn ang="0">
                  <a:pos x="T0" y="T1"/>
                </a:cxn>
                <a:cxn ang="0">
                  <a:pos x="T2" y="T3"/>
                </a:cxn>
                <a:cxn ang="0">
                  <a:pos x="T4" y="T5"/>
                </a:cxn>
                <a:cxn ang="0">
                  <a:pos x="T6" y="T7"/>
                </a:cxn>
                <a:cxn ang="0">
                  <a:pos x="T8" y="T9"/>
                </a:cxn>
              </a:cxnLst>
              <a:rect l="0" t="0" r="r" b="b"/>
              <a:pathLst>
                <a:path w="927" h="894">
                  <a:moveTo>
                    <a:pt x="0" y="893"/>
                  </a:moveTo>
                  <a:lnTo>
                    <a:pt x="926" y="893"/>
                  </a:lnTo>
                  <a:lnTo>
                    <a:pt x="926" y="0"/>
                  </a:lnTo>
                  <a:lnTo>
                    <a:pt x="0" y="0"/>
                  </a:lnTo>
                  <a:lnTo>
                    <a:pt x="0" y="893"/>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6" name="Freeform 7">
              <a:extLst>
                <a:ext uri="{FF2B5EF4-FFF2-40B4-BE49-F238E27FC236}">
                  <a16:creationId xmlns:a16="http://schemas.microsoft.com/office/drawing/2014/main" id="{BB5EC88D-C39A-954E-9A19-E10A92073978}"/>
                </a:ext>
              </a:extLst>
            </p:cNvPr>
            <p:cNvSpPr>
              <a:spLocks noChangeArrowheads="1"/>
            </p:cNvSpPr>
            <p:nvPr/>
          </p:nvSpPr>
          <p:spPr bwMode="auto">
            <a:xfrm>
              <a:off x="7458075" y="2746375"/>
              <a:ext cx="1452563" cy="1420813"/>
            </a:xfrm>
            <a:custGeom>
              <a:avLst/>
              <a:gdLst>
                <a:gd name="T0" fmla="*/ 3076 w 4036"/>
                <a:gd name="T1" fmla="*/ 1764 h 3948"/>
                <a:gd name="T2" fmla="*/ 3076 w 4036"/>
                <a:gd name="T3" fmla="*/ 1764 h 3948"/>
                <a:gd name="T4" fmla="*/ 3076 w 4036"/>
                <a:gd name="T5" fmla="*/ 1974 h 3948"/>
                <a:gd name="T6" fmla="*/ 2007 w 4036"/>
                <a:gd name="T7" fmla="*/ 3087 h 3948"/>
                <a:gd name="T8" fmla="*/ 959 w 4036"/>
                <a:gd name="T9" fmla="*/ 1974 h 3948"/>
                <a:gd name="T10" fmla="*/ 2007 w 4036"/>
                <a:gd name="T11" fmla="*/ 871 h 3948"/>
                <a:gd name="T12" fmla="*/ 2062 w 4036"/>
                <a:gd name="T13" fmla="*/ 871 h 3948"/>
                <a:gd name="T14" fmla="*/ 2062 w 4036"/>
                <a:gd name="T15" fmla="*/ 0 h 3948"/>
                <a:gd name="T16" fmla="*/ 2007 w 4036"/>
                <a:gd name="T17" fmla="*/ 0 h 3948"/>
                <a:gd name="T18" fmla="*/ 0 w 4036"/>
                <a:gd name="T19" fmla="*/ 1974 h 3948"/>
                <a:gd name="T20" fmla="*/ 2007 w 4036"/>
                <a:gd name="T21" fmla="*/ 3947 h 3948"/>
                <a:gd name="T22" fmla="*/ 4035 w 4036"/>
                <a:gd name="T23" fmla="*/ 1974 h 3948"/>
                <a:gd name="T24" fmla="*/ 4002 w 4036"/>
                <a:gd name="T25" fmla="*/ 1764 h 3948"/>
                <a:gd name="T26" fmla="*/ 3076 w 4036"/>
                <a:gd name="T27" fmla="*/ 1764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6" h="3948">
                  <a:moveTo>
                    <a:pt x="3076" y="1764"/>
                  </a:moveTo>
                  <a:lnTo>
                    <a:pt x="3076" y="1764"/>
                  </a:lnTo>
                  <a:cubicBezTo>
                    <a:pt x="3076" y="1852"/>
                    <a:pt x="3076" y="1907"/>
                    <a:pt x="3076" y="1974"/>
                  </a:cubicBezTo>
                  <a:cubicBezTo>
                    <a:pt x="3076" y="2624"/>
                    <a:pt x="2624" y="3087"/>
                    <a:pt x="2007" y="3087"/>
                  </a:cubicBezTo>
                  <a:cubicBezTo>
                    <a:pt x="1422" y="3087"/>
                    <a:pt x="959" y="2624"/>
                    <a:pt x="959" y="1974"/>
                  </a:cubicBezTo>
                  <a:cubicBezTo>
                    <a:pt x="959" y="1356"/>
                    <a:pt x="1389" y="871"/>
                    <a:pt x="2007" y="871"/>
                  </a:cubicBezTo>
                  <a:cubicBezTo>
                    <a:pt x="2040" y="871"/>
                    <a:pt x="2040" y="871"/>
                    <a:pt x="2062" y="871"/>
                  </a:cubicBezTo>
                  <a:cubicBezTo>
                    <a:pt x="2062" y="0"/>
                    <a:pt x="2062" y="0"/>
                    <a:pt x="2062" y="0"/>
                  </a:cubicBezTo>
                  <a:cubicBezTo>
                    <a:pt x="2040" y="0"/>
                    <a:pt x="2040" y="0"/>
                    <a:pt x="2007" y="0"/>
                  </a:cubicBezTo>
                  <a:cubicBezTo>
                    <a:pt x="871" y="0"/>
                    <a:pt x="0" y="893"/>
                    <a:pt x="0" y="1974"/>
                  </a:cubicBezTo>
                  <a:cubicBezTo>
                    <a:pt x="0" y="3109"/>
                    <a:pt x="871" y="3947"/>
                    <a:pt x="2007" y="3947"/>
                  </a:cubicBezTo>
                  <a:cubicBezTo>
                    <a:pt x="3175" y="3947"/>
                    <a:pt x="4035" y="3109"/>
                    <a:pt x="4035" y="1974"/>
                  </a:cubicBezTo>
                  <a:cubicBezTo>
                    <a:pt x="4035" y="1907"/>
                    <a:pt x="4035" y="1852"/>
                    <a:pt x="4002" y="1764"/>
                  </a:cubicBezTo>
                  <a:lnTo>
                    <a:pt x="3076" y="176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grpSp>
        <p:nvGrpSpPr>
          <p:cNvPr id="17" name="Group 16">
            <a:extLst>
              <a:ext uri="{FF2B5EF4-FFF2-40B4-BE49-F238E27FC236}">
                <a16:creationId xmlns:a16="http://schemas.microsoft.com/office/drawing/2014/main" id="{96090D9A-3089-134A-B459-51569273EB30}"/>
              </a:ext>
            </a:extLst>
          </p:cNvPr>
          <p:cNvGrpSpPr/>
          <p:nvPr userDrawn="1"/>
        </p:nvGrpSpPr>
        <p:grpSpPr>
          <a:xfrm>
            <a:off x="7022159" y="4447762"/>
            <a:ext cx="1692983" cy="279387"/>
            <a:chOff x="1828800" y="3017838"/>
            <a:chExt cx="6291263" cy="1038225"/>
          </a:xfrm>
        </p:grpSpPr>
        <p:sp>
          <p:nvSpPr>
            <p:cNvPr id="18" name="Freeform 1">
              <a:extLst>
                <a:ext uri="{FF2B5EF4-FFF2-40B4-BE49-F238E27FC236}">
                  <a16:creationId xmlns:a16="http://schemas.microsoft.com/office/drawing/2014/main" id="{0DD4D70B-B0B3-054B-9575-BFFC3072C4D6}"/>
                </a:ext>
              </a:extLst>
            </p:cNvPr>
            <p:cNvSpPr>
              <a:spLocks noChangeArrowheads="1"/>
            </p:cNvSpPr>
            <p:nvPr userDrawn="1"/>
          </p:nvSpPr>
          <p:spPr bwMode="auto">
            <a:xfrm>
              <a:off x="1831975" y="3017838"/>
              <a:ext cx="388938" cy="438150"/>
            </a:xfrm>
            <a:custGeom>
              <a:avLst/>
              <a:gdLst>
                <a:gd name="T0" fmla="*/ 1081 w 1082"/>
                <a:gd name="T1" fmla="*/ 1042 h 1215"/>
                <a:gd name="T2" fmla="*/ 1081 w 1082"/>
                <a:gd name="T3" fmla="*/ 1042 h 1215"/>
                <a:gd name="T4" fmla="*/ 873 w 1082"/>
                <a:gd name="T5" fmla="*/ 1172 h 1215"/>
                <a:gd name="T6" fmla="*/ 631 w 1082"/>
                <a:gd name="T7" fmla="*/ 1214 h 1215"/>
                <a:gd name="T8" fmla="*/ 350 w 1082"/>
                <a:gd name="T9" fmla="*/ 1164 h 1215"/>
                <a:gd name="T10" fmla="*/ 153 w 1082"/>
                <a:gd name="T11" fmla="*/ 1028 h 1215"/>
                <a:gd name="T12" fmla="*/ 39 w 1082"/>
                <a:gd name="T13" fmla="*/ 836 h 1215"/>
                <a:gd name="T14" fmla="*/ 0 w 1082"/>
                <a:gd name="T15" fmla="*/ 614 h 1215"/>
                <a:gd name="T16" fmla="*/ 39 w 1082"/>
                <a:gd name="T17" fmla="*/ 389 h 1215"/>
                <a:gd name="T18" fmla="*/ 156 w 1082"/>
                <a:gd name="T19" fmla="*/ 192 h 1215"/>
                <a:gd name="T20" fmla="*/ 353 w 1082"/>
                <a:gd name="T21" fmla="*/ 53 h 1215"/>
                <a:gd name="T22" fmla="*/ 631 w 1082"/>
                <a:gd name="T23" fmla="*/ 0 h 1215"/>
                <a:gd name="T24" fmla="*/ 864 w 1082"/>
                <a:gd name="T25" fmla="*/ 44 h 1215"/>
                <a:gd name="T26" fmla="*/ 1070 w 1082"/>
                <a:gd name="T27" fmla="*/ 178 h 1215"/>
                <a:gd name="T28" fmla="*/ 942 w 1082"/>
                <a:gd name="T29" fmla="*/ 297 h 1215"/>
                <a:gd name="T30" fmla="*/ 795 w 1082"/>
                <a:gd name="T31" fmla="*/ 206 h 1215"/>
                <a:gd name="T32" fmla="*/ 631 w 1082"/>
                <a:gd name="T33" fmla="*/ 178 h 1215"/>
                <a:gd name="T34" fmla="*/ 434 w 1082"/>
                <a:gd name="T35" fmla="*/ 214 h 1215"/>
                <a:gd name="T36" fmla="*/ 298 w 1082"/>
                <a:gd name="T37" fmla="*/ 314 h 1215"/>
                <a:gd name="T38" fmla="*/ 217 w 1082"/>
                <a:gd name="T39" fmla="*/ 453 h 1215"/>
                <a:gd name="T40" fmla="*/ 192 w 1082"/>
                <a:gd name="T41" fmla="*/ 614 h 1215"/>
                <a:gd name="T42" fmla="*/ 217 w 1082"/>
                <a:gd name="T43" fmla="*/ 769 h 1215"/>
                <a:gd name="T44" fmla="*/ 295 w 1082"/>
                <a:gd name="T45" fmla="*/ 906 h 1215"/>
                <a:gd name="T46" fmla="*/ 434 w 1082"/>
                <a:gd name="T47" fmla="*/ 1003 h 1215"/>
                <a:gd name="T48" fmla="*/ 631 w 1082"/>
                <a:gd name="T49" fmla="*/ 1039 h 1215"/>
                <a:gd name="T50" fmla="*/ 800 w 1082"/>
                <a:gd name="T51" fmla="*/ 1008 h 1215"/>
                <a:gd name="T52" fmla="*/ 950 w 1082"/>
                <a:gd name="T53" fmla="*/ 911 h 1215"/>
                <a:gd name="T54" fmla="*/ 1081 w 1082"/>
                <a:gd name="T55" fmla="*/ 1042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2" h="1215">
                  <a:moveTo>
                    <a:pt x="1081" y="1042"/>
                  </a:moveTo>
                  <a:lnTo>
                    <a:pt x="1081" y="1042"/>
                  </a:lnTo>
                  <a:cubicBezTo>
                    <a:pt x="1020" y="1100"/>
                    <a:pt x="950" y="1144"/>
                    <a:pt x="873" y="1172"/>
                  </a:cubicBezTo>
                  <a:cubicBezTo>
                    <a:pt x="798" y="1200"/>
                    <a:pt x="717" y="1214"/>
                    <a:pt x="631" y="1214"/>
                  </a:cubicBezTo>
                  <a:cubicBezTo>
                    <a:pt x="523" y="1214"/>
                    <a:pt x="431" y="1197"/>
                    <a:pt x="350" y="1164"/>
                  </a:cubicBezTo>
                  <a:cubicBezTo>
                    <a:pt x="273" y="1130"/>
                    <a:pt x="206" y="1086"/>
                    <a:pt x="153" y="1028"/>
                  </a:cubicBezTo>
                  <a:cubicBezTo>
                    <a:pt x="103" y="972"/>
                    <a:pt x="64" y="908"/>
                    <a:pt x="39" y="836"/>
                  </a:cubicBezTo>
                  <a:cubicBezTo>
                    <a:pt x="14" y="764"/>
                    <a:pt x="0" y="692"/>
                    <a:pt x="0" y="614"/>
                  </a:cubicBezTo>
                  <a:cubicBezTo>
                    <a:pt x="0" y="536"/>
                    <a:pt x="14" y="461"/>
                    <a:pt x="39" y="389"/>
                  </a:cubicBezTo>
                  <a:cubicBezTo>
                    <a:pt x="67" y="314"/>
                    <a:pt x="103" y="250"/>
                    <a:pt x="156" y="192"/>
                  </a:cubicBezTo>
                  <a:cubicBezTo>
                    <a:pt x="209" y="133"/>
                    <a:pt x="273" y="89"/>
                    <a:pt x="353" y="53"/>
                  </a:cubicBezTo>
                  <a:cubicBezTo>
                    <a:pt x="431" y="17"/>
                    <a:pt x="525" y="0"/>
                    <a:pt x="631" y="0"/>
                  </a:cubicBezTo>
                  <a:cubicBezTo>
                    <a:pt x="711" y="0"/>
                    <a:pt x="789" y="14"/>
                    <a:pt x="864" y="44"/>
                  </a:cubicBezTo>
                  <a:cubicBezTo>
                    <a:pt x="939" y="72"/>
                    <a:pt x="1009" y="117"/>
                    <a:pt x="1070" y="178"/>
                  </a:cubicBezTo>
                  <a:cubicBezTo>
                    <a:pt x="942" y="297"/>
                    <a:pt x="942" y="297"/>
                    <a:pt x="942" y="297"/>
                  </a:cubicBezTo>
                  <a:cubicBezTo>
                    <a:pt x="898" y="256"/>
                    <a:pt x="850" y="225"/>
                    <a:pt x="795" y="206"/>
                  </a:cubicBezTo>
                  <a:cubicBezTo>
                    <a:pt x="742" y="186"/>
                    <a:pt x="686" y="178"/>
                    <a:pt x="631" y="178"/>
                  </a:cubicBezTo>
                  <a:cubicBezTo>
                    <a:pt x="556" y="178"/>
                    <a:pt x="489" y="189"/>
                    <a:pt x="434" y="214"/>
                  </a:cubicBezTo>
                  <a:cubicBezTo>
                    <a:pt x="378" y="239"/>
                    <a:pt x="334" y="272"/>
                    <a:pt x="298" y="314"/>
                  </a:cubicBezTo>
                  <a:cubicBezTo>
                    <a:pt x="261" y="356"/>
                    <a:pt x="234" y="400"/>
                    <a:pt x="217" y="453"/>
                  </a:cubicBezTo>
                  <a:cubicBezTo>
                    <a:pt x="200" y="506"/>
                    <a:pt x="192" y="558"/>
                    <a:pt x="192" y="614"/>
                  </a:cubicBezTo>
                  <a:cubicBezTo>
                    <a:pt x="192" y="667"/>
                    <a:pt x="200" y="719"/>
                    <a:pt x="217" y="769"/>
                  </a:cubicBezTo>
                  <a:cubicBezTo>
                    <a:pt x="234" y="822"/>
                    <a:pt x="261" y="867"/>
                    <a:pt x="295" y="906"/>
                  </a:cubicBezTo>
                  <a:cubicBezTo>
                    <a:pt x="331" y="947"/>
                    <a:pt x="378" y="978"/>
                    <a:pt x="434" y="1003"/>
                  </a:cubicBezTo>
                  <a:cubicBezTo>
                    <a:pt x="489" y="1028"/>
                    <a:pt x="553" y="1039"/>
                    <a:pt x="631" y="1039"/>
                  </a:cubicBezTo>
                  <a:cubicBezTo>
                    <a:pt x="686" y="1039"/>
                    <a:pt x="745" y="1028"/>
                    <a:pt x="800" y="1008"/>
                  </a:cubicBezTo>
                  <a:cubicBezTo>
                    <a:pt x="859" y="986"/>
                    <a:pt x="906" y="953"/>
                    <a:pt x="950" y="911"/>
                  </a:cubicBezTo>
                  <a:lnTo>
                    <a:pt x="1081" y="104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9" name="Freeform 2">
              <a:extLst>
                <a:ext uri="{FF2B5EF4-FFF2-40B4-BE49-F238E27FC236}">
                  <a16:creationId xmlns:a16="http://schemas.microsoft.com/office/drawing/2014/main" id="{EBCA234E-BBBC-9042-AAB0-E0DEC5441476}"/>
                </a:ext>
              </a:extLst>
            </p:cNvPr>
            <p:cNvSpPr>
              <a:spLocks noChangeArrowheads="1"/>
            </p:cNvSpPr>
            <p:nvPr userDrawn="1"/>
          </p:nvSpPr>
          <p:spPr bwMode="auto">
            <a:xfrm>
              <a:off x="2268538" y="3149600"/>
              <a:ext cx="293687" cy="301625"/>
            </a:xfrm>
            <a:custGeom>
              <a:avLst/>
              <a:gdLst>
                <a:gd name="T0" fmla="*/ 175 w 815"/>
                <a:gd name="T1" fmla="*/ 0 h 837"/>
                <a:gd name="T2" fmla="*/ 175 w 815"/>
                <a:gd name="T3" fmla="*/ 0 h 837"/>
                <a:gd name="T4" fmla="*/ 175 w 815"/>
                <a:gd name="T5" fmla="*/ 439 h 837"/>
                <a:gd name="T6" fmla="*/ 233 w 815"/>
                <a:gd name="T7" fmla="*/ 611 h 837"/>
                <a:gd name="T8" fmla="*/ 406 w 815"/>
                <a:gd name="T9" fmla="*/ 675 h 837"/>
                <a:gd name="T10" fmla="*/ 500 w 815"/>
                <a:gd name="T11" fmla="*/ 658 h 837"/>
                <a:gd name="T12" fmla="*/ 572 w 815"/>
                <a:gd name="T13" fmla="*/ 602 h 837"/>
                <a:gd name="T14" fmla="*/ 622 w 815"/>
                <a:gd name="T15" fmla="*/ 525 h 837"/>
                <a:gd name="T16" fmla="*/ 639 w 815"/>
                <a:gd name="T17" fmla="*/ 427 h 837"/>
                <a:gd name="T18" fmla="*/ 639 w 815"/>
                <a:gd name="T19" fmla="*/ 0 h 837"/>
                <a:gd name="T20" fmla="*/ 814 w 815"/>
                <a:gd name="T21" fmla="*/ 0 h 837"/>
                <a:gd name="T22" fmla="*/ 814 w 815"/>
                <a:gd name="T23" fmla="*/ 825 h 837"/>
                <a:gd name="T24" fmla="*/ 656 w 815"/>
                <a:gd name="T25" fmla="*/ 825 h 837"/>
                <a:gd name="T26" fmla="*/ 645 w 815"/>
                <a:gd name="T27" fmla="*/ 702 h 837"/>
                <a:gd name="T28" fmla="*/ 514 w 815"/>
                <a:gd name="T29" fmla="*/ 805 h 837"/>
                <a:gd name="T30" fmla="*/ 356 w 815"/>
                <a:gd name="T31" fmla="*/ 836 h 837"/>
                <a:gd name="T32" fmla="*/ 211 w 815"/>
                <a:gd name="T33" fmla="*/ 811 h 837"/>
                <a:gd name="T34" fmla="*/ 100 w 815"/>
                <a:gd name="T35" fmla="*/ 733 h 837"/>
                <a:gd name="T36" fmla="*/ 25 w 815"/>
                <a:gd name="T37" fmla="*/ 608 h 837"/>
                <a:gd name="T38" fmla="*/ 0 w 815"/>
                <a:gd name="T39" fmla="*/ 441 h 837"/>
                <a:gd name="T40" fmla="*/ 0 w 815"/>
                <a:gd name="T41" fmla="*/ 0 h 837"/>
                <a:gd name="T42" fmla="*/ 175 w 815"/>
                <a:gd name="T43" fmla="*/ 0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5" h="837">
                  <a:moveTo>
                    <a:pt x="175" y="0"/>
                  </a:moveTo>
                  <a:lnTo>
                    <a:pt x="175" y="0"/>
                  </a:lnTo>
                  <a:cubicBezTo>
                    <a:pt x="175" y="439"/>
                    <a:pt x="175" y="439"/>
                    <a:pt x="175" y="439"/>
                  </a:cubicBezTo>
                  <a:cubicBezTo>
                    <a:pt x="175" y="508"/>
                    <a:pt x="195" y="566"/>
                    <a:pt x="233" y="611"/>
                  </a:cubicBezTo>
                  <a:cubicBezTo>
                    <a:pt x="275" y="655"/>
                    <a:pt x="331" y="675"/>
                    <a:pt x="406" y="675"/>
                  </a:cubicBezTo>
                  <a:cubicBezTo>
                    <a:pt x="439" y="675"/>
                    <a:pt x="470" y="669"/>
                    <a:pt x="500" y="658"/>
                  </a:cubicBezTo>
                  <a:cubicBezTo>
                    <a:pt x="528" y="644"/>
                    <a:pt x="553" y="627"/>
                    <a:pt x="572" y="602"/>
                  </a:cubicBezTo>
                  <a:cubicBezTo>
                    <a:pt x="595" y="580"/>
                    <a:pt x="611" y="555"/>
                    <a:pt x="622" y="525"/>
                  </a:cubicBezTo>
                  <a:cubicBezTo>
                    <a:pt x="633" y="494"/>
                    <a:pt x="639" y="461"/>
                    <a:pt x="639" y="427"/>
                  </a:cubicBezTo>
                  <a:cubicBezTo>
                    <a:pt x="639" y="0"/>
                    <a:pt x="639" y="0"/>
                    <a:pt x="639" y="0"/>
                  </a:cubicBezTo>
                  <a:cubicBezTo>
                    <a:pt x="814" y="0"/>
                    <a:pt x="814" y="0"/>
                    <a:pt x="814" y="0"/>
                  </a:cubicBezTo>
                  <a:cubicBezTo>
                    <a:pt x="814" y="825"/>
                    <a:pt x="814" y="825"/>
                    <a:pt x="814" y="825"/>
                  </a:cubicBezTo>
                  <a:cubicBezTo>
                    <a:pt x="656" y="825"/>
                    <a:pt x="656" y="825"/>
                    <a:pt x="656" y="825"/>
                  </a:cubicBezTo>
                  <a:cubicBezTo>
                    <a:pt x="645" y="702"/>
                    <a:pt x="645" y="702"/>
                    <a:pt x="645" y="702"/>
                  </a:cubicBezTo>
                  <a:cubicBezTo>
                    <a:pt x="603" y="750"/>
                    <a:pt x="561" y="783"/>
                    <a:pt x="514" y="805"/>
                  </a:cubicBezTo>
                  <a:cubicBezTo>
                    <a:pt x="467" y="825"/>
                    <a:pt x="414" y="836"/>
                    <a:pt x="356" y="836"/>
                  </a:cubicBezTo>
                  <a:cubicBezTo>
                    <a:pt x="303" y="836"/>
                    <a:pt x="256" y="827"/>
                    <a:pt x="211" y="811"/>
                  </a:cubicBezTo>
                  <a:cubicBezTo>
                    <a:pt x="170" y="791"/>
                    <a:pt x="131" y="766"/>
                    <a:pt x="100" y="733"/>
                  </a:cubicBezTo>
                  <a:cubicBezTo>
                    <a:pt x="70" y="700"/>
                    <a:pt x="45" y="658"/>
                    <a:pt x="25" y="608"/>
                  </a:cubicBezTo>
                  <a:cubicBezTo>
                    <a:pt x="8" y="561"/>
                    <a:pt x="0" y="505"/>
                    <a:pt x="0" y="441"/>
                  </a:cubicBezTo>
                  <a:cubicBezTo>
                    <a:pt x="0" y="0"/>
                    <a:pt x="0" y="0"/>
                    <a:pt x="0" y="0"/>
                  </a:cubicBezTo>
                  <a:lnTo>
                    <a:pt x="175"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1" name="Freeform 3">
              <a:extLst>
                <a:ext uri="{FF2B5EF4-FFF2-40B4-BE49-F238E27FC236}">
                  <a16:creationId xmlns:a16="http://schemas.microsoft.com/office/drawing/2014/main" id="{94906A60-4D37-1F4B-82F6-CD23F9B86025}"/>
                </a:ext>
              </a:extLst>
            </p:cNvPr>
            <p:cNvSpPr>
              <a:spLocks noChangeArrowheads="1"/>
            </p:cNvSpPr>
            <p:nvPr userDrawn="1"/>
          </p:nvSpPr>
          <p:spPr bwMode="auto">
            <a:xfrm>
              <a:off x="2624138" y="3141663"/>
              <a:ext cx="268287" cy="314325"/>
            </a:xfrm>
            <a:custGeom>
              <a:avLst/>
              <a:gdLst>
                <a:gd name="T0" fmla="*/ 606 w 746"/>
                <a:gd name="T1" fmla="*/ 225 h 871"/>
                <a:gd name="T2" fmla="*/ 606 w 746"/>
                <a:gd name="T3" fmla="*/ 225 h 871"/>
                <a:gd name="T4" fmla="*/ 500 w 746"/>
                <a:gd name="T5" fmla="*/ 164 h 871"/>
                <a:gd name="T6" fmla="*/ 383 w 746"/>
                <a:gd name="T7" fmla="*/ 148 h 871"/>
                <a:gd name="T8" fmla="*/ 253 w 746"/>
                <a:gd name="T9" fmla="*/ 173 h 871"/>
                <a:gd name="T10" fmla="*/ 203 w 746"/>
                <a:gd name="T11" fmla="*/ 245 h 871"/>
                <a:gd name="T12" fmla="*/ 256 w 746"/>
                <a:gd name="T13" fmla="*/ 320 h 871"/>
                <a:gd name="T14" fmla="*/ 386 w 746"/>
                <a:gd name="T15" fmla="*/ 350 h 871"/>
                <a:gd name="T16" fmla="*/ 508 w 746"/>
                <a:gd name="T17" fmla="*/ 367 h 871"/>
                <a:gd name="T18" fmla="*/ 625 w 746"/>
                <a:gd name="T19" fmla="*/ 406 h 871"/>
                <a:gd name="T20" fmla="*/ 711 w 746"/>
                <a:gd name="T21" fmla="*/ 481 h 871"/>
                <a:gd name="T22" fmla="*/ 745 w 746"/>
                <a:gd name="T23" fmla="*/ 611 h 871"/>
                <a:gd name="T24" fmla="*/ 717 w 746"/>
                <a:gd name="T25" fmla="*/ 717 h 871"/>
                <a:gd name="T26" fmla="*/ 645 w 746"/>
                <a:gd name="T27" fmla="*/ 798 h 871"/>
                <a:gd name="T28" fmla="*/ 533 w 746"/>
                <a:gd name="T29" fmla="*/ 853 h 871"/>
                <a:gd name="T30" fmla="*/ 383 w 746"/>
                <a:gd name="T31" fmla="*/ 870 h 871"/>
                <a:gd name="T32" fmla="*/ 183 w 746"/>
                <a:gd name="T33" fmla="*/ 842 h 871"/>
                <a:gd name="T34" fmla="*/ 0 w 746"/>
                <a:gd name="T35" fmla="*/ 720 h 871"/>
                <a:gd name="T36" fmla="*/ 92 w 746"/>
                <a:gd name="T37" fmla="*/ 598 h 871"/>
                <a:gd name="T38" fmla="*/ 233 w 746"/>
                <a:gd name="T39" fmla="*/ 689 h 871"/>
                <a:gd name="T40" fmla="*/ 389 w 746"/>
                <a:gd name="T41" fmla="*/ 720 h 871"/>
                <a:gd name="T42" fmla="*/ 450 w 746"/>
                <a:gd name="T43" fmla="*/ 714 h 871"/>
                <a:gd name="T44" fmla="*/ 508 w 746"/>
                <a:gd name="T45" fmla="*/ 698 h 871"/>
                <a:gd name="T46" fmla="*/ 550 w 746"/>
                <a:gd name="T47" fmla="*/ 662 h 871"/>
                <a:gd name="T48" fmla="*/ 567 w 746"/>
                <a:gd name="T49" fmla="*/ 614 h 871"/>
                <a:gd name="T50" fmla="*/ 517 w 746"/>
                <a:gd name="T51" fmla="*/ 531 h 871"/>
                <a:gd name="T52" fmla="*/ 372 w 746"/>
                <a:gd name="T53" fmla="*/ 498 h 871"/>
                <a:gd name="T54" fmla="*/ 253 w 746"/>
                <a:gd name="T55" fmla="*/ 478 h 871"/>
                <a:gd name="T56" fmla="*/ 142 w 746"/>
                <a:gd name="T57" fmla="*/ 436 h 871"/>
                <a:gd name="T58" fmla="*/ 61 w 746"/>
                <a:gd name="T59" fmla="*/ 364 h 871"/>
                <a:gd name="T60" fmla="*/ 31 w 746"/>
                <a:gd name="T61" fmla="*/ 250 h 871"/>
                <a:gd name="T62" fmla="*/ 61 w 746"/>
                <a:gd name="T63" fmla="*/ 134 h 871"/>
                <a:gd name="T64" fmla="*/ 145 w 746"/>
                <a:gd name="T65" fmla="*/ 56 h 871"/>
                <a:gd name="T66" fmla="*/ 259 w 746"/>
                <a:gd name="T67" fmla="*/ 14 h 871"/>
                <a:gd name="T68" fmla="*/ 381 w 746"/>
                <a:gd name="T69" fmla="*/ 0 h 871"/>
                <a:gd name="T70" fmla="*/ 556 w 746"/>
                <a:gd name="T71" fmla="*/ 25 h 871"/>
                <a:gd name="T72" fmla="*/ 703 w 746"/>
                <a:gd name="T73" fmla="*/ 112 h 871"/>
                <a:gd name="T74" fmla="*/ 606 w 746"/>
                <a:gd name="T75" fmla="*/ 225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6" h="871">
                  <a:moveTo>
                    <a:pt x="606" y="225"/>
                  </a:moveTo>
                  <a:lnTo>
                    <a:pt x="606" y="225"/>
                  </a:lnTo>
                  <a:cubicBezTo>
                    <a:pt x="572" y="195"/>
                    <a:pt x="536" y="173"/>
                    <a:pt x="500" y="164"/>
                  </a:cubicBezTo>
                  <a:cubicBezTo>
                    <a:pt x="464" y="153"/>
                    <a:pt x="425" y="148"/>
                    <a:pt x="383" y="148"/>
                  </a:cubicBezTo>
                  <a:cubicBezTo>
                    <a:pt x="328" y="148"/>
                    <a:pt x="286" y="153"/>
                    <a:pt x="253" y="173"/>
                  </a:cubicBezTo>
                  <a:cubicBezTo>
                    <a:pt x="220" y="189"/>
                    <a:pt x="203" y="214"/>
                    <a:pt x="203" y="245"/>
                  </a:cubicBezTo>
                  <a:cubicBezTo>
                    <a:pt x="206" y="281"/>
                    <a:pt x="222" y="306"/>
                    <a:pt x="256" y="320"/>
                  </a:cubicBezTo>
                  <a:cubicBezTo>
                    <a:pt x="289" y="336"/>
                    <a:pt x="331" y="345"/>
                    <a:pt x="386" y="350"/>
                  </a:cubicBezTo>
                  <a:cubicBezTo>
                    <a:pt x="425" y="356"/>
                    <a:pt x="467" y="359"/>
                    <a:pt x="508" y="367"/>
                  </a:cubicBezTo>
                  <a:cubicBezTo>
                    <a:pt x="550" y="375"/>
                    <a:pt x="589" y="387"/>
                    <a:pt x="625" y="406"/>
                  </a:cubicBezTo>
                  <a:cubicBezTo>
                    <a:pt x="658" y="425"/>
                    <a:pt x="689" y="450"/>
                    <a:pt x="711" y="481"/>
                  </a:cubicBezTo>
                  <a:cubicBezTo>
                    <a:pt x="733" y="514"/>
                    <a:pt x="745" y="556"/>
                    <a:pt x="745" y="611"/>
                  </a:cubicBezTo>
                  <a:cubicBezTo>
                    <a:pt x="745" y="650"/>
                    <a:pt x="736" y="684"/>
                    <a:pt x="717" y="717"/>
                  </a:cubicBezTo>
                  <a:cubicBezTo>
                    <a:pt x="700" y="748"/>
                    <a:pt x="675" y="775"/>
                    <a:pt x="645" y="798"/>
                  </a:cubicBezTo>
                  <a:cubicBezTo>
                    <a:pt x="614" y="823"/>
                    <a:pt x="575" y="839"/>
                    <a:pt x="533" y="853"/>
                  </a:cubicBezTo>
                  <a:cubicBezTo>
                    <a:pt x="489" y="864"/>
                    <a:pt x="439" y="870"/>
                    <a:pt x="383" y="870"/>
                  </a:cubicBezTo>
                  <a:cubicBezTo>
                    <a:pt x="317" y="870"/>
                    <a:pt x="250" y="862"/>
                    <a:pt x="183" y="842"/>
                  </a:cubicBezTo>
                  <a:cubicBezTo>
                    <a:pt x="117" y="820"/>
                    <a:pt x="56" y="781"/>
                    <a:pt x="0" y="720"/>
                  </a:cubicBezTo>
                  <a:cubicBezTo>
                    <a:pt x="92" y="598"/>
                    <a:pt x="92" y="598"/>
                    <a:pt x="92" y="598"/>
                  </a:cubicBezTo>
                  <a:cubicBezTo>
                    <a:pt x="133" y="639"/>
                    <a:pt x="181" y="673"/>
                    <a:pt x="233" y="689"/>
                  </a:cubicBezTo>
                  <a:cubicBezTo>
                    <a:pt x="286" y="709"/>
                    <a:pt x="339" y="720"/>
                    <a:pt x="389" y="720"/>
                  </a:cubicBezTo>
                  <a:cubicBezTo>
                    <a:pt x="408" y="720"/>
                    <a:pt x="431" y="720"/>
                    <a:pt x="450" y="714"/>
                  </a:cubicBezTo>
                  <a:cubicBezTo>
                    <a:pt x="472" y="711"/>
                    <a:pt x="492" y="706"/>
                    <a:pt x="508" y="698"/>
                  </a:cubicBezTo>
                  <a:cubicBezTo>
                    <a:pt x="525" y="686"/>
                    <a:pt x="539" y="675"/>
                    <a:pt x="550" y="662"/>
                  </a:cubicBezTo>
                  <a:cubicBezTo>
                    <a:pt x="561" y="648"/>
                    <a:pt x="567" y="631"/>
                    <a:pt x="567" y="614"/>
                  </a:cubicBezTo>
                  <a:cubicBezTo>
                    <a:pt x="570" y="575"/>
                    <a:pt x="553" y="548"/>
                    <a:pt x="517" y="531"/>
                  </a:cubicBezTo>
                  <a:cubicBezTo>
                    <a:pt x="483" y="514"/>
                    <a:pt x="436" y="503"/>
                    <a:pt x="372" y="498"/>
                  </a:cubicBezTo>
                  <a:cubicBezTo>
                    <a:pt x="333" y="495"/>
                    <a:pt x="292" y="489"/>
                    <a:pt x="253" y="478"/>
                  </a:cubicBezTo>
                  <a:cubicBezTo>
                    <a:pt x="211" y="470"/>
                    <a:pt x="175" y="456"/>
                    <a:pt x="142" y="436"/>
                  </a:cubicBezTo>
                  <a:cubicBezTo>
                    <a:pt x="108" y="420"/>
                    <a:pt x="84" y="395"/>
                    <a:pt x="61" y="364"/>
                  </a:cubicBezTo>
                  <a:cubicBezTo>
                    <a:pt x="39" y="334"/>
                    <a:pt x="31" y="298"/>
                    <a:pt x="31" y="250"/>
                  </a:cubicBezTo>
                  <a:cubicBezTo>
                    <a:pt x="31" y="206"/>
                    <a:pt x="42" y="167"/>
                    <a:pt x="61" y="134"/>
                  </a:cubicBezTo>
                  <a:cubicBezTo>
                    <a:pt x="84" y="103"/>
                    <a:pt x="111" y="78"/>
                    <a:pt x="145" y="56"/>
                  </a:cubicBezTo>
                  <a:cubicBezTo>
                    <a:pt x="181" y="37"/>
                    <a:pt x="217" y="23"/>
                    <a:pt x="259" y="14"/>
                  </a:cubicBezTo>
                  <a:cubicBezTo>
                    <a:pt x="300" y="6"/>
                    <a:pt x="339" y="0"/>
                    <a:pt x="381" y="0"/>
                  </a:cubicBezTo>
                  <a:cubicBezTo>
                    <a:pt x="445" y="0"/>
                    <a:pt x="503" y="9"/>
                    <a:pt x="556" y="25"/>
                  </a:cubicBezTo>
                  <a:cubicBezTo>
                    <a:pt x="606" y="42"/>
                    <a:pt x="656" y="70"/>
                    <a:pt x="703" y="112"/>
                  </a:cubicBezTo>
                  <a:lnTo>
                    <a:pt x="606" y="2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2" name="Freeform 4">
              <a:extLst>
                <a:ext uri="{FF2B5EF4-FFF2-40B4-BE49-F238E27FC236}">
                  <a16:creationId xmlns:a16="http://schemas.microsoft.com/office/drawing/2014/main" id="{CD2CCA88-6514-AE47-BD58-5E7637F2B340}"/>
                </a:ext>
              </a:extLst>
            </p:cNvPr>
            <p:cNvSpPr>
              <a:spLocks noChangeArrowheads="1"/>
            </p:cNvSpPr>
            <p:nvPr userDrawn="1"/>
          </p:nvSpPr>
          <p:spPr bwMode="auto">
            <a:xfrm>
              <a:off x="2928938" y="3063875"/>
              <a:ext cx="223837" cy="387350"/>
            </a:xfrm>
            <a:custGeom>
              <a:avLst/>
              <a:gdLst>
                <a:gd name="T0" fmla="*/ 342 w 621"/>
                <a:gd name="T1" fmla="*/ 0 h 1076"/>
                <a:gd name="T2" fmla="*/ 342 w 621"/>
                <a:gd name="T3" fmla="*/ 0 h 1076"/>
                <a:gd name="T4" fmla="*/ 342 w 621"/>
                <a:gd name="T5" fmla="*/ 239 h 1076"/>
                <a:gd name="T6" fmla="*/ 586 w 621"/>
                <a:gd name="T7" fmla="*/ 239 h 1076"/>
                <a:gd name="T8" fmla="*/ 586 w 621"/>
                <a:gd name="T9" fmla="*/ 391 h 1076"/>
                <a:gd name="T10" fmla="*/ 339 w 621"/>
                <a:gd name="T11" fmla="*/ 391 h 1076"/>
                <a:gd name="T12" fmla="*/ 339 w 621"/>
                <a:gd name="T13" fmla="*/ 780 h 1076"/>
                <a:gd name="T14" fmla="*/ 369 w 621"/>
                <a:gd name="T15" fmla="*/ 880 h 1076"/>
                <a:gd name="T16" fmla="*/ 461 w 621"/>
                <a:gd name="T17" fmla="*/ 916 h 1076"/>
                <a:gd name="T18" fmla="*/ 514 w 621"/>
                <a:gd name="T19" fmla="*/ 908 h 1076"/>
                <a:gd name="T20" fmla="*/ 567 w 621"/>
                <a:gd name="T21" fmla="*/ 889 h 1076"/>
                <a:gd name="T22" fmla="*/ 620 w 621"/>
                <a:gd name="T23" fmla="*/ 1036 h 1076"/>
                <a:gd name="T24" fmla="*/ 533 w 621"/>
                <a:gd name="T25" fmla="*/ 1064 h 1076"/>
                <a:gd name="T26" fmla="*/ 450 w 621"/>
                <a:gd name="T27" fmla="*/ 1072 h 1076"/>
                <a:gd name="T28" fmla="*/ 236 w 621"/>
                <a:gd name="T29" fmla="*/ 1002 h 1076"/>
                <a:gd name="T30" fmla="*/ 164 w 621"/>
                <a:gd name="T31" fmla="*/ 783 h 1076"/>
                <a:gd name="T32" fmla="*/ 164 w 621"/>
                <a:gd name="T33" fmla="*/ 391 h 1076"/>
                <a:gd name="T34" fmla="*/ 0 w 621"/>
                <a:gd name="T35" fmla="*/ 391 h 1076"/>
                <a:gd name="T36" fmla="*/ 0 w 621"/>
                <a:gd name="T37" fmla="*/ 239 h 1076"/>
                <a:gd name="T38" fmla="*/ 164 w 621"/>
                <a:gd name="T39" fmla="*/ 239 h 1076"/>
                <a:gd name="T40" fmla="*/ 164 w 621"/>
                <a:gd name="T41" fmla="*/ 19 h 1076"/>
                <a:gd name="T42" fmla="*/ 342 w 621"/>
                <a:gd name="T43" fmla="*/ 0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1" h="1076">
                  <a:moveTo>
                    <a:pt x="342" y="0"/>
                  </a:moveTo>
                  <a:lnTo>
                    <a:pt x="342" y="0"/>
                  </a:lnTo>
                  <a:cubicBezTo>
                    <a:pt x="342" y="239"/>
                    <a:pt x="342" y="239"/>
                    <a:pt x="342" y="239"/>
                  </a:cubicBezTo>
                  <a:cubicBezTo>
                    <a:pt x="586" y="239"/>
                    <a:pt x="586" y="239"/>
                    <a:pt x="586" y="239"/>
                  </a:cubicBezTo>
                  <a:cubicBezTo>
                    <a:pt x="586" y="391"/>
                    <a:pt x="586" y="391"/>
                    <a:pt x="586" y="391"/>
                  </a:cubicBezTo>
                  <a:cubicBezTo>
                    <a:pt x="339" y="391"/>
                    <a:pt x="339" y="391"/>
                    <a:pt x="339" y="391"/>
                  </a:cubicBezTo>
                  <a:cubicBezTo>
                    <a:pt x="339" y="780"/>
                    <a:pt x="339" y="780"/>
                    <a:pt x="339" y="780"/>
                  </a:cubicBezTo>
                  <a:cubicBezTo>
                    <a:pt x="339" y="825"/>
                    <a:pt x="350" y="858"/>
                    <a:pt x="369" y="880"/>
                  </a:cubicBezTo>
                  <a:cubicBezTo>
                    <a:pt x="389" y="905"/>
                    <a:pt x="420" y="916"/>
                    <a:pt x="461" y="916"/>
                  </a:cubicBezTo>
                  <a:cubicBezTo>
                    <a:pt x="478" y="916"/>
                    <a:pt x="494" y="914"/>
                    <a:pt x="514" y="908"/>
                  </a:cubicBezTo>
                  <a:cubicBezTo>
                    <a:pt x="533" y="905"/>
                    <a:pt x="550" y="897"/>
                    <a:pt x="567" y="889"/>
                  </a:cubicBezTo>
                  <a:cubicBezTo>
                    <a:pt x="620" y="1036"/>
                    <a:pt x="620" y="1036"/>
                    <a:pt x="620" y="1036"/>
                  </a:cubicBezTo>
                  <a:cubicBezTo>
                    <a:pt x="589" y="1047"/>
                    <a:pt x="561" y="1058"/>
                    <a:pt x="533" y="1064"/>
                  </a:cubicBezTo>
                  <a:cubicBezTo>
                    <a:pt x="508" y="1069"/>
                    <a:pt x="481" y="1072"/>
                    <a:pt x="450" y="1072"/>
                  </a:cubicBezTo>
                  <a:cubicBezTo>
                    <a:pt x="358" y="1075"/>
                    <a:pt x="286" y="1050"/>
                    <a:pt x="236" y="1002"/>
                  </a:cubicBezTo>
                  <a:cubicBezTo>
                    <a:pt x="189" y="952"/>
                    <a:pt x="164" y="880"/>
                    <a:pt x="164" y="783"/>
                  </a:cubicBezTo>
                  <a:cubicBezTo>
                    <a:pt x="164" y="391"/>
                    <a:pt x="164" y="391"/>
                    <a:pt x="164" y="391"/>
                  </a:cubicBezTo>
                  <a:cubicBezTo>
                    <a:pt x="0" y="391"/>
                    <a:pt x="0" y="391"/>
                    <a:pt x="0" y="391"/>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3" name="Freeform 5">
              <a:extLst>
                <a:ext uri="{FF2B5EF4-FFF2-40B4-BE49-F238E27FC236}">
                  <a16:creationId xmlns:a16="http://schemas.microsoft.com/office/drawing/2014/main" id="{633E555A-14A9-1646-9B39-62399E4762CD}"/>
                </a:ext>
              </a:extLst>
            </p:cNvPr>
            <p:cNvSpPr>
              <a:spLocks noChangeArrowheads="1"/>
            </p:cNvSpPr>
            <p:nvPr userDrawn="1"/>
          </p:nvSpPr>
          <p:spPr bwMode="auto">
            <a:xfrm>
              <a:off x="3186113" y="3143250"/>
              <a:ext cx="314325" cy="307975"/>
            </a:xfrm>
            <a:custGeom>
              <a:avLst/>
              <a:gdLst>
                <a:gd name="T0" fmla="*/ 433 w 873"/>
                <a:gd name="T1" fmla="*/ 0 h 857"/>
                <a:gd name="T2" fmla="*/ 433 w 873"/>
                <a:gd name="T3" fmla="*/ 0 h 857"/>
                <a:gd name="T4" fmla="*/ 611 w 873"/>
                <a:gd name="T5" fmla="*/ 33 h 857"/>
                <a:gd name="T6" fmla="*/ 750 w 873"/>
                <a:gd name="T7" fmla="*/ 125 h 857"/>
                <a:gd name="T8" fmla="*/ 839 w 873"/>
                <a:gd name="T9" fmla="*/ 261 h 857"/>
                <a:gd name="T10" fmla="*/ 872 w 873"/>
                <a:gd name="T11" fmla="*/ 428 h 857"/>
                <a:gd name="T12" fmla="*/ 839 w 873"/>
                <a:gd name="T13" fmla="*/ 597 h 857"/>
                <a:gd name="T14" fmla="*/ 753 w 873"/>
                <a:gd name="T15" fmla="*/ 733 h 857"/>
                <a:gd name="T16" fmla="*/ 614 w 873"/>
                <a:gd name="T17" fmla="*/ 825 h 857"/>
                <a:gd name="T18" fmla="*/ 433 w 873"/>
                <a:gd name="T19" fmla="*/ 856 h 857"/>
                <a:gd name="T20" fmla="*/ 256 w 873"/>
                <a:gd name="T21" fmla="*/ 825 h 857"/>
                <a:gd name="T22" fmla="*/ 117 w 873"/>
                <a:gd name="T23" fmla="*/ 733 h 857"/>
                <a:gd name="T24" fmla="*/ 31 w 873"/>
                <a:gd name="T25" fmla="*/ 597 h 857"/>
                <a:gd name="T26" fmla="*/ 0 w 873"/>
                <a:gd name="T27" fmla="*/ 428 h 857"/>
                <a:gd name="T28" fmla="*/ 31 w 873"/>
                <a:gd name="T29" fmla="*/ 261 h 857"/>
                <a:gd name="T30" fmla="*/ 120 w 873"/>
                <a:gd name="T31" fmla="*/ 125 h 857"/>
                <a:gd name="T32" fmla="*/ 256 w 873"/>
                <a:gd name="T33" fmla="*/ 33 h 857"/>
                <a:gd name="T34" fmla="*/ 433 w 873"/>
                <a:gd name="T35" fmla="*/ 0 h 857"/>
                <a:gd name="T36" fmla="*/ 433 w 873"/>
                <a:gd name="T37" fmla="*/ 161 h 857"/>
                <a:gd name="T38" fmla="*/ 433 w 873"/>
                <a:gd name="T39" fmla="*/ 161 h 857"/>
                <a:gd name="T40" fmla="*/ 325 w 873"/>
                <a:gd name="T41" fmla="*/ 181 h 857"/>
                <a:gd name="T42" fmla="*/ 245 w 873"/>
                <a:gd name="T43" fmla="*/ 242 h 857"/>
                <a:gd name="T44" fmla="*/ 195 w 873"/>
                <a:gd name="T45" fmla="*/ 328 h 857"/>
                <a:gd name="T46" fmla="*/ 175 w 873"/>
                <a:gd name="T47" fmla="*/ 430 h 857"/>
                <a:gd name="T48" fmla="*/ 195 w 873"/>
                <a:gd name="T49" fmla="*/ 533 h 857"/>
                <a:gd name="T50" fmla="*/ 245 w 873"/>
                <a:gd name="T51" fmla="*/ 617 h 857"/>
                <a:gd name="T52" fmla="*/ 325 w 873"/>
                <a:gd name="T53" fmla="*/ 675 h 857"/>
                <a:gd name="T54" fmla="*/ 433 w 873"/>
                <a:gd name="T55" fmla="*/ 697 h 857"/>
                <a:gd name="T56" fmla="*/ 542 w 873"/>
                <a:gd name="T57" fmla="*/ 675 h 857"/>
                <a:gd name="T58" fmla="*/ 625 w 873"/>
                <a:gd name="T59" fmla="*/ 617 h 857"/>
                <a:gd name="T60" fmla="*/ 675 w 873"/>
                <a:gd name="T61" fmla="*/ 533 h 857"/>
                <a:gd name="T62" fmla="*/ 694 w 873"/>
                <a:gd name="T63" fmla="*/ 430 h 857"/>
                <a:gd name="T64" fmla="*/ 675 w 873"/>
                <a:gd name="T65" fmla="*/ 328 h 857"/>
                <a:gd name="T66" fmla="*/ 622 w 873"/>
                <a:gd name="T67" fmla="*/ 242 h 857"/>
                <a:gd name="T68" fmla="*/ 539 w 873"/>
                <a:gd name="T69" fmla="*/ 181 h 857"/>
                <a:gd name="T70" fmla="*/ 433 w 873"/>
                <a:gd name="T71" fmla="*/ 161 h 857"/>
                <a:gd name="T72" fmla="*/ 433 w 873"/>
                <a:gd name="T73"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57">
                  <a:moveTo>
                    <a:pt x="433" y="0"/>
                  </a:moveTo>
                  <a:lnTo>
                    <a:pt x="433" y="0"/>
                  </a:lnTo>
                  <a:cubicBezTo>
                    <a:pt x="500" y="0"/>
                    <a:pt x="558" y="11"/>
                    <a:pt x="611" y="33"/>
                  </a:cubicBezTo>
                  <a:cubicBezTo>
                    <a:pt x="664" y="56"/>
                    <a:pt x="711" y="86"/>
                    <a:pt x="750" y="125"/>
                  </a:cubicBezTo>
                  <a:cubicBezTo>
                    <a:pt x="789" y="161"/>
                    <a:pt x="820" y="208"/>
                    <a:pt x="839" y="261"/>
                  </a:cubicBezTo>
                  <a:cubicBezTo>
                    <a:pt x="861" y="314"/>
                    <a:pt x="872" y="369"/>
                    <a:pt x="872" y="428"/>
                  </a:cubicBezTo>
                  <a:cubicBezTo>
                    <a:pt x="872" y="489"/>
                    <a:pt x="861" y="547"/>
                    <a:pt x="839" y="597"/>
                  </a:cubicBezTo>
                  <a:cubicBezTo>
                    <a:pt x="820" y="650"/>
                    <a:pt x="792" y="694"/>
                    <a:pt x="753" y="733"/>
                  </a:cubicBezTo>
                  <a:cubicBezTo>
                    <a:pt x="714" y="772"/>
                    <a:pt x="667" y="803"/>
                    <a:pt x="614" y="825"/>
                  </a:cubicBezTo>
                  <a:cubicBezTo>
                    <a:pt x="561" y="847"/>
                    <a:pt x="500" y="856"/>
                    <a:pt x="433" y="856"/>
                  </a:cubicBezTo>
                  <a:cubicBezTo>
                    <a:pt x="367" y="856"/>
                    <a:pt x="308" y="847"/>
                    <a:pt x="256" y="825"/>
                  </a:cubicBezTo>
                  <a:cubicBezTo>
                    <a:pt x="200" y="803"/>
                    <a:pt x="156" y="772"/>
                    <a:pt x="117" y="733"/>
                  </a:cubicBezTo>
                  <a:cubicBezTo>
                    <a:pt x="81" y="694"/>
                    <a:pt x="50" y="650"/>
                    <a:pt x="31" y="597"/>
                  </a:cubicBezTo>
                  <a:cubicBezTo>
                    <a:pt x="11" y="547"/>
                    <a:pt x="0" y="489"/>
                    <a:pt x="0" y="428"/>
                  </a:cubicBezTo>
                  <a:cubicBezTo>
                    <a:pt x="0" y="369"/>
                    <a:pt x="11" y="314"/>
                    <a:pt x="31" y="261"/>
                  </a:cubicBezTo>
                  <a:cubicBezTo>
                    <a:pt x="50" y="208"/>
                    <a:pt x="81" y="161"/>
                    <a:pt x="120" y="125"/>
                  </a:cubicBezTo>
                  <a:cubicBezTo>
                    <a:pt x="156" y="86"/>
                    <a:pt x="203" y="56"/>
                    <a:pt x="256" y="33"/>
                  </a:cubicBezTo>
                  <a:cubicBezTo>
                    <a:pt x="308" y="11"/>
                    <a:pt x="370" y="0"/>
                    <a:pt x="433" y="0"/>
                  </a:cubicBezTo>
                  <a:lnTo>
                    <a:pt x="433" y="161"/>
                  </a:lnTo>
                  <a:lnTo>
                    <a:pt x="433" y="161"/>
                  </a:lnTo>
                  <a:cubicBezTo>
                    <a:pt x="394" y="161"/>
                    <a:pt x="358" y="167"/>
                    <a:pt x="325" y="181"/>
                  </a:cubicBezTo>
                  <a:cubicBezTo>
                    <a:pt x="295" y="197"/>
                    <a:pt x="267" y="217"/>
                    <a:pt x="245" y="242"/>
                  </a:cubicBezTo>
                  <a:cubicBezTo>
                    <a:pt x="222" y="267"/>
                    <a:pt x="206" y="294"/>
                    <a:pt x="195" y="328"/>
                  </a:cubicBezTo>
                  <a:cubicBezTo>
                    <a:pt x="181" y="358"/>
                    <a:pt x="175" y="394"/>
                    <a:pt x="175" y="430"/>
                  </a:cubicBezTo>
                  <a:cubicBezTo>
                    <a:pt x="175" y="467"/>
                    <a:pt x="181" y="500"/>
                    <a:pt x="195" y="533"/>
                  </a:cubicBezTo>
                  <a:cubicBezTo>
                    <a:pt x="206" y="567"/>
                    <a:pt x="222" y="594"/>
                    <a:pt x="245" y="617"/>
                  </a:cubicBezTo>
                  <a:cubicBezTo>
                    <a:pt x="267" y="642"/>
                    <a:pt x="295" y="661"/>
                    <a:pt x="325" y="675"/>
                  </a:cubicBezTo>
                  <a:cubicBezTo>
                    <a:pt x="358" y="689"/>
                    <a:pt x="394" y="697"/>
                    <a:pt x="433" y="697"/>
                  </a:cubicBezTo>
                  <a:cubicBezTo>
                    <a:pt x="475" y="697"/>
                    <a:pt x="511" y="689"/>
                    <a:pt x="542" y="675"/>
                  </a:cubicBezTo>
                  <a:cubicBezTo>
                    <a:pt x="575" y="661"/>
                    <a:pt x="603" y="642"/>
                    <a:pt x="625" y="617"/>
                  </a:cubicBezTo>
                  <a:cubicBezTo>
                    <a:pt x="647" y="594"/>
                    <a:pt x="664" y="567"/>
                    <a:pt x="675" y="533"/>
                  </a:cubicBezTo>
                  <a:cubicBezTo>
                    <a:pt x="686" y="500"/>
                    <a:pt x="694" y="467"/>
                    <a:pt x="694" y="430"/>
                  </a:cubicBezTo>
                  <a:cubicBezTo>
                    <a:pt x="694" y="394"/>
                    <a:pt x="686" y="358"/>
                    <a:pt x="675" y="328"/>
                  </a:cubicBezTo>
                  <a:cubicBezTo>
                    <a:pt x="661" y="294"/>
                    <a:pt x="645" y="267"/>
                    <a:pt x="622" y="242"/>
                  </a:cubicBezTo>
                  <a:cubicBezTo>
                    <a:pt x="600" y="217"/>
                    <a:pt x="572" y="197"/>
                    <a:pt x="539" y="181"/>
                  </a:cubicBezTo>
                  <a:cubicBezTo>
                    <a:pt x="508" y="167"/>
                    <a:pt x="472" y="161"/>
                    <a:pt x="433" y="161"/>
                  </a:cubicBezTo>
                  <a:lnTo>
                    <a:pt x="433"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4" name="Freeform 6">
              <a:extLst>
                <a:ext uri="{FF2B5EF4-FFF2-40B4-BE49-F238E27FC236}">
                  <a16:creationId xmlns:a16="http://schemas.microsoft.com/office/drawing/2014/main" id="{8AC1C743-8C06-A242-AD0B-4890BAB80F8A}"/>
                </a:ext>
              </a:extLst>
            </p:cNvPr>
            <p:cNvSpPr>
              <a:spLocks noChangeArrowheads="1"/>
            </p:cNvSpPr>
            <p:nvPr userDrawn="1"/>
          </p:nvSpPr>
          <p:spPr bwMode="auto">
            <a:xfrm>
              <a:off x="3567113" y="3143250"/>
              <a:ext cx="476250" cy="301625"/>
            </a:xfrm>
            <a:custGeom>
              <a:avLst/>
              <a:gdLst>
                <a:gd name="T0" fmla="*/ 575 w 1321"/>
                <a:gd name="T1" fmla="*/ 839 h 840"/>
                <a:gd name="T2" fmla="*/ 575 w 1321"/>
                <a:gd name="T3" fmla="*/ 839 h 840"/>
                <a:gd name="T4" fmla="*/ 575 w 1321"/>
                <a:gd name="T5" fmla="*/ 386 h 840"/>
                <a:gd name="T6" fmla="*/ 561 w 1321"/>
                <a:gd name="T7" fmla="*/ 300 h 840"/>
                <a:gd name="T8" fmla="*/ 523 w 1321"/>
                <a:gd name="T9" fmla="*/ 228 h 840"/>
                <a:gd name="T10" fmla="*/ 461 w 1321"/>
                <a:gd name="T11" fmla="*/ 181 h 840"/>
                <a:gd name="T12" fmla="*/ 378 w 1321"/>
                <a:gd name="T13" fmla="*/ 161 h 840"/>
                <a:gd name="T14" fmla="*/ 295 w 1321"/>
                <a:gd name="T15" fmla="*/ 181 h 840"/>
                <a:gd name="T16" fmla="*/ 231 w 1321"/>
                <a:gd name="T17" fmla="*/ 228 h 840"/>
                <a:gd name="T18" fmla="*/ 189 w 1321"/>
                <a:gd name="T19" fmla="*/ 300 h 840"/>
                <a:gd name="T20" fmla="*/ 175 w 1321"/>
                <a:gd name="T21" fmla="*/ 386 h 840"/>
                <a:gd name="T22" fmla="*/ 175 w 1321"/>
                <a:gd name="T23" fmla="*/ 839 h 840"/>
                <a:gd name="T24" fmla="*/ 0 w 1321"/>
                <a:gd name="T25" fmla="*/ 839 h 840"/>
                <a:gd name="T26" fmla="*/ 0 w 1321"/>
                <a:gd name="T27" fmla="*/ 14 h 840"/>
                <a:gd name="T28" fmla="*/ 164 w 1321"/>
                <a:gd name="T29" fmla="*/ 14 h 840"/>
                <a:gd name="T30" fmla="*/ 175 w 1321"/>
                <a:gd name="T31" fmla="*/ 125 h 840"/>
                <a:gd name="T32" fmla="*/ 278 w 1321"/>
                <a:gd name="T33" fmla="*/ 28 h 840"/>
                <a:gd name="T34" fmla="*/ 411 w 1321"/>
                <a:gd name="T35" fmla="*/ 0 h 840"/>
                <a:gd name="T36" fmla="*/ 492 w 1321"/>
                <a:gd name="T37" fmla="*/ 8 h 840"/>
                <a:gd name="T38" fmla="*/ 564 w 1321"/>
                <a:gd name="T39" fmla="*/ 39 h 840"/>
                <a:gd name="T40" fmla="*/ 628 w 1321"/>
                <a:gd name="T41" fmla="*/ 89 h 840"/>
                <a:gd name="T42" fmla="*/ 675 w 1321"/>
                <a:gd name="T43" fmla="*/ 167 h 840"/>
                <a:gd name="T44" fmla="*/ 800 w 1321"/>
                <a:gd name="T45" fmla="*/ 39 h 840"/>
                <a:gd name="T46" fmla="*/ 964 w 1321"/>
                <a:gd name="T47" fmla="*/ 3 h 840"/>
                <a:gd name="T48" fmla="*/ 1231 w 1321"/>
                <a:gd name="T49" fmla="*/ 103 h 840"/>
                <a:gd name="T50" fmla="*/ 1320 w 1321"/>
                <a:gd name="T51" fmla="*/ 383 h 840"/>
                <a:gd name="T52" fmla="*/ 1320 w 1321"/>
                <a:gd name="T53" fmla="*/ 839 h 840"/>
                <a:gd name="T54" fmla="*/ 1142 w 1321"/>
                <a:gd name="T55" fmla="*/ 839 h 840"/>
                <a:gd name="T56" fmla="*/ 1142 w 1321"/>
                <a:gd name="T57" fmla="*/ 383 h 840"/>
                <a:gd name="T58" fmla="*/ 1131 w 1321"/>
                <a:gd name="T59" fmla="*/ 297 h 840"/>
                <a:gd name="T60" fmla="*/ 1095 w 1321"/>
                <a:gd name="T61" fmla="*/ 228 h 840"/>
                <a:gd name="T62" fmla="*/ 1039 w 1321"/>
                <a:gd name="T63" fmla="*/ 181 h 840"/>
                <a:gd name="T64" fmla="*/ 956 w 1321"/>
                <a:gd name="T65" fmla="*/ 164 h 840"/>
                <a:gd name="T66" fmla="*/ 873 w 1321"/>
                <a:gd name="T67" fmla="*/ 181 h 840"/>
                <a:gd name="T68" fmla="*/ 809 w 1321"/>
                <a:gd name="T69" fmla="*/ 228 h 840"/>
                <a:gd name="T70" fmla="*/ 767 w 1321"/>
                <a:gd name="T71" fmla="*/ 300 h 840"/>
                <a:gd name="T72" fmla="*/ 753 w 1321"/>
                <a:gd name="T73" fmla="*/ 386 h 840"/>
                <a:gd name="T74" fmla="*/ 753 w 1321"/>
                <a:gd name="T75" fmla="*/ 839 h 840"/>
                <a:gd name="T76" fmla="*/ 575 w 1321"/>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1" h="840">
                  <a:moveTo>
                    <a:pt x="575" y="839"/>
                  </a:moveTo>
                  <a:lnTo>
                    <a:pt x="575" y="839"/>
                  </a:lnTo>
                  <a:cubicBezTo>
                    <a:pt x="575" y="386"/>
                    <a:pt x="575" y="386"/>
                    <a:pt x="575" y="386"/>
                  </a:cubicBezTo>
                  <a:cubicBezTo>
                    <a:pt x="575" y="356"/>
                    <a:pt x="570" y="328"/>
                    <a:pt x="561" y="300"/>
                  </a:cubicBezTo>
                  <a:cubicBezTo>
                    <a:pt x="553" y="272"/>
                    <a:pt x="539" y="247"/>
                    <a:pt x="523" y="228"/>
                  </a:cubicBezTo>
                  <a:cubicBezTo>
                    <a:pt x="506" y="208"/>
                    <a:pt x="486" y="192"/>
                    <a:pt x="461" y="181"/>
                  </a:cubicBezTo>
                  <a:cubicBezTo>
                    <a:pt x="436" y="167"/>
                    <a:pt x="409" y="161"/>
                    <a:pt x="378" y="161"/>
                  </a:cubicBezTo>
                  <a:cubicBezTo>
                    <a:pt x="348" y="161"/>
                    <a:pt x="320" y="167"/>
                    <a:pt x="295" y="181"/>
                  </a:cubicBezTo>
                  <a:cubicBezTo>
                    <a:pt x="270" y="192"/>
                    <a:pt x="248" y="208"/>
                    <a:pt x="231" y="228"/>
                  </a:cubicBezTo>
                  <a:cubicBezTo>
                    <a:pt x="211" y="247"/>
                    <a:pt x="200" y="272"/>
                    <a:pt x="189" y="300"/>
                  </a:cubicBezTo>
                  <a:cubicBezTo>
                    <a:pt x="181" y="328"/>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198" y="78"/>
                    <a:pt x="234" y="47"/>
                    <a:pt x="278" y="28"/>
                  </a:cubicBezTo>
                  <a:cubicBezTo>
                    <a:pt x="323" y="11"/>
                    <a:pt x="367" y="0"/>
                    <a:pt x="411" y="0"/>
                  </a:cubicBezTo>
                  <a:cubicBezTo>
                    <a:pt x="439" y="0"/>
                    <a:pt x="464" y="3"/>
                    <a:pt x="492" y="8"/>
                  </a:cubicBezTo>
                  <a:cubicBezTo>
                    <a:pt x="517" y="14"/>
                    <a:pt x="542" y="25"/>
                    <a:pt x="564" y="39"/>
                  </a:cubicBezTo>
                  <a:cubicBezTo>
                    <a:pt x="589" y="50"/>
                    <a:pt x="609" y="69"/>
                    <a:pt x="628" y="89"/>
                  </a:cubicBezTo>
                  <a:cubicBezTo>
                    <a:pt x="647" y="111"/>
                    <a:pt x="661" y="136"/>
                    <a:pt x="675" y="167"/>
                  </a:cubicBezTo>
                  <a:cubicBezTo>
                    <a:pt x="709" y="106"/>
                    <a:pt x="750" y="64"/>
                    <a:pt x="800" y="39"/>
                  </a:cubicBezTo>
                  <a:cubicBezTo>
                    <a:pt x="850" y="14"/>
                    <a:pt x="906" y="3"/>
                    <a:pt x="964" y="3"/>
                  </a:cubicBezTo>
                  <a:cubicBezTo>
                    <a:pt x="1081" y="3"/>
                    <a:pt x="1170" y="36"/>
                    <a:pt x="1231" y="103"/>
                  </a:cubicBezTo>
                  <a:cubicBezTo>
                    <a:pt x="1289" y="172"/>
                    <a:pt x="1320" y="264"/>
                    <a:pt x="1320" y="383"/>
                  </a:cubicBezTo>
                  <a:cubicBezTo>
                    <a:pt x="1320" y="839"/>
                    <a:pt x="1320" y="839"/>
                    <a:pt x="1320" y="839"/>
                  </a:cubicBezTo>
                  <a:cubicBezTo>
                    <a:pt x="1142" y="839"/>
                    <a:pt x="1142" y="839"/>
                    <a:pt x="1142" y="839"/>
                  </a:cubicBezTo>
                  <a:cubicBezTo>
                    <a:pt x="1142" y="383"/>
                    <a:pt x="1142" y="383"/>
                    <a:pt x="1142" y="383"/>
                  </a:cubicBezTo>
                  <a:cubicBezTo>
                    <a:pt x="1142" y="353"/>
                    <a:pt x="1139" y="325"/>
                    <a:pt x="1131" y="297"/>
                  </a:cubicBezTo>
                  <a:cubicBezTo>
                    <a:pt x="1122" y="269"/>
                    <a:pt x="1111" y="247"/>
                    <a:pt x="1095" y="228"/>
                  </a:cubicBezTo>
                  <a:cubicBezTo>
                    <a:pt x="1081" y="206"/>
                    <a:pt x="1061" y="192"/>
                    <a:pt x="1039" y="181"/>
                  </a:cubicBezTo>
                  <a:cubicBezTo>
                    <a:pt x="1014" y="169"/>
                    <a:pt x="986" y="164"/>
                    <a:pt x="956" y="164"/>
                  </a:cubicBezTo>
                  <a:cubicBezTo>
                    <a:pt x="925" y="164"/>
                    <a:pt x="897" y="169"/>
                    <a:pt x="873" y="181"/>
                  </a:cubicBezTo>
                  <a:cubicBezTo>
                    <a:pt x="847" y="192"/>
                    <a:pt x="825" y="208"/>
                    <a:pt x="809" y="228"/>
                  </a:cubicBezTo>
                  <a:cubicBezTo>
                    <a:pt x="789" y="250"/>
                    <a:pt x="775" y="272"/>
                    <a:pt x="767" y="300"/>
                  </a:cubicBezTo>
                  <a:cubicBezTo>
                    <a:pt x="756" y="328"/>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5" name="Freeform 7">
              <a:extLst>
                <a:ext uri="{FF2B5EF4-FFF2-40B4-BE49-F238E27FC236}">
                  <a16:creationId xmlns:a16="http://schemas.microsoft.com/office/drawing/2014/main" id="{5F101907-6A73-F545-AD12-535715FB5425}"/>
                </a:ext>
              </a:extLst>
            </p:cNvPr>
            <p:cNvSpPr>
              <a:spLocks noChangeArrowheads="1"/>
            </p:cNvSpPr>
            <p:nvPr userDrawn="1"/>
          </p:nvSpPr>
          <p:spPr bwMode="auto">
            <a:xfrm>
              <a:off x="4105275" y="3141663"/>
              <a:ext cx="314325" cy="312737"/>
            </a:xfrm>
            <a:custGeom>
              <a:avLst/>
              <a:gdLst>
                <a:gd name="T0" fmla="*/ 864 w 874"/>
                <a:gd name="T1" fmla="*/ 498 h 868"/>
                <a:gd name="T2" fmla="*/ 864 w 874"/>
                <a:gd name="T3" fmla="*/ 498 h 868"/>
                <a:gd name="T4" fmla="*/ 181 w 874"/>
                <a:gd name="T5" fmla="*/ 498 h 868"/>
                <a:gd name="T6" fmla="*/ 267 w 874"/>
                <a:gd name="T7" fmla="*/ 650 h 868"/>
                <a:gd name="T8" fmla="*/ 456 w 874"/>
                <a:gd name="T9" fmla="*/ 706 h 868"/>
                <a:gd name="T10" fmla="*/ 592 w 874"/>
                <a:gd name="T11" fmla="*/ 684 h 868"/>
                <a:gd name="T12" fmla="*/ 700 w 874"/>
                <a:gd name="T13" fmla="*/ 617 h 868"/>
                <a:gd name="T14" fmla="*/ 814 w 874"/>
                <a:gd name="T15" fmla="*/ 725 h 868"/>
                <a:gd name="T16" fmla="*/ 739 w 874"/>
                <a:gd name="T17" fmla="*/ 786 h 868"/>
                <a:gd name="T18" fmla="*/ 650 w 874"/>
                <a:gd name="T19" fmla="*/ 831 h 868"/>
                <a:gd name="T20" fmla="*/ 553 w 874"/>
                <a:gd name="T21" fmla="*/ 859 h 868"/>
                <a:gd name="T22" fmla="*/ 453 w 874"/>
                <a:gd name="T23" fmla="*/ 867 h 868"/>
                <a:gd name="T24" fmla="*/ 267 w 874"/>
                <a:gd name="T25" fmla="*/ 836 h 868"/>
                <a:gd name="T26" fmla="*/ 123 w 874"/>
                <a:gd name="T27" fmla="*/ 748 h 868"/>
                <a:gd name="T28" fmla="*/ 31 w 874"/>
                <a:gd name="T29" fmla="*/ 609 h 868"/>
                <a:gd name="T30" fmla="*/ 0 w 874"/>
                <a:gd name="T31" fmla="*/ 431 h 868"/>
                <a:gd name="T32" fmla="*/ 31 w 874"/>
                <a:gd name="T33" fmla="*/ 256 h 868"/>
                <a:gd name="T34" fmla="*/ 123 w 874"/>
                <a:gd name="T35" fmla="*/ 120 h 868"/>
                <a:gd name="T36" fmla="*/ 261 w 874"/>
                <a:gd name="T37" fmla="*/ 31 h 868"/>
                <a:gd name="T38" fmla="*/ 442 w 874"/>
                <a:gd name="T39" fmla="*/ 0 h 868"/>
                <a:gd name="T40" fmla="*/ 628 w 874"/>
                <a:gd name="T41" fmla="*/ 31 h 868"/>
                <a:gd name="T42" fmla="*/ 767 w 874"/>
                <a:gd name="T43" fmla="*/ 125 h 868"/>
                <a:gd name="T44" fmla="*/ 850 w 874"/>
                <a:gd name="T45" fmla="*/ 278 h 868"/>
                <a:gd name="T46" fmla="*/ 864 w 874"/>
                <a:gd name="T47" fmla="*/ 498 h 868"/>
                <a:gd name="T48" fmla="*/ 187 w 874"/>
                <a:gd name="T49" fmla="*/ 353 h 868"/>
                <a:gd name="T50" fmla="*/ 187 w 874"/>
                <a:gd name="T51" fmla="*/ 353 h 868"/>
                <a:gd name="T52" fmla="*/ 695 w 874"/>
                <a:gd name="T53" fmla="*/ 353 h 868"/>
                <a:gd name="T54" fmla="*/ 620 w 874"/>
                <a:gd name="T55" fmla="*/ 203 h 868"/>
                <a:gd name="T56" fmla="*/ 448 w 874"/>
                <a:gd name="T57" fmla="*/ 153 h 868"/>
                <a:gd name="T58" fmla="*/ 278 w 874"/>
                <a:gd name="T59" fmla="*/ 203 h 868"/>
                <a:gd name="T60" fmla="*/ 187 w 874"/>
                <a:gd name="T61" fmla="*/ 353 h 868"/>
                <a:gd name="T62" fmla="*/ 864 w 874"/>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4" h="868">
                  <a:moveTo>
                    <a:pt x="864" y="498"/>
                  </a:moveTo>
                  <a:lnTo>
                    <a:pt x="864" y="498"/>
                  </a:lnTo>
                  <a:cubicBezTo>
                    <a:pt x="181" y="498"/>
                    <a:pt x="181" y="498"/>
                    <a:pt x="181" y="498"/>
                  </a:cubicBezTo>
                  <a:cubicBezTo>
                    <a:pt x="189" y="562"/>
                    <a:pt x="217" y="611"/>
                    <a:pt x="267" y="650"/>
                  </a:cubicBezTo>
                  <a:cubicBezTo>
                    <a:pt x="317" y="686"/>
                    <a:pt x="378" y="706"/>
                    <a:pt x="456" y="706"/>
                  </a:cubicBezTo>
                  <a:cubicBezTo>
                    <a:pt x="500" y="706"/>
                    <a:pt x="545" y="698"/>
                    <a:pt x="592" y="684"/>
                  </a:cubicBezTo>
                  <a:cubicBezTo>
                    <a:pt x="639" y="667"/>
                    <a:pt x="675" y="645"/>
                    <a:pt x="700" y="617"/>
                  </a:cubicBezTo>
                  <a:cubicBezTo>
                    <a:pt x="814" y="725"/>
                    <a:pt x="814" y="725"/>
                    <a:pt x="814" y="725"/>
                  </a:cubicBezTo>
                  <a:cubicBezTo>
                    <a:pt x="795" y="750"/>
                    <a:pt x="770" y="770"/>
                    <a:pt x="739" y="786"/>
                  </a:cubicBezTo>
                  <a:cubicBezTo>
                    <a:pt x="711" y="806"/>
                    <a:pt x="681" y="820"/>
                    <a:pt x="650" y="831"/>
                  </a:cubicBezTo>
                  <a:cubicBezTo>
                    <a:pt x="620" y="845"/>
                    <a:pt x="587" y="853"/>
                    <a:pt x="553" y="859"/>
                  </a:cubicBezTo>
                  <a:cubicBezTo>
                    <a:pt x="517" y="864"/>
                    <a:pt x="487" y="867"/>
                    <a:pt x="453" y="867"/>
                  </a:cubicBezTo>
                  <a:cubicBezTo>
                    <a:pt x="384" y="867"/>
                    <a:pt x="323" y="856"/>
                    <a:pt x="267" y="836"/>
                  </a:cubicBezTo>
                  <a:cubicBezTo>
                    <a:pt x="209" y="814"/>
                    <a:pt x="161" y="786"/>
                    <a:pt x="123" y="748"/>
                  </a:cubicBezTo>
                  <a:cubicBezTo>
                    <a:pt x="84" y="709"/>
                    <a:pt x="53" y="664"/>
                    <a:pt x="31" y="609"/>
                  </a:cubicBezTo>
                  <a:cubicBezTo>
                    <a:pt x="12" y="556"/>
                    <a:pt x="0" y="495"/>
                    <a:pt x="0" y="431"/>
                  </a:cubicBezTo>
                  <a:cubicBezTo>
                    <a:pt x="0" y="367"/>
                    <a:pt x="12" y="309"/>
                    <a:pt x="31" y="256"/>
                  </a:cubicBezTo>
                  <a:cubicBezTo>
                    <a:pt x="53" y="203"/>
                    <a:pt x="84" y="159"/>
                    <a:pt x="123" y="120"/>
                  </a:cubicBezTo>
                  <a:cubicBezTo>
                    <a:pt x="161" y="84"/>
                    <a:pt x="209" y="53"/>
                    <a:pt x="261" y="31"/>
                  </a:cubicBezTo>
                  <a:cubicBezTo>
                    <a:pt x="314" y="12"/>
                    <a:pt x="375" y="0"/>
                    <a:pt x="442" y="0"/>
                  </a:cubicBezTo>
                  <a:cubicBezTo>
                    <a:pt x="509" y="0"/>
                    <a:pt x="573" y="12"/>
                    <a:pt x="628" y="31"/>
                  </a:cubicBezTo>
                  <a:cubicBezTo>
                    <a:pt x="681" y="53"/>
                    <a:pt x="728" y="84"/>
                    <a:pt x="767" y="125"/>
                  </a:cubicBezTo>
                  <a:cubicBezTo>
                    <a:pt x="806" y="164"/>
                    <a:pt x="834" y="217"/>
                    <a:pt x="850" y="278"/>
                  </a:cubicBezTo>
                  <a:cubicBezTo>
                    <a:pt x="867" y="342"/>
                    <a:pt x="873" y="414"/>
                    <a:pt x="864" y="498"/>
                  </a:cubicBezTo>
                  <a:lnTo>
                    <a:pt x="187" y="353"/>
                  </a:lnTo>
                  <a:lnTo>
                    <a:pt x="187" y="353"/>
                  </a:lnTo>
                  <a:cubicBezTo>
                    <a:pt x="695" y="353"/>
                    <a:pt x="695" y="353"/>
                    <a:pt x="695" y="353"/>
                  </a:cubicBezTo>
                  <a:cubicBezTo>
                    <a:pt x="689" y="287"/>
                    <a:pt x="664" y="236"/>
                    <a:pt x="620" y="203"/>
                  </a:cubicBezTo>
                  <a:cubicBezTo>
                    <a:pt x="575" y="170"/>
                    <a:pt x="517" y="153"/>
                    <a:pt x="448" y="153"/>
                  </a:cubicBezTo>
                  <a:cubicBezTo>
                    <a:pt x="381" y="153"/>
                    <a:pt x="325" y="170"/>
                    <a:pt x="278" y="203"/>
                  </a:cubicBezTo>
                  <a:cubicBezTo>
                    <a:pt x="231" y="236"/>
                    <a:pt x="200" y="287"/>
                    <a:pt x="187"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6" name="Freeform 8">
              <a:extLst>
                <a:ext uri="{FF2B5EF4-FFF2-40B4-BE49-F238E27FC236}">
                  <a16:creationId xmlns:a16="http://schemas.microsoft.com/office/drawing/2014/main" id="{59D68871-7758-9741-B929-AFB70AFABA59}"/>
                </a:ext>
              </a:extLst>
            </p:cNvPr>
            <p:cNvSpPr>
              <a:spLocks noChangeArrowheads="1"/>
            </p:cNvSpPr>
            <p:nvPr userDrawn="1"/>
          </p:nvSpPr>
          <p:spPr bwMode="auto">
            <a:xfrm>
              <a:off x="4481513" y="3141663"/>
              <a:ext cx="227012" cy="303212"/>
            </a:xfrm>
            <a:custGeom>
              <a:avLst/>
              <a:gdLst>
                <a:gd name="T0" fmla="*/ 164 w 631"/>
                <a:gd name="T1" fmla="*/ 20 h 843"/>
                <a:gd name="T2" fmla="*/ 164 w 631"/>
                <a:gd name="T3" fmla="*/ 20 h 843"/>
                <a:gd name="T4" fmla="*/ 175 w 631"/>
                <a:gd name="T5" fmla="*/ 128 h 843"/>
                <a:gd name="T6" fmla="*/ 289 w 631"/>
                <a:gd name="T7" fmla="*/ 25 h 843"/>
                <a:gd name="T8" fmla="*/ 422 w 631"/>
                <a:gd name="T9" fmla="*/ 0 h 843"/>
                <a:gd name="T10" fmla="*/ 539 w 631"/>
                <a:gd name="T11" fmla="*/ 20 h 843"/>
                <a:gd name="T12" fmla="*/ 630 w 631"/>
                <a:gd name="T13" fmla="*/ 70 h 843"/>
                <a:gd name="T14" fmla="*/ 550 w 631"/>
                <a:gd name="T15" fmla="*/ 222 h 843"/>
                <a:gd name="T16" fmla="*/ 486 w 631"/>
                <a:gd name="T17" fmla="*/ 184 h 843"/>
                <a:gd name="T18" fmla="*/ 402 w 631"/>
                <a:gd name="T19" fmla="*/ 172 h 843"/>
                <a:gd name="T20" fmla="*/ 316 w 631"/>
                <a:gd name="T21" fmla="*/ 186 h 843"/>
                <a:gd name="T22" fmla="*/ 244 w 631"/>
                <a:gd name="T23" fmla="*/ 228 h 843"/>
                <a:gd name="T24" fmla="*/ 194 w 631"/>
                <a:gd name="T25" fmla="*/ 297 h 843"/>
                <a:gd name="T26" fmla="*/ 175 w 631"/>
                <a:gd name="T27" fmla="*/ 397 h 843"/>
                <a:gd name="T28" fmla="*/ 175 w 631"/>
                <a:gd name="T29" fmla="*/ 842 h 843"/>
                <a:gd name="T30" fmla="*/ 0 w 631"/>
                <a:gd name="T31" fmla="*/ 842 h 843"/>
                <a:gd name="T32" fmla="*/ 0 w 631"/>
                <a:gd name="T33" fmla="*/ 20 h 843"/>
                <a:gd name="T34" fmla="*/ 164 w 631"/>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1" h="843">
                  <a:moveTo>
                    <a:pt x="164" y="20"/>
                  </a:moveTo>
                  <a:lnTo>
                    <a:pt x="164" y="20"/>
                  </a:lnTo>
                  <a:cubicBezTo>
                    <a:pt x="175" y="128"/>
                    <a:pt x="175" y="128"/>
                    <a:pt x="175" y="128"/>
                  </a:cubicBezTo>
                  <a:cubicBezTo>
                    <a:pt x="205" y="75"/>
                    <a:pt x="244" y="42"/>
                    <a:pt x="289" y="25"/>
                  </a:cubicBezTo>
                  <a:cubicBezTo>
                    <a:pt x="333" y="9"/>
                    <a:pt x="378" y="0"/>
                    <a:pt x="422" y="0"/>
                  </a:cubicBezTo>
                  <a:cubicBezTo>
                    <a:pt x="464" y="0"/>
                    <a:pt x="502" y="9"/>
                    <a:pt x="539" y="20"/>
                  </a:cubicBezTo>
                  <a:cubicBezTo>
                    <a:pt x="577" y="34"/>
                    <a:pt x="608" y="50"/>
                    <a:pt x="630" y="70"/>
                  </a:cubicBezTo>
                  <a:cubicBezTo>
                    <a:pt x="550" y="222"/>
                    <a:pt x="550" y="222"/>
                    <a:pt x="550" y="222"/>
                  </a:cubicBezTo>
                  <a:cubicBezTo>
                    <a:pt x="530" y="206"/>
                    <a:pt x="508" y="192"/>
                    <a:pt x="486" y="184"/>
                  </a:cubicBezTo>
                  <a:cubicBezTo>
                    <a:pt x="464" y="175"/>
                    <a:pt x="436" y="172"/>
                    <a:pt x="402" y="172"/>
                  </a:cubicBezTo>
                  <a:cubicBezTo>
                    <a:pt x="372" y="172"/>
                    <a:pt x="341" y="175"/>
                    <a:pt x="316" y="186"/>
                  </a:cubicBezTo>
                  <a:cubicBezTo>
                    <a:pt x="289" y="195"/>
                    <a:pt x="264" y="209"/>
                    <a:pt x="244" y="228"/>
                  </a:cubicBezTo>
                  <a:cubicBezTo>
                    <a:pt x="222" y="245"/>
                    <a:pt x="205" y="270"/>
                    <a:pt x="194" y="297"/>
                  </a:cubicBezTo>
                  <a:cubicBezTo>
                    <a:pt x="180" y="325"/>
                    <a:pt x="175" y="359"/>
                    <a:pt x="175" y="397"/>
                  </a:cubicBezTo>
                  <a:cubicBezTo>
                    <a:pt x="175" y="842"/>
                    <a:pt x="175" y="842"/>
                    <a:pt x="175"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7" name="Freeform 9">
              <a:extLst>
                <a:ext uri="{FF2B5EF4-FFF2-40B4-BE49-F238E27FC236}">
                  <a16:creationId xmlns:a16="http://schemas.microsoft.com/office/drawing/2014/main" id="{F088275A-B2B5-3D4D-BA7A-7EABCE8F3F97}"/>
                </a:ext>
              </a:extLst>
            </p:cNvPr>
            <p:cNvSpPr>
              <a:spLocks noChangeArrowheads="1"/>
            </p:cNvSpPr>
            <p:nvPr userDrawn="1"/>
          </p:nvSpPr>
          <p:spPr bwMode="auto">
            <a:xfrm>
              <a:off x="4872038" y="3141663"/>
              <a:ext cx="314325" cy="312737"/>
            </a:xfrm>
            <a:custGeom>
              <a:avLst/>
              <a:gdLst>
                <a:gd name="T0" fmla="*/ 863 w 872"/>
                <a:gd name="T1" fmla="*/ 498 h 868"/>
                <a:gd name="T2" fmla="*/ 863 w 872"/>
                <a:gd name="T3" fmla="*/ 498 h 868"/>
                <a:gd name="T4" fmla="*/ 183 w 872"/>
                <a:gd name="T5" fmla="*/ 498 h 868"/>
                <a:gd name="T6" fmla="*/ 266 w 872"/>
                <a:gd name="T7" fmla="*/ 650 h 868"/>
                <a:gd name="T8" fmla="*/ 458 w 872"/>
                <a:gd name="T9" fmla="*/ 706 h 868"/>
                <a:gd name="T10" fmla="*/ 590 w 872"/>
                <a:gd name="T11" fmla="*/ 684 h 868"/>
                <a:gd name="T12" fmla="*/ 699 w 872"/>
                <a:gd name="T13" fmla="*/ 617 h 868"/>
                <a:gd name="T14" fmla="*/ 815 w 872"/>
                <a:gd name="T15" fmla="*/ 725 h 868"/>
                <a:gd name="T16" fmla="*/ 740 w 872"/>
                <a:gd name="T17" fmla="*/ 786 h 868"/>
                <a:gd name="T18" fmla="*/ 649 w 872"/>
                <a:gd name="T19" fmla="*/ 831 h 868"/>
                <a:gd name="T20" fmla="*/ 551 w 872"/>
                <a:gd name="T21" fmla="*/ 859 h 868"/>
                <a:gd name="T22" fmla="*/ 452 w 872"/>
                <a:gd name="T23" fmla="*/ 867 h 868"/>
                <a:gd name="T24" fmla="*/ 266 w 872"/>
                <a:gd name="T25" fmla="*/ 836 h 868"/>
                <a:gd name="T26" fmla="*/ 122 w 872"/>
                <a:gd name="T27" fmla="*/ 748 h 868"/>
                <a:gd name="T28" fmla="*/ 30 w 872"/>
                <a:gd name="T29" fmla="*/ 609 h 868"/>
                <a:gd name="T30" fmla="*/ 0 w 872"/>
                <a:gd name="T31" fmla="*/ 431 h 868"/>
                <a:gd name="T32" fmla="*/ 30 w 872"/>
                <a:gd name="T33" fmla="*/ 256 h 868"/>
                <a:gd name="T34" fmla="*/ 122 w 872"/>
                <a:gd name="T35" fmla="*/ 120 h 868"/>
                <a:gd name="T36" fmla="*/ 261 w 872"/>
                <a:gd name="T37" fmla="*/ 31 h 868"/>
                <a:gd name="T38" fmla="*/ 441 w 872"/>
                <a:gd name="T39" fmla="*/ 0 h 868"/>
                <a:gd name="T40" fmla="*/ 626 w 872"/>
                <a:gd name="T41" fmla="*/ 31 h 868"/>
                <a:gd name="T42" fmla="*/ 765 w 872"/>
                <a:gd name="T43" fmla="*/ 125 h 868"/>
                <a:gd name="T44" fmla="*/ 849 w 872"/>
                <a:gd name="T45" fmla="*/ 278 h 868"/>
                <a:gd name="T46" fmla="*/ 863 w 872"/>
                <a:gd name="T47" fmla="*/ 498 h 868"/>
                <a:gd name="T48" fmla="*/ 186 w 872"/>
                <a:gd name="T49" fmla="*/ 353 h 868"/>
                <a:gd name="T50" fmla="*/ 186 w 872"/>
                <a:gd name="T51" fmla="*/ 353 h 868"/>
                <a:gd name="T52" fmla="*/ 696 w 872"/>
                <a:gd name="T53" fmla="*/ 353 h 868"/>
                <a:gd name="T54" fmla="*/ 621 w 872"/>
                <a:gd name="T55" fmla="*/ 203 h 868"/>
                <a:gd name="T56" fmla="*/ 447 w 872"/>
                <a:gd name="T57" fmla="*/ 153 h 868"/>
                <a:gd name="T58" fmla="*/ 278 w 872"/>
                <a:gd name="T59" fmla="*/ 203 h 868"/>
                <a:gd name="T60" fmla="*/ 186 w 872"/>
                <a:gd name="T61" fmla="*/ 353 h 868"/>
                <a:gd name="T62" fmla="*/ 863 w 872"/>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2" h="868">
                  <a:moveTo>
                    <a:pt x="863" y="498"/>
                  </a:moveTo>
                  <a:lnTo>
                    <a:pt x="863" y="498"/>
                  </a:lnTo>
                  <a:cubicBezTo>
                    <a:pt x="183" y="498"/>
                    <a:pt x="183" y="498"/>
                    <a:pt x="183" y="498"/>
                  </a:cubicBezTo>
                  <a:cubicBezTo>
                    <a:pt x="189" y="562"/>
                    <a:pt x="219" y="611"/>
                    <a:pt x="266" y="650"/>
                  </a:cubicBezTo>
                  <a:cubicBezTo>
                    <a:pt x="316" y="686"/>
                    <a:pt x="380" y="706"/>
                    <a:pt x="458" y="706"/>
                  </a:cubicBezTo>
                  <a:cubicBezTo>
                    <a:pt x="499" y="706"/>
                    <a:pt x="543" y="698"/>
                    <a:pt x="590" y="684"/>
                  </a:cubicBezTo>
                  <a:cubicBezTo>
                    <a:pt x="638" y="667"/>
                    <a:pt x="674" y="645"/>
                    <a:pt x="699" y="617"/>
                  </a:cubicBezTo>
                  <a:cubicBezTo>
                    <a:pt x="815" y="725"/>
                    <a:pt x="815" y="725"/>
                    <a:pt x="815" y="725"/>
                  </a:cubicBezTo>
                  <a:cubicBezTo>
                    <a:pt x="793" y="750"/>
                    <a:pt x="768" y="770"/>
                    <a:pt x="740" y="786"/>
                  </a:cubicBezTo>
                  <a:cubicBezTo>
                    <a:pt x="710" y="806"/>
                    <a:pt x="682" y="820"/>
                    <a:pt x="649" y="831"/>
                  </a:cubicBezTo>
                  <a:cubicBezTo>
                    <a:pt x="618" y="845"/>
                    <a:pt x="585" y="853"/>
                    <a:pt x="551" y="859"/>
                  </a:cubicBezTo>
                  <a:cubicBezTo>
                    <a:pt x="518" y="864"/>
                    <a:pt x="485" y="867"/>
                    <a:pt x="452" y="867"/>
                  </a:cubicBezTo>
                  <a:cubicBezTo>
                    <a:pt x="383" y="867"/>
                    <a:pt x="322" y="856"/>
                    <a:pt x="266" y="836"/>
                  </a:cubicBezTo>
                  <a:cubicBezTo>
                    <a:pt x="211" y="814"/>
                    <a:pt x="161" y="786"/>
                    <a:pt x="122" y="748"/>
                  </a:cubicBezTo>
                  <a:cubicBezTo>
                    <a:pt x="83" y="709"/>
                    <a:pt x="53" y="664"/>
                    <a:pt x="30" y="609"/>
                  </a:cubicBezTo>
                  <a:cubicBezTo>
                    <a:pt x="11" y="556"/>
                    <a:pt x="0" y="495"/>
                    <a:pt x="0" y="431"/>
                  </a:cubicBezTo>
                  <a:cubicBezTo>
                    <a:pt x="0" y="367"/>
                    <a:pt x="11" y="309"/>
                    <a:pt x="30" y="256"/>
                  </a:cubicBezTo>
                  <a:cubicBezTo>
                    <a:pt x="53" y="203"/>
                    <a:pt x="83" y="159"/>
                    <a:pt x="122" y="120"/>
                  </a:cubicBezTo>
                  <a:cubicBezTo>
                    <a:pt x="161" y="84"/>
                    <a:pt x="208" y="53"/>
                    <a:pt x="261" y="31"/>
                  </a:cubicBezTo>
                  <a:cubicBezTo>
                    <a:pt x="316" y="12"/>
                    <a:pt x="375" y="0"/>
                    <a:pt x="441" y="0"/>
                  </a:cubicBezTo>
                  <a:cubicBezTo>
                    <a:pt x="510" y="0"/>
                    <a:pt x="571" y="12"/>
                    <a:pt x="626" y="31"/>
                  </a:cubicBezTo>
                  <a:cubicBezTo>
                    <a:pt x="682" y="53"/>
                    <a:pt x="726" y="84"/>
                    <a:pt x="765" y="125"/>
                  </a:cubicBezTo>
                  <a:cubicBezTo>
                    <a:pt x="804" y="164"/>
                    <a:pt x="832" y="217"/>
                    <a:pt x="849" y="278"/>
                  </a:cubicBezTo>
                  <a:cubicBezTo>
                    <a:pt x="868" y="342"/>
                    <a:pt x="871" y="414"/>
                    <a:pt x="863" y="498"/>
                  </a:cubicBezTo>
                  <a:lnTo>
                    <a:pt x="186" y="353"/>
                  </a:lnTo>
                  <a:lnTo>
                    <a:pt x="186" y="353"/>
                  </a:lnTo>
                  <a:cubicBezTo>
                    <a:pt x="696" y="353"/>
                    <a:pt x="696" y="353"/>
                    <a:pt x="696" y="353"/>
                  </a:cubicBezTo>
                  <a:cubicBezTo>
                    <a:pt x="690" y="287"/>
                    <a:pt x="663" y="236"/>
                    <a:pt x="621" y="203"/>
                  </a:cubicBezTo>
                  <a:cubicBezTo>
                    <a:pt x="577" y="170"/>
                    <a:pt x="518" y="153"/>
                    <a:pt x="447" y="153"/>
                  </a:cubicBezTo>
                  <a:cubicBezTo>
                    <a:pt x="380" y="153"/>
                    <a:pt x="325" y="170"/>
                    <a:pt x="278" y="203"/>
                  </a:cubicBezTo>
                  <a:cubicBezTo>
                    <a:pt x="230" y="236"/>
                    <a:pt x="200" y="287"/>
                    <a:pt x="186" y="353"/>
                  </a:cubicBezTo>
                  <a:lnTo>
                    <a:pt x="863"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8" name="Freeform 10">
              <a:extLst>
                <a:ext uri="{FF2B5EF4-FFF2-40B4-BE49-F238E27FC236}">
                  <a16:creationId xmlns:a16="http://schemas.microsoft.com/office/drawing/2014/main" id="{166B0722-50E2-E342-900C-BA0A0A98A4F8}"/>
                </a:ext>
              </a:extLst>
            </p:cNvPr>
            <p:cNvSpPr>
              <a:spLocks noChangeArrowheads="1"/>
            </p:cNvSpPr>
            <p:nvPr userDrawn="1"/>
          </p:nvSpPr>
          <p:spPr bwMode="auto">
            <a:xfrm>
              <a:off x="5205413" y="3149600"/>
              <a:ext cx="301625" cy="296863"/>
            </a:xfrm>
            <a:custGeom>
              <a:avLst/>
              <a:gdLst>
                <a:gd name="T0" fmla="*/ 606 w 837"/>
                <a:gd name="T1" fmla="*/ 0 h 823"/>
                <a:gd name="T2" fmla="*/ 820 w 837"/>
                <a:gd name="T3" fmla="*/ 0 h 823"/>
                <a:gd name="T4" fmla="*/ 820 w 837"/>
                <a:gd name="T5" fmla="*/ 5 h 823"/>
                <a:gd name="T6" fmla="*/ 536 w 837"/>
                <a:gd name="T7" fmla="*/ 402 h 823"/>
                <a:gd name="T8" fmla="*/ 836 w 837"/>
                <a:gd name="T9" fmla="*/ 819 h 823"/>
                <a:gd name="T10" fmla="*/ 836 w 837"/>
                <a:gd name="T11" fmla="*/ 822 h 823"/>
                <a:gd name="T12" fmla="*/ 625 w 837"/>
                <a:gd name="T13" fmla="*/ 822 h 823"/>
                <a:gd name="T14" fmla="*/ 420 w 837"/>
                <a:gd name="T15" fmla="*/ 525 h 823"/>
                <a:gd name="T16" fmla="*/ 212 w 837"/>
                <a:gd name="T17" fmla="*/ 822 h 823"/>
                <a:gd name="T18" fmla="*/ 0 w 837"/>
                <a:gd name="T19" fmla="*/ 822 h 823"/>
                <a:gd name="T20" fmla="*/ 0 w 837"/>
                <a:gd name="T21" fmla="*/ 819 h 823"/>
                <a:gd name="T22" fmla="*/ 303 w 837"/>
                <a:gd name="T23" fmla="*/ 402 h 823"/>
                <a:gd name="T24" fmla="*/ 20 w 837"/>
                <a:gd name="T25" fmla="*/ 5 h 823"/>
                <a:gd name="T26" fmla="*/ 20 w 837"/>
                <a:gd name="T27" fmla="*/ 0 h 823"/>
                <a:gd name="T28" fmla="*/ 231 w 837"/>
                <a:gd name="T29" fmla="*/ 0 h 823"/>
                <a:gd name="T30" fmla="*/ 420 w 837"/>
                <a:gd name="T31" fmla="*/ 294 h 823"/>
                <a:gd name="T32" fmla="*/ 606 w 837"/>
                <a:gd name="T33"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7" h="823">
                  <a:moveTo>
                    <a:pt x="606" y="0"/>
                  </a:moveTo>
                  <a:lnTo>
                    <a:pt x="820" y="0"/>
                  </a:lnTo>
                  <a:lnTo>
                    <a:pt x="820" y="5"/>
                  </a:lnTo>
                  <a:lnTo>
                    <a:pt x="536" y="402"/>
                  </a:lnTo>
                  <a:lnTo>
                    <a:pt x="836" y="819"/>
                  </a:lnTo>
                  <a:lnTo>
                    <a:pt x="836" y="822"/>
                  </a:lnTo>
                  <a:lnTo>
                    <a:pt x="625" y="822"/>
                  </a:lnTo>
                  <a:lnTo>
                    <a:pt x="420" y="525"/>
                  </a:lnTo>
                  <a:lnTo>
                    <a:pt x="212" y="822"/>
                  </a:lnTo>
                  <a:lnTo>
                    <a:pt x="0" y="822"/>
                  </a:lnTo>
                  <a:lnTo>
                    <a:pt x="0" y="819"/>
                  </a:lnTo>
                  <a:lnTo>
                    <a:pt x="303" y="402"/>
                  </a:lnTo>
                  <a:lnTo>
                    <a:pt x="20" y="5"/>
                  </a:lnTo>
                  <a:lnTo>
                    <a:pt x="20" y="0"/>
                  </a:lnTo>
                  <a:lnTo>
                    <a:pt x="231" y="0"/>
                  </a:lnTo>
                  <a:lnTo>
                    <a:pt x="420" y="294"/>
                  </a:lnTo>
                  <a:lnTo>
                    <a:pt x="60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9" name="Freeform 11">
              <a:extLst>
                <a:ext uri="{FF2B5EF4-FFF2-40B4-BE49-F238E27FC236}">
                  <a16:creationId xmlns:a16="http://schemas.microsoft.com/office/drawing/2014/main" id="{4F9000D9-18C8-CF47-B624-BA0A83650CC9}"/>
                </a:ext>
              </a:extLst>
            </p:cNvPr>
            <p:cNvSpPr>
              <a:spLocks noChangeArrowheads="1"/>
            </p:cNvSpPr>
            <p:nvPr userDrawn="1"/>
          </p:nvSpPr>
          <p:spPr bwMode="auto">
            <a:xfrm>
              <a:off x="5557838" y="3143250"/>
              <a:ext cx="323850" cy="439738"/>
            </a:xfrm>
            <a:custGeom>
              <a:avLst/>
              <a:gdLst>
                <a:gd name="T0" fmla="*/ 0 w 898"/>
                <a:gd name="T1" fmla="*/ 1221 h 1222"/>
                <a:gd name="T2" fmla="*/ 0 w 898"/>
                <a:gd name="T3" fmla="*/ 1221 h 1222"/>
                <a:gd name="T4" fmla="*/ 0 w 898"/>
                <a:gd name="T5" fmla="*/ 17 h 1222"/>
                <a:gd name="T6" fmla="*/ 164 w 898"/>
                <a:gd name="T7" fmla="*/ 17 h 1222"/>
                <a:gd name="T8" fmla="*/ 175 w 898"/>
                <a:gd name="T9" fmla="*/ 150 h 1222"/>
                <a:gd name="T10" fmla="*/ 306 w 898"/>
                <a:gd name="T11" fmla="*/ 36 h 1222"/>
                <a:gd name="T12" fmla="*/ 472 w 898"/>
                <a:gd name="T13" fmla="*/ 0 h 1222"/>
                <a:gd name="T14" fmla="*/ 645 w 898"/>
                <a:gd name="T15" fmla="*/ 33 h 1222"/>
                <a:gd name="T16" fmla="*/ 781 w 898"/>
                <a:gd name="T17" fmla="*/ 122 h 1222"/>
                <a:gd name="T18" fmla="*/ 867 w 898"/>
                <a:gd name="T19" fmla="*/ 256 h 1222"/>
                <a:gd name="T20" fmla="*/ 897 w 898"/>
                <a:gd name="T21" fmla="*/ 428 h 1222"/>
                <a:gd name="T22" fmla="*/ 867 w 898"/>
                <a:gd name="T23" fmla="*/ 600 h 1222"/>
                <a:gd name="T24" fmla="*/ 783 w 898"/>
                <a:gd name="T25" fmla="*/ 736 h 1222"/>
                <a:gd name="T26" fmla="*/ 650 w 898"/>
                <a:gd name="T27" fmla="*/ 828 h 1222"/>
                <a:gd name="T28" fmla="*/ 472 w 898"/>
                <a:gd name="T29" fmla="*/ 858 h 1222"/>
                <a:gd name="T30" fmla="*/ 392 w 898"/>
                <a:gd name="T31" fmla="*/ 850 h 1222"/>
                <a:gd name="T32" fmla="*/ 308 w 898"/>
                <a:gd name="T33" fmla="*/ 828 h 1222"/>
                <a:gd name="T34" fmla="*/ 233 w 898"/>
                <a:gd name="T35" fmla="*/ 786 h 1222"/>
                <a:gd name="T36" fmla="*/ 175 w 898"/>
                <a:gd name="T37" fmla="*/ 719 h 1222"/>
                <a:gd name="T38" fmla="*/ 175 w 898"/>
                <a:gd name="T39" fmla="*/ 1221 h 1222"/>
                <a:gd name="T40" fmla="*/ 0 w 898"/>
                <a:gd name="T41" fmla="*/ 1221 h 1222"/>
                <a:gd name="T42" fmla="*/ 456 w 898"/>
                <a:gd name="T43" fmla="*/ 692 h 1222"/>
                <a:gd name="T44" fmla="*/ 456 w 898"/>
                <a:gd name="T45" fmla="*/ 692 h 1222"/>
                <a:gd name="T46" fmla="*/ 561 w 898"/>
                <a:gd name="T47" fmla="*/ 672 h 1222"/>
                <a:gd name="T48" fmla="*/ 647 w 898"/>
                <a:gd name="T49" fmla="*/ 617 h 1222"/>
                <a:gd name="T50" fmla="*/ 703 w 898"/>
                <a:gd name="T51" fmla="*/ 536 h 1222"/>
                <a:gd name="T52" fmla="*/ 722 w 898"/>
                <a:gd name="T53" fmla="*/ 428 h 1222"/>
                <a:gd name="T54" fmla="*/ 650 w 898"/>
                <a:gd name="T55" fmla="*/ 239 h 1222"/>
                <a:gd name="T56" fmla="*/ 456 w 898"/>
                <a:gd name="T57" fmla="*/ 167 h 1222"/>
                <a:gd name="T58" fmla="*/ 345 w 898"/>
                <a:gd name="T59" fmla="*/ 186 h 1222"/>
                <a:gd name="T60" fmla="*/ 261 w 898"/>
                <a:gd name="T61" fmla="*/ 242 h 1222"/>
                <a:gd name="T62" fmla="*/ 208 w 898"/>
                <a:gd name="T63" fmla="*/ 325 h 1222"/>
                <a:gd name="T64" fmla="*/ 192 w 898"/>
                <a:gd name="T65" fmla="*/ 428 h 1222"/>
                <a:gd name="T66" fmla="*/ 211 w 898"/>
                <a:gd name="T67" fmla="*/ 530 h 1222"/>
                <a:gd name="T68" fmla="*/ 264 w 898"/>
                <a:gd name="T69" fmla="*/ 617 h 1222"/>
                <a:gd name="T70" fmla="*/ 347 w 898"/>
                <a:gd name="T71" fmla="*/ 672 h 1222"/>
                <a:gd name="T72" fmla="*/ 456 w 898"/>
                <a:gd name="T73" fmla="*/ 69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8" h="1222">
                  <a:moveTo>
                    <a:pt x="0" y="1221"/>
                  </a:moveTo>
                  <a:lnTo>
                    <a:pt x="0" y="1221"/>
                  </a:lnTo>
                  <a:cubicBezTo>
                    <a:pt x="0" y="17"/>
                    <a:pt x="0" y="17"/>
                    <a:pt x="0" y="17"/>
                  </a:cubicBezTo>
                  <a:cubicBezTo>
                    <a:pt x="164" y="17"/>
                    <a:pt x="164" y="17"/>
                    <a:pt x="164" y="17"/>
                  </a:cubicBezTo>
                  <a:cubicBezTo>
                    <a:pt x="175" y="150"/>
                    <a:pt x="175" y="150"/>
                    <a:pt x="175" y="150"/>
                  </a:cubicBezTo>
                  <a:cubicBezTo>
                    <a:pt x="208" y="100"/>
                    <a:pt x="253" y="61"/>
                    <a:pt x="306" y="36"/>
                  </a:cubicBezTo>
                  <a:cubicBezTo>
                    <a:pt x="361" y="11"/>
                    <a:pt x="417" y="0"/>
                    <a:pt x="472" y="0"/>
                  </a:cubicBezTo>
                  <a:cubicBezTo>
                    <a:pt x="536" y="0"/>
                    <a:pt x="592" y="11"/>
                    <a:pt x="645" y="33"/>
                  </a:cubicBezTo>
                  <a:cubicBezTo>
                    <a:pt x="697" y="53"/>
                    <a:pt x="742" y="83"/>
                    <a:pt x="781" y="122"/>
                  </a:cubicBezTo>
                  <a:cubicBezTo>
                    <a:pt x="817" y="158"/>
                    <a:pt x="847" y="206"/>
                    <a:pt x="867" y="256"/>
                  </a:cubicBezTo>
                  <a:cubicBezTo>
                    <a:pt x="886" y="308"/>
                    <a:pt x="897" y="367"/>
                    <a:pt x="897" y="428"/>
                  </a:cubicBezTo>
                  <a:cubicBezTo>
                    <a:pt x="897" y="492"/>
                    <a:pt x="886" y="550"/>
                    <a:pt x="867" y="600"/>
                  </a:cubicBezTo>
                  <a:cubicBezTo>
                    <a:pt x="847" y="653"/>
                    <a:pt x="820" y="700"/>
                    <a:pt x="783" y="736"/>
                  </a:cubicBezTo>
                  <a:cubicBezTo>
                    <a:pt x="747" y="775"/>
                    <a:pt x="703" y="805"/>
                    <a:pt x="650" y="828"/>
                  </a:cubicBezTo>
                  <a:cubicBezTo>
                    <a:pt x="597" y="847"/>
                    <a:pt x="536" y="858"/>
                    <a:pt x="472" y="858"/>
                  </a:cubicBezTo>
                  <a:cubicBezTo>
                    <a:pt x="447" y="858"/>
                    <a:pt x="420" y="856"/>
                    <a:pt x="392" y="850"/>
                  </a:cubicBezTo>
                  <a:cubicBezTo>
                    <a:pt x="364" y="847"/>
                    <a:pt x="336" y="839"/>
                    <a:pt x="308" y="828"/>
                  </a:cubicBezTo>
                  <a:cubicBezTo>
                    <a:pt x="283" y="817"/>
                    <a:pt x="258" y="803"/>
                    <a:pt x="233" y="786"/>
                  </a:cubicBezTo>
                  <a:cubicBezTo>
                    <a:pt x="211" y="767"/>
                    <a:pt x="192" y="744"/>
                    <a:pt x="175" y="719"/>
                  </a:cubicBezTo>
                  <a:cubicBezTo>
                    <a:pt x="175" y="1221"/>
                    <a:pt x="175" y="1221"/>
                    <a:pt x="175" y="1221"/>
                  </a:cubicBezTo>
                  <a:lnTo>
                    <a:pt x="0" y="1221"/>
                  </a:lnTo>
                  <a:close/>
                  <a:moveTo>
                    <a:pt x="456" y="692"/>
                  </a:moveTo>
                  <a:lnTo>
                    <a:pt x="456" y="692"/>
                  </a:lnTo>
                  <a:cubicBezTo>
                    <a:pt x="495" y="692"/>
                    <a:pt x="531" y="686"/>
                    <a:pt x="561" y="672"/>
                  </a:cubicBezTo>
                  <a:cubicBezTo>
                    <a:pt x="595" y="658"/>
                    <a:pt x="622" y="642"/>
                    <a:pt x="647" y="617"/>
                  </a:cubicBezTo>
                  <a:cubicBezTo>
                    <a:pt x="669" y="594"/>
                    <a:pt x="689" y="567"/>
                    <a:pt x="703" y="536"/>
                  </a:cubicBezTo>
                  <a:cubicBezTo>
                    <a:pt x="714" y="503"/>
                    <a:pt x="722" y="467"/>
                    <a:pt x="722" y="428"/>
                  </a:cubicBezTo>
                  <a:cubicBezTo>
                    <a:pt x="722" y="350"/>
                    <a:pt x="697" y="289"/>
                    <a:pt x="650" y="239"/>
                  </a:cubicBezTo>
                  <a:cubicBezTo>
                    <a:pt x="600" y="192"/>
                    <a:pt x="536" y="167"/>
                    <a:pt x="456" y="167"/>
                  </a:cubicBezTo>
                  <a:cubicBezTo>
                    <a:pt x="414" y="167"/>
                    <a:pt x="378" y="172"/>
                    <a:pt x="345" y="186"/>
                  </a:cubicBezTo>
                  <a:cubicBezTo>
                    <a:pt x="314" y="200"/>
                    <a:pt x="286" y="219"/>
                    <a:pt x="261" y="242"/>
                  </a:cubicBezTo>
                  <a:cubicBezTo>
                    <a:pt x="239" y="267"/>
                    <a:pt x="222" y="294"/>
                    <a:pt x="208" y="325"/>
                  </a:cubicBezTo>
                  <a:cubicBezTo>
                    <a:pt x="197" y="358"/>
                    <a:pt x="192" y="392"/>
                    <a:pt x="192" y="428"/>
                  </a:cubicBezTo>
                  <a:cubicBezTo>
                    <a:pt x="192" y="467"/>
                    <a:pt x="197" y="500"/>
                    <a:pt x="211" y="530"/>
                  </a:cubicBezTo>
                  <a:cubicBezTo>
                    <a:pt x="222" y="564"/>
                    <a:pt x="242" y="592"/>
                    <a:pt x="264" y="617"/>
                  </a:cubicBezTo>
                  <a:cubicBezTo>
                    <a:pt x="289" y="639"/>
                    <a:pt x="317" y="658"/>
                    <a:pt x="347" y="672"/>
                  </a:cubicBezTo>
                  <a:cubicBezTo>
                    <a:pt x="381" y="683"/>
                    <a:pt x="417" y="692"/>
                    <a:pt x="456" y="692"/>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0" name="Freeform 12">
              <a:extLst>
                <a:ext uri="{FF2B5EF4-FFF2-40B4-BE49-F238E27FC236}">
                  <a16:creationId xmlns:a16="http://schemas.microsoft.com/office/drawing/2014/main" id="{AACAC10A-0EAB-D44A-B117-C2EC0A761838}"/>
                </a:ext>
              </a:extLst>
            </p:cNvPr>
            <p:cNvSpPr>
              <a:spLocks noChangeArrowheads="1"/>
            </p:cNvSpPr>
            <p:nvPr userDrawn="1"/>
          </p:nvSpPr>
          <p:spPr bwMode="auto">
            <a:xfrm>
              <a:off x="5929313" y="3141663"/>
              <a:ext cx="315912" cy="312737"/>
            </a:xfrm>
            <a:custGeom>
              <a:avLst/>
              <a:gdLst>
                <a:gd name="T0" fmla="*/ 867 w 876"/>
                <a:gd name="T1" fmla="*/ 498 h 868"/>
                <a:gd name="T2" fmla="*/ 867 w 876"/>
                <a:gd name="T3" fmla="*/ 498 h 868"/>
                <a:gd name="T4" fmla="*/ 184 w 876"/>
                <a:gd name="T5" fmla="*/ 498 h 868"/>
                <a:gd name="T6" fmla="*/ 270 w 876"/>
                <a:gd name="T7" fmla="*/ 650 h 868"/>
                <a:gd name="T8" fmla="*/ 459 w 876"/>
                <a:gd name="T9" fmla="*/ 706 h 868"/>
                <a:gd name="T10" fmla="*/ 595 w 876"/>
                <a:gd name="T11" fmla="*/ 684 h 868"/>
                <a:gd name="T12" fmla="*/ 703 w 876"/>
                <a:gd name="T13" fmla="*/ 617 h 868"/>
                <a:gd name="T14" fmla="*/ 817 w 876"/>
                <a:gd name="T15" fmla="*/ 725 h 868"/>
                <a:gd name="T16" fmla="*/ 742 w 876"/>
                <a:gd name="T17" fmla="*/ 786 h 868"/>
                <a:gd name="T18" fmla="*/ 653 w 876"/>
                <a:gd name="T19" fmla="*/ 831 h 868"/>
                <a:gd name="T20" fmla="*/ 553 w 876"/>
                <a:gd name="T21" fmla="*/ 859 h 868"/>
                <a:gd name="T22" fmla="*/ 456 w 876"/>
                <a:gd name="T23" fmla="*/ 867 h 868"/>
                <a:gd name="T24" fmla="*/ 267 w 876"/>
                <a:gd name="T25" fmla="*/ 836 h 868"/>
                <a:gd name="T26" fmla="*/ 125 w 876"/>
                <a:gd name="T27" fmla="*/ 748 h 868"/>
                <a:gd name="T28" fmla="*/ 34 w 876"/>
                <a:gd name="T29" fmla="*/ 609 h 868"/>
                <a:gd name="T30" fmla="*/ 0 w 876"/>
                <a:gd name="T31" fmla="*/ 431 h 868"/>
                <a:gd name="T32" fmla="*/ 34 w 876"/>
                <a:gd name="T33" fmla="*/ 256 h 868"/>
                <a:gd name="T34" fmla="*/ 125 w 876"/>
                <a:gd name="T35" fmla="*/ 120 h 868"/>
                <a:gd name="T36" fmla="*/ 264 w 876"/>
                <a:gd name="T37" fmla="*/ 31 h 868"/>
                <a:gd name="T38" fmla="*/ 442 w 876"/>
                <a:gd name="T39" fmla="*/ 0 h 868"/>
                <a:gd name="T40" fmla="*/ 628 w 876"/>
                <a:gd name="T41" fmla="*/ 31 h 868"/>
                <a:gd name="T42" fmla="*/ 770 w 876"/>
                <a:gd name="T43" fmla="*/ 125 h 868"/>
                <a:gd name="T44" fmla="*/ 853 w 876"/>
                <a:gd name="T45" fmla="*/ 278 h 868"/>
                <a:gd name="T46" fmla="*/ 867 w 876"/>
                <a:gd name="T47" fmla="*/ 498 h 868"/>
                <a:gd name="T48" fmla="*/ 186 w 876"/>
                <a:gd name="T49" fmla="*/ 353 h 868"/>
                <a:gd name="T50" fmla="*/ 186 w 876"/>
                <a:gd name="T51" fmla="*/ 353 h 868"/>
                <a:gd name="T52" fmla="*/ 698 w 876"/>
                <a:gd name="T53" fmla="*/ 353 h 868"/>
                <a:gd name="T54" fmla="*/ 623 w 876"/>
                <a:gd name="T55" fmla="*/ 203 h 868"/>
                <a:gd name="T56" fmla="*/ 448 w 876"/>
                <a:gd name="T57" fmla="*/ 153 h 868"/>
                <a:gd name="T58" fmla="*/ 278 w 876"/>
                <a:gd name="T59" fmla="*/ 203 h 868"/>
                <a:gd name="T60" fmla="*/ 186 w 876"/>
                <a:gd name="T61" fmla="*/ 353 h 868"/>
                <a:gd name="T62" fmla="*/ 867 w 876"/>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8">
                  <a:moveTo>
                    <a:pt x="867" y="498"/>
                  </a:moveTo>
                  <a:lnTo>
                    <a:pt x="867" y="498"/>
                  </a:lnTo>
                  <a:cubicBezTo>
                    <a:pt x="184" y="498"/>
                    <a:pt x="184" y="498"/>
                    <a:pt x="184" y="498"/>
                  </a:cubicBezTo>
                  <a:cubicBezTo>
                    <a:pt x="192" y="562"/>
                    <a:pt x="220" y="611"/>
                    <a:pt x="270" y="650"/>
                  </a:cubicBezTo>
                  <a:cubicBezTo>
                    <a:pt x="317" y="686"/>
                    <a:pt x="381" y="706"/>
                    <a:pt x="459" y="706"/>
                  </a:cubicBezTo>
                  <a:cubicBezTo>
                    <a:pt x="503" y="706"/>
                    <a:pt x="547" y="698"/>
                    <a:pt x="595" y="684"/>
                  </a:cubicBezTo>
                  <a:cubicBezTo>
                    <a:pt x="639" y="667"/>
                    <a:pt x="675" y="645"/>
                    <a:pt x="703" y="617"/>
                  </a:cubicBezTo>
                  <a:cubicBezTo>
                    <a:pt x="817" y="725"/>
                    <a:pt x="817" y="725"/>
                    <a:pt x="817" y="725"/>
                  </a:cubicBezTo>
                  <a:cubicBezTo>
                    <a:pt x="795" y="750"/>
                    <a:pt x="770" y="770"/>
                    <a:pt x="742" y="786"/>
                  </a:cubicBezTo>
                  <a:cubicBezTo>
                    <a:pt x="714" y="806"/>
                    <a:pt x="684" y="820"/>
                    <a:pt x="653" y="831"/>
                  </a:cubicBezTo>
                  <a:cubicBezTo>
                    <a:pt x="620" y="845"/>
                    <a:pt x="589" y="853"/>
                    <a:pt x="553" y="859"/>
                  </a:cubicBezTo>
                  <a:cubicBezTo>
                    <a:pt x="520" y="864"/>
                    <a:pt x="486" y="867"/>
                    <a:pt x="456" y="867"/>
                  </a:cubicBezTo>
                  <a:cubicBezTo>
                    <a:pt x="386" y="867"/>
                    <a:pt x="323" y="856"/>
                    <a:pt x="267" y="836"/>
                  </a:cubicBezTo>
                  <a:cubicBezTo>
                    <a:pt x="211" y="814"/>
                    <a:pt x="164" y="786"/>
                    <a:pt x="125" y="748"/>
                  </a:cubicBezTo>
                  <a:cubicBezTo>
                    <a:pt x="86" y="709"/>
                    <a:pt x="56" y="664"/>
                    <a:pt x="34" y="609"/>
                  </a:cubicBezTo>
                  <a:cubicBezTo>
                    <a:pt x="11" y="556"/>
                    <a:pt x="0" y="495"/>
                    <a:pt x="0" y="431"/>
                  </a:cubicBezTo>
                  <a:cubicBezTo>
                    <a:pt x="0" y="367"/>
                    <a:pt x="11" y="309"/>
                    <a:pt x="34" y="256"/>
                  </a:cubicBezTo>
                  <a:cubicBezTo>
                    <a:pt x="56" y="203"/>
                    <a:pt x="86" y="159"/>
                    <a:pt x="125" y="120"/>
                  </a:cubicBezTo>
                  <a:cubicBezTo>
                    <a:pt x="161" y="84"/>
                    <a:pt x="209" y="53"/>
                    <a:pt x="264" y="31"/>
                  </a:cubicBezTo>
                  <a:cubicBezTo>
                    <a:pt x="317" y="12"/>
                    <a:pt x="378" y="0"/>
                    <a:pt x="442" y="0"/>
                  </a:cubicBezTo>
                  <a:cubicBezTo>
                    <a:pt x="511" y="0"/>
                    <a:pt x="573" y="12"/>
                    <a:pt x="628" y="31"/>
                  </a:cubicBezTo>
                  <a:cubicBezTo>
                    <a:pt x="684" y="53"/>
                    <a:pt x="731" y="84"/>
                    <a:pt x="770" y="125"/>
                  </a:cubicBezTo>
                  <a:cubicBezTo>
                    <a:pt x="806" y="164"/>
                    <a:pt x="834" y="217"/>
                    <a:pt x="853" y="278"/>
                  </a:cubicBezTo>
                  <a:cubicBezTo>
                    <a:pt x="870" y="342"/>
                    <a:pt x="875" y="414"/>
                    <a:pt x="867" y="498"/>
                  </a:cubicBezTo>
                  <a:lnTo>
                    <a:pt x="186" y="353"/>
                  </a:lnTo>
                  <a:lnTo>
                    <a:pt x="186" y="353"/>
                  </a:lnTo>
                  <a:cubicBezTo>
                    <a:pt x="698" y="353"/>
                    <a:pt x="698" y="353"/>
                    <a:pt x="698" y="353"/>
                  </a:cubicBezTo>
                  <a:cubicBezTo>
                    <a:pt x="692" y="287"/>
                    <a:pt x="667" y="236"/>
                    <a:pt x="623" y="203"/>
                  </a:cubicBezTo>
                  <a:cubicBezTo>
                    <a:pt x="578" y="170"/>
                    <a:pt x="520" y="153"/>
                    <a:pt x="448" y="153"/>
                  </a:cubicBezTo>
                  <a:cubicBezTo>
                    <a:pt x="384" y="153"/>
                    <a:pt x="328" y="170"/>
                    <a:pt x="278" y="203"/>
                  </a:cubicBezTo>
                  <a:cubicBezTo>
                    <a:pt x="231" y="236"/>
                    <a:pt x="200" y="287"/>
                    <a:pt x="186" y="353"/>
                  </a:cubicBezTo>
                  <a:lnTo>
                    <a:pt x="867"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1" name="Freeform 13">
              <a:extLst>
                <a:ext uri="{FF2B5EF4-FFF2-40B4-BE49-F238E27FC236}">
                  <a16:creationId xmlns:a16="http://schemas.microsoft.com/office/drawing/2014/main" id="{4C41BA3A-A4DB-F045-B10F-E72F0B2BFAB7}"/>
                </a:ext>
              </a:extLst>
            </p:cNvPr>
            <p:cNvSpPr>
              <a:spLocks noChangeArrowheads="1"/>
            </p:cNvSpPr>
            <p:nvPr userDrawn="1"/>
          </p:nvSpPr>
          <p:spPr bwMode="auto">
            <a:xfrm>
              <a:off x="6305550" y="3141663"/>
              <a:ext cx="228600" cy="303212"/>
            </a:xfrm>
            <a:custGeom>
              <a:avLst/>
              <a:gdLst>
                <a:gd name="T0" fmla="*/ 164 w 634"/>
                <a:gd name="T1" fmla="*/ 20 h 843"/>
                <a:gd name="T2" fmla="*/ 164 w 634"/>
                <a:gd name="T3" fmla="*/ 20 h 843"/>
                <a:gd name="T4" fmla="*/ 177 w 634"/>
                <a:gd name="T5" fmla="*/ 128 h 843"/>
                <a:gd name="T6" fmla="*/ 289 w 634"/>
                <a:gd name="T7" fmla="*/ 25 h 843"/>
                <a:gd name="T8" fmla="*/ 425 w 634"/>
                <a:gd name="T9" fmla="*/ 0 h 843"/>
                <a:gd name="T10" fmla="*/ 541 w 634"/>
                <a:gd name="T11" fmla="*/ 20 h 843"/>
                <a:gd name="T12" fmla="*/ 633 w 634"/>
                <a:gd name="T13" fmla="*/ 70 h 843"/>
                <a:gd name="T14" fmla="*/ 552 w 634"/>
                <a:gd name="T15" fmla="*/ 222 h 843"/>
                <a:gd name="T16" fmla="*/ 486 w 634"/>
                <a:gd name="T17" fmla="*/ 184 h 843"/>
                <a:gd name="T18" fmla="*/ 405 w 634"/>
                <a:gd name="T19" fmla="*/ 172 h 843"/>
                <a:gd name="T20" fmla="*/ 316 w 634"/>
                <a:gd name="T21" fmla="*/ 186 h 843"/>
                <a:gd name="T22" fmla="*/ 244 w 634"/>
                <a:gd name="T23" fmla="*/ 228 h 843"/>
                <a:gd name="T24" fmla="*/ 197 w 634"/>
                <a:gd name="T25" fmla="*/ 297 h 843"/>
                <a:gd name="T26" fmla="*/ 177 w 634"/>
                <a:gd name="T27" fmla="*/ 397 h 843"/>
                <a:gd name="T28" fmla="*/ 177 w 634"/>
                <a:gd name="T29" fmla="*/ 842 h 843"/>
                <a:gd name="T30" fmla="*/ 0 w 634"/>
                <a:gd name="T31" fmla="*/ 842 h 843"/>
                <a:gd name="T32" fmla="*/ 0 w 634"/>
                <a:gd name="T33" fmla="*/ 20 h 843"/>
                <a:gd name="T34" fmla="*/ 164 w 634"/>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4" h="843">
                  <a:moveTo>
                    <a:pt x="164" y="20"/>
                  </a:moveTo>
                  <a:lnTo>
                    <a:pt x="164" y="20"/>
                  </a:lnTo>
                  <a:cubicBezTo>
                    <a:pt x="177" y="128"/>
                    <a:pt x="177" y="128"/>
                    <a:pt x="177" y="128"/>
                  </a:cubicBezTo>
                  <a:cubicBezTo>
                    <a:pt x="208" y="75"/>
                    <a:pt x="244" y="42"/>
                    <a:pt x="289" y="25"/>
                  </a:cubicBezTo>
                  <a:cubicBezTo>
                    <a:pt x="333" y="9"/>
                    <a:pt x="380" y="0"/>
                    <a:pt x="425" y="0"/>
                  </a:cubicBezTo>
                  <a:cubicBezTo>
                    <a:pt x="466" y="0"/>
                    <a:pt x="505" y="9"/>
                    <a:pt x="541" y="20"/>
                  </a:cubicBezTo>
                  <a:cubicBezTo>
                    <a:pt x="577" y="34"/>
                    <a:pt x="608" y="50"/>
                    <a:pt x="633" y="70"/>
                  </a:cubicBezTo>
                  <a:cubicBezTo>
                    <a:pt x="552" y="222"/>
                    <a:pt x="552" y="222"/>
                    <a:pt x="552" y="222"/>
                  </a:cubicBezTo>
                  <a:cubicBezTo>
                    <a:pt x="530" y="206"/>
                    <a:pt x="508" y="192"/>
                    <a:pt x="486" y="184"/>
                  </a:cubicBezTo>
                  <a:cubicBezTo>
                    <a:pt x="464" y="175"/>
                    <a:pt x="436" y="172"/>
                    <a:pt x="405" y="172"/>
                  </a:cubicBezTo>
                  <a:cubicBezTo>
                    <a:pt x="372" y="172"/>
                    <a:pt x="344" y="175"/>
                    <a:pt x="316" y="186"/>
                  </a:cubicBezTo>
                  <a:cubicBezTo>
                    <a:pt x="289" y="195"/>
                    <a:pt x="266" y="209"/>
                    <a:pt x="244" y="228"/>
                  </a:cubicBezTo>
                  <a:cubicBezTo>
                    <a:pt x="225" y="245"/>
                    <a:pt x="208" y="270"/>
                    <a:pt x="197" y="297"/>
                  </a:cubicBezTo>
                  <a:cubicBezTo>
                    <a:pt x="183" y="325"/>
                    <a:pt x="177" y="359"/>
                    <a:pt x="177" y="397"/>
                  </a:cubicBezTo>
                  <a:cubicBezTo>
                    <a:pt x="177" y="842"/>
                    <a:pt x="177" y="842"/>
                    <a:pt x="177"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2" name="Freeform 14">
              <a:extLst>
                <a:ext uri="{FF2B5EF4-FFF2-40B4-BE49-F238E27FC236}">
                  <a16:creationId xmlns:a16="http://schemas.microsoft.com/office/drawing/2014/main" id="{559AC273-9660-3B45-A5E2-82B2F5794AD7}"/>
                </a:ext>
              </a:extLst>
            </p:cNvPr>
            <p:cNvSpPr>
              <a:spLocks noChangeArrowheads="1"/>
            </p:cNvSpPr>
            <p:nvPr userDrawn="1"/>
          </p:nvSpPr>
          <p:spPr bwMode="auto">
            <a:xfrm>
              <a:off x="6577013" y="3148013"/>
              <a:ext cx="63500" cy="296862"/>
            </a:xfrm>
            <a:custGeom>
              <a:avLst/>
              <a:gdLst>
                <a:gd name="T0" fmla="*/ 175 w 176"/>
                <a:gd name="T1" fmla="*/ 825 h 826"/>
                <a:gd name="T2" fmla="*/ 0 w 176"/>
                <a:gd name="T3" fmla="*/ 825 h 826"/>
                <a:gd name="T4" fmla="*/ 0 w 176"/>
                <a:gd name="T5" fmla="*/ 0 h 826"/>
                <a:gd name="T6" fmla="*/ 175 w 176"/>
                <a:gd name="T7" fmla="*/ 0 h 826"/>
                <a:gd name="T8" fmla="*/ 175 w 176"/>
                <a:gd name="T9" fmla="*/ 825 h 826"/>
              </a:gdLst>
              <a:ahLst/>
              <a:cxnLst>
                <a:cxn ang="0">
                  <a:pos x="T0" y="T1"/>
                </a:cxn>
                <a:cxn ang="0">
                  <a:pos x="T2" y="T3"/>
                </a:cxn>
                <a:cxn ang="0">
                  <a:pos x="T4" y="T5"/>
                </a:cxn>
                <a:cxn ang="0">
                  <a:pos x="T6" y="T7"/>
                </a:cxn>
                <a:cxn ang="0">
                  <a:pos x="T8" y="T9"/>
                </a:cxn>
              </a:cxnLst>
              <a:rect l="0" t="0" r="r" b="b"/>
              <a:pathLst>
                <a:path w="176" h="826">
                  <a:moveTo>
                    <a:pt x="175" y="825"/>
                  </a:moveTo>
                  <a:lnTo>
                    <a:pt x="0" y="825"/>
                  </a:lnTo>
                  <a:lnTo>
                    <a:pt x="0" y="0"/>
                  </a:lnTo>
                  <a:lnTo>
                    <a:pt x="175" y="0"/>
                  </a:lnTo>
                  <a:lnTo>
                    <a:pt x="175" y="8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3" name="Freeform 15">
              <a:extLst>
                <a:ext uri="{FF2B5EF4-FFF2-40B4-BE49-F238E27FC236}">
                  <a16:creationId xmlns:a16="http://schemas.microsoft.com/office/drawing/2014/main" id="{38C239F3-BB46-6E4D-B9D1-F71EB91BF769}"/>
                </a:ext>
              </a:extLst>
            </p:cNvPr>
            <p:cNvSpPr>
              <a:spLocks noChangeArrowheads="1"/>
            </p:cNvSpPr>
            <p:nvPr userDrawn="1"/>
          </p:nvSpPr>
          <p:spPr bwMode="auto">
            <a:xfrm>
              <a:off x="6707188" y="3141663"/>
              <a:ext cx="314325" cy="312737"/>
            </a:xfrm>
            <a:custGeom>
              <a:avLst/>
              <a:gdLst>
                <a:gd name="T0" fmla="*/ 864 w 873"/>
                <a:gd name="T1" fmla="*/ 498 h 868"/>
                <a:gd name="T2" fmla="*/ 864 w 873"/>
                <a:gd name="T3" fmla="*/ 498 h 868"/>
                <a:gd name="T4" fmla="*/ 184 w 873"/>
                <a:gd name="T5" fmla="*/ 498 h 868"/>
                <a:gd name="T6" fmla="*/ 267 w 873"/>
                <a:gd name="T7" fmla="*/ 650 h 868"/>
                <a:gd name="T8" fmla="*/ 459 w 873"/>
                <a:gd name="T9" fmla="*/ 706 h 868"/>
                <a:gd name="T10" fmla="*/ 592 w 873"/>
                <a:gd name="T11" fmla="*/ 684 h 868"/>
                <a:gd name="T12" fmla="*/ 700 w 873"/>
                <a:gd name="T13" fmla="*/ 617 h 868"/>
                <a:gd name="T14" fmla="*/ 817 w 873"/>
                <a:gd name="T15" fmla="*/ 725 h 868"/>
                <a:gd name="T16" fmla="*/ 742 w 873"/>
                <a:gd name="T17" fmla="*/ 786 h 868"/>
                <a:gd name="T18" fmla="*/ 650 w 873"/>
                <a:gd name="T19" fmla="*/ 831 h 868"/>
                <a:gd name="T20" fmla="*/ 553 w 873"/>
                <a:gd name="T21" fmla="*/ 859 h 868"/>
                <a:gd name="T22" fmla="*/ 453 w 873"/>
                <a:gd name="T23" fmla="*/ 867 h 868"/>
                <a:gd name="T24" fmla="*/ 267 w 873"/>
                <a:gd name="T25" fmla="*/ 836 h 868"/>
                <a:gd name="T26" fmla="*/ 123 w 873"/>
                <a:gd name="T27" fmla="*/ 748 h 868"/>
                <a:gd name="T28" fmla="*/ 34 w 873"/>
                <a:gd name="T29" fmla="*/ 609 h 868"/>
                <a:gd name="T30" fmla="*/ 0 w 873"/>
                <a:gd name="T31" fmla="*/ 431 h 868"/>
                <a:gd name="T32" fmla="*/ 34 w 873"/>
                <a:gd name="T33" fmla="*/ 256 h 868"/>
                <a:gd name="T34" fmla="*/ 123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7 w 873"/>
                <a:gd name="T53" fmla="*/ 353 h 868"/>
                <a:gd name="T54" fmla="*/ 622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4" y="498"/>
                    <a:pt x="184" y="498"/>
                    <a:pt x="184" y="498"/>
                  </a:cubicBezTo>
                  <a:cubicBezTo>
                    <a:pt x="189" y="562"/>
                    <a:pt x="220" y="611"/>
                    <a:pt x="267" y="650"/>
                  </a:cubicBezTo>
                  <a:cubicBezTo>
                    <a:pt x="317" y="686"/>
                    <a:pt x="381" y="706"/>
                    <a:pt x="459" y="706"/>
                  </a:cubicBezTo>
                  <a:cubicBezTo>
                    <a:pt x="500" y="706"/>
                    <a:pt x="545" y="698"/>
                    <a:pt x="592" y="684"/>
                  </a:cubicBezTo>
                  <a:cubicBezTo>
                    <a:pt x="639" y="667"/>
                    <a:pt x="675" y="645"/>
                    <a:pt x="700" y="617"/>
                  </a:cubicBezTo>
                  <a:cubicBezTo>
                    <a:pt x="817" y="725"/>
                    <a:pt x="817" y="725"/>
                    <a:pt x="817" y="725"/>
                  </a:cubicBezTo>
                  <a:cubicBezTo>
                    <a:pt x="795" y="750"/>
                    <a:pt x="770" y="770"/>
                    <a:pt x="742" y="786"/>
                  </a:cubicBezTo>
                  <a:cubicBezTo>
                    <a:pt x="711" y="806"/>
                    <a:pt x="684" y="820"/>
                    <a:pt x="650" y="831"/>
                  </a:cubicBezTo>
                  <a:cubicBezTo>
                    <a:pt x="620" y="845"/>
                    <a:pt x="586" y="853"/>
                    <a:pt x="553" y="859"/>
                  </a:cubicBezTo>
                  <a:cubicBezTo>
                    <a:pt x="520" y="864"/>
                    <a:pt x="486" y="867"/>
                    <a:pt x="453" y="867"/>
                  </a:cubicBezTo>
                  <a:cubicBezTo>
                    <a:pt x="384" y="867"/>
                    <a:pt x="322" y="856"/>
                    <a:pt x="267" y="836"/>
                  </a:cubicBezTo>
                  <a:cubicBezTo>
                    <a:pt x="211" y="814"/>
                    <a:pt x="164" y="786"/>
                    <a:pt x="123" y="748"/>
                  </a:cubicBezTo>
                  <a:cubicBezTo>
                    <a:pt x="84" y="709"/>
                    <a:pt x="53" y="664"/>
                    <a:pt x="34" y="609"/>
                  </a:cubicBezTo>
                  <a:cubicBezTo>
                    <a:pt x="11" y="556"/>
                    <a:pt x="0" y="495"/>
                    <a:pt x="0" y="431"/>
                  </a:cubicBezTo>
                  <a:cubicBezTo>
                    <a:pt x="0" y="367"/>
                    <a:pt x="11" y="309"/>
                    <a:pt x="34" y="256"/>
                  </a:cubicBezTo>
                  <a:cubicBezTo>
                    <a:pt x="53" y="203"/>
                    <a:pt x="84" y="159"/>
                    <a:pt x="123" y="120"/>
                  </a:cubicBezTo>
                  <a:cubicBezTo>
                    <a:pt x="161" y="84"/>
                    <a:pt x="209" y="53"/>
                    <a:pt x="261" y="31"/>
                  </a:cubicBezTo>
                  <a:cubicBezTo>
                    <a:pt x="317" y="12"/>
                    <a:pt x="375" y="0"/>
                    <a:pt x="442" y="0"/>
                  </a:cubicBezTo>
                  <a:cubicBezTo>
                    <a:pt x="511" y="0"/>
                    <a:pt x="572" y="12"/>
                    <a:pt x="628" y="31"/>
                  </a:cubicBezTo>
                  <a:cubicBezTo>
                    <a:pt x="684" y="53"/>
                    <a:pt x="728" y="84"/>
                    <a:pt x="767" y="125"/>
                  </a:cubicBezTo>
                  <a:cubicBezTo>
                    <a:pt x="806" y="164"/>
                    <a:pt x="834" y="217"/>
                    <a:pt x="850" y="278"/>
                  </a:cubicBezTo>
                  <a:cubicBezTo>
                    <a:pt x="870" y="342"/>
                    <a:pt x="872" y="414"/>
                    <a:pt x="864" y="498"/>
                  </a:cubicBezTo>
                  <a:lnTo>
                    <a:pt x="186" y="353"/>
                  </a:lnTo>
                  <a:lnTo>
                    <a:pt x="186" y="353"/>
                  </a:lnTo>
                  <a:cubicBezTo>
                    <a:pt x="697" y="353"/>
                    <a:pt x="697" y="353"/>
                    <a:pt x="697" y="353"/>
                  </a:cubicBezTo>
                  <a:cubicBezTo>
                    <a:pt x="692" y="287"/>
                    <a:pt x="667" y="236"/>
                    <a:pt x="622" y="203"/>
                  </a:cubicBezTo>
                  <a:cubicBezTo>
                    <a:pt x="578" y="170"/>
                    <a:pt x="520" y="153"/>
                    <a:pt x="447" y="153"/>
                  </a:cubicBezTo>
                  <a:cubicBezTo>
                    <a:pt x="384"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4" name="Freeform 16">
              <a:extLst>
                <a:ext uri="{FF2B5EF4-FFF2-40B4-BE49-F238E27FC236}">
                  <a16:creationId xmlns:a16="http://schemas.microsoft.com/office/drawing/2014/main" id="{0DA4B23E-440D-2643-885B-7E35139CFB7F}"/>
                </a:ext>
              </a:extLst>
            </p:cNvPr>
            <p:cNvSpPr>
              <a:spLocks noChangeArrowheads="1"/>
            </p:cNvSpPr>
            <p:nvPr userDrawn="1"/>
          </p:nvSpPr>
          <p:spPr bwMode="auto">
            <a:xfrm>
              <a:off x="7083425" y="3144838"/>
              <a:ext cx="293688" cy="301625"/>
            </a:xfrm>
            <a:custGeom>
              <a:avLst/>
              <a:gdLst>
                <a:gd name="T0" fmla="*/ 638 w 817"/>
                <a:gd name="T1" fmla="*/ 836 h 837"/>
                <a:gd name="T2" fmla="*/ 638 w 817"/>
                <a:gd name="T3" fmla="*/ 836 h 837"/>
                <a:gd name="T4" fmla="*/ 638 w 817"/>
                <a:gd name="T5" fmla="*/ 397 h 837"/>
                <a:gd name="T6" fmla="*/ 580 w 817"/>
                <a:gd name="T7" fmla="*/ 225 h 837"/>
                <a:gd name="T8" fmla="*/ 411 w 817"/>
                <a:gd name="T9" fmla="*/ 161 h 837"/>
                <a:gd name="T10" fmla="*/ 313 w 817"/>
                <a:gd name="T11" fmla="*/ 180 h 837"/>
                <a:gd name="T12" fmla="*/ 241 w 817"/>
                <a:gd name="T13" fmla="*/ 233 h 837"/>
                <a:gd name="T14" fmla="*/ 194 w 817"/>
                <a:gd name="T15" fmla="*/ 311 h 837"/>
                <a:gd name="T16" fmla="*/ 175 w 817"/>
                <a:gd name="T17" fmla="*/ 408 h 837"/>
                <a:gd name="T18" fmla="*/ 175 w 817"/>
                <a:gd name="T19" fmla="*/ 836 h 837"/>
                <a:gd name="T20" fmla="*/ 0 w 817"/>
                <a:gd name="T21" fmla="*/ 836 h 837"/>
                <a:gd name="T22" fmla="*/ 0 w 817"/>
                <a:gd name="T23" fmla="*/ 11 h 837"/>
                <a:gd name="T24" fmla="*/ 161 w 817"/>
                <a:gd name="T25" fmla="*/ 11 h 837"/>
                <a:gd name="T26" fmla="*/ 172 w 817"/>
                <a:gd name="T27" fmla="*/ 133 h 837"/>
                <a:gd name="T28" fmla="*/ 455 w 817"/>
                <a:gd name="T29" fmla="*/ 0 h 837"/>
                <a:gd name="T30" fmla="*/ 597 w 817"/>
                <a:gd name="T31" fmla="*/ 25 h 837"/>
                <a:gd name="T32" fmla="*/ 711 w 817"/>
                <a:gd name="T33" fmla="*/ 103 h 837"/>
                <a:gd name="T34" fmla="*/ 788 w 817"/>
                <a:gd name="T35" fmla="*/ 225 h 837"/>
                <a:gd name="T36" fmla="*/ 816 w 817"/>
                <a:gd name="T37" fmla="*/ 394 h 837"/>
                <a:gd name="T38" fmla="*/ 816 w 817"/>
                <a:gd name="T39" fmla="*/ 836 h 837"/>
                <a:gd name="T40" fmla="*/ 638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8" y="836"/>
                  </a:moveTo>
                  <a:lnTo>
                    <a:pt x="638" y="836"/>
                  </a:lnTo>
                  <a:cubicBezTo>
                    <a:pt x="638" y="397"/>
                    <a:pt x="638" y="397"/>
                    <a:pt x="638" y="397"/>
                  </a:cubicBezTo>
                  <a:cubicBezTo>
                    <a:pt x="638" y="325"/>
                    <a:pt x="619" y="269"/>
                    <a:pt x="580" y="225"/>
                  </a:cubicBezTo>
                  <a:cubicBezTo>
                    <a:pt x="541" y="183"/>
                    <a:pt x="483" y="161"/>
                    <a:pt x="411" y="161"/>
                  </a:cubicBezTo>
                  <a:cubicBezTo>
                    <a:pt x="375" y="161"/>
                    <a:pt x="344" y="166"/>
                    <a:pt x="313" y="180"/>
                  </a:cubicBezTo>
                  <a:cubicBezTo>
                    <a:pt x="286" y="191"/>
                    <a:pt x="261" y="211"/>
                    <a:pt x="241" y="233"/>
                  </a:cubicBezTo>
                  <a:cubicBezTo>
                    <a:pt x="219" y="255"/>
                    <a:pt x="205" y="283"/>
                    <a:pt x="194" y="311"/>
                  </a:cubicBezTo>
                  <a:cubicBezTo>
                    <a:pt x="180" y="341"/>
                    <a:pt x="175" y="375"/>
                    <a:pt x="175" y="408"/>
                  </a:cubicBezTo>
                  <a:cubicBezTo>
                    <a:pt x="175" y="836"/>
                    <a:pt x="175" y="836"/>
                    <a:pt x="175" y="836"/>
                  </a:cubicBezTo>
                  <a:cubicBezTo>
                    <a:pt x="0" y="836"/>
                    <a:pt x="0" y="836"/>
                    <a:pt x="0" y="836"/>
                  </a:cubicBezTo>
                  <a:cubicBezTo>
                    <a:pt x="0" y="11"/>
                    <a:pt x="0" y="11"/>
                    <a:pt x="0" y="11"/>
                  </a:cubicBezTo>
                  <a:cubicBezTo>
                    <a:pt x="161" y="11"/>
                    <a:pt x="161" y="11"/>
                    <a:pt x="161" y="11"/>
                  </a:cubicBezTo>
                  <a:cubicBezTo>
                    <a:pt x="172" y="133"/>
                    <a:pt x="172" y="133"/>
                    <a:pt x="172" y="133"/>
                  </a:cubicBezTo>
                  <a:cubicBezTo>
                    <a:pt x="250" y="44"/>
                    <a:pt x="344" y="0"/>
                    <a:pt x="455" y="0"/>
                  </a:cubicBezTo>
                  <a:cubicBezTo>
                    <a:pt x="505" y="0"/>
                    <a:pt x="552" y="8"/>
                    <a:pt x="597" y="25"/>
                  </a:cubicBezTo>
                  <a:cubicBezTo>
                    <a:pt x="641" y="44"/>
                    <a:pt x="677" y="69"/>
                    <a:pt x="711" y="103"/>
                  </a:cubicBezTo>
                  <a:cubicBezTo>
                    <a:pt x="744" y="136"/>
                    <a:pt x="769" y="178"/>
                    <a:pt x="788" y="225"/>
                  </a:cubicBezTo>
                  <a:cubicBezTo>
                    <a:pt x="808" y="275"/>
                    <a:pt x="816" y="330"/>
                    <a:pt x="816" y="394"/>
                  </a:cubicBezTo>
                  <a:cubicBezTo>
                    <a:pt x="816" y="836"/>
                    <a:pt x="816" y="836"/>
                    <a:pt x="816" y="836"/>
                  </a:cubicBezTo>
                  <a:lnTo>
                    <a:pt x="638"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5" name="Freeform 17">
              <a:extLst>
                <a:ext uri="{FF2B5EF4-FFF2-40B4-BE49-F238E27FC236}">
                  <a16:creationId xmlns:a16="http://schemas.microsoft.com/office/drawing/2014/main" id="{D1BD48BC-2964-5441-9E9A-FEE10A153817}"/>
                </a:ext>
              </a:extLst>
            </p:cNvPr>
            <p:cNvSpPr>
              <a:spLocks noChangeArrowheads="1"/>
            </p:cNvSpPr>
            <p:nvPr userDrawn="1"/>
          </p:nvSpPr>
          <p:spPr bwMode="auto">
            <a:xfrm>
              <a:off x="7440613" y="3141663"/>
              <a:ext cx="274637" cy="311150"/>
            </a:xfrm>
            <a:custGeom>
              <a:avLst/>
              <a:gdLst>
                <a:gd name="T0" fmla="*/ 761 w 762"/>
                <a:gd name="T1" fmla="*/ 736 h 865"/>
                <a:gd name="T2" fmla="*/ 761 w 762"/>
                <a:gd name="T3" fmla="*/ 736 h 865"/>
                <a:gd name="T4" fmla="*/ 614 w 762"/>
                <a:gd name="T5" fmla="*/ 833 h 865"/>
                <a:gd name="T6" fmla="*/ 442 w 762"/>
                <a:gd name="T7" fmla="*/ 864 h 865"/>
                <a:gd name="T8" fmla="*/ 272 w 762"/>
                <a:gd name="T9" fmla="*/ 836 h 865"/>
                <a:gd name="T10" fmla="*/ 131 w 762"/>
                <a:gd name="T11" fmla="*/ 756 h 865"/>
                <a:gd name="T12" fmla="*/ 34 w 762"/>
                <a:gd name="T13" fmla="*/ 620 h 865"/>
                <a:gd name="T14" fmla="*/ 0 w 762"/>
                <a:gd name="T15" fmla="*/ 431 h 865"/>
                <a:gd name="T16" fmla="*/ 34 w 762"/>
                <a:gd name="T17" fmla="*/ 245 h 865"/>
                <a:gd name="T18" fmla="*/ 131 w 762"/>
                <a:gd name="T19" fmla="*/ 109 h 865"/>
                <a:gd name="T20" fmla="*/ 270 w 762"/>
                <a:gd name="T21" fmla="*/ 28 h 865"/>
                <a:gd name="T22" fmla="*/ 442 w 762"/>
                <a:gd name="T23" fmla="*/ 0 h 865"/>
                <a:gd name="T24" fmla="*/ 603 w 762"/>
                <a:gd name="T25" fmla="*/ 28 h 865"/>
                <a:gd name="T26" fmla="*/ 747 w 762"/>
                <a:gd name="T27" fmla="*/ 122 h 865"/>
                <a:gd name="T28" fmla="*/ 633 w 762"/>
                <a:gd name="T29" fmla="*/ 236 h 865"/>
                <a:gd name="T30" fmla="*/ 545 w 762"/>
                <a:gd name="T31" fmla="*/ 181 h 865"/>
                <a:gd name="T32" fmla="*/ 445 w 762"/>
                <a:gd name="T33" fmla="*/ 164 h 865"/>
                <a:gd name="T34" fmla="*/ 339 w 762"/>
                <a:gd name="T35" fmla="*/ 181 h 865"/>
                <a:gd name="T36" fmla="*/ 253 w 762"/>
                <a:gd name="T37" fmla="*/ 236 h 865"/>
                <a:gd name="T38" fmla="*/ 195 w 762"/>
                <a:gd name="T39" fmla="*/ 320 h 865"/>
                <a:gd name="T40" fmla="*/ 175 w 762"/>
                <a:gd name="T41" fmla="*/ 431 h 865"/>
                <a:gd name="T42" fmla="*/ 197 w 762"/>
                <a:gd name="T43" fmla="*/ 547 h 865"/>
                <a:gd name="T44" fmla="*/ 253 w 762"/>
                <a:gd name="T45" fmla="*/ 631 h 865"/>
                <a:gd name="T46" fmla="*/ 339 w 762"/>
                <a:gd name="T47" fmla="*/ 681 h 865"/>
                <a:gd name="T48" fmla="*/ 442 w 762"/>
                <a:gd name="T49" fmla="*/ 697 h 865"/>
                <a:gd name="T50" fmla="*/ 550 w 762"/>
                <a:gd name="T51" fmla="*/ 681 h 865"/>
                <a:gd name="T52" fmla="*/ 642 w 762"/>
                <a:gd name="T53" fmla="*/ 620 h 865"/>
                <a:gd name="T54" fmla="*/ 761 w 762"/>
                <a:gd name="T55" fmla="*/ 736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62" h="865">
                  <a:moveTo>
                    <a:pt x="761" y="736"/>
                  </a:moveTo>
                  <a:lnTo>
                    <a:pt x="761" y="736"/>
                  </a:lnTo>
                  <a:cubicBezTo>
                    <a:pt x="714" y="781"/>
                    <a:pt x="664" y="814"/>
                    <a:pt x="614" y="833"/>
                  </a:cubicBezTo>
                  <a:cubicBezTo>
                    <a:pt x="561" y="856"/>
                    <a:pt x="503" y="864"/>
                    <a:pt x="442" y="864"/>
                  </a:cubicBezTo>
                  <a:cubicBezTo>
                    <a:pt x="383" y="864"/>
                    <a:pt x="325" y="856"/>
                    <a:pt x="272" y="836"/>
                  </a:cubicBezTo>
                  <a:cubicBezTo>
                    <a:pt x="217" y="820"/>
                    <a:pt x="170" y="792"/>
                    <a:pt x="131" y="756"/>
                  </a:cubicBezTo>
                  <a:cubicBezTo>
                    <a:pt x="89" y="720"/>
                    <a:pt x="58" y="675"/>
                    <a:pt x="34" y="620"/>
                  </a:cubicBezTo>
                  <a:cubicBezTo>
                    <a:pt x="11" y="567"/>
                    <a:pt x="0" y="503"/>
                    <a:pt x="0" y="431"/>
                  </a:cubicBezTo>
                  <a:cubicBezTo>
                    <a:pt x="0" y="361"/>
                    <a:pt x="11" y="297"/>
                    <a:pt x="34" y="245"/>
                  </a:cubicBezTo>
                  <a:cubicBezTo>
                    <a:pt x="58" y="189"/>
                    <a:pt x="89" y="145"/>
                    <a:pt x="131" y="109"/>
                  </a:cubicBezTo>
                  <a:cubicBezTo>
                    <a:pt x="170" y="72"/>
                    <a:pt x="217" y="45"/>
                    <a:pt x="270" y="28"/>
                  </a:cubicBezTo>
                  <a:cubicBezTo>
                    <a:pt x="325" y="9"/>
                    <a:pt x="381" y="0"/>
                    <a:pt x="442" y="0"/>
                  </a:cubicBezTo>
                  <a:cubicBezTo>
                    <a:pt x="500" y="0"/>
                    <a:pt x="556" y="9"/>
                    <a:pt x="603" y="28"/>
                  </a:cubicBezTo>
                  <a:cubicBezTo>
                    <a:pt x="653" y="47"/>
                    <a:pt x="700" y="78"/>
                    <a:pt x="747" y="122"/>
                  </a:cubicBezTo>
                  <a:cubicBezTo>
                    <a:pt x="633" y="236"/>
                    <a:pt x="633" y="236"/>
                    <a:pt x="633" y="236"/>
                  </a:cubicBezTo>
                  <a:cubicBezTo>
                    <a:pt x="608" y="211"/>
                    <a:pt x="578" y="192"/>
                    <a:pt x="545" y="181"/>
                  </a:cubicBezTo>
                  <a:cubicBezTo>
                    <a:pt x="511" y="170"/>
                    <a:pt x="478" y="164"/>
                    <a:pt x="445" y="164"/>
                  </a:cubicBezTo>
                  <a:cubicBezTo>
                    <a:pt x="406" y="164"/>
                    <a:pt x="372" y="170"/>
                    <a:pt x="339" y="181"/>
                  </a:cubicBezTo>
                  <a:cubicBezTo>
                    <a:pt x="306" y="195"/>
                    <a:pt x="278" y="214"/>
                    <a:pt x="253" y="236"/>
                  </a:cubicBezTo>
                  <a:cubicBezTo>
                    <a:pt x="228" y="259"/>
                    <a:pt x="209" y="289"/>
                    <a:pt x="195" y="320"/>
                  </a:cubicBezTo>
                  <a:cubicBezTo>
                    <a:pt x="181" y="353"/>
                    <a:pt x="175" y="392"/>
                    <a:pt x="175" y="431"/>
                  </a:cubicBezTo>
                  <a:cubicBezTo>
                    <a:pt x="175" y="475"/>
                    <a:pt x="181" y="514"/>
                    <a:pt x="197" y="547"/>
                  </a:cubicBezTo>
                  <a:cubicBezTo>
                    <a:pt x="211" y="578"/>
                    <a:pt x="231" y="606"/>
                    <a:pt x="253" y="631"/>
                  </a:cubicBezTo>
                  <a:cubicBezTo>
                    <a:pt x="278" y="653"/>
                    <a:pt x="309" y="670"/>
                    <a:pt x="339" y="681"/>
                  </a:cubicBezTo>
                  <a:cubicBezTo>
                    <a:pt x="372" y="692"/>
                    <a:pt x="406" y="697"/>
                    <a:pt x="442" y="697"/>
                  </a:cubicBezTo>
                  <a:cubicBezTo>
                    <a:pt x="478" y="697"/>
                    <a:pt x="514" y="692"/>
                    <a:pt x="550" y="681"/>
                  </a:cubicBezTo>
                  <a:cubicBezTo>
                    <a:pt x="583" y="670"/>
                    <a:pt x="614" y="647"/>
                    <a:pt x="642" y="620"/>
                  </a:cubicBezTo>
                  <a:lnTo>
                    <a:pt x="761" y="7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6" name="Freeform 18">
              <a:extLst>
                <a:ext uri="{FF2B5EF4-FFF2-40B4-BE49-F238E27FC236}">
                  <a16:creationId xmlns:a16="http://schemas.microsoft.com/office/drawing/2014/main" id="{886255A4-B10E-2445-B296-96E4A1394BAD}"/>
                </a:ext>
              </a:extLst>
            </p:cNvPr>
            <p:cNvSpPr>
              <a:spLocks noChangeArrowheads="1"/>
            </p:cNvSpPr>
            <p:nvPr userDrawn="1"/>
          </p:nvSpPr>
          <p:spPr bwMode="auto">
            <a:xfrm>
              <a:off x="7747000" y="3141663"/>
              <a:ext cx="314325" cy="312737"/>
            </a:xfrm>
            <a:custGeom>
              <a:avLst/>
              <a:gdLst>
                <a:gd name="T0" fmla="*/ 864 w 873"/>
                <a:gd name="T1" fmla="*/ 498 h 868"/>
                <a:gd name="T2" fmla="*/ 864 w 873"/>
                <a:gd name="T3" fmla="*/ 498 h 868"/>
                <a:gd name="T4" fmla="*/ 181 w 873"/>
                <a:gd name="T5" fmla="*/ 498 h 868"/>
                <a:gd name="T6" fmla="*/ 267 w 873"/>
                <a:gd name="T7" fmla="*/ 650 h 868"/>
                <a:gd name="T8" fmla="*/ 456 w 873"/>
                <a:gd name="T9" fmla="*/ 706 h 868"/>
                <a:gd name="T10" fmla="*/ 592 w 873"/>
                <a:gd name="T11" fmla="*/ 684 h 868"/>
                <a:gd name="T12" fmla="*/ 700 w 873"/>
                <a:gd name="T13" fmla="*/ 617 h 868"/>
                <a:gd name="T14" fmla="*/ 817 w 873"/>
                <a:gd name="T15" fmla="*/ 725 h 868"/>
                <a:gd name="T16" fmla="*/ 739 w 873"/>
                <a:gd name="T17" fmla="*/ 786 h 868"/>
                <a:gd name="T18" fmla="*/ 650 w 873"/>
                <a:gd name="T19" fmla="*/ 831 h 868"/>
                <a:gd name="T20" fmla="*/ 553 w 873"/>
                <a:gd name="T21" fmla="*/ 859 h 868"/>
                <a:gd name="T22" fmla="*/ 453 w 873"/>
                <a:gd name="T23" fmla="*/ 867 h 868"/>
                <a:gd name="T24" fmla="*/ 267 w 873"/>
                <a:gd name="T25" fmla="*/ 836 h 868"/>
                <a:gd name="T26" fmla="*/ 122 w 873"/>
                <a:gd name="T27" fmla="*/ 748 h 868"/>
                <a:gd name="T28" fmla="*/ 31 w 873"/>
                <a:gd name="T29" fmla="*/ 609 h 868"/>
                <a:gd name="T30" fmla="*/ 0 w 873"/>
                <a:gd name="T31" fmla="*/ 431 h 868"/>
                <a:gd name="T32" fmla="*/ 31 w 873"/>
                <a:gd name="T33" fmla="*/ 256 h 868"/>
                <a:gd name="T34" fmla="*/ 122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4 w 873"/>
                <a:gd name="T53" fmla="*/ 353 h 868"/>
                <a:gd name="T54" fmla="*/ 619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1" y="498"/>
                    <a:pt x="181" y="498"/>
                    <a:pt x="181" y="498"/>
                  </a:cubicBezTo>
                  <a:cubicBezTo>
                    <a:pt x="189" y="562"/>
                    <a:pt x="219" y="611"/>
                    <a:pt x="267" y="650"/>
                  </a:cubicBezTo>
                  <a:cubicBezTo>
                    <a:pt x="317" y="686"/>
                    <a:pt x="381" y="706"/>
                    <a:pt x="456" y="706"/>
                  </a:cubicBezTo>
                  <a:cubicBezTo>
                    <a:pt x="500" y="706"/>
                    <a:pt x="544" y="698"/>
                    <a:pt x="592" y="684"/>
                  </a:cubicBezTo>
                  <a:cubicBezTo>
                    <a:pt x="639" y="667"/>
                    <a:pt x="675" y="645"/>
                    <a:pt x="700" y="617"/>
                  </a:cubicBezTo>
                  <a:cubicBezTo>
                    <a:pt x="817" y="725"/>
                    <a:pt x="817" y="725"/>
                    <a:pt x="817" y="725"/>
                  </a:cubicBezTo>
                  <a:cubicBezTo>
                    <a:pt x="794" y="750"/>
                    <a:pt x="769" y="770"/>
                    <a:pt x="739" y="786"/>
                  </a:cubicBezTo>
                  <a:cubicBezTo>
                    <a:pt x="711" y="806"/>
                    <a:pt x="681" y="820"/>
                    <a:pt x="650" y="831"/>
                  </a:cubicBezTo>
                  <a:cubicBezTo>
                    <a:pt x="619" y="845"/>
                    <a:pt x="586" y="853"/>
                    <a:pt x="553" y="859"/>
                  </a:cubicBezTo>
                  <a:cubicBezTo>
                    <a:pt x="519" y="864"/>
                    <a:pt x="486" y="867"/>
                    <a:pt x="453" y="867"/>
                  </a:cubicBezTo>
                  <a:cubicBezTo>
                    <a:pt x="383" y="867"/>
                    <a:pt x="322" y="856"/>
                    <a:pt x="267" y="836"/>
                  </a:cubicBezTo>
                  <a:cubicBezTo>
                    <a:pt x="208" y="814"/>
                    <a:pt x="161" y="786"/>
                    <a:pt x="122" y="748"/>
                  </a:cubicBezTo>
                  <a:cubicBezTo>
                    <a:pt x="83" y="709"/>
                    <a:pt x="53" y="664"/>
                    <a:pt x="31" y="609"/>
                  </a:cubicBezTo>
                  <a:cubicBezTo>
                    <a:pt x="11" y="556"/>
                    <a:pt x="0" y="495"/>
                    <a:pt x="0" y="431"/>
                  </a:cubicBezTo>
                  <a:cubicBezTo>
                    <a:pt x="0" y="367"/>
                    <a:pt x="11" y="309"/>
                    <a:pt x="31" y="256"/>
                  </a:cubicBezTo>
                  <a:cubicBezTo>
                    <a:pt x="53" y="203"/>
                    <a:pt x="83" y="159"/>
                    <a:pt x="122" y="120"/>
                  </a:cubicBezTo>
                  <a:cubicBezTo>
                    <a:pt x="161" y="84"/>
                    <a:pt x="208" y="53"/>
                    <a:pt x="261" y="31"/>
                  </a:cubicBezTo>
                  <a:cubicBezTo>
                    <a:pt x="314" y="12"/>
                    <a:pt x="375" y="0"/>
                    <a:pt x="442" y="0"/>
                  </a:cubicBezTo>
                  <a:cubicBezTo>
                    <a:pt x="508" y="0"/>
                    <a:pt x="572" y="12"/>
                    <a:pt x="628" y="31"/>
                  </a:cubicBezTo>
                  <a:cubicBezTo>
                    <a:pt x="681" y="53"/>
                    <a:pt x="728" y="84"/>
                    <a:pt x="767" y="125"/>
                  </a:cubicBezTo>
                  <a:cubicBezTo>
                    <a:pt x="806" y="164"/>
                    <a:pt x="833" y="217"/>
                    <a:pt x="850" y="278"/>
                  </a:cubicBezTo>
                  <a:cubicBezTo>
                    <a:pt x="867" y="342"/>
                    <a:pt x="872" y="414"/>
                    <a:pt x="864" y="498"/>
                  </a:cubicBezTo>
                  <a:lnTo>
                    <a:pt x="186" y="353"/>
                  </a:lnTo>
                  <a:lnTo>
                    <a:pt x="186" y="353"/>
                  </a:lnTo>
                  <a:cubicBezTo>
                    <a:pt x="694" y="353"/>
                    <a:pt x="694" y="353"/>
                    <a:pt x="694" y="353"/>
                  </a:cubicBezTo>
                  <a:cubicBezTo>
                    <a:pt x="689" y="287"/>
                    <a:pt x="664" y="236"/>
                    <a:pt x="619" y="203"/>
                  </a:cubicBezTo>
                  <a:cubicBezTo>
                    <a:pt x="575" y="170"/>
                    <a:pt x="519" y="153"/>
                    <a:pt x="447" y="153"/>
                  </a:cubicBezTo>
                  <a:cubicBezTo>
                    <a:pt x="381"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7" name="Freeform 19">
              <a:extLst>
                <a:ext uri="{FF2B5EF4-FFF2-40B4-BE49-F238E27FC236}">
                  <a16:creationId xmlns:a16="http://schemas.microsoft.com/office/drawing/2014/main" id="{6BFAD720-95FA-884E-929C-46D517982443}"/>
                </a:ext>
              </a:extLst>
            </p:cNvPr>
            <p:cNvSpPr>
              <a:spLocks noChangeArrowheads="1"/>
            </p:cNvSpPr>
            <p:nvPr userDrawn="1"/>
          </p:nvSpPr>
          <p:spPr bwMode="auto">
            <a:xfrm>
              <a:off x="1828800" y="3743325"/>
              <a:ext cx="323850" cy="311150"/>
            </a:xfrm>
            <a:custGeom>
              <a:avLst/>
              <a:gdLst>
                <a:gd name="T0" fmla="*/ 722 w 901"/>
                <a:gd name="T1" fmla="*/ 147 h 865"/>
                <a:gd name="T2" fmla="*/ 722 w 901"/>
                <a:gd name="T3" fmla="*/ 147 h 865"/>
                <a:gd name="T4" fmla="*/ 728 w 901"/>
                <a:gd name="T5" fmla="*/ 17 h 865"/>
                <a:gd name="T6" fmla="*/ 900 w 901"/>
                <a:gd name="T7" fmla="*/ 17 h 865"/>
                <a:gd name="T8" fmla="*/ 900 w 901"/>
                <a:gd name="T9" fmla="*/ 842 h 865"/>
                <a:gd name="T10" fmla="*/ 731 w 901"/>
                <a:gd name="T11" fmla="*/ 842 h 865"/>
                <a:gd name="T12" fmla="*/ 722 w 901"/>
                <a:gd name="T13" fmla="*/ 709 h 865"/>
                <a:gd name="T14" fmla="*/ 669 w 901"/>
                <a:gd name="T15" fmla="*/ 778 h 865"/>
                <a:gd name="T16" fmla="*/ 597 w 901"/>
                <a:gd name="T17" fmla="*/ 825 h 865"/>
                <a:gd name="T18" fmla="*/ 514 w 901"/>
                <a:gd name="T19" fmla="*/ 856 h 865"/>
                <a:gd name="T20" fmla="*/ 433 w 901"/>
                <a:gd name="T21" fmla="*/ 864 h 865"/>
                <a:gd name="T22" fmla="*/ 261 w 901"/>
                <a:gd name="T23" fmla="*/ 836 h 865"/>
                <a:gd name="T24" fmla="*/ 125 w 901"/>
                <a:gd name="T25" fmla="*/ 753 h 865"/>
                <a:gd name="T26" fmla="*/ 33 w 901"/>
                <a:gd name="T27" fmla="*/ 617 h 865"/>
                <a:gd name="T28" fmla="*/ 0 w 901"/>
                <a:gd name="T29" fmla="*/ 428 h 865"/>
                <a:gd name="T30" fmla="*/ 36 w 901"/>
                <a:gd name="T31" fmla="*/ 245 h 865"/>
                <a:gd name="T32" fmla="*/ 128 w 901"/>
                <a:gd name="T33" fmla="*/ 111 h 865"/>
                <a:gd name="T34" fmla="*/ 267 w 901"/>
                <a:gd name="T35" fmla="*/ 28 h 865"/>
                <a:gd name="T36" fmla="*/ 436 w 901"/>
                <a:gd name="T37" fmla="*/ 0 h 865"/>
                <a:gd name="T38" fmla="*/ 606 w 901"/>
                <a:gd name="T39" fmla="*/ 39 h 865"/>
                <a:gd name="T40" fmla="*/ 722 w 901"/>
                <a:gd name="T41" fmla="*/ 147 h 865"/>
                <a:gd name="T42" fmla="*/ 450 w 901"/>
                <a:gd name="T43" fmla="*/ 156 h 865"/>
                <a:gd name="T44" fmla="*/ 450 w 901"/>
                <a:gd name="T45" fmla="*/ 156 h 865"/>
                <a:gd name="T46" fmla="*/ 344 w 901"/>
                <a:gd name="T47" fmla="*/ 175 h 865"/>
                <a:gd name="T48" fmla="*/ 258 w 901"/>
                <a:gd name="T49" fmla="*/ 231 h 865"/>
                <a:gd name="T50" fmla="*/ 197 w 901"/>
                <a:gd name="T51" fmla="*/ 317 h 865"/>
                <a:gd name="T52" fmla="*/ 178 w 901"/>
                <a:gd name="T53" fmla="*/ 428 h 865"/>
                <a:gd name="T54" fmla="*/ 197 w 901"/>
                <a:gd name="T55" fmla="*/ 545 h 865"/>
                <a:gd name="T56" fmla="*/ 258 w 901"/>
                <a:gd name="T57" fmla="*/ 631 h 865"/>
                <a:gd name="T58" fmla="*/ 344 w 901"/>
                <a:gd name="T59" fmla="*/ 684 h 865"/>
                <a:gd name="T60" fmla="*/ 450 w 901"/>
                <a:gd name="T61" fmla="*/ 703 h 865"/>
                <a:gd name="T62" fmla="*/ 600 w 901"/>
                <a:gd name="T63" fmla="*/ 664 h 865"/>
                <a:gd name="T64" fmla="*/ 692 w 901"/>
                <a:gd name="T65" fmla="*/ 561 h 865"/>
                <a:gd name="T66" fmla="*/ 722 w 901"/>
                <a:gd name="T67" fmla="*/ 431 h 865"/>
                <a:gd name="T68" fmla="*/ 692 w 901"/>
                <a:gd name="T69" fmla="*/ 298 h 865"/>
                <a:gd name="T70" fmla="*/ 600 w 901"/>
                <a:gd name="T71" fmla="*/ 198 h 865"/>
                <a:gd name="T72" fmla="*/ 450 w 901"/>
                <a:gd name="T73" fmla="*/ 156 h 865"/>
                <a:gd name="T74" fmla="*/ 722 w 901"/>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1" h="865">
                  <a:moveTo>
                    <a:pt x="722" y="147"/>
                  </a:moveTo>
                  <a:lnTo>
                    <a:pt x="722" y="147"/>
                  </a:lnTo>
                  <a:cubicBezTo>
                    <a:pt x="728" y="17"/>
                    <a:pt x="728" y="17"/>
                    <a:pt x="728" y="17"/>
                  </a:cubicBezTo>
                  <a:cubicBezTo>
                    <a:pt x="900" y="17"/>
                    <a:pt x="900" y="17"/>
                    <a:pt x="900" y="17"/>
                  </a:cubicBezTo>
                  <a:cubicBezTo>
                    <a:pt x="900" y="842"/>
                    <a:pt x="900" y="842"/>
                    <a:pt x="900" y="842"/>
                  </a:cubicBezTo>
                  <a:cubicBezTo>
                    <a:pt x="731" y="842"/>
                    <a:pt x="731" y="842"/>
                    <a:pt x="731" y="842"/>
                  </a:cubicBezTo>
                  <a:cubicBezTo>
                    <a:pt x="722" y="709"/>
                    <a:pt x="722" y="709"/>
                    <a:pt x="722" y="709"/>
                  </a:cubicBezTo>
                  <a:cubicBezTo>
                    <a:pt x="708" y="736"/>
                    <a:pt x="692" y="759"/>
                    <a:pt x="669" y="778"/>
                  </a:cubicBezTo>
                  <a:cubicBezTo>
                    <a:pt x="647" y="797"/>
                    <a:pt x="622" y="814"/>
                    <a:pt x="597" y="825"/>
                  </a:cubicBezTo>
                  <a:cubicBezTo>
                    <a:pt x="569" y="839"/>
                    <a:pt x="542" y="847"/>
                    <a:pt x="514" y="856"/>
                  </a:cubicBezTo>
                  <a:cubicBezTo>
                    <a:pt x="486" y="861"/>
                    <a:pt x="458" y="864"/>
                    <a:pt x="433" y="864"/>
                  </a:cubicBezTo>
                  <a:cubicBezTo>
                    <a:pt x="372" y="864"/>
                    <a:pt x="314" y="853"/>
                    <a:pt x="261" y="836"/>
                  </a:cubicBezTo>
                  <a:cubicBezTo>
                    <a:pt x="208" y="817"/>
                    <a:pt x="164" y="789"/>
                    <a:pt x="125" y="753"/>
                  </a:cubicBezTo>
                  <a:cubicBezTo>
                    <a:pt x="86" y="714"/>
                    <a:pt x="56" y="670"/>
                    <a:pt x="33" y="617"/>
                  </a:cubicBezTo>
                  <a:cubicBezTo>
                    <a:pt x="11" y="561"/>
                    <a:pt x="0" y="500"/>
                    <a:pt x="0" y="428"/>
                  </a:cubicBezTo>
                  <a:cubicBezTo>
                    <a:pt x="0" y="361"/>
                    <a:pt x="11" y="300"/>
                    <a:pt x="36" y="245"/>
                  </a:cubicBezTo>
                  <a:cubicBezTo>
                    <a:pt x="58" y="192"/>
                    <a:pt x="89" y="147"/>
                    <a:pt x="128" y="111"/>
                  </a:cubicBezTo>
                  <a:cubicBezTo>
                    <a:pt x="167" y="75"/>
                    <a:pt x="214" y="48"/>
                    <a:pt x="267" y="28"/>
                  </a:cubicBezTo>
                  <a:cubicBezTo>
                    <a:pt x="319" y="9"/>
                    <a:pt x="375" y="0"/>
                    <a:pt x="436" y="0"/>
                  </a:cubicBezTo>
                  <a:cubicBezTo>
                    <a:pt x="497" y="0"/>
                    <a:pt x="553" y="14"/>
                    <a:pt x="606" y="39"/>
                  </a:cubicBezTo>
                  <a:cubicBezTo>
                    <a:pt x="658" y="64"/>
                    <a:pt x="697" y="103"/>
                    <a:pt x="722" y="147"/>
                  </a:cubicBezTo>
                  <a:lnTo>
                    <a:pt x="450" y="156"/>
                  </a:lnTo>
                  <a:lnTo>
                    <a:pt x="450" y="156"/>
                  </a:lnTo>
                  <a:cubicBezTo>
                    <a:pt x="414" y="156"/>
                    <a:pt x="378" y="164"/>
                    <a:pt x="344" y="175"/>
                  </a:cubicBezTo>
                  <a:cubicBezTo>
                    <a:pt x="311" y="189"/>
                    <a:pt x="283" y="206"/>
                    <a:pt x="258" y="231"/>
                  </a:cubicBezTo>
                  <a:cubicBezTo>
                    <a:pt x="233" y="253"/>
                    <a:pt x="211" y="284"/>
                    <a:pt x="197" y="317"/>
                  </a:cubicBezTo>
                  <a:cubicBezTo>
                    <a:pt x="183" y="350"/>
                    <a:pt x="178" y="386"/>
                    <a:pt x="178" y="428"/>
                  </a:cubicBezTo>
                  <a:cubicBezTo>
                    <a:pt x="178" y="472"/>
                    <a:pt x="183" y="509"/>
                    <a:pt x="197" y="545"/>
                  </a:cubicBezTo>
                  <a:cubicBezTo>
                    <a:pt x="211" y="578"/>
                    <a:pt x="233" y="606"/>
                    <a:pt x="258" y="631"/>
                  </a:cubicBezTo>
                  <a:cubicBezTo>
                    <a:pt x="283" y="653"/>
                    <a:pt x="311" y="672"/>
                    <a:pt x="344" y="684"/>
                  </a:cubicBezTo>
                  <a:cubicBezTo>
                    <a:pt x="378" y="698"/>
                    <a:pt x="414" y="703"/>
                    <a:pt x="450" y="703"/>
                  </a:cubicBezTo>
                  <a:cubicBezTo>
                    <a:pt x="511" y="703"/>
                    <a:pt x="561" y="689"/>
                    <a:pt x="600" y="664"/>
                  </a:cubicBezTo>
                  <a:cubicBezTo>
                    <a:pt x="642" y="636"/>
                    <a:pt x="672" y="603"/>
                    <a:pt x="692" y="561"/>
                  </a:cubicBezTo>
                  <a:cubicBezTo>
                    <a:pt x="714" y="522"/>
                    <a:pt x="722" y="478"/>
                    <a:pt x="722" y="431"/>
                  </a:cubicBezTo>
                  <a:cubicBezTo>
                    <a:pt x="722" y="384"/>
                    <a:pt x="714" y="339"/>
                    <a:pt x="692" y="298"/>
                  </a:cubicBezTo>
                  <a:cubicBezTo>
                    <a:pt x="672" y="259"/>
                    <a:pt x="642" y="223"/>
                    <a:pt x="600" y="198"/>
                  </a:cubicBezTo>
                  <a:cubicBezTo>
                    <a:pt x="561" y="170"/>
                    <a:pt x="511"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8" name="Freeform 20">
              <a:extLst>
                <a:ext uri="{FF2B5EF4-FFF2-40B4-BE49-F238E27FC236}">
                  <a16:creationId xmlns:a16="http://schemas.microsoft.com/office/drawing/2014/main" id="{B09D0BD1-E6E3-C841-A4D8-6FF9A8C141DB}"/>
                </a:ext>
              </a:extLst>
            </p:cNvPr>
            <p:cNvSpPr>
              <a:spLocks noChangeArrowheads="1"/>
            </p:cNvSpPr>
            <p:nvPr userDrawn="1"/>
          </p:nvSpPr>
          <p:spPr bwMode="auto">
            <a:xfrm>
              <a:off x="2214563" y="3743325"/>
              <a:ext cx="266700" cy="312738"/>
            </a:xfrm>
            <a:custGeom>
              <a:avLst/>
              <a:gdLst>
                <a:gd name="T0" fmla="*/ 603 w 743"/>
                <a:gd name="T1" fmla="*/ 222 h 870"/>
                <a:gd name="T2" fmla="*/ 603 w 743"/>
                <a:gd name="T3" fmla="*/ 222 h 870"/>
                <a:gd name="T4" fmla="*/ 500 w 743"/>
                <a:gd name="T5" fmla="*/ 161 h 870"/>
                <a:gd name="T6" fmla="*/ 381 w 743"/>
                <a:gd name="T7" fmla="*/ 147 h 870"/>
                <a:gd name="T8" fmla="*/ 250 w 743"/>
                <a:gd name="T9" fmla="*/ 169 h 870"/>
                <a:gd name="T10" fmla="*/ 203 w 743"/>
                <a:gd name="T11" fmla="*/ 244 h 870"/>
                <a:gd name="T12" fmla="*/ 253 w 743"/>
                <a:gd name="T13" fmla="*/ 319 h 870"/>
                <a:gd name="T14" fmla="*/ 386 w 743"/>
                <a:gd name="T15" fmla="*/ 349 h 870"/>
                <a:gd name="T16" fmla="*/ 506 w 743"/>
                <a:gd name="T17" fmla="*/ 366 h 870"/>
                <a:gd name="T18" fmla="*/ 622 w 743"/>
                <a:gd name="T19" fmla="*/ 405 h 870"/>
                <a:gd name="T20" fmla="*/ 708 w 743"/>
                <a:gd name="T21" fmla="*/ 480 h 870"/>
                <a:gd name="T22" fmla="*/ 742 w 743"/>
                <a:gd name="T23" fmla="*/ 608 h 870"/>
                <a:gd name="T24" fmla="*/ 717 w 743"/>
                <a:gd name="T25" fmla="*/ 713 h 870"/>
                <a:gd name="T26" fmla="*/ 645 w 743"/>
                <a:gd name="T27" fmla="*/ 797 h 870"/>
                <a:gd name="T28" fmla="*/ 531 w 743"/>
                <a:gd name="T29" fmla="*/ 849 h 870"/>
                <a:gd name="T30" fmla="*/ 383 w 743"/>
                <a:gd name="T31" fmla="*/ 869 h 870"/>
                <a:gd name="T32" fmla="*/ 184 w 743"/>
                <a:gd name="T33" fmla="*/ 838 h 870"/>
                <a:gd name="T34" fmla="*/ 0 w 743"/>
                <a:gd name="T35" fmla="*/ 716 h 870"/>
                <a:gd name="T36" fmla="*/ 92 w 743"/>
                <a:gd name="T37" fmla="*/ 597 h 870"/>
                <a:gd name="T38" fmla="*/ 231 w 743"/>
                <a:gd name="T39" fmla="*/ 688 h 870"/>
                <a:gd name="T40" fmla="*/ 386 w 743"/>
                <a:gd name="T41" fmla="*/ 719 h 870"/>
                <a:gd name="T42" fmla="*/ 450 w 743"/>
                <a:gd name="T43" fmla="*/ 713 h 870"/>
                <a:gd name="T44" fmla="*/ 506 w 743"/>
                <a:gd name="T45" fmla="*/ 694 h 870"/>
                <a:gd name="T46" fmla="*/ 550 w 743"/>
                <a:gd name="T47" fmla="*/ 661 h 870"/>
                <a:gd name="T48" fmla="*/ 567 w 743"/>
                <a:gd name="T49" fmla="*/ 611 h 870"/>
                <a:gd name="T50" fmla="*/ 517 w 743"/>
                <a:gd name="T51" fmla="*/ 530 h 870"/>
                <a:gd name="T52" fmla="*/ 372 w 743"/>
                <a:gd name="T53" fmla="*/ 497 h 870"/>
                <a:gd name="T54" fmla="*/ 250 w 743"/>
                <a:gd name="T55" fmla="*/ 477 h 870"/>
                <a:gd name="T56" fmla="*/ 142 w 743"/>
                <a:gd name="T57" fmla="*/ 436 h 870"/>
                <a:gd name="T58" fmla="*/ 61 w 743"/>
                <a:gd name="T59" fmla="*/ 363 h 870"/>
                <a:gd name="T60" fmla="*/ 28 w 743"/>
                <a:gd name="T61" fmla="*/ 249 h 870"/>
                <a:gd name="T62" fmla="*/ 61 w 743"/>
                <a:gd name="T63" fmla="*/ 133 h 870"/>
                <a:gd name="T64" fmla="*/ 145 w 743"/>
                <a:gd name="T65" fmla="*/ 55 h 870"/>
                <a:gd name="T66" fmla="*/ 258 w 743"/>
                <a:gd name="T67" fmla="*/ 11 h 870"/>
                <a:gd name="T68" fmla="*/ 378 w 743"/>
                <a:gd name="T69" fmla="*/ 0 h 870"/>
                <a:gd name="T70" fmla="*/ 553 w 743"/>
                <a:gd name="T71" fmla="*/ 22 h 870"/>
                <a:gd name="T72" fmla="*/ 703 w 743"/>
                <a:gd name="T73" fmla="*/ 108 h 870"/>
                <a:gd name="T74" fmla="*/ 603 w 743"/>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3" h="870">
                  <a:moveTo>
                    <a:pt x="603" y="222"/>
                  </a:moveTo>
                  <a:lnTo>
                    <a:pt x="603" y="222"/>
                  </a:lnTo>
                  <a:cubicBezTo>
                    <a:pt x="572" y="191"/>
                    <a:pt x="536" y="172"/>
                    <a:pt x="500" y="161"/>
                  </a:cubicBezTo>
                  <a:cubicBezTo>
                    <a:pt x="464" y="149"/>
                    <a:pt x="425" y="147"/>
                    <a:pt x="381" y="147"/>
                  </a:cubicBezTo>
                  <a:cubicBezTo>
                    <a:pt x="328" y="144"/>
                    <a:pt x="284" y="152"/>
                    <a:pt x="250" y="169"/>
                  </a:cubicBezTo>
                  <a:cubicBezTo>
                    <a:pt x="220" y="188"/>
                    <a:pt x="203" y="211"/>
                    <a:pt x="203" y="244"/>
                  </a:cubicBezTo>
                  <a:cubicBezTo>
                    <a:pt x="203" y="280"/>
                    <a:pt x="220" y="302"/>
                    <a:pt x="253" y="319"/>
                  </a:cubicBezTo>
                  <a:cubicBezTo>
                    <a:pt x="286" y="333"/>
                    <a:pt x="331" y="344"/>
                    <a:pt x="386" y="349"/>
                  </a:cubicBezTo>
                  <a:cubicBezTo>
                    <a:pt x="425" y="352"/>
                    <a:pt x="464" y="358"/>
                    <a:pt x="506" y="366"/>
                  </a:cubicBezTo>
                  <a:cubicBezTo>
                    <a:pt x="550" y="372"/>
                    <a:pt x="586" y="386"/>
                    <a:pt x="622" y="405"/>
                  </a:cubicBezTo>
                  <a:cubicBezTo>
                    <a:pt x="658" y="422"/>
                    <a:pt x="686" y="447"/>
                    <a:pt x="708" y="480"/>
                  </a:cubicBezTo>
                  <a:cubicBezTo>
                    <a:pt x="731" y="513"/>
                    <a:pt x="742" y="555"/>
                    <a:pt x="742" y="608"/>
                  </a:cubicBezTo>
                  <a:cubicBezTo>
                    <a:pt x="742" y="647"/>
                    <a:pt x="733" y="683"/>
                    <a:pt x="717" y="713"/>
                  </a:cubicBezTo>
                  <a:cubicBezTo>
                    <a:pt x="700" y="747"/>
                    <a:pt x="675" y="774"/>
                    <a:pt x="645" y="797"/>
                  </a:cubicBezTo>
                  <a:cubicBezTo>
                    <a:pt x="614" y="819"/>
                    <a:pt x="575" y="838"/>
                    <a:pt x="531" y="849"/>
                  </a:cubicBezTo>
                  <a:cubicBezTo>
                    <a:pt x="486" y="863"/>
                    <a:pt x="439" y="869"/>
                    <a:pt x="383" y="869"/>
                  </a:cubicBezTo>
                  <a:cubicBezTo>
                    <a:pt x="317" y="869"/>
                    <a:pt x="247" y="858"/>
                    <a:pt x="184" y="838"/>
                  </a:cubicBezTo>
                  <a:cubicBezTo>
                    <a:pt x="117" y="819"/>
                    <a:pt x="56" y="777"/>
                    <a:pt x="0" y="716"/>
                  </a:cubicBezTo>
                  <a:cubicBezTo>
                    <a:pt x="92" y="597"/>
                    <a:pt x="92" y="597"/>
                    <a:pt x="92" y="597"/>
                  </a:cubicBezTo>
                  <a:cubicBezTo>
                    <a:pt x="131" y="638"/>
                    <a:pt x="178" y="669"/>
                    <a:pt x="231" y="688"/>
                  </a:cubicBezTo>
                  <a:cubicBezTo>
                    <a:pt x="286" y="708"/>
                    <a:pt x="336" y="719"/>
                    <a:pt x="386" y="719"/>
                  </a:cubicBezTo>
                  <a:cubicBezTo>
                    <a:pt x="408" y="719"/>
                    <a:pt x="428" y="716"/>
                    <a:pt x="450" y="713"/>
                  </a:cubicBezTo>
                  <a:cubicBezTo>
                    <a:pt x="470" y="708"/>
                    <a:pt x="489" y="702"/>
                    <a:pt x="506" y="694"/>
                  </a:cubicBezTo>
                  <a:cubicBezTo>
                    <a:pt x="522" y="686"/>
                    <a:pt x="539" y="674"/>
                    <a:pt x="550" y="661"/>
                  </a:cubicBezTo>
                  <a:cubicBezTo>
                    <a:pt x="561" y="647"/>
                    <a:pt x="567" y="630"/>
                    <a:pt x="567" y="611"/>
                  </a:cubicBezTo>
                  <a:cubicBezTo>
                    <a:pt x="567" y="574"/>
                    <a:pt x="550" y="547"/>
                    <a:pt x="517" y="530"/>
                  </a:cubicBezTo>
                  <a:cubicBezTo>
                    <a:pt x="483" y="513"/>
                    <a:pt x="433" y="502"/>
                    <a:pt x="372" y="497"/>
                  </a:cubicBezTo>
                  <a:cubicBezTo>
                    <a:pt x="331" y="494"/>
                    <a:pt x="292" y="486"/>
                    <a:pt x="250" y="477"/>
                  </a:cubicBezTo>
                  <a:cubicBezTo>
                    <a:pt x="211" y="469"/>
                    <a:pt x="175" y="455"/>
                    <a:pt x="142" y="436"/>
                  </a:cubicBezTo>
                  <a:cubicBezTo>
                    <a:pt x="109" y="416"/>
                    <a:pt x="81" y="394"/>
                    <a:pt x="61" y="363"/>
                  </a:cubicBezTo>
                  <a:cubicBezTo>
                    <a:pt x="39" y="333"/>
                    <a:pt x="28" y="294"/>
                    <a:pt x="28" y="249"/>
                  </a:cubicBezTo>
                  <a:cubicBezTo>
                    <a:pt x="28" y="202"/>
                    <a:pt x="39" y="166"/>
                    <a:pt x="61" y="133"/>
                  </a:cubicBezTo>
                  <a:cubicBezTo>
                    <a:pt x="84" y="102"/>
                    <a:pt x="111" y="74"/>
                    <a:pt x="145" y="55"/>
                  </a:cubicBezTo>
                  <a:cubicBezTo>
                    <a:pt x="178" y="36"/>
                    <a:pt x="217" y="22"/>
                    <a:pt x="258" y="11"/>
                  </a:cubicBezTo>
                  <a:cubicBezTo>
                    <a:pt x="297" y="2"/>
                    <a:pt x="339" y="0"/>
                    <a:pt x="378" y="0"/>
                  </a:cubicBezTo>
                  <a:cubicBezTo>
                    <a:pt x="445" y="0"/>
                    <a:pt x="503" y="8"/>
                    <a:pt x="553" y="22"/>
                  </a:cubicBezTo>
                  <a:cubicBezTo>
                    <a:pt x="606" y="38"/>
                    <a:pt x="656" y="66"/>
                    <a:pt x="703" y="108"/>
                  </a:cubicBezTo>
                  <a:lnTo>
                    <a:pt x="603"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9" name="Freeform 21">
              <a:extLst>
                <a:ext uri="{FF2B5EF4-FFF2-40B4-BE49-F238E27FC236}">
                  <a16:creationId xmlns:a16="http://schemas.microsoft.com/office/drawing/2014/main" id="{CDC3DBC6-A575-D149-AABD-9E08C54467A2}"/>
                </a:ext>
              </a:extLst>
            </p:cNvPr>
            <p:cNvSpPr>
              <a:spLocks noChangeArrowheads="1"/>
            </p:cNvSpPr>
            <p:nvPr userDrawn="1"/>
          </p:nvSpPr>
          <p:spPr bwMode="auto">
            <a:xfrm>
              <a:off x="2698750" y="3749675"/>
              <a:ext cx="63500" cy="298450"/>
            </a:xfrm>
            <a:custGeom>
              <a:avLst/>
              <a:gdLst>
                <a:gd name="T0" fmla="*/ 175 w 176"/>
                <a:gd name="T1" fmla="*/ 828 h 829"/>
                <a:gd name="T2" fmla="*/ 0 w 176"/>
                <a:gd name="T3" fmla="*/ 828 h 829"/>
                <a:gd name="T4" fmla="*/ 0 w 176"/>
                <a:gd name="T5" fmla="*/ 0 h 829"/>
                <a:gd name="T6" fmla="*/ 175 w 176"/>
                <a:gd name="T7" fmla="*/ 0 h 829"/>
                <a:gd name="T8" fmla="*/ 175 w 176"/>
                <a:gd name="T9" fmla="*/ 828 h 829"/>
              </a:gdLst>
              <a:ahLst/>
              <a:cxnLst>
                <a:cxn ang="0">
                  <a:pos x="T0" y="T1"/>
                </a:cxn>
                <a:cxn ang="0">
                  <a:pos x="T2" y="T3"/>
                </a:cxn>
                <a:cxn ang="0">
                  <a:pos x="T4" y="T5"/>
                </a:cxn>
                <a:cxn ang="0">
                  <a:pos x="T6" y="T7"/>
                </a:cxn>
                <a:cxn ang="0">
                  <a:pos x="T8" y="T9"/>
                </a:cxn>
              </a:cxnLst>
              <a:rect l="0" t="0" r="r" b="b"/>
              <a:pathLst>
                <a:path w="176" h="829">
                  <a:moveTo>
                    <a:pt x="175" y="828"/>
                  </a:moveTo>
                  <a:lnTo>
                    <a:pt x="0" y="828"/>
                  </a:lnTo>
                  <a:lnTo>
                    <a:pt x="0" y="0"/>
                  </a:lnTo>
                  <a:lnTo>
                    <a:pt x="175" y="0"/>
                  </a:lnTo>
                  <a:lnTo>
                    <a:pt x="175" y="82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0" name="Freeform 22">
              <a:extLst>
                <a:ext uri="{FF2B5EF4-FFF2-40B4-BE49-F238E27FC236}">
                  <a16:creationId xmlns:a16="http://schemas.microsoft.com/office/drawing/2014/main" id="{BB7BEBB9-4E5B-9046-AF7B-CA749F1D796E}"/>
                </a:ext>
              </a:extLst>
            </p:cNvPr>
            <p:cNvSpPr>
              <a:spLocks noChangeArrowheads="1"/>
            </p:cNvSpPr>
            <p:nvPr userDrawn="1"/>
          </p:nvSpPr>
          <p:spPr bwMode="auto">
            <a:xfrm>
              <a:off x="2822575" y="3665538"/>
              <a:ext cx="223838" cy="385762"/>
            </a:xfrm>
            <a:custGeom>
              <a:avLst/>
              <a:gdLst>
                <a:gd name="T0" fmla="*/ 342 w 620"/>
                <a:gd name="T1" fmla="*/ 0 h 1073"/>
                <a:gd name="T2" fmla="*/ 342 w 620"/>
                <a:gd name="T3" fmla="*/ 0 h 1073"/>
                <a:gd name="T4" fmla="*/ 342 w 620"/>
                <a:gd name="T5" fmla="*/ 239 h 1073"/>
                <a:gd name="T6" fmla="*/ 586 w 620"/>
                <a:gd name="T7" fmla="*/ 239 h 1073"/>
                <a:gd name="T8" fmla="*/ 586 w 620"/>
                <a:gd name="T9" fmla="*/ 389 h 1073"/>
                <a:gd name="T10" fmla="*/ 339 w 620"/>
                <a:gd name="T11" fmla="*/ 389 h 1073"/>
                <a:gd name="T12" fmla="*/ 339 w 620"/>
                <a:gd name="T13" fmla="*/ 780 h 1073"/>
                <a:gd name="T14" fmla="*/ 369 w 620"/>
                <a:gd name="T15" fmla="*/ 880 h 1073"/>
                <a:gd name="T16" fmla="*/ 461 w 620"/>
                <a:gd name="T17" fmla="*/ 917 h 1073"/>
                <a:gd name="T18" fmla="*/ 514 w 620"/>
                <a:gd name="T19" fmla="*/ 908 h 1073"/>
                <a:gd name="T20" fmla="*/ 566 w 620"/>
                <a:gd name="T21" fmla="*/ 886 h 1073"/>
                <a:gd name="T22" fmla="*/ 619 w 620"/>
                <a:gd name="T23" fmla="*/ 1033 h 1073"/>
                <a:gd name="T24" fmla="*/ 533 w 620"/>
                <a:gd name="T25" fmla="*/ 1061 h 1073"/>
                <a:gd name="T26" fmla="*/ 450 w 620"/>
                <a:gd name="T27" fmla="*/ 1072 h 1073"/>
                <a:gd name="T28" fmla="*/ 236 w 620"/>
                <a:gd name="T29" fmla="*/ 1000 h 1073"/>
                <a:gd name="T30" fmla="*/ 164 w 620"/>
                <a:gd name="T31" fmla="*/ 780 h 1073"/>
                <a:gd name="T32" fmla="*/ 164 w 620"/>
                <a:gd name="T33" fmla="*/ 389 h 1073"/>
                <a:gd name="T34" fmla="*/ 0 w 620"/>
                <a:gd name="T35" fmla="*/ 389 h 1073"/>
                <a:gd name="T36" fmla="*/ 0 w 620"/>
                <a:gd name="T37" fmla="*/ 239 h 1073"/>
                <a:gd name="T38" fmla="*/ 164 w 620"/>
                <a:gd name="T39" fmla="*/ 239 h 1073"/>
                <a:gd name="T40" fmla="*/ 164 w 620"/>
                <a:gd name="T41" fmla="*/ 19 h 1073"/>
                <a:gd name="T42" fmla="*/ 342 w 620"/>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0" h="1073">
                  <a:moveTo>
                    <a:pt x="342" y="0"/>
                  </a:moveTo>
                  <a:lnTo>
                    <a:pt x="342" y="0"/>
                  </a:lnTo>
                  <a:cubicBezTo>
                    <a:pt x="342" y="239"/>
                    <a:pt x="342" y="239"/>
                    <a:pt x="342" y="239"/>
                  </a:cubicBezTo>
                  <a:cubicBezTo>
                    <a:pt x="586" y="239"/>
                    <a:pt x="586" y="239"/>
                    <a:pt x="586" y="239"/>
                  </a:cubicBezTo>
                  <a:cubicBezTo>
                    <a:pt x="586" y="389"/>
                    <a:pt x="586" y="389"/>
                    <a:pt x="586" y="389"/>
                  </a:cubicBezTo>
                  <a:cubicBezTo>
                    <a:pt x="339" y="389"/>
                    <a:pt x="339" y="389"/>
                    <a:pt x="339" y="389"/>
                  </a:cubicBezTo>
                  <a:cubicBezTo>
                    <a:pt x="339" y="780"/>
                    <a:pt x="339" y="780"/>
                    <a:pt x="339" y="780"/>
                  </a:cubicBezTo>
                  <a:cubicBezTo>
                    <a:pt x="339" y="825"/>
                    <a:pt x="350" y="858"/>
                    <a:pt x="369" y="880"/>
                  </a:cubicBezTo>
                  <a:cubicBezTo>
                    <a:pt x="389" y="905"/>
                    <a:pt x="419" y="917"/>
                    <a:pt x="461" y="917"/>
                  </a:cubicBezTo>
                  <a:cubicBezTo>
                    <a:pt x="478" y="917"/>
                    <a:pt x="494" y="914"/>
                    <a:pt x="514" y="908"/>
                  </a:cubicBezTo>
                  <a:cubicBezTo>
                    <a:pt x="533" y="903"/>
                    <a:pt x="550" y="897"/>
                    <a:pt x="566" y="886"/>
                  </a:cubicBezTo>
                  <a:cubicBezTo>
                    <a:pt x="619" y="1033"/>
                    <a:pt x="619" y="1033"/>
                    <a:pt x="619" y="1033"/>
                  </a:cubicBezTo>
                  <a:cubicBezTo>
                    <a:pt x="589" y="1047"/>
                    <a:pt x="561" y="1055"/>
                    <a:pt x="533" y="1061"/>
                  </a:cubicBezTo>
                  <a:cubicBezTo>
                    <a:pt x="508" y="1069"/>
                    <a:pt x="480" y="1072"/>
                    <a:pt x="450" y="1072"/>
                  </a:cubicBezTo>
                  <a:cubicBezTo>
                    <a:pt x="358" y="1072"/>
                    <a:pt x="286" y="1050"/>
                    <a:pt x="236" y="1000"/>
                  </a:cubicBezTo>
                  <a:cubicBezTo>
                    <a:pt x="189" y="953"/>
                    <a:pt x="164" y="878"/>
                    <a:pt x="164" y="780"/>
                  </a:cubicBezTo>
                  <a:cubicBezTo>
                    <a:pt x="164" y="389"/>
                    <a:pt x="164" y="389"/>
                    <a:pt x="164" y="389"/>
                  </a:cubicBezTo>
                  <a:cubicBezTo>
                    <a:pt x="0" y="389"/>
                    <a:pt x="0" y="389"/>
                    <a:pt x="0" y="389"/>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1" name="Freeform 23">
              <a:extLst>
                <a:ext uri="{FF2B5EF4-FFF2-40B4-BE49-F238E27FC236}">
                  <a16:creationId xmlns:a16="http://schemas.microsoft.com/office/drawing/2014/main" id="{080B661A-CE54-F54E-89D2-212018C0C8D6}"/>
                </a:ext>
              </a:extLst>
            </p:cNvPr>
            <p:cNvSpPr>
              <a:spLocks noChangeArrowheads="1"/>
            </p:cNvSpPr>
            <p:nvPr userDrawn="1"/>
          </p:nvSpPr>
          <p:spPr bwMode="auto">
            <a:xfrm>
              <a:off x="3208338" y="3749675"/>
              <a:ext cx="492125" cy="298450"/>
            </a:xfrm>
            <a:custGeom>
              <a:avLst/>
              <a:gdLst>
                <a:gd name="T0" fmla="*/ 761 w 1368"/>
                <a:gd name="T1" fmla="*/ 0 h 829"/>
                <a:gd name="T2" fmla="*/ 961 w 1368"/>
                <a:gd name="T3" fmla="*/ 647 h 829"/>
                <a:gd name="T4" fmla="*/ 1169 w 1368"/>
                <a:gd name="T5" fmla="*/ 0 h 829"/>
                <a:gd name="T6" fmla="*/ 1367 w 1368"/>
                <a:gd name="T7" fmla="*/ 0 h 829"/>
                <a:gd name="T8" fmla="*/ 1072 w 1368"/>
                <a:gd name="T9" fmla="*/ 828 h 829"/>
                <a:gd name="T10" fmla="*/ 867 w 1368"/>
                <a:gd name="T11" fmla="*/ 828 h 829"/>
                <a:gd name="T12" fmla="*/ 767 w 1368"/>
                <a:gd name="T13" fmla="*/ 555 h 829"/>
                <a:gd name="T14" fmla="*/ 686 w 1368"/>
                <a:gd name="T15" fmla="*/ 267 h 829"/>
                <a:gd name="T16" fmla="*/ 603 w 1368"/>
                <a:gd name="T17" fmla="*/ 555 h 829"/>
                <a:gd name="T18" fmla="*/ 503 w 1368"/>
                <a:gd name="T19" fmla="*/ 828 h 829"/>
                <a:gd name="T20" fmla="*/ 297 w 1368"/>
                <a:gd name="T21" fmla="*/ 828 h 829"/>
                <a:gd name="T22" fmla="*/ 0 w 1368"/>
                <a:gd name="T23" fmla="*/ 0 h 829"/>
                <a:gd name="T24" fmla="*/ 200 w 1368"/>
                <a:gd name="T25" fmla="*/ 0 h 829"/>
                <a:gd name="T26" fmla="*/ 408 w 1368"/>
                <a:gd name="T27" fmla="*/ 647 h 829"/>
                <a:gd name="T28" fmla="*/ 608 w 1368"/>
                <a:gd name="T29" fmla="*/ 0 h 829"/>
                <a:gd name="T30" fmla="*/ 761 w 1368"/>
                <a:gd name="T31" fmla="*/ 0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8" h="829">
                  <a:moveTo>
                    <a:pt x="761" y="0"/>
                  </a:moveTo>
                  <a:lnTo>
                    <a:pt x="961" y="647"/>
                  </a:lnTo>
                  <a:lnTo>
                    <a:pt x="1169" y="0"/>
                  </a:lnTo>
                  <a:lnTo>
                    <a:pt x="1367" y="0"/>
                  </a:lnTo>
                  <a:lnTo>
                    <a:pt x="1072" y="828"/>
                  </a:lnTo>
                  <a:lnTo>
                    <a:pt x="867" y="828"/>
                  </a:lnTo>
                  <a:lnTo>
                    <a:pt x="767" y="555"/>
                  </a:lnTo>
                  <a:lnTo>
                    <a:pt x="686" y="267"/>
                  </a:lnTo>
                  <a:lnTo>
                    <a:pt x="603" y="555"/>
                  </a:lnTo>
                  <a:lnTo>
                    <a:pt x="503" y="828"/>
                  </a:lnTo>
                  <a:lnTo>
                    <a:pt x="297" y="828"/>
                  </a:lnTo>
                  <a:lnTo>
                    <a:pt x="0" y="0"/>
                  </a:lnTo>
                  <a:lnTo>
                    <a:pt x="200" y="0"/>
                  </a:lnTo>
                  <a:lnTo>
                    <a:pt x="408" y="647"/>
                  </a:lnTo>
                  <a:lnTo>
                    <a:pt x="608" y="0"/>
                  </a:lnTo>
                  <a:lnTo>
                    <a:pt x="761"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2" name="Freeform 24">
              <a:extLst>
                <a:ext uri="{FF2B5EF4-FFF2-40B4-BE49-F238E27FC236}">
                  <a16:creationId xmlns:a16="http://schemas.microsoft.com/office/drawing/2014/main" id="{176133A4-9D10-AA46-B5A3-49049F4D5C9B}"/>
                </a:ext>
              </a:extLst>
            </p:cNvPr>
            <p:cNvSpPr>
              <a:spLocks noChangeArrowheads="1"/>
            </p:cNvSpPr>
            <p:nvPr userDrawn="1"/>
          </p:nvSpPr>
          <p:spPr bwMode="auto">
            <a:xfrm>
              <a:off x="37322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3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8" y="147"/>
                    <a:pt x="127" y="111"/>
                  </a:cubicBezTo>
                  <a:cubicBezTo>
                    <a:pt x="166" y="75"/>
                    <a:pt x="211" y="48"/>
                    <a:pt x="263"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38" y="636"/>
                    <a:pt x="669" y="603"/>
                    <a:pt x="691" y="561"/>
                  </a:cubicBezTo>
                  <a:cubicBezTo>
                    <a:pt x="711" y="522"/>
                    <a:pt x="722" y="478"/>
                    <a:pt x="722" y="431"/>
                  </a:cubicBezTo>
                  <a:cubicBezTo>
                    <a:pt x="722" y="384"/>
                    <a:pt x="711" y="339"/>
                    <a:pt x="691" y="298"/>
                  </a:cubicBezTo>
                  <a:cubicBezTo>
                    <a:pt x="669" y="259"/>
                    <a:pt x="638"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3" name="Freeform 25">
              <a:extLst>
                <a:ext uri="{FF2B5EF4-FFF2-40B4-BE49-F238E27FC236}">
                  <a16:creationId xmlns:a16="http://schemas.microsoft.com/office/drawing/2014/main" id="{EBC0571E-ABB8-FC44-97F2-8FDE6EF0A93B}"/>
                </a:ext>
              </a:extLst>
            </p:cNvPr>
            <p:cNvSpPr>
              <a:spLocks noChangeArrowheads="1"/>
            </p:cNvSpPr>
            <p:nvPr userDrawn="1"/>
          </p:nvSpPr>
          <p:spPr bwMode="auto">
            <a:xfrm>
              <a:off x="4116388" y="3743325"/>
              <a:ext cx="268287" cy="312738"/>
            </a:xfrm>
            <a:custGeom>
              <a:avLst/>
              <a:gdLst>
                <a:gd name="T0" fmla="*/ 605 w 745"/>
                <a:gd name="T1" fmla="*/ 222 h 870"/>
                <a:gd name="T2" fmla="*/ 605 w 745"/>
                <a:gd name="T3" fmla="*/ 222 h 870"/>
                <a:gd name="T4" fmla="*/ 500 w 745"/>
                <a:gd name="T5" fmla="*/ 161 h 870"/>
                <a:gd name="T6" fmla="*/ 383 w 745"/>
                <a:gd name="T7" fmla="*/ 147 h 870"/>
                <a:gd name="T8" fmla="*/ 253 w 745"/>
                <a:gd name="T9" fmla="*/ 169 h 870"/>
                <a:gd name="T10" fmla="*/ 203 w 745"/>
                <a:gd name="T11" fmla="*/ 244 h 870"/>
                <a:gd name="T12" fmla="*/ 256 w 745"/>
                <a:gd name="T13" fmla="*/ 319 h 870"/>
                <a:gd name="T14" fmla="*/ 386 w 745"/>
                <a:gd name="T15" fmla="*/ 349 h 870"/>
                <a:gd name="T16" fmla="*/ 508 w 745"/>
                <a:gd name="T17" fmla="*/ 366 h 870"/>
                <a:gd name="T18" fmla="*/ 625 w 745"/>
                <a:gd name="T19" fmla="*/ 405 h 870"/>
                <a:gd name="T20" fmla="*/ 711 w 745"/>
                <a:gd name="T21" fmla="*/ 480 h 870"/>
                <a:gd name="T22" fmla="*/ 744 w 745"/>
                <a:gd name="T23" fmla="*/ 608 h 870"/>
                <a:gd name="T24" fmla="*/ 717 w 745"/>
                <a:gd name="T25" fmla="*/ 713 h 870"/>
                <a:gd name="T26" fmla="*/ 644 w 745"/>
                <a:gd name="T27" fmla="*/ 797 h 870"/>
                <a:gd name="T28" fmla="*/ 533 w 745"/>
                <a:gd name="T29" fmla="*/ 849 h 870"/>
                <a:gd name="T30" fmla="*/ 386 w 745"/>
                <a:gd name="T31" fmla="*/ 869 h 870"/>
                <a:gd name="T32" fmla="*/ 183 w 745"/>
                <a:gd name="T33" fmla="*/ 838 h 870"/>
                <a:gd name="T34" fmla="*/ 0 w 745"/>
                <a:gd name="T35" fmla="*/ 716 h 870"/>
                <a:gd name="T36" fmla="*/ 92 w 745"/>
                <a:gd name="T37" fmla="*/ 597 h 870"/>
                <a:gd name="T38" fmla="*/ 233 w 745"/>
                <a:gd name="T39" fmla="*/ 688 h 870"/>
                <a:gd name="T40" fmla="*/ 389 w 745"/>
                <a:gd name="T41" fmla="*/ 719 h 870"/>
                <a:gd name="T42" fmla="*/ 450 w 745"/>
                <a:gd name="T43" fmla="*/ 713 h 870"/>
                <a:gd name="T44" fmla="*/ 508 w 745"/>
                <a:gd name="T45" fmla="*/ 694 h 870"/>
                <a:gd name="T46" fmla="*/ 550 w 745"/>
                <a:gd name="T47" fmla="*/ 661 h 870"/>
                <a:gd name="T48" fmla="*/ 567 w 745"/>
                <a:gd name="T49" fmla="*/ 611 h 870"/>
                <a:gd name="T50" fmla="*/ 519 w 745"/>
                <a:gd name="T51" fmla="*/ 530 h 870"/>
                <a:gd name="T52" fmla="*/ 372 w 745"/>
                <a:gd name="T53" fmla="*/ 497 h 870"/>
                <a:gd name="T54" fmla="*/ 253 w 745"/>
                <a:gd name="T55" fmla="*/ 477 h 870"/>
                <a:gd name="T56" fmla="*/ 142 w 745"/>
                <a:gd name="T57" fmla="*/ 436 h 870"/>
                <a:gd name="T58" fmla="*/ 61 w 745"/>
                <a:gd name="T59" fmla="*/ 363 h 870"/>
                <a:gd name="T60" fmla="*/ 30 w 745"/>
                <a:gd name="T61" fmla="*/ 249 h 870"/>
                <a:gd name="T62" fmla="*/ 61 w 745"/>
                <a:gd name="T63" fmla="*/ 133 h 870"/>
                <a:gd name="T64" fmla="*/ 147 w 745"/>
                <a:gd name="T65" fmla="*/ 55 h 870"/>
                <a:gd name="T66" fmla="*/ 258 w 745"/>
                <a:gd name="T67" fmla="*/ 11 h 870"/>
                <a:gd name="T68" fmla="*/ 381 w 745"/>
                <a:gd name="T69" fmla="*/ 0 h 870"/>
                <a:gd name="T70" fmla="*/ 556 w 745"/>
                <a:gd name="T71" fmla="*/ 22 h 870"/>
                <a:gd name="T72" fmla="*/ 705 w 745"/>
                <a:gd name="T73" fmla="*/ 108 h 870"/>
                <a:gd name="T74" fmla="*/ 605 w 745"/>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5" h="870">
                  <a:moveTo>
                    <a:pt x="605" y="222"/>
                  </a:moveTo>
                  <a:lnTo>
                    <a:pt x="605" y="222"/>
                  </a:lnTo>
                  <a:cubicBezTo>
                    <a:pt x="572" y="191"/>
                    <a:pt x="536" y="172"/>
                    <a:pt x="500" y="161"/>
                  </a:cubicBezTo>
                  <a:cubicBezTo>
                    <a:pt x="464" y="149"/>
                    <a:pt x="425" y="147"/>
                    <a:pt x="383" y="147"/>
                  </a:cubicBezTo>
                  <a:cubicBezTo>
                    <a:pt x="328" y="144"/>
                    <a:pt x="286" y="152"/>
                    <a:pt x="253" y="169"/>
                  </a:cubicBezTo>
                  <a:cubicBezTo>
                    <a:pt x="219" y="188"/>
                    <a:pt x="203" y="211"/>
                    <a:pt x="203" y="244"/>
                  </a:cubicBezTo>
                  <a:cubicBezTo>
                    <a:pt x="206" y="280"/>
                    <a:pt x="222" y="302"/>
                    <a:pt x="256" y="319"/>
                  </a:cubicBezTo>
                  <a:cubicBezTo>
                    <a:pt x="289" y="333"/>
                    <a:pt x="333" y="344"/>
                    <a:pt x="386" y="349"/>
                  </a:cubicBezTo>
                  <a:cubicBezTo>
                    <a:pt x="425" y="352"/>
                    <a:pt x="467" y="358"/>
                    <a:pt x="508" y="366"/>
                  </a:cubicBezTo>
                  <a:cubicBezTo>
                    <a:pt x="550" y="372"/>
                    <a:pt x="589" y="386"/>
                    <a:pt x="625" y="405"/>
                  </a:cubicBezTo>
                  <a:cubicBezTo>
                    <a:pt x="658" y="422"/>
                    <a:pt x="689" y="447"/>
                    <a:pt x="711" y="480"/>
                  </a:cubicBezTo>
                  <a:cubicBezTo>
                    <a:pt x="733" y="513"/>
                    <a:pt x="744" y="555"/>
                    <a:pt x="744" y="608"/>
                  </a:cubicBezTo>
                  <a:cubicBezTo>
                    <a:pt x="744" y="647"/>
                    <a:pt x="736" y="683"/>
                    <a:pt x="717" y="713"/>
                  </a:cubicBezTo>
                  <a:cubicBezTo>
                    <a:pt x="700" y="747"/>
                    <a:pt x="678" y="774"/>
                    <a:pt x="644" y="797"/>
                  </a:cubicBezTo>
                  <a:cubicBezTo>
                    <a:pt x="614" y="819"/>
                    <a:pt x="578" y="838"/>
                    <a:pt x="533" y="849"/>
                  </a:cubicBezTo>
                  <a:cubicBezTo>
                    <a:pt x="489" y="863"/>
                    <a:pt x="439" y="869"/>
                    <a:pt x="386" y="869"/>
                  </a:cubicBezTo>
                  <a:cubicBezTo>
                    <a:pt x="317" y="869"/>
                    <a:pt x="250" y="858"/>
                    <a:pt x="183" y="838"/>
                  </a:cubicBezTo>
                  <a:cubicBezTo>
                    <a:pt x="117" y="819"/>
                    <a:pt x="56" y="777"/>
                    <a:pt x="0" y="716"/>
                  </a:cubicBezTo>
                  <a:cubicBezTo>
                    <a:pt x="92" y="597"/>
                    <a:pt x="92" y="597"/>
                    <a:pt x="92" y="597"/>
                  </a:cubicBezTo>
                  <a:cubicBezTo>
                    <a:pt x="133" y="638"/>
                    <a:pt x="181" y="669"/>
                    <a:pt x="233" y="688"/>
                  </a:cubicBezTo>
                  <a:cubicBezTo>
                    <a:pt x="286" y="708"/>
                    <a:pt x="339" y="719"/>
                    <a:pt x="389" y="719"/>
                  </a:cubicBezTo>
                  <a:cubicBezTo>
                    <a:pt x="408" y="719"/>
                    <a:pt x="430" y="716"/>
                    <a:pt x="450" y="713"/>
                  </a:cubicBezTo>
                  <a:cubicBezTo>
                    <a:pt x="472" y="708"/>
                    <a:pt x="492" y="702"/>
                    <a:pt x="508" y="694"/>
                  </a:cubicBezTo>
                  <a:cubicBezTo>
                    <a:pt x="525" y="686"/>
                    <a:pt x="539" y="674"/>
                    <a:pt x="550" y="661"/>
                  </a:cubicBezTo>
                  <a:cubicBezTo>
                    <a:pt x="561" y="647"/>
                    <a:pt x="567" y="630"/>
                    <a:pt x="567" y="611"/>
                  </a:cubicBezTo>
                  <a:cubicBezTo>
                    <a:pt x="569" y="574"/>
                    <a:pt x="553" y="547"/>
                    <a:pt x="519" y="530"/>
                  </a:cubicBezTo>
                  <a:cubicBezTo>
                    <a:pt x="483" y="513"/>
                    <a:pt x="436" y="502"/>
                    <a:pt x="372" y="497"/>
                  </a:cubicBezTo>
                  <a:cubicBezTo>
                    <a:pt x="333" y="494"/>
                    <a:pt x="292" y="486"/>
                    <a:pt x="253" y="477"/>
                  </a:cubicBezTo>
                  <a:cubicBezTo>
                    <a:pt x="211" y="469"/>
                    <a:pt x="175" y="455"/>
                    <a:pt x="142" y="436"/>
                  </a:cubicBezTo>
                  <a:cubicBezTo>
                    <a:pt x="108" y="416"/>
                    <a:pt x="83" y="394"/>
                    <a:pt x="61" y="363"/>
                  </a:cubicBezTo>
                  <a:cubicBezTo>
                    <a:pt x="42" y="333"/>
                    <a:pt x="30" y="294"/>
                    <a:pt x="30" y="249"/>
                  </a:cubicBezTo>
                  <a:cubicBezTo>
                    <a:pt x="30" y="202"/>
                    <a:pt x="42" y="166"/>
                    <a:pt x="61" y="133"/>
                  </a:cubicBezTo>
                  <a:cubicBezTo>
                    <a:pt x="83" y="102"/>
                    <a:pt x="111" y="74"/>
                    <a:pt x="147" y="55"/>
                  </a:cubicBezTo>
                  <a:cubicBezTo>
                    <a:pt x="181" y="36"/>
                    <a:pt x="217" y="22"/>
                    <a:pt x="258" y="11"/>
                  </a:cubicBezTo>
                  <a:cubicBezTo>
                    <a:pt x="300" y="2"/>
                    <a:pt x="339" y="0"/>
                    <a:pt x="381" y="0"/>
                  </a:cubicBezTo>
                  <a:cubicBezTo>
                    <a:pt x="444" y="0"/>
                    <a:pt x="503" y="8"/>
                    <a:pt x="556" y="22"/>
                  </a:cubicBezTo>
                  <a:cubicBezTo>
                    <a:pt x="605" y="38"/>
                    <a:pt x="656" y="66"/>
                    <a:pt x="705" y="108"/>
                  </a:cubicBezTo>
                  <a:lnTo>
                    <a:pt x="605"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4" name="Freeform 26">
              <a:extLst>
                <a:ext uri="{FF2B5EF4-FFF2-40B4-BE49-F238E27FC236}">
                  <a16:creationId xmlns:a16="http://schemas.microsoft.com/office/drawing/2014/main" id="{FDEA2832-C625-8640-8016-1488753EFEDD}"/>
                </a:ext>
              </a:extLst>
            </p:cNvPr>
            <p:cNvSpPr>
              <a:spLocks noChangeArrowheads="1"/>
            </p:cNvSpPr>
            <p:nvPr userDrawn="1"/>
          </p:nvSpPr>
          <p:spPr bwMode="auto">
            <a:xfrm>
              <a:off x="4600575" y="3744913"/>
              <a:ext cx="476250" cy="301625"/>
            </a:xfrm>
            <a:custGeom>
              <a:avLst/>
              <a:gdLst>
                <a:gd name="T0" fmla="*/ 575 w 1322"/>
                <a:gd name="T1" fmla="*/ 839 h 840"/>
                <a:gd name="T2" fmla="*/ 575 w 1322"/>
                <a:gd name="T3" fmla="*/ 839 h 840"/>
                <a:gd name="T4" fmla="*/ 575 w 1322"/>
                <a:gd name="T5" fmla="*/ 386 h 840"/>
                <a:gd name="T6" fmla="*/ 564 w 1322"/>
                <a:gd name="T7" fmla="*/ 300 h 840"/>
                <a:gd name="T8" fmla="*/ 525 w 1322"/>
                <a:gd name="T9" fmla="*/ 228 h 840"/>
                <a:gd name="T10" fmla="*/ 461 w 1322"/>
                <a:gd name="T11" fmla="*/ 178 h 840"/>
                <a:gd name="T12" fmla="*/ 381 w 1322"/>
                <a:gd name="T13" fmla="*/ 161 h 840"/>
                <a:gd name="T14" fmla="*/ 295 w 1322"/>
                <a:gd name="T15" fmla="*/ 178 h 840"/>
                <a:gd name="T16" fmla="*/ 231 w 1322"/>
                <a:gd name="T17" fmla="*/ 228 h 840"/>
                <a:gd name="T18" fmla="*/ 192 w 1322"/>
                <a:gd name="T19" fmla="*/ 300 h 840"/>
                <a:gd name="T20" fmla="*/ 175 w 1322"/>
                <a:gd name="T21" fmla="*/ 386 h 840"/>
                <a:gd name="T22" fmla="*/ 175 w 1322"/>
                <a:gd name="T23" fmla="*/ 839 h 840"/>
                <a:gd name="T24" fmla="*/ 0 w 1322"/>
                <a:gd name="T25" fmla="*/ 839 h 840"/>
                <a:gd name="T26" fmla="*/ 0 w 1322"/>
                <a:gd name="T27" fmla="*/ 14 h 840"/>
                <a:gd name="T28" fmla="*/ 164 w 1322"/>
                <a:gd name="T29" fmla="*/ 14 h 840"/>
                <a:gd name="T30" fmla="*/ 175 w 1322"/>
                <a:gd name="T31" fmla="*/ 125 h 840"/>
                <a:gd name="T32" fmla="*/ 278 w 1322"/>
                <a:gd name="T33" fmla="*/ 28 h 840"/>
                <a:gd name="T34" fmla="*/ 411 w 1322"/>
                <a:gd name="T35" fmla="*/ 0 h 840"/>
                <a:gd name="T36" fmla="*/ 492 w 1322"/>
                <a:gd name="T37" fmla="*/ 8 h 840"/>
                <a:gd name="T38" fmla="*/ 567 w 1322"/>
                <a:gd name="T39" fmla="*/ 36 h 840"/>
                <a:gd name="T40" fmla="*/ 631 w 1322"/>
                <a:gd name="T41" fmla="*/ 89 h 840"/>
                <a:gd name="T42" fmla="*/ 675 w 1322"/>
                <a:gd name="T43" fmla="*/ 167 h 840"/>
                <a:gd name="T44" fmla="*/ 803 w 1322"/>
                <a:gd name="T45" fmla="*/ 39 h 840"/>
                <a:gd name="T46" fmla="*/ 964 w 1322"/>
                <a:gd name="T47" fmla="*/ 3 h 840"/>
                <a:gd name="T48" fmla="*/ 1230 w 1322"/>
                <a:gd name="T49" fmla="*/ 103 h 840"/>
                <a:gd name="T50" fmla="*/ 1321 w 1322"/>
                <a:gd name="T51" fmla="*/ 383 h 840"/>
                <a:gd name="T52" fmla="*/ 1321 w 1322"/>
                <a:gd name="T53" fmla="*/ 839 h 840"/>
                <a:gd name="T54" fmla="*/ 1145 w 1322"/>
                <a:gd name="T55" fmla="*/ 839 h 840"/>
                <a:gd name="T56" fmla="*/ 1145 w 1322"/>
                <a:gd name="T57" fmla="*/ 381 h 840"/>
                <a:gd name="T58" fmla="*/ 1134 w 1322"/>
                <a:gd name="T59" fmla="*/ 297 h 840"/>
                <a:gd name="T60" fmla="*/ 1097 w 1322"/>
                <a:gd name="T61" fmla="*/ 225 h 840"/>
                <a:gd name="T62" fmla="*/ 1039 w 1322"/>
                <a:gd name="T63" fmla="*/ 178 h 840"/>
                <a:gd name="T64" fmla="*/ 959 w 1322"/>
                <a:gd name="T65" fmla="*/ 161 h 840"/>
                <a:gd name="T66" fmla="*/ 872 w 1322"/>
                <a:gd name="T67" fmla="*/ 181 h 840"/>
                <a:gd name="T68" fmla="*/ 809 w 1322"/>
                <a:gd name="T69" fmla="*/ 228 h 840"/>
                <a:gd name="T70" fmla="*/ 767 w 1322"/>
                <a:gd name="T71" fmla="*/ 300 h 840"/>
                <a:gd name="T72" fmla="*/ 753 w 1322"/>
                <a:gd name="T73" fmla="*/ 386 h 840"/>
                <a:gd name="T74" fmla="*/ 753 w 1322"/>
                <a:gd name="T75" fmla="*/ 839 h 840"/>
                <a:gd name="T76" fmla="*/ 575 w 1322"/>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2" h="840">
                  <a:moveTo>
                    <a:pt x="575" y="839"/>
                  </a:moveTo>
                  <a:lnTo>
                    <a:pt x="575" y="839"/>
                  </a:lnTo>
                  <a:cubicBezTo>
                    <a:pt x="575" y="386"/>
                    <a:pt x="575" y="386"/>
                    <a:pt x="575" y="386"/>
                  </a:cubicBezTo>
                  <a:cubicBezTo>
                    <a:pt x="575" y="356"/>
                    <a:pt x="572" y="325"/>
                    <a:pt x="564" y="300"/>
                  </a:cubicBezTo>
                  <a:cubicBezTo>
                    <a:pt x="556" y="272"/>
                    <a:pt x="542" y="247"/>
                    <a:pt x="525" y="228"/>
                  </a:cubicBezTo>
                  <a:cubicBezTo>
                    <a:pt x="509" y="206"/>
                    <a:pt x="486" y="189"/>
                    <a:pt x="461" y="178"/>
                  </a:cubicBezTo>
                  <a:cubicBezTo>
                    <a:pt x="436" y="167"/>
                    <a:pt x="411" y="161"/>
                    <a:pt x="381" y="161"/>
                  </a:cubicBezTo>
                  <a:cubicBezTo>
                    <a:pt x="347" y="161"/>
                    <a:pt x="320" y="167"/>
                    <a:pt x="295" y="178"/>
                  </a:cubicBezTo>
                  <a:cubicBezTo>
                    <a:pt x="270" y="189"/>
                    <a:pt x="250" y="206"/>
                    <a:pt x="231" y="228"/>
                  </a:cubicBezTo>
                  <a:cubicBezTo>
                    <a:pt x="214" y="247"/>
                    <a:pt x="200" y="272"/>
                    <a:pt x="192" y="300"/>
                  </a:cubicBezTo>
                  <a:cubicBezTo>
                    <a:pt x="181" y="325"/>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200" y="78"/>
                    <a:pt x="234" y="47"/>
                    <a:pt x="278" y="28"/>
                  </a:cubicBezTo>
                  <a:cubicBezTo>
                    <a:pt x="323" y="8"/>
                    <a:pt x="367" y="0"/>
                    <a:pt x="411" y="0"/>
                  </a:cubicBezTo>
                  <a:cubicBezTo>
                    <a:pt x="439" y="0"/>
                    <a:pt x="467" y="3"/>
                    <a:pt x="492" y="8"/>
                  </a:cubicBezTo>
                  <a:cubicBezTo>
                    <a:pt x="520" y="14"/>
                    <a:pt x="542" y="22"/>
                    <a:pt x="567" y="36"/>
                  </a:cubicBezTo>
                  <a:cubicBezTo>
                    <a:pt x="589" y="50"/>
                    <a:pt x="611" y="67"/>
                    <a:pt x="631" y="89"/>
                  </a:cubicBezTo>
                  <a:cubicBezTo>
                    <a:pt x="647" y="111"/>
                    <a:pt x="664" y="136"/>
                    <a:pt x="675" y="167"/>
                  </a:cubicBezTo>
                  <a:cubicBezTo>
                    <a:pt x="711" y="106"/>
                    <a:pt x="753" y="61"/>
                    <a:pt x="803" y="39"/>
                  </a:cubicBezTo>
                  <a:cubicBezTo>
                    <a:pt x="853" y="14"/>
                    <a:pt x="906" y="3"/>
                    <a:pt x="964" y="3"/>
                  </a:cubicBezTo>
                  <a:cubicBezTo>
                    <a:pt x="1084" y="3"/>
                    <a:pt x="1172" y="36"/>
                    <a:pt x="1230" y="103"/>
                  </a:cubicBezTo>
                  <a:cubicBezTo>
                    <a:pt x="1291" y="169"/>
                    <a:pt x="1321" y="264"/>
                    <a:pt x="1321" y="383"/>
                  </a:cubicBezTo>
                  <a:cubicBezTo>
                    <a:pt x="1321" y="839"/>
                    <a:pt x="1321" y="839"/>
                    <a:pt x="1321" y="839"/>
                  </a:cubicBezTo>
                  <a:cubicBezTo>
                    <a:pt x="1145" y="839"/>
                    <a:pt x="1145" y="839"/>
                    <a:pt x="1145" y="839"/>
                  </a:cubicBezTo>
                  <a:cubicBezTo>
                    <a:pt x="1145" y="381"/>
                    <a:pt x="1145" y="381"/>
                    <a:pt x="1145" y="381"/>
                  </a:cubicBezTo>
                  <a:cubicBezTo>
                    <a:pt x="1145" y="353"/>
                    <a:pt x="1139" y="322"/>
                    <a:pt x="1134" y="297"/>
                  </a:cubicBezTo>
                  <a:cubicBezTo>
                    <a:pt x="1125" y="269"/>
                    <a:pt x="1114" y="247"/>
                    <a:pt x="1097" y="225"/>
                  </a:cubicBezTo>
                  <a:cubicBezTo>
                    <a:pt x="1081" y="206"/>
                    <a:pt x="1061" y="189"/>
                    <a:pt x="1039" y="178"/>
                  </a:cubicBezTo>
                  <a:cubicBezTo>
                    <a:pt x="1017" y="167"/>
                    <a:pt x="989" y="161"/>
                    <a:pt x="959" y="161"/>
                  </a:cubicBezTo>
                  <a:cubicBezTo>
                    <a:pt x="928" y="161"/>
                    <a:pt x="900" y="169"/>
                    <a:pt x="872" y="181"/>
                  </a:cubicBezTo>
                  <a:cubicBezTo>
                    <a:pt x="847" y="192"/>
                    <a:pt x="825" y="208"/>
                    <a:pt x="809" y="228"/>
                  </a:cubicBezTo>
                  <a:cubicBezTo>
                    <a:pt x="792" y="247"/>
                    <a:pt x="778" y="272"/>
                    <a:pt x="767" y="300"/>
                  </a:cubicBezTo>
                  <a:cubicBezTo>
                    <a:pt x="759" y="325"/>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5" name="Freeform 27">
              <a:extLst>
                <a:ext uri="{FF2B5EF4-FFF2-40B4-BE49-F238E27FC236}">
                  <a16:creationId xmlns:a16="http://schemas.microsoft.com/office/drawing/2014/main" id="{0548D9CC-3EC1-9441-B598-EE5063BE6918}"/>
                </a:ext>
              </a:extLst>
            </p:cNvPr>
            <p:cNvSpPr>
              <a:spLocks noChangeArrowheads="1"/>
            </p:cNvSpPr>
            <p:nvPr userDrawn="1"/>
          </p:nvSpPr>
          <p:spPr bwMode="auto">
            <a:xfrm>
              <a:off x="5138738" y="3743325"/>
              <a:ext cx="315912"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2 w 876"/>
                <a:gd name="T11" fmla="*/ 680 h 864"/>
                <a:gd name="T12" fmla="*/ 703 w 876"/>
                <a:gd name="T13" fmla="*/ 616 h 864"/>
                <a:gd name="T14" fmla="*/ 817 w 876"/>
                <a:gd name="T15" fmla="*/ 724 h 864"/>
                <a:gd name="T16" fmla="*/ 742 w 876"/>
                <a:gd name="T17" fmla="*/ 786 h 864"/>
                <a:gd name="T18" fmla="*/ 653 w 876"/>
                <a:gd name="T19" fmla="*/ 830 h 864"/>
                <a:gd name="T20" fmla="*/ 553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3 w 876"/>
                <a:gd name="T35" fmla="*/ 119 h 864"/>
                <a:gd name="T36" fmla="*/ 261 w 876"/>
                <a:gd name="T37" fmla="*/ 30 h 864"/>
                <a:gd name="T38" fmla="*/ 442 w 876"/>
                <a:gd name="T39" fmla="*/ 0 h 864"/>
                <a:gd name="T40" fmla="*/ 628 w 876"/>
                <a:gd name="T41" fmla="*/ 30 h 864"/>
                <a:gd name="T42" fmla="*/ 767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2 w 876"/>
                <a:gd name="T55" fmla="*/ 202 h 864"/>
                <a:gd name="T56" fmla="*/ 448 w 876"/>
                <a:gd name="T57" fmla="*/ 152 h 864"/>
                <a:gd name="T58" fmla="*/ 278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17" y="686"/>
                    <a:pt x="381" y="705"/>
                    <a:pt x="459" y="705"/>
                  </a:cubicBezTo>
                  <a:cubicBezTo>
                    <a:pt x="500" y="705"/>
                    <a:pt x="548" y="697"/>
                    <a:pt x="592" y="680"/>
                  </a:cubicBezTo>
                  <a:cubicBezTo>
                    <a:pt x="639" y="666"/>
                    <a:pt x="675" y="644"/>
                    <a:pt x="703" y="616"/>
                  </a:cubicBezTo>
                  <a:cubicBezTo>
                    <a:pt x="817" y="724"/>
                    <a:pt x="817" y="724"/>
                    <a:pt x="817" y="724"/>
                  </a:cubicBezTo>
                  <a:cubicBezTo>
                    <a:pt x="795" y="747"/>
                    <a:pt x="770" y="769"/>
                    <a:pt x="742" y="786"/>
                  </a:cubicBezTo>
                  <a:cubicBezTo>
                    <a:pt x="714" y="802"/>
                    <a:pt x="684" y="819"/>
                    <a:pt x="653" y="830"/>
                  </a:cubicBezTo>
                  <a:cubicBezTo>
                    <a:pt x="620" y="841"/>
                    <a:pt x="589" y="849"/>
                    <a:pt x="553" y="855"/>
                  </a:cubicBezTo>
                  <a:cubicBezTo>
                    <a:pt x="520" y="861"/>
                    <a:pt x="486" y="863"/>
                    <a:pt x="456" y="863"/>
                  </a:cubicBezTo>
                  <a:cubicBezTo>
                    <a:pt x="386" y="863"/>
                    <a:pt x="323" y="855"/>
                    <a:pt x="267" y="833"/>
                  </a:cubicBezTo>
                  <a:cubicBezTo>
                    <a:pt x="211" y="813"/>
                    <a:pt x="164" y="783"/>
                    <a:pt x="125" y="747"/>
                  </a:cubicBezTo>
                  <a:cubicBezTo>
                    <a:pt x="86" y="708"/>
                    <a:pt x="56" y="661"/>
                    <a:pt x="34" y="608"/>
                  </a:cubicBezTo>
                  <a:cubicBezTo>
                    <a:pt x="11" y="552"/>
                    <a:pt x="0" y="494"/>
                    <a:pt x="0" y="427"/>
                  </a:cubicBezTo>
                  <a:cubicBezTo>
                    <a:pt x="0" y="366"/>
                    <a:pt x="11" y="308"/>
                    <a:pt x="34" y="255"/>
                  </a:cubicBezTo>
                  <a:cubicBezTo>
                    <a:pt x="56" y="202"/>
                    <a:pt x="84" y="158"/>
                    <a:pt x="123" y="119"/>
                  </a:cubicBezTo>
                  <a:cubicBezTo>
                    <a:pt x="161" y="80"/>
                    <a:pt x="209" y="52"/>
                    <a:pt x="261" y="30"/>
                  </a:cubicBezTo>
                  <a:cubicBezTo>
                    <a:pt x="317" y="8"/>
                    <a:pt x="378" y="0"/>
                    <a:pt x="442" y="0"/>
                  </a:cubicBezTo>
                  <a:cubicBezTo>
                    <a:pt x="511" y="0"/>
                    <a:pt x="573" y="8"/>
                    <a:pt x="628" y="30"/>
                  </a:cubicBezTo>
                  <a:cubicBezTo>
                    <a:pt x="684" y="50"/>
                    <a:pt x="731" y="80"/>
                    <a:pt x="767" y="122"/>
                  </a:cubicBezTo>
                  <a:cubicBezTo>
                    <a:pt x="806" y="163"/>
                    <a:pt x="834" y="216"/>
                    <a:pt x="853" y="277"/>
                  </a:cubicBezTo>
                  <a:cubicBezTo>
                    <a:pt x="870" y="341"/>
                    <a:pt x="875" y="413"/>
                    <a:pt x="867" y="497"/>
                  </a:cubicBezTo>
                  <a:lnTo>
                    <a:pt x="186" y="352"/>
                  </a:lnTo>
                  <a:lnTo>
                    <a:pt x="186" y="352"/>
                  </a:lnTo>
                  <a:cubicBezTo>
                    <a:pt x="698" y="352"/>
                    <a:pt x="698" y="352"/>
                    <a:pt x="698" y="352"/>
                  </a:cubicBezTo>
                  <a:cubicBezTo>
                    <a:pt x="692" y="286"/>
                    <a:pt x="667" y="236"/>
                    <a:pt x="622" y="202"/>
                  </a:cubicBezTo>
                  <a:cubicBezTo>
                    <a:pt x="578" y="169"/>
                    <a:pt x="520" y="152"/>
                    <a:pt x="448" y="152"/>
                  </a:cubicBezTo>
                  <a:cubicBezTo>
                    <a:pt x="384" y="152"/>
                    <a:pt x="328" y="169"/>
                    <a:pt x="278"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6" name="Freeform 28">
              <a:extLst>
                <a:ext uri="{FF2B5EF4-FFF2-40B4-BE49-F238E27FC236}">
                  <a16:creationId xmlns:a16="http://schemas.microsoft.com/office/drawing/2014/main" id="{8288F8F9-9E4D-134A-99B6-CDD99B829A8B}"/>
                </a:ext>
              </a:extLst>
            </p:cNvPr>
            <p:cNvSpPr>
              <a:spLocks noChangeArrowheads="1"/>
            </p:cNvSpPr>
            <p:nvPr userDrawn="1"/>
          </p:nvSpPr>
          <p:spPr bwMode="auto">
            <a:xfrm>
              <a:off x="54975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4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9" y="147"/>
                    <a:pt x="127" y="111"/>
                  </a:cubicBezTo>
                  <a:cubicBezTo>
                    <a:pt x="166" y="75"/>
                    <a:pt x="211" y="48"/>
                    <a:pt x="264"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41" y="636"/>
                    <a:pt x="669" y="603"/>
                    <a:pt x="691" y="561"/>
                  </a:cubicBezTo>
                  <a:cubicBezTo>
                    <a:pt x="711" y="522"/>
                    <a:pt x="722" y="478"/>
                    <a:pt x="722" y="431"/>
                  </a:cubicBezTo>
                  <a:cubicBezTo>
                    <a:pt x="722" y="384"/>
                    <a:pt x="711" y="339"/>
                    <a:pt x="691" y="298"/>
                  </a:cubicBezTo>
                  <a:cubicBezTo>
                    <a:pt x="669" y="259"/>
                    <a:pt x="641"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7" name="Freeform 29">
              <a:extLst>
                <a:ext uri="{FF2B5EF4-FFF2-40B4-BE49-F238E27FC236}">
                  <a16:creationId xmlns:a16="http://schemas.microsoft.com/office/drawing/2014/main" id="{274353FC-31DB-5549-87F8-4A2A81EFD979}"/>
                </a:ext>
              </a:extLst>
            </p:cNvPr>
            <p:cNvSpPr>
              <a:spLocks noChangeArrowheads="1"/>
            </p:cNvSpPr>
            <p:nvPr userDrawn="1"/>
          </p:nvSpPr>
          <p:spPr bwMode="auto">
            <a:xfrm>
              <a:off x="5905500" y="3746500"/>
              <a:ext cx="293688" cy="301625"/>
            </a:xfrm>
            <a:custGeom>
              <a:avLst/>
              <a:gdLst>
                <a:gd name="T0" fmla="*/ 639 w 817"/>
                <a:gd name="T1" fmla="*/ 836 h 837"/>
                <a:gd name="T2" fmla="*/ 639 w 817"/>
                <a:gd name="T3" fmla="*/ 836 h 837"/>
                <a:gd name="T4" fmla="*/ 639 w 817"/>
                <a:gd name="T5" fmla="*/ 397 h 837"/>
                <a:gd name="T6" fmla="*/ 580 w 817"/>
                <a:gd name="T7" fmla="*/ 225 h 837"/>
                <a:gd name="T8" fmla="*/ 411 w 817"/>
                <a:gd name="T9" fmla="*/ 158 h 837"/>
                <a:gd name="T10" fmla="*/ 316 w 817"/>
                <a:gd name="T11" fmla="*/ 178 h 837"/>
                <a:gd name="T12" fmla="*/ 241 w 817"/>
                <a:gd name="T13" fmla="*/ 230 h 837"/>
                <a:gd name="T14" fmla="*/ 194 w 817"/>
                <a:gd name="T15" fmla="*/ 311 h 837"/>
                <a:gd name="T16" fmla="*/ 177 w 817"/>
                <a:gd name="T17" fmla="*/ 405 h 837"/>
                <a:gd name="T18" fmla="*/ 177 w 817"/>
                <a:gd name="T19" fmla="*/ 836 h 837"/>
                <a:gd name="T20" fmla="*/ 0 w 817"/>
                <a:gd name="T21" fmla="*/ 836 h 837"/>
                <a:gd name="T22" fmla="*/ 0 w 817"/>
                <a:gd name="T23" fmla="*/ 11 h 837"/>
                <a:gd name="T24" fmla="*/ 161 w 817"/>
                <a:gd name="T25" fmla="*/ 11 h 837"/>
                <a:gd name="T26" fmla="*/ 172 w 817"/>
                <a:gd name="T27" fmla="*/ 130 h 837"/>
                <a:gd name="T28" fmla="*/ 455 w 817"/>
                <a:gd name="T29" fmla="*/ 0 h 837"/>
                <a:gd name="T30" fmla="*/ 597 w 817"/>
                <a:gd name="T31" fmla="*/ 25 h 837"/>
                <a:gd name="T32" fmla="*/ 711 w 817"/>
                <a:gd name="T33" fmla="*/ 100 h 837"/>
                <a:gd name="T34" fmla="*/ 789 w 817"/>
                <a:gd name="T35" fmla="*/ 225 h 837"/>
                <a:gd name="T36" fmla="*/ 816 w 817"/>
                <a:gd name="T37" fmla="*/ 394 h 837"/>
                <a:gd name="T38" fmla="*/ 816 w 817"/>
                <a:gd name="T39" fmla="*/ 836 h 837"/>
                <a:gd name="T40" fmla="*/ 639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9" y="836"/>
                  </a:moveTo>
                  <a:lnTo>
                    <a:pt x="639" y="836"/>
                  </a:lnTo>
                  <a:cubicBezTo>
                    <a:pt x="639" y="397"/>
                    <a:pt x="639" y="397"/>
                    <a:pt x="639" y="397"/>
                  </a:cubicBezTo>
                  <a:cubicBezTo>
                    <a:pt x="639" y="325"/>
                    <a:pt x="619" y="266"/>
                    <a:pt x="580" y="225"/>
                  </a:cubicBezTo>
                  <a:cubicBezTo>
                    <a:pt x="541" y="180"/>
                    <a:pt x="486" y="158"/>
                    <a:pt x="411" y="158"/>
                  </a:cubicBezTo>
                  <a:cubicBezTo>
                    <a:pt x="377" y="158"/>
                    <a:pt x="344" y="166"/>
                    <a:pt x="316" y="178"/>
                  </a:cubicBezTo>
                  <a:cubicBezTo>
                    <a:pt x="286" y="192"/>
                    <a:pt x="261" y="208"/>
                    <a:pt x="241" y="230"/>
                  </a:cubicBezTo>
                  <a:cubicBezTo>
                    <a:pt x="222" y="255"/>
                    <a:pt x="205" y="280"/>
                    <a:pt x="194" y="311"/>
                  </a:cubicBezTo>
                  <a:cubicBezTo>
                    <a:pt x="183" y="341"/>
                    <a:pt x="177" y="372"/>
                    <a:pt x="177" y="405"/>
                  </a:cubicBezTo>
                  <a:cubicBezTo>
                    <a:pt x="177" y="836"/>
                    <a:pt x="177" y="836"/>
                    <a:pt x="177" y="836"/>
                  </a:cubicBezTo>
                  <a:cubicBezTo>
                    <a:pt x="0" y="836"/>
                    <a:pt x="0" y="836"/>
                    <a:pt x="0" y="836"/>
                  </a:cubicBezTo>
                  <a:cubicBezTo>
                    <a:pt x="0" y="11"/>
                    <a:pt x="0" y="11"/>
                    <a:pt x="0" y="11"/>
                  </a:cubicBezTo>
                  <a:cubicBezTo>
                    <a:pt x="161" y="11"/>
                    <a:pt x="161" y="11"/>
                    <a:pt x="161" y="11"/>
                  </a:cubicBezTo>
                  <a:cubicBezTo>
                    <a:pt x="172" y="130"/>
                    <a:pt x="172" y="130"/>
                    <a:pt x="172" y="130"/>
                  </a:cubicBezTo>
                  <a:cubicBezTo>
                    <a:pt x="250" y="42"/>
                    <a:pt x="344" y="0"/>
                    <a:pt x="455" y="0"/>
                  </a:cubicBezTo>
                  <a:cubicBezTo>
                    <a:pt x="505" y="0"/>
                    <a:pt x="552" y="8"/>
                    <a:pt x="597" y="25"/>
                  </a:cubicBezTo>
                  <a:cubicBezTo>
                    <a:pt x="641" y="42"/>
                    <a:pt x="680" y="66"/>
                    <a:pt x="711" y="100"/>
                  </a:cubicBezTo>
                  <a:cubicBezTo>
                    <a:pt x="744" y="133"/>
                    <a:pt x="769" y="175"/>
                    <a:pt x="789" y="225"/>
                  </a:cubicBezTo>
                  <a:cubicBezTo>
                    <a:pt x="808" y="275"/>
                    <a:pt x="816" y="330"/>
                    <a:pt x="816" y="394"/>
                  </a:cubicBezTo>
                  <a:cubicBezTo>
                    <a:pt x="816" y="836"/>
                    <a:pt x="816" y="836"/>
                    <a:pt x="816" y="836"/>
                  </a:cubicBezTo>
                  <a:lnTo>
                    <a:pt x="639"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8" name="Freeform 30">
              <a:extLst>
                <a:ext uri="{FF2B5EF4-FFF2-40B4-BE49-F238E27FC236}">
                  <a16:creationId xmlns:a16="http://schemas.microsoft.com/office/drawing/2014/main" id="{F782A6AE-CC62-714E-B942-7562D0C7A70D}"/>
                </a:ext>
              </a:extLst>
            </p:cNvPr>
            <p:cNvSpPr>
              <a:spLocks noChangeArrowheads="1"/>
            </p:cNvSpPr>
            <p:nvPr userDrawn="1"/>
          </p:nvSpPr>
          <p:spPr bwMode="auto">
            <a:xfrm>
              <a:off x="6251575"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9" name="Freeform 31">
              <a:extLst>
                <a:ext uri="{FF2B5EF4-FFF2-40B4-BE49-F238E27FC236}">
                  <a16:creationId xmlns:a16="http://schemas.microsoft.com/office/drawing/2014/main" id="{897CFE7D-07BA-C547-BCA5-BF0F26AEF64C}"/>
                </a:ext>
              </a:extLst>
            </p:cNvPr>
            <p:cNvSpPr>
              <a:spLocks noChangeArrowheads="1"/>
            </p:cNvSpPr>
            <p:nvPr userDrawn="1"/>
          </p:nvSpPr>
          <p:spPr bwMode="auto">
            <a:xfrm>
              <a:off x="6643688"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0" name="Freeform 32">
              <a:extLst>
                <a:ext uri="{FF2B5EF4-FFF2-40B4-BE49-F238E27FC236}">
                  <a16:creationId xmlns:a16="http://schemas.microsoft.com/office/drawing/2014/main" id="{36DE97C1-D4D9-5D44-AD49-6F177A46985A}"/>
                </a:ext>
              </a:extLst>
            </p:cNvPr>
            <p:cNvSpPr>
              <a:spLocks noChangeArrowheads="1"/>
            </p:cNvSpPr>
            <p:nvPr userDrawn="1"/>
          </p:nvSpPr>
          <p:spPr bwMode="auto">
            <a:xfrm>
              <a:off x="6897688" y="3743325"/>
              <a:ext cx="314325" cy="309563"/>
            </a:xfrm>
            <a:custGeom>
              <a:avLst/>
              <a:gdLst>
                <a:gd name="T0" fmla="*/ 436 w 873"/>
                <a:gd name="T1" fmla="*/ 0 h 860"/>
                <a:gd name="T2" fmla="*/ 436 w 873"/>
                <a:gd name="T3" fmla="*/ 0 h 860"/>
                <a:gd name="T4" fmla="*/ 611 w 873"/>
                <a:gd name="T5" fmla="*/ 34 h 860"/>
                <a:gd name="T6" fmla="*/ 750 w 873"/>
                <a:gd name="T7" fmla="*/ 125 h 860"/>
                <a:gd name="T8" fmla="*/ 842 w 873"/>
                <a:gd name="T9" fmla="*/ 261 h 860"/>
                <a:gd name="T10" fmla="*/ 872 w 873"/>
                <a:gd name="T11" fmla="*/ 431 h 860"/>
                <a:gd name="T12" fmla="*/ 842 w 873"/>
                <a:gd name="T13" fmla="*/ 600 h 860"/>
                <a:gd name="T14" fmla="*/ 753 w 873"/>
                <a:gd name="T15" fmla="*/ 736 h 860"/>
                <a:gd name="T16" fmla="*/ 614 w 873"/>
                <a:gd name="T17" fmla="*/ 825 h 860"/>
                <a:gd name="T18" fmla="*/ 436 w 873"/>
                <a:gd name="T19" fmla="*/ 859 h 860"/>
                <a:gd name="T20" fmla="*/ 256 w 873"/>
                <a:gd name="T21" fmla="*/ 825 h 860"/>
                <a:gd name="T22" fmla="*/ 119 w 873"/>
                <a:gd name="T23" fmla="*/ 736 h 860"/>
                <a:gd name="T24" fmla="*/ 31 w 873"/>
                <a:gd name="T25" fmla="*/ 600 h 860"/>
                <a:gd name="T26" fmla="*/ 0 w 873"/>
                <a:gd name="T27" fmla="*/ 431 h 860"/>
                <a:gd name="T28" fmla="*/ 31 w 873"/>
                <a:gd name="T29" fmla="*/ 261 h 860"/>
                <a:gd name="T30" fmla="*/ 119 w 873"/>
                <a:gd name="T31" fmla="*/ 125 h 860"/>
                <a:gd name="T32" fmla="*/ 258 w 873"/>
                <a:gd name="T33" fmla="*/ 34 h 860"/>
                <a:gd name="T34" fmla="*/ 436 w 873"/>
                <a:gd name="T35" fmla="*/ 0 h 860"/>
                <a:gd name="T36" fmla="*/ 436 w 873"/>
                <a:gd name="T37" fmla="*/ 161 h 860"/>
                <a:gd name="T38" fmla="*/ 436 w 873"/>
                <a:gd name="T39" fmla="*/ 161 h 860"/>
                <a:gd name="T40" fmla="*/ 328 w 873"/>
                <a:gd name="T41" fmla="*/ 184 h 860"/>
                <a:gd name="T42" fmla="*/ 247 w 873"/>
                <a:gd name="T43" fmla="*/ 242 h 860"/>
                <a:gd name="T44" fmla="*/ 194 w 873"/>
                <a:gd name="T45" fmla="*/ 328 h 860"/>
                <a:gd name="T46" fmla="*/ 178 w 873"/>
                <a:gd name="T47" fmla="*/ 431 h 860"/>
                <a:gd name="T48" fmla="*/ 194 w 873"/>
                <a:gd name="T49" fmla="*/ 536 h 860"/>
                <a:gd name="T50" fmla="*/ 247 w 873"/>
                <a:gd name="T51" fmla="*/ 620 h 860"/>
                <a:gd name="T52" fmla="*/ 328 w 873"/>
                <a:gd name="T53" fmla="*/ 678 h 860"/>
                <a:gd name="T54" fmla="*/ 436 w 873"/>
                <a:gd name="T55" fmla="*/ 698 h 860"/>
                <a:gd name="T56" fmla="*/ 544 w 873"/>
                <a:gd name="T57" fmla="*/ 678 h 860"/>
                <a:gd name="T58" fmla="*/ 625 w 873"/>
                <a:gd name="T59" fmla="*/ 620 h 860"/>
                <a:gd name="T60" fmla="*/ 678 w 873"/>
                <a:gd name="T61" fmla="*/ 536 h 860"/>
                <a:gd name="T62" fmla="*/ 694 w 873"/>
                <a:gd name="T63" fmla="*/ 431 h 860"/>
                <a:gd name="T64" fmla="*/ 675 w 873"/>
                <a:gd name="T65" fmla="*/ 328 h 860"/>
                <a:gd name="T66" fmla="*/ 622 w 873"/>
                <a:gd name="T67" fmla="*/ 242 h 860"/>
                <a:gd name="T68" fmla="*/ 542 w 873"/>
                <a:gd name="T69" fmla="*/ 184 h 860"/>
                <a:gd name="T70" fmla="*/ 436 w 873"/>
                <a:gd name="T71" fmla="*/ 161 h 860"/>
                <a:gd name="T72" fmla="*/ 436 w 873"/>
                <a:gd name="T73"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60">
                  <a:moveTo>
                    <a:pt x="436" y="0"/>
                  </a:moveTo>
                  <a:lnTo>
                    <a:pt x="436" y="0"/>
                  </a:lnTo>
                  <a:cubicBezTo>
                    <a:pt x="500" y="0"/>
                    <a:pt x="558" y="11"/>
                    <a:pt x="611" y="34"/>
                  </a:cubicBezTo>
                  <a:cubicBezTo>
                    <a:pt x="667" y="59"/>
                    <a:pt x="711" y="86"/>
                    <a:pt x="750" y="125"/>
                  </a:cubicBezTo>
                  <a:cubicBezTo>
                    <a:pt x="789" y="164"/>
                    <a:pt x="819" y="209"/>
                    <a:pt x="842" y="261"/>
                  </a:cubicBezTo>
                  <a:cubicBezTo>
                    <a:pt x="861" y="314"/>
                    <a:pt x="872" y="370"/>
                    <a:pt x="872" y="431"/>
                  </a:cubicBezTo>
                  <a:cubicBezTo>
                    <a:pt x="872" y="492"/>
                    <a:pt x="861" y="547"/>
                    <a:pt x="842" y="600"/>
                  </a:cubicBezTo>
                  <a:cubicBezTo>
                    <a:pt x="819" y="653"/>
                    <a:pt x="792" y="698"/>
                    <a:pt x="753" y="736"/>
                  </a:cubicBezTo>
                  <a:cubicBezTo>
                    <a:pt x="714" y="775"/>
                    <a:pt x="669" y="806"/>
                    <a:pt x="614" y="825"/>
                  </a:cubicBezTo>
                  <a:cubicBezTo>
                    <a:pt x="561" y="847"/>
                    <a:pt x="500" y="859"/>
                    <a:pt x="436" y="859"/>
                  </a:cubicBezTo>
                  <a:cubicBezTo>
                    <a:pt x="369" y="859"/>
                    <a:pt x="308" y="847"/>
                    <a:pt x="256" y="825"/>
                  </a:cubicBezTo>
                  <a:cubicBezTo>
                    <a:pt x="203" y="806"/>
                    <a:pt x="156" y="775"/>
                    <a:pt x="119" y="736"/>
                  </a:cubicBezTo>
                  <a:cubicBezTo>
                    <a:pt x="80" y="698"/>
                    <a:pt x="53" y="653"/>
                    <a:pt x="31" y="600"/>
                  </a:cubicBezTo>
                  <a:cubicBezTo>
                    <a:pt x="11" y="547"/>
                    <a:pt x="0" y="492"/>
                    <a:pt x="0" y="431"/>
                  </a:cubicBezTo>
                  <a:cubicBezTo>
                    <a:pt x="0" y="370"/>
                    <a:pt x="11" y="314"/>
                    <a:pt x="31" y="261"/>
                  </a:cubicBezTo>
                  <a:cubicBezTo>
                    <a:pt x="53" y="209"/>
                    <a:pt x="80" y="164"/>
                    <a:pt x="119" y="125"/>
                  </a:cubicBezTo>
                  <a:cubicBezTo>
                    <a:pt x="158" y="86"/>
                    <a:pt x="203" y="59"/>
                    <a:pt x="258" y="34"/>
                  </a:cubicBezTo>
                  <a:cubicBezTo>
                    <a:pt x="311" y="11"/>
                    <a:pt x="369" y="0"/>
                    <a:pt x="436" y="0"/>
                  </a:cubicBezTo>
                  <a:lnTo>
                    <a:pt x="436" y="161"/>
                  </a:lnTo>
                  <a:lnTo>
                    <a:pt x="436" y="161"/>
                  </a:lnTo>
                  <a:cubicBezTo>
                    <a:pt x="394" y="161"/>
                    <a:pt x="358" y="170"/>
                    <a:pt x="328" y="184"/>
                  </a:cubicBezTo>
                  <a:cubicBezTo>
                    <a:pt x="294" y="198"/>
                    <a:pt x="269" y="217"/>
                    <a:pt x="247" y="242"/>
                  </a:cubicBezTo>
                  <a:cubicBezTo>
                    <a:pt x="225" y="267"/>
                    <a:pt x="206" y="298"/>
                    <a:pt x="194" y="328"/>
                  </a:cubicBezTo>
                  <a:cubicBezTo>
                    <a:pt x="183" y="361"/>
                    <a:pt x="178" y="395"/>
                    <a:pt x="178" y="431"/>
                  </a:cubicBezTo>
                  <a:cubicBezTo>
                    <a:pt x="178" y="470"/>
                    <a:pt x="183" y="503"/>
                    <a:pt x="194" y="536"/>
                  </a:cubicBezTo>
                  <a:cubicBezTo>
                    <a:pt x="206" y="567"/>
                    <a:pt x="225" y="595"/>
                    <a:pt x="247" y="620"/>
                  </a:cubicBezTo>
                  <a:cubicBezTo>
                    <a:pt x="269" y="645"/>
                    <a:pt x="294" y="664"/>
                    <a:pt x="328" y="678"/>
                  </a:cubicBezTo>
                  <a:cubicBezTo>
                    <a:pt x="358" y="692"/>
                    <a:pt x="394" y="698"/>
                    <a:pt x="436" y="698"/>
                  </a:cubicBezTo>
                  <a:cubicBezTo>
                    <a:pt x="475" y="698"/>
                    <a:pt x="511" y="692"/>
                    <a:pt x="544" y="678"/>
                  </a:cubicBezTo>
                  <a:cubicBezTo>
                    <a:pt x="575" y="664"/>
                    <a:pt x="603" y="645"/>
                    <a:pt x="625" y="620"/>
                  </a:cubicBezTo>
                  <a:cubicBezTo>
                    <a:pt x="647" y="595"/>
                    <a:pt x="664" y="567"/>
                    <a:pt x="678" y="536"/>
                  </a:cubicBezTo>
                  <a:cubicBezTo>
                    <a:pt x="689" y="503"/>
                    <a:pt x="694" y="470"/>
                    <a:pt x="694" y="431"/>
                  </a:cubicBezTo>
                  <a:cubicBezTo>
                    <a:pt x="694" y="395"/>
                    <a:pt x="689" y="361"/>
                    <a:pt x="675" y="328"/>
                  </a:cubicBezTo>
                  <a:cubicBezTo>
                    <a:pt x="664" y="298"/>
                    <a:pt x="644" y="267"/>
                    <a:pt x="622" y="242"/>
                  </a:cubicBezTo>
                  <a:cubicBezTo>
                    <a:pt x="600" y="217"/>
                    <a:pt x="572" y="198"/>
                    <a:pt x="542" y="184"/>
                  </a:cubicBezTo>
                  <a:cubicBezTo>
                    <a:pt x="508" y="170"/>
                    <a:pt x="472" y="161"/>
                    <a:pt x="436" y="161"/>
                  </a:cubicBezTo>
                  <a:lnTo>
                    <a:pt x="43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1" name="Freeform 33">
              <a:extLst>
                <a:ext uri="{FF2B5EF4-FFF2-40B4-BE49-F238E27FC236}">
                  <a16:creationId xmlns:a16="http://schemas.microsoft.com/office/drawing/2014/main" id="{CAD1180B-782F-CA44-9537-DE1F113C3D6E}"/>
                </a:ext>
              </a:extLst>
            </p:cNvPr>
            <p:cNvSpPr>
              <a:spLocks noChangeArrowheads="1"/>
            </p:cNvSpPr>
            <p:nvPr userDrawn="1"/>
          </p:nvSpPr>
          <p:spPr bwMode="auto">
            <a:xfrm>
              <a:off x="7431088" y="3627438"/>
              <a:ext cx="323850" cy="427037"/>
            </a:xfrm>
            <a:custGeom>
              <a:avLst/>
              <a:gdLst>
                <a:gd name="T0" fmla="*/ 175 w 898"/>
                <a:gd name="T1" fmla="*/ 0 h 1185"/>
                <a:gd name="T2" fmla="*/ 175 w 898"/>
                <a:gd name="T3" fmla="*/ 0 h 1185"/>
                <a:gd name="T4" fmla="*/ 175 w 898"/>
                <a:gd name="T5" fmla="*/ 472 h 1185"/>
                <a:gd name="T6" fmla="*/ 231 w 898"/>
                <a:gd name="T7" fmla="*/ 409 h 1185"/>
                <a:gd name="T8" fmla="*/ 306 w 898"/>
                <a:gd name="T9" fmla="*/ 361 h 1185"/>
                <a:gd name="T10" fmla="*/ 389 w 898"/>
                <a:gd name="T11" fmla="*/ 334 h 1185"/>
                <a:gd name="T12" fmla="*/ 472 w 898"/>
                <a:gd name="T13" fmla="*/ 325 h 1185"/>
                <a:gd name="T14" fmla="*/ 639 w 898"/>
                <a:gd name="T15" fmla="*/ 353 h 1185"/>
                <a:gd name="T16" fmla="*/ 775 w 898"/>
                <a:gd name="T17" fmla="*/ 434 h 1185"/>
                <a:gd name="T18" fmla="*/ 867 w 898"/>
                <a:gd name="T19" fmla="*/ 570 h 1185"/>
                <a:gd name="T20" fmla="*/ 897 w 898"/>
                <a:gd name="T21" fmla="*/ 753 h 1185"/>
                <a:gd name="T22" fmla="*/ 864 w 898"/>
                <a:gd name="T23" fmla="*/ 936 h 1185"/>
                <a:gd name="T24" fmla="*/ 775 w 898"/>
                <a:gd name="T25" fmla="*/ 1072 h 1185"/>
                <a:gd name="T26" fmla="*/ 639 w 898"/>
                <a:gd name="T27" fmla="*/ 1156 h 1185"/>
                <a:gd name="T28" fmla="*/ 467 w 898"/>
                <a:gd name="T29" fmla="*/ 1184 h 1185"/>
                <a:gd name="T30" fmla="*/ 303 w 898"/>
                <a:gd name="T31" fmla="*/ 1150 h 1185"/>
                <a:gd name="T32" fmla="*/ 175 w 898"/>
                <a:gd name="T33" fmla="*/ 1036 h 1185"/>
                <a:gd name="T34" fmla="*/ 167 w 898"/>
                <a:gd name="T35" fmla="*/ 1167 h 1185"/>
                <a:gd name="T36" fmla="*/ 0 w 898"/>
                <a:gd name="T37" fmla="*/ 1167 h 1185"/>
                <a:gd name="T38" fmla="*/ 0 w 898"/>
                <a:gd name="T39" fmla="*/ 0 h 1185"/>
                <a:gd name="T40" fmla="*/ 175 w 898"/>
                <a:gd name="T41" fmla="*/ 0 h 1185"/>
                <a:gd name="T42" fmla="*/ 456 w 898"/>
                <a:gd name="T43" fmla="*/ 486 h 1185"/>
                <a:gd name="T44" fmla="*/ 456 w 898"/>
                <a:gd name="T45" fmla="*/ 486 h 1185"/>
                <a:gd name="T46" fmla="*/ 353 w 898"/>
                <a:gd name="T47" fmla="*/ 506 h 1185"/>
                <a:gd name="T48" fmla="*/ 267 w 898"/>
                <a:gd name="T49" fmla="*/ 559 h 1185"/>
                <a:gd name="T50" fmla="*/ 208 w 898"/>
                <a:gd name="T51" fmla="*/ 645 h 1185"/>
                <a:gd name="T52" fmla="*/ 186 w 898"/>
                <a:gd name="T53" fmla="*/ 753 h 1185"/>
                <a:gd name="T54" fmla="*/ 208 w 898"/>
                <a:gd name="T55" fmla="*/ 864 h 1185"/>
                <a:gd name="T56" fmla="*/ 267 w 898"/>
                <a:gd name="T57" fmla="*/ 950 h 1185"/>
                <a:gd name="T58" fmla="*/ 350 w 898"/>
                <a:gd name="T59" fmla="*/ 1003 h 1185"/>
                <a:gd name="T60" fmla="*/ 456 w 898"/>
                <a:gd name="T61" fmla="*/ 1023 h 1185"/>
                <a:gd name="T62" fmla="*/ 558 w 898"/>
                <a:gd name="T63" fmla="*/ 1006 h 1185"/>
                <a:gd name="T64" fmla="*/ 645 w 898"/>
                <a:gd name="T65" fmla="*/ 950 h 1185"/>
                <a:gd name="T66" fmla="*/ 700 w 898"/>
                <a:gd name="T67" fmla="*/ 867 h 1185"/>
                <a:gd name="T68" fmla="*/ 722 w 898"/>
                <a:gd name="T69" fmla="*/ 753 h 1185"/>
                <a:gd name="T70" fmla="*/ 700 w 898"/>
                <a:gd name="T71" fmla="*/ 639 h 1185"/>
                <a:gd name="T72" fmla="*/ 645 w 898"/>
                <a:gd name="T73" fmla="*/ 556 h 1185"/>
                <a:gd name="T74" fmla="*/ 558 w 898"/>
                <a:gd name="T75" fmla="*/ 503 h 1185"/>
                <a:gd name="T76" fmla="*/ 456 w 898"/>
                <a:gd name="T77" fmla="*/ 48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8" h="1185">
                  <a:moveTo>
                    <a:pt x="175" y="0"/>
                  </a:moveTo>
                  <a:lnTo>
                    <a:pt x="175" y="0"/>
                  </a:lnTo>
                  <a:cubicBezTo>
                    <a:pt x="175" y="472"/>
                    <a:pt x="175" y="472"/>
                    <a:pt x="175" y="472"/>
                  </a:cubicBezTo>
                  <a:cubicBezTo>
                    <a:pt x="189" y="448"/>
                    <a:pt x="208" y="425"/>
                    <a:pt x="231" y="409"/>
                  </a:cubicBezTo>
                  <a:cubicBezTo>
                    <a:pt x="253" y="389"/>
                    <a:pt x="278" y="373"/>
                    <a:pt x="306" y="361"/>
                  </a:cubicBezTo>
                  <a:cubicBezTo>
                    <a:pt x="334" y="350"/>
                    <a:pt x="361" y="339"/>
                    <a:pt x="389" y="334"/>
                  </a:cubicBezTo>
                  <a:cubicBezTo>
                    <a:pt x="417" y="328"/>
                    <a:pt x="445" y="325"/>
                    <a:pt x="472" y="325"/>
                  </a:cubicBezTo>
                  <a:cubicBezTo>
                    <a:pt x="531" y="325"/>
                    <a:pt x="589" y="334"/>
                    <a:pt x="639" y="353"/>
                  </a:cubicBezTo>
                  <a:cubicBezTo>
                    <a:pt x="692" y="370"/>
                    <a:pt x="739" y="397"/>
                    <a:pt x="775" y="434"/>
                  </a:cubicBezTo>
                  <a:cubicBezTo>
                    <a:pt x="814" y="470"/>
                    <a:pt x="845" y="514"/>
                    <a:pt x="867" y="570"/>
                  </a:cubicBezTo>
                  <a:cubicBezTo>
                    <a:pt x="886" y="623"/>
                    <a:pt x="897" y="684"/>
                    <a:pt x="897" y="753"/>
                  </a:cubicBezTo>
                  <a:cubicBezTo>
                    <a:pt x="897" y="823"/>
                    <a:pt x="886" y="884"/>
                    <a:pt x="864" y="936"/>
                  </a:cubicBezTo>
                  <a:cubicBezTo>
                    <a:pt x="842" y="989"/>
                    <a:pt x="811" y="1036"/>
                    <a:pt x="775" y="1072"/>
                  </a:cubicBezTo>
                  <a:cubicBezTo>
                    <a:pt x="736" y="1109"/>
                    <a:pt x="692" y="1136"/>
                    <a:pt x="639" y="1156"/>
                  </a:cubicBezTo>
                  <a:cubicBezTo>
                    <a:pt x="586" y="1175"/>
                    <a:pt x="531" y="1184"/>
                    <a:pt x="467" y="1184"/>
                  </a:cubicBezTo>
                  <a:cubicBezTo>
                    <a:pt x="411" y="1184"/>
                    <a:pt x="356" y="1172"/>
                    <a:pt x="303" y="1150"/>
                  </a:cubicBezTo>
                  <a:cubicBezTo>
                    <a:pt x="253" y="1128"/>
                    <a:pt x="208" y="1089"/>
                    <a:pt x="175" y="1036"/>
                  </a:cubicBezTo>
                  <a:cubicBezTo>
                    <a:pt x="167" y="1167"/>
                    <a:pt x="167" y="1167"/>
                    <a:pt x="167" y="1167"/>
                  </a:cubicBezTo>
                  <a:cubicBezTo>
                    <a:pt x="0" y="1167"/>
                    <a:pt x="0" y="1167"/>
                    <a:pt x="0" y="1167"/>
                  </a:cubicBezTo>
                  <a:cubicBezTo>
                    <a:pt x="0" y="0"/>
                    <a:pt x="0" y="0"/>
                    <a:pt x="0" y="0"/>
                  </a:cubicBezTo>
                  <a:lnTo>
                    <a:pt x="175" y="0"/>
                  </a:lnTo>
                  <a:close/>
                  <a:moveTo>
                    <a:pt x="456" y="486"/>
                  </a:moveTo>
                  <a:lnTo>
                    <a:pt x="456" y="486"/>
                  </a:lnTo>
                  <a:cubicBezTo>
                    <a:pt x="420" y="486"/>
                    <a:pt x="383" y="492"/>
                    <a:pt x="353" y="506"/>
                  </a:cubicBezTo>
                  <a:cubicBezTo>
                    <a:pt x="320" y="517"/>
                    <a:pt x="289" y="536"/>
                    <a:pt x="267" y="559"/>
                  </a:cubicBezTo>
                  <a:cubicBezTo>
                    <a:pt x="242" y="584"/>
                    <a:pt x="222" y="611"/>
                    <a:pt x="208" y="645"/>
                  </a:cubicBezTo>
                  <a:cubicBezTo>
                    <a:pt x="195" y="678"/>
                    <a:pt x="186" y="714"/>
                    <a:pt x="186" y="753"/>
                  </a:cubicBezTo>
                  <a:cubicBezTo>
                    <a:pt x="186" y="795"/>
                    <a:pt x="195" y="831"/>
                    <a:pt x="208" y="864"/>
                  </a:cubicBezTo>
                  <a:cubicBezTo>
                    <a:pt x="222" y="897"/>
                    <a:pt x="242" y="925"/>
                    <a:pt x="267" y="950"/>
                  </a:cubicBezTo>
                  <a:cubicBezTo>
                    <a:pt x="289" y="972"/>
                    <a:pt x="320" y="992"/>
                    <a:pt x="350" y="1003"/>
                  </a:cubicBezTo>
                  <a:cubicBezTo>
                    <a:pt x="383" y="1017"/>
                    <a:pt x="420" y="1023"/>
                    <a:pt x="456" y="1023"/>
                  </a:cubicBezTo>
                  <a:cubicBezTo>
                    <a:pt x="492" y="1023"/>
                    <a:pt x="528" y="1017"/>
                    <a:pt x="558" y="1006"/>
                  </a:cubicBezTo>
                  <a:cubicBezTo>
                    <a:pt x="592" y="992"/>
                    <a:pt x="620" y="975"/>
                    <a:pt x="645" y="950"/>
                  </a:cubicBezTo>
                  <a:cubicBezTo>
                    <a:pt x="667" y="928"/>
                    <a:pt x="686" y="900"/>
                    <a:pt x="700" y="867"/>
                  </a:cubicBezTo>
                  <a:cubicBezTo>
                    <a:pt x="714" y="834"/>
                    <a:pt x="722" y="795"/>
                    <a:pt x="722" y="753"/>
                  </a:cubicBezTo>
                  <a:cubicBezTo>
                    <a:pt x="722" y="711"/>
                    <a:pt x="714" y="672"/>
                    <a:pt x="700" y="639"/>
                  </a:cubicBezTo>
                  <a:cubicBezTo>
                    <a:pt x="686" y="609"/>
                    <a:pt x="667" y="581"/>
                    <a:pt x="645" y="556"/>
                  </a:cubicBezTo>
                  <a:cubicBezTo>
                    <a:pt x="620" y="534"/>
                    <a:pt x="592" y="517"/>
                    <a:pt x="558" y="503"/>
                  </a:cubicBezTo>
                  <a:cubicBezTo>
                    <a:pt x="528" y="492"/>
                    <a:pt x="492" y="486"/>
                    <a:pt x="456" y="486"/>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2" name="Freeform 34">
              <a:extLst>
                <a:ext uri="{FF2B5EF4-FFF2-40B4-BE49-F238E27FC236}">
                  <a16:creationId xmlns:a16="http://schemas.microsoft.com/office/drawing/2014/main" id="{8FC7084D-8F17-1E40-964A-6858DD031189}"/>
                </a:ext>
              </a:extLst>
            </p:cNvPr>
            <p:cNvSpPr>
              <a:spLocks noChangeArrowheads="1"/>
            </p:cNvSpPr>
            <p:nvPr userDrawn="1"/>
          </p:nvSpPr>
          <p:spPr bwMode="auto">
            <a:xfrm>
              <a:off x="7804150" y="3743325"/>
              <a:ext cx="315913"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5 w 876"/>
                <a:gd name="T11" fmla="*/ 680 h 864"/>
                <a:gd name="T12" fmla="*/ 703 w 876"/>
                <a:gd name="T13" fmla="*/ 616 h 864"/>
                <a:gd name="T14" fmla="*/ 817 w 876"/>
                <a:gd name="T15" fmla="*/ 724 h 864"/>
                <a:gd name="T16" fmla="*/ 742 w 876"/>
                <a:gd name="T17" fmla="*/ 786 h 864"/>
                <a:gd name="T18" fmla="*/ 653 w 876"/>
                <a:gd name="T19" fmla="*/ 830 h 864"/>
                <a:gd name="T20" fmla="*/ 556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5 w 876"/>
                <a:gd name="T35" fmla="*/ 119 h 864"/>
                <a:gd name="T36" fmla="*/ 264 w 876"/>
                <a:gd name="T37" fmla="*/ 30 h 864"/>
                <a:gd name="T38" fmla="*/ 445 w 876"/>
                <a:gd name="T39" fmla="*/ 0 h 864"/>
                <a:gd name="T40" fmla="*/ 628 w 876"/>
                <a:gd name="T41" fmla="*/ 30 h 864"/>
                <a:gd name="T42" fmla="*/ 770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3 w 876"/>
                <a:gd name="T55" fmla="*/ 202 h 864"/>
                <a:gd name="T56" fmla="*/ 450 w 876"/>
                <a:gd name="T57" fmla="*/ 152 h 864"/>
                <a:gd name="T58" fmla="*/ 281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20" y="686"/>
                    <a:pt x="381" y="705"/>
                    <a:pt x="459" y="705"/>
                  </a:cubicBezTo>
                  <a:cubicBezTo>
                    <a:pt x="503" y="705"/>
                    <a:pt x="548" y="697"/>
                    <a:pt x="595" y="680"/>
                  </a:cubicBezTo>
                  <a:cubicBezTo>
                    <a:pt x="642" y="666"/>
                    <a:pt x="678" y="644"/>
                    <a:pt x="703" y="616"/>
                  </a:cubicBezTo>
                  <a:cubicBezTo>
                    <a:pt x="817" y="724"/>
                    <a:pt x="817" y="724"/>
                    <a:pt x="817" y="724"/>
                  </a:cubicBezTo>
                  <a:cubicBezTo>
                    <a:pt x="798" y="747"/>
                    <a:pt x="770" y="769"/>
                    <a:pt x="742" y="786"/>
                  </a:cubicBezTo>
                  <a:cubicBezTo>
                    <a:pt x="714" y="802"/>
                    <a:pt x="684" y="819"/>
                    <a:pt x="653" y="830"/>
                  </a:cubicBezTo>
                  <a:cubicBezTo>
                    <a:pt x="623" y="841"/>
                    <a:pt x="589" y="849"/>
                    <a:pt x="556" y="855"/>
                  </a:cubicBezTo>
                  <a:cubicBezTo>
                    <a:pt x="520" y="861"/>
                    <a:pt x="486" y="863"/>
                    <a:pt x="456" y="863"/>
                  </a:cubicBezTo>
                  <a:cubicBezTo>
                    <a:pt x="386" y="863"/>
                    <a:pt x="323" y="855"/>
                    <a:pt x="267" y="833"/>
                  </a:cubicBezTo>
                  <a:cubicBezTo>
                    <a:pt x="212" y="813"/>
                    <a:pt x="164" y="783"/>
                    <a:pt x="125" y="747"/>
                  </a:cubicBezTo>
                  <a:cubicBezTo>
                    <a:pt x="86" y="708"/>
                    <a:pt x="56" y="661"/>
                    <a:pt x="34" y="608"/>
                  </a:cubicBezTo>
                  <a:cubicBezTo>
                    <a:pt x="12" y="552"/>
                    <a:pt x="0" y="494"/>
                    <a:pt x="0" y="427"/>
                  </a:cubicBezTo>
                  <a:cubicBezTo>
                    <a:pt x="0" y="366"/>
                    <a:pt x="12" y="308"/>
                    <a:pt x="34" y="255"/>
                  </a:cubicBezTo>
                  <a:cubicBezTo>
                    <a:pt x="56" y="202"/>
                    <a:pt x="86" y="158"/>
                    <a:pt x="125" y="119"/>
                  </a:cubicBezTo>
                  <a:cubicBezTo>
                    <a:pt x="164" y="80"/>
                    <a:pt x="209" y="52"/>
                    <a:pt x="264" y="30"/>
                  </a:cubicBezTo>
                  <a:cubicBezTo>
                    <a:pt x="317" y="8"/>
                    <a:pt x="378" y="0"/>
                    <a:pt x="445" y="0"/>
                  </a:cubicBezTo>
                  <a:cubicBezTo>
                    <a:pt x="511" y="0"/>
                    <a:pt x="573" y="8"/>
                    <a:pt x="628" y="30"/>
                  </a:cubicBezTo>
                  <a:cubicBezTo>
                    <a:pt x="684" y="50"/>
                    <a:pt x="731" y="80"/>
                    <a:pt x="770" y="122"/>
                  </a:cubicBezTo>
                  <a:cubicBezTo>
                    <a:pt x="809" y="163"/>
                    <a:pt x="836" y="216"/>
                    <a:pt x="853" y="277"/>
                  </a:cubicBezTo>
                  <a:cubicBezTo>
                    <a:pt x="870" y="341"/>
                    <a:pt x="875" y="413"/>
                    <a:pt x="867" y="497"/>
                  </a:cubicBezTo>
                  <a:lnTo>
                    <a:pt x="186" y="352"/>
                  </a:lnTo>
                  <a:lnTo>
                    <a:pt x="186" y="352"/>
                  </a:lnTo>
                  <a:cubicBezTo>
                    <a:pt x="698" y="352"/>
                    <a:pt x="698" y="352"/>
                    <a:pt x="698" y="352"/>
                  </a:cubicBezTo>
                  <a:cubicBezTo>
                    <a:pt x="692" y="286"/>
                    <a:pt x="667" y="236"/>
                    <a:pt x="623" y="202"/>
                  </a:cubicBezTo>
                  <a:cubicBezTo>
                    <a:pt x="578" y="169"/>
                    <a:pt x="520" y="152"/>
                    <a:pt x="450" y="152"/>
                  </a:cubicBezTo>
                  <a:cubicBezTo>
                    <a:pt x="384" y="152"/>
                    <a:pt x="328" y="169"/>
                    <a:pt x="281"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4" name="Freeform 36">
              <a:extLst>
                <a:ext uri="{FF2B5EF4-FFF2-40B4-BE49-F238E27FC236}">
                  <a16:creationId xmlns:a16="http://schemas.microsoft.com/office/drawing/2014/main" id="{239010D6-7A4A-A04B-8A14-10DC67DC9B37}"/>
                </a:ext>
              </a:extLst>
            </p:cNvPr>
            <p:cNvSpPr>
              <a:spLocks noChangeArrowheads="1"/>
            </p:cNvSpPr>
            <p:nvPr userDrawn="1"/>
          </p:nvSpPr>
          <p:spPr bwMode="auto">
            <a:xfrm>
              <a:off x="6570663" y="3024188"/>
              <a:ext cx="77787" cy="76200"/>
            </a:xfrm>
            <a:custGeom>
              <a:avLst/>
              <a:gdLst>
                <a:gd name="T0" fmla="*/ 0 w 218"/>
                <a:gd name="T1" fmla="*/ 106 h 213"/>
                <a:gd name="T2" fmla="*/ 0 w 218"/>
                <a:gd name="T3" fmla="*/ 106 h 213"/>
                <a:gd name="T4" fmla="*/ 33 w 218"/>
                <a:gd name="T5" fmla="*/ 25 h 213"/>
                <a:gd name="T6" fmla="*/ 108 w 218"/>
                <a:gd name="T7" fmla="*/ 0 h 213"/>
                <a:gd name="T8" fmla="*/ 183 w 218"/>
                <a:gd name="T9" fmla="*/ 25 h 213"/>
                <a:gd name="T10" fmla="*/ 217 w 218"/>
                <a:gd name="T11" fmla="*/ 106 h 213"/>
                <a:gd name="T12" fmla="*/ 183 w 218"/>
                <a:gd name="T13" fmla="*/ 184 h 213"/>
                <a:gd name="T14" fmla="*/ 108 w 218"/>
                <a:gd name="T15" fmla="*/ 212 h 213"/>
                <a:gd name="T16" fmla="*/ 33 w 218"/>
                <a:gd name="T17" fmla="*/ 184 h 213"/>
                <a:gd name="T18" fmla="*/ 0 w 218"/>
                <a:gd name="T19" fmla="*/ 10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3">
                  <a:moveTo>
                    <a:pt x="0" y="106"/>
                  </a:moveTo>
                  <a:lnTo>
                    <a:pt x="0" y="106"/>
                  </a:lnTo>
                  <a:cubicBezTo>
                    <a:pt x="0" y="70"/>
                    <a:pt x="11" y="42"/>
                    <a:pt x="33" y="25"/>
                  </a:cubicBezTo>
                  <a:cubicBezTo>
                    <a:pt x="56" y="9"/>
                    <a:pt x="80" y="0"/>
                    <a:pt x="108" y="0"/>
                  </a:cubicBezTo>
                  <a:cubicBezTo>
                    <a:pt x="136" y="0"/>
                    <a:pt x="161" y="9"/>
                    <a:pt x="183" y="25"/>
                  </a:cubicBezTo>
                  <a:cubicBezTo>
                    <a:pt x="206" y="42"/>
                    <a:pt x="217" y="70"/>
                    <a:pt x="217" y="106"/>
                  </a:cubicBezTo>
                  <a:cubicBezTo>
                    <a:pt x="217" y="139"/>
                    <a:pt x="206" y="167"/>
                    <a:pt x="183" y="184"/>
                  </a:cubicBezTo>
                  <a:cubicBezTo>
                    <a:pt x="161" y="203"/>
                    <a:pt x="136" y="212"/>
                    <a:pt x="108" y="212"/>
                  </a:cubicBezTo>
                  <a:cubicBezTo>
                    <a:pt x="80" y="212"/>
                    <a:pt x="56" y="203"/>
                    <a:pt x="33" y="184"/>
                  </a:cubicBezTo>
                  <a:cubicBezTo>
                    <a:pt x="11" y="167"/>
                    <a:pt x="0" y="139"/>
                    <a:pt x="0" y="106"/>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5" name="Freeform 37">
              <a:extLst>
                <a:ext uri="{FF2B5EF4-FFF2-40B4-BE49-F238E27FC236}">
                  <a16:creationId xmlns:a16="http://schemas.microsoft.com/office/drawing/2014/main" id="{081ED96C-9800-784E-A107-02AF481AA11A}"/>
                </a:ext>
              </a:extLst>
            </p:cNvPr>
            <p:cNvSpPr>
              <a:spLocks noChangeArrowheads="1"/>
            </p:cNvSpPr>
            <p:nvPr userDrawn="1"/>
          </p:nvSpPr>
          <p:spPr bwMode="auto">
            <a:xfrm>
              <a:off x="2690813" y="3625850"/>
              <a:ext cx="79375" cy="77788"/>
            </a:xfrm>
            <a:custGeom>
              <a:avLst/>
              <a:gdLst>
                <a:gd name="T0" fmla="*/ 0 w 221"/>
                <a:gd name="T1" fmla="*/ 105 h 215"/>
                <a:gd name="T2" fmla="*/ 0 w 221"/>
                <a:gd name="T3" fmla="*/ 105 h 215"/>
                <a:gd name="T4" fmla="*/ 34 w 221"/>
                <a:gd name="T5" fmla="*/ 28 h 215"/>
                <a:gd name="T6" fmla="*/ 111 w 221"/>
                <a:gd name="T7" fmla="*/ 0 h 215"/>
                <a:gd name="T8" fmla="*/ 186 w 221"/>
                <a:gd name="T9" fmla="*/ 28 h 215"/>
                <a:gd name="T10" fmla="*/ 220 w 221"/>
                <a:gd name="T11" fmla="*/ 105 h 215"/>
                <a:gd name="T12" fmla="*/ 186 w 221"/>
                <a:gd name="T13" fmla="*/ 186 h 215"/>
                <a:gd name="T14" fmla="*/ 111 w 221"/>
                <a:gd name="T15" fmla="*/ 214 h 215"/>
                <a:gd name="T16" fmla="*/ 34 w 221"/>
                <a:gd name="T17" fmla="*/ 186 h 215"/>
                <a:gd name="T18" fmla="*/ 0 w 221"/>
                <a:gd name="T19" fmla="*/ 10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215">
                  <a:moveTo>
                    <a:pt x="0" y="105"/>
                  </a:moveTo>
                  <a:lnTo>
                    <a:pt x="0" y="105"/>
                  </a:lnTo>
                  <a:cubicBezTo>
                    <a:pt x="0" y="69"/>
                    <a:pt x="11" y="44"/>
                    <a:pt x="34" y="28"/>
                  </a:cubicBezTo>
                  <a:cubicBezTo>
                    <a:pt x="59" y="8"/>
                    <a:pt x="84" y="0"/>
                    <a:pt x="111" y="0"/>
                  </a:cubicBezTo>
                  <a:cubicBezTo>
                    <a:pt x="136" y="0"/>
                    <a:pt x="161" y="8"/>
                    <a:pt x="186" y="28"/>
                  </a:cubicBezTo>
                  <a:cubicBezTo>
                    <a:pt x="209" y="44"/>
                    <a:pt x="220" y="69"/>
                    <a:pt x="220" y="105"/>
                  </a:cubicBezTo>
                  <a:cubicBezTo>
                    <a:pt x="220" y="141"/>
                    <a:pt x="209" y="169"/>
                    <a:pt x="186" y="186"/>
                  </a:cubicBezTo>
                  <a:cubicBezTo>
                    <a:pt x="161" y="202"/>
                    <a:pt x="136" y="214"/>
                    <a:pt x="111" y="214"/>
                  </a:cubicBezTo>
                  <a:cubicBezTo>
                    <a:pt x="84" y="214"/>
                    <a:pt x="59" y="202"/>
                    <a:pt x="34" y="186"/>
                  </a:cubicBezTo>
                  <a:cubicBezTo>
                    <a:pt x="11" y="169"/>
                    <a:pt x="0" y="141"/>
                    <a:pt x="0" y="105"/>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Tree>
    <p:extLst>
      <p:ext uri="{BB962C8B-B14F-4D97-AF65-F5344CB8AC3E}">
        <p14:creationId xmlns:p14="http://schemas.microsoft.com/office/powerpoint/2010/main" val="395140261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digo-Cover_Arrow-light">
    <p:spTree>
      <p:nvGrpSpPr>
        <p:cNvPr id="1" name=""/>
        <p:cNvGrpSpPr/>
        <p:nvPr/>
      </p:nvGrpSpPr>
      <p:grpSpPr>
        <a:xfrm>
          <a:off x="0" y="0"/>
          <a:ext cx="0" cy="0"/>
          <a:chOff x="0" y="0"/>
          <a:chExt cx="0" cy="0"/>
        </a:xfrm>
      </p:grpSpPr>
      <p:sp>
        <p:nvSpPr>
          <p:cNvPr id="78" name="Freeform 2">
            <a:extLst>
              <a:ext uri="{FF2B5EF4-FFF2-40B4-BE49-F238E27FC236}">
                <a16:creationId xmlns:a16="http://schemas.microsoft.com/office/drawing/2014/main" id="{DF2C6C9B-BAA4-E345-AF33-5A559F50B896}"/>
              </a:ext>
            </a:extLst>
          </p:cNvPr>
          <p:cNvSpPr>
            <a:spLocks noChangeArrowheads="1"/>
          </p:cNvSpPr>
          <p:nvPr/>
        </p:nvSpPr>
        <p:spPr bwMode="auto">
          <a:xfrm>
            <a:off x="-2739395" y="1245791"/>
            <a:ext cx="7355301" cy="7201375"/>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4" name="Title 1">
            <a:extLst>
              <a:ext uri="{FF2B5EF4-FFF2-40B4-BE49-F238E27FC236}">
                <a16:creationId xmlns:a16="http://schemas.microsoft.com/office/drawing/2014/main" id="{FCFEA4AF-DDE1-3B4C-85B8-C1A1D78F60B0}"/>
              </a:ext>
            </a:extLst>
          </p:cNvPr>
          <p:cNvSpPr>
            <a:spLocks noGrp="1"/>
          </p:cNvSpPr>
          <p:nvPr>
            <p:ph type="title" hasCustomPrompt="1"/>
          </p:nvPr>
        </p:nvSpPr>
        <p:spPr>
          <a:xfrm>
            <a:off x="1" y="3147825"/>
            <a:ext cx="3455988" cy="1187449"/>
          </a:xfrm>
          <a:prstGeom prst="rect">
            <a:avLst/>
          </a:prstGeom>
        </p:spPr>
        <p:txBody>
          <a:bodyPr lIns="432000" tIns="180000" rIns="72000" bIns="0"/>
          <a:lstStyle>
            <a:lvl1pPr>
              <a:defRPr lang="pl-PL" dirty="0"/>
            </a:lvl1pPr>
          </a:lstStyle>
          <a:p>
            <a:pPr lvl="0"/>
            <a:r>
              <a:rPr lang="en-US" noProof="0"/>
              <a:t>Presentation title</a:t>
            </a:r>
          </a:p>
        </p:txBody>
      </p:sp>
      <p:grpSp>
        <p:nvGrpSpPr>
          <p:cNvPr id="33" name="Group 32">
            <a:extLst>
              <a:ext uri="{FF2B5EF4-FFF2-40B4-BE49-F238E27FC236}">
                <a16:creationId xmlns:a16="http://schemas.microsoft.com/office/drawing/2014/main" id="{4B2B9ED4-4DFA-EB49-939D-3F245C247D48}"/>
              </a:ext>
            </a:extLst>
          </p:cNvPr>
          <p:cNvGrpSpPr/>
          <p:nvPr userDrawn="1"/>
        </p:nvGrpSpPr>
        <p:grpSpPr>
          <a:xfrm>
            <a:off x="7019217" y="4447762"/>
            <a:ext cx="1692983" cy="279387"/>
            <a:chOff x="1828800" y="3017838"/>
            <a:chExt cx="6291263" cy="1038225"/>
          </a:xfrm>
        </p:grpSpPr>
        <p:sp>
          <p:nvSpPr>
            <p:cNvPr id="34" name="Freeform 1">
              <a:extLst>
                <a:ext uri="{FF2B5EF4-FFF2-40B4-BE49-F238E27FC236}">
                  <a16:creationId xmlns:a16="http://schemas.microsoft.com/office/drawing/2014/main" id="{668DE3C6-9435-F84B-8EE5-06AB30A25176}"/>
                </a:ext>
              </a:extLst>
            </p:cNvPr>
            <p:cNvSpPr>
              <a:spLocks noChangeArrowheads="1"/>
            </p:cNvSpPr>
            <p:nvPr userDrawn="1"/>
          </p:nvSpPr>
          <p:spPr bwMode="auto">
            <a:xfrm>
              <a:off x="1831975" y="3017838"/>
              <a:ext cx="388938" cy="438150"/>
            </a:xfrm>
            <a:custGeom>
              <a:avLst/>
              <a:gdLst>
                <a:gd name="T0" fmla="*/ 1081 w 1082"/>
                <a:gd name="T1" fmla="*/ 1042 h 1215"/>
                <a:gd name="T2" fmla="*/ 1081 w 1082"/>
                <a:gd name="T3" fmla="*/ 1042 h 1215"/>
                <a:gd name="T4" fmla="*/ 873 w 1082"/>
                <a:gd name="T5" fmla="*/ 1172 h 1215"/>
                <a:gd name="T6" fmla="*/ 631 w 1082"/>
                <a:gd name="T7" fmla="*/ 1214 h 1215"/>
                <a:gd name="T8" fmla="*/ 350 w 1082"/>
                <a:gd name="T9" fmla="*/ 1164 h 1215"/>
                <a:gd name="T10" fmla="*/ 153 w 1082"/>
                <a:gd name="T11" fmla="*/ 1028 h 1215"/>
                <a:gd name="T12" fmla="*/ 39 w 1082"/>
                <a:gd name="T13" fmla="*/ 836 h 1215"/>
                <a:gd name="T14" fmla="*/ 0 w 1082"/>
                <a:gd name="T15" fmla="*/ 614 h 1215"/>
                <a:gd name="T16" fmla="*/ 39 w 1082"/>
                <a:gd name="T17" fmla="*/ 389 h 1215"/>
                <a:gd name="T18" fmla="*/ 156 w 1082"/>
                <a:gd name="T19" fmla="*/ 192 h 1215"/>
                <a:gd name="T20" fmla="*/ 353 w 1082"/>
                <a:gd name="T21" fmla="*/ 53 h 1215"/>
                <a:gd name="T22" fmla="*/ 631 w 1082"/>
                <a:gd name="T23" fmla="*/ 0 h 1215"/>
                <a:gd name="T24" fmla="*/ 864 w 1082"/>
                <a:gd name="T25" fmla="*/ 44 h 1215"/>
                <a:gd name="T26" fmla="*/ 1070 w 1082"/>
                <a:gd name="T27" fmla="*/ 178 h 1215"/>
                <a:gd name="T28" fmla="*/ 942 w 1082"/>
                <a:gd name="T29" fmla="*/ 297 h 1215"/>
                <a:gd name="T30" fmla="*/ 795 w 1082"/>
                <a:gd name="T31" fmla="*/ 206 h 1215"/>
                <a:gd name="T32" fmla="*/ 631 w 1082"/>
                <a:gd name="T33" fmla="*/ 178 h 1215"/>
                <a:gd name="T34" fmla="*/ 434 w 1082"/>
                <a:gd name="T35" fmla="*/ 214 h 1215"/>
                <a:gd name="T36" fmla="*/ 298 w 1082"/>
                <a:gd name="T37" fmla="*/ 314 h 1215"/>
                <a:gd name="T38" fmla="*/ 217 w 1082"/>
                <a:gd name="T39" fmla="*/ 453 h 1215"/>
                <a:gd name="T40" fmla="*/ 192 w 1082"/>
                <a:gd name="T41" fmla="*/ 614 h 1215"/>
                <a:gd name="T42" fmla="*/ 217 w 1082"/>
                <a:gd name="T43" fmla="*/ 769 h 1215"/>
                <a:gd name="T44" fmla="*/ 295 w 1082"/>
                <a:gd name="T45" fmla="*/ 906 h 1215"/>
                <a:gd name="T46" fmla="*/ 434 w 1082"/>
                <a:gd name="T47" fmla="*/ 1003 h 1215"/>
                <a:gd name="T48" fmla="*/ 631 w 1082"/>
                <a:gd name="T49" fmla="*/ 1039 h 1215"/>
                <a:gd name="T50" fmla="*/ 800 w 1082"/>
                <a:gd name="T51" fmla="*/ 1008 h 1215"/>
                <a:gd name="T52" fmla="*/ 950 w 1082"/>
                <a:gd name="T53" fmla="*/ 911 h 1215"/>
                <a:gd name="T54" fmla="*/ 1081 w 1082"/>
                <a:gd name="T55" fmla="*/ 1042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2" h="1215">
                  <a:moveTo>
                    <a:pt x="1081" y="1042"/>
                  </a:moveTo>
                  <a:lnTo>
                    <a:pt x="1081" y="1042"/>
                  </a:lnTo>
                  <a:cubicBezTo>
                    <a:pt x="1020" y="1100"/>
                    <a:pt x="950" y="1144"/>
                    <a:pt x="873" y="1172"/>
                  </a:cubicBezTo>
                  <a:cubicBezTo>
                    <a:pt x="798" y="1200"/>
                    <a:pt x="717" y="1214"/>
                    <a:pt x="631" y="1214"/>
                  </a:cubicBezTo>
                  <a:cubicBezTo>
                    <a:pt x="523" y="1214"/>
                    <a:pt x="431" y="1197"/>
                    <a:pt x="350" y="1164"/>
                  </a:cubicBezTo>
                  <a:cubicBezTo>
                    <a:pt x="273" y="1130"/>
                    <a:pt x="206" y="1086"/>
                    <a:pt x="153" y="1028"/>
                  </a:cubicBezTo>
                  <a:cubicBezTo>
                    <a:pt x="103" y="972"/>
                    <a:pt x="64" y="908"/>
                    <a:pt x="39" y="836"/>
                  </a:cubicBezTo>
                  <a:cubicBezTo>
                    <a:pt x="14" y="764"/>
                    <a:pt x="0" y="692"/>
                    <a:pt x="0" y="614"/>
                  </a:cubicBezTo>
                  <a:cubicBezTo>
                    <a:pt x="0" y="536"/>
                    <a:pt x="14" y="461"/>
                    <a:pt x="39" y="389"/>
                  </a:cubicBezTo>
                  <a:cubicBezTo>
                    <a:pt x="67" y="314"/>
                    <a:pt x="103" y="250"/>
                    <a:pt x="156" y="192"/>
                  </a:cubicBezTo>
                  <a:cubicBezTo>
                    <a:pt x="209" y="133"/>
                    <a:pt x="273" y="89"/>
                    <a:pt x="353" y="53"/>
                  </a:cubicBezTo>
                  <a:cubicBezTo>
                    <a:pt x="431" y="17"/>
                    <a:pt x="525" y="0"/>
                    <a:pt x="631" y="0"/>
                  </a:cubicBezTo>
                  <a:cubicBezTo>
                    <a:pt x="711" y="0"/>
                    <a:pt x="789" y="14"/>
                    <a:pt x="864" y="44"/>
                  </a:cubicBezTo>
                  <a:cubicBezTo>
                    <a:pt x="939" y="72"/>
                    <a:pt x="1009" y="117"/>
                    <a:pt x="1070" y="178"/>
                  </a:cubicBezTo>
                  <a:cubicBezTo>
                    <a:pt x="942" y="297"/>
                    <a:pt x="942" y="297"/>
                    <a:pt x="942" y="297"/>
                  </a:cubicBezTo>
                  <a:cubicBezTo>
                    <a:pt x="898" y="256"/>
                    <a:pt x="850" y="225"/>
                    <a:pt x="795" y="206"/>
                  </a:cubicBezTo>
                  <a:cubicBezTo>
                    <a:pt x="742" y="186"/>
                    <a:pt x="686" y="178"/>
                    <a:pt x="631" y="178"/>
                  </a:cubicBezTo>
                  <a:cubicBezTo>
                    <a:pt x="556" y="178"/>
                    <a:pt x="489" y="189"/>
                    <a:pt x="434" y="214"/>
                  </a:cubicBezTo>
                  <a:cubicBezTo>
                    <a:pt x="378" y="239"/>
                    <a:pt x="334" y="272"/>
                    <a:pt x="298" y="314"/>
                  </a:cubicBezTo>
                  <a:cubicBezTo>
                    <a:pt x="261" y="356"/>
                    <a:pt x="234" y="400"/>
                    <a:pt x="217" y="453"/>
                  </a:cubicBezTo>
                  <a:cubicBezTo>
                    <a:pt x="200" y="506"/>
                    <a:pt x="192" y="558"/>
                    <a:pt x="192" y="614"/>
                  </a:cubicBezTo>
                  <a:cubicBezTo>
                    <a:pt x="192" y="667"/>
                    <a:pt x="200" y="719"/>
                    <a:pt x="217" y="769"/>
                  </a:cubicBezTo>
                  <a:cubicBezTo>
                    <a:pt x="234" y="822"/>
                    <a:pt x="261" y="867"/>
                    <a:pt x="295" y="906"/>
                  </a:cubicBezTo>
                  <a:cubicBezTo>
                    <a:pt x="331" y="947"/>
                    <a:pt x="378" y="978"/>
                    <a:pt x="434" y="1003"/>
                  </a:cubicBezTo>
                  <a:cubicBezTo>
                    <a:pt x="489" y="1028"/>
                    <a:pt x="553" y="1039"/>
                    <a:pt x="631" y="1039"/>
                  </a:cubicBezTo>
                  <a:cubicBezTo>
                    <a:pt x="686" y="1039"/>
                    <a:pt x="745" y="1028"/>
                    <a:pt x="800" y="1008"/>
                  </a:cubicBezTo>
                  <a:cubicBezTo>
                    <a:pt x="859" y="986"/>
                    <a:pt x="906" y="953"/>
                    <a:pt x="950" y="911"/>
                  </a:cubicBezTo>
                  <a:lnTo>
                    <a:pt x="1081" y="104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5" name="Freeform 2">
              <a:extLst>
                <a:ext uri="{FF2B5EF4-FFF2-40B4-BE49-F238E27FC236}">
                  <a16:creationId xmlns:a16="http://schemas.microsoft.com/office/drawing/2014/main" id="{C493F1EF-D6F4-6D4E-A1FD-6E3D9CD1D6D4}"/>
                </a:ext>
              </a:extLst>
            </p:cNvPr>
            <p:cNvSpPr>
              <a:spLocks noChangeArrowheads="1"/>
            </p:cNvSpPr>
            <p:nvPr userDrawn="1"/>
          </p:nvSpPr>
          <p:spPr bwMode="auto">
            <a:xfrm>
              <a:off x="2268538" y="3149600"/>
              <a:ext cx="293687" cy="301625"/>
            </a:xfrm>
            <a:custGeom>
              <a:avLst/>
              <a:gdLst>
                <a:gd name="T0" fmla="*/ 175 w 815"/>
                <a:gd name="T1" fmla="*/ 0 h 837"/>
                <a:gd name="T2" fmla="*/ 175 w 815"/>
                <a:gd name="T3" fmla="*/ 0 h 837"/>
                <a:gd name="T4" fmla="*/ 175 w 815"/>
                <a:gd name="T5" fmla="*/ 439 h 837"/>
                <a:gd name="T6" fmla="*/ 233 w 815"/>
                <a:gd name="T7" fmla="*/ 611 h 837"/>
                <a:gd name="T8" fmla="*/ 406 w 815"/>
                <a:gd name="T9" fmla="*/ 675 h 837"/>
                <a:gd name="T10" fmla="*/ 500 w 815"/>
                <a:gd name="T11" fmla="*/ 658 h 837"/>
                <a:gd name="T12" fmla="*/ 572 w 815"/>
                <a:gd name="T13" fmla="*/ 602 h 837"/>
                <a:gd name="T14" fmla="*/ 622 w 815"/>
                <a:gd name="T15" fmla="*/ 525 h 837"/>
                <a:gd name="T16" fmla="*/ 639 w 815"/>
                <a:gd name="T17" fmla="*/ 427 h 837"/>
                <a:gd name="T18" fmla="*/ 639 w 815"/>
                <a:gd name="T19" fmla="*/ 0 h 837"/>
                <a:gd name="T20" fmla="*/ 814 w 815"/>
                <a:gd name="T21" fmla="*/ 0 h 837"/>
                <a:gd name="T22" fmla="*/ 814 w 815"/>
                <a:gd name="T23" fmla="*/ 825 h 837"/>
                <a:gd name="T24" fmla="*/ 656 w 815"/>
                <a:gd name="T25" fmla="*/ 825 h 837"/>
                <a:gd name="T26" fmla="*/ 645 w 815"/>
                <a:gd name="T27" fmla="*/ 702 h 837"/>
                <a:gd name="T28" fmla="*/ 514 w 815"/>
                <a:gd name="T29" fmla="*/ 805 h 837"/>
                <a:gd name="T30" fmla="*/ 356 w 815"/>
                <a:gd name="T31" fmla="*/ 836 h 837"/>
                <a:gd name="T32" fmla="*/ 211 w 815"/>
                <a:gd name="T33" fmla="*/ 811 h 837"/>
                <a:gd name="T34" fmla="*/ 100 w 815"/>
                <a:gd name="T35" fmla="*/ 733 h 837"/>
                <a:gd name="T36" fmla="*/ 25 w 815"/>
                <a:gd name="T37" fmla="*/ 608 h 837"/>
                <a:gd name="T38" fmla="*/ 0 w 815"/>
                <a:gd name="T39" fmla="*/ 441 h 837"/>
                <a:gd name="T40" fmla="*/ 0 w 815"/>
                <a:gd name="T41" fmla="*/ 0 h 837"/>
                <a:gd name="T42" fmla="*/ 175 w 815"/>
                <a:gd name="T43" fmla="*/ 0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5" h="837">
                  <a:moveTo>
                    <a:pt x="175" y="0"/>
                  </a:moveTo>
                  <a:lnTo>
                    <a:pt x="175" y="0"/>
                  </a:lnTo>
                  <a:cubicBezTo>
                    <a:pt x="175" y="439"/>
                    <a:pt x="175" y="439"/>
                    <a:pt x="175" y="439"/>
                  </a:cubicBezTo>
                  <a:cubicBezTo>
                    <a:pt x="175" y="508"/>
                    <a:pt x="195" y="566"/>
                    <a:pt x="233" y="611"/>
                  </a:cubicBezTo>
                  <a:cubicBezTo>
                    <a:pt x="275" y="655"/>
                    <a:pt x="331" y="675"/>
                    <a:pt x="406" y="675"/>
                  </a:cubicBezTo>
                  <a:cubicBezTo>
                    <a:pt x="439" y="675"/>
                    <a:pt x="470" y="669"/>
                    <a:pt x="500" y="658"/>
                  </a:cubicBezTo>
                  <a:cubicBezTo>
                    <a:pt x="528" y="644"/>
                    <a:pt x="553" y="627"/>
                    <a:pt x="572" y="602"/>
                  </a:cubicBezTo>
                  <a:cubicBezTo>
                    <a:pt x="595" y="580"/>
                    <a:pt x="611" y="555"/>
                    <a:pt x="622" y="525"/>
                  </a:cubicBezTo>
                  <a:cubicBezTo>
                    <a:pt x="633" y="494"/>
                    <a:pt x="639" y="461"/>
                    <a:pt x="639" y="427"/>
                  </a:cubicBezTo>
                  <a:cubicBezTo>
                    <a:pt x="639" y="0"/>
                    <a:pt x="639" y="0"/>
                    <a:pt x="639" y="0"/>
                  </a:cubicBezTo>
                  <a:cubicBezTo>
                    <a:pt x="814" y="0"/>
                    <a:pt x="814" y="0"/>
                    <a:pt x="814" y="0"/>
                  </a:cubicBezTo>
                  <a:cubicBezTo>
                    <a:pt x="814" y="825"/>
                    <a:pt x="814" y="825"/>
                    <a:pt x="814" y="825"/>
                  </a:cubicBezTo>
                  <a:cubicBezTo>
                    <a:pt x="656" y="825"/>
                    <a:pt x="656" y="825"/>
                    <a:pt x="656" y="825"/>
                  </a:cubicBezTo>
                  <a:cubicBezTo>
                    <a:pt x="645" y="702"/>
                    <a:pt x="645" y="702"/>
                    <a:pt x="645" y="702"/>
                  </a:cubicBezTo>
                  <a:cubicBezTo>
                    <a:pt x="603" y="750"/>
                    <a:pt x="561" y="783"/>
                    <a:pt x="514" y="805"/>
                  </a:cubicBezTo>
                  <a:cubicBezTo>
                    <a:pt x="467" y="825"/>
                    <a:pt x="414" y="836"/>
                    <a:pt x="356" y="836"/>
                  </a:cubicBezTo>
                  <a:cubicBezTo>
                    <a:pt x="303" y="836"/>
                    <a:pt x="256" y="827"/>
                    <a:pt x="211" y="811"/>
                  </a:cubicBezTo>
                  <a:cubicBezTo>
                    <a:pt x="170" y="791"/>
                    <a:pt x="131" y="766"/>
                    <a:pt x="100" y="733"/>
                  </a:cubicBezTo>
                  <a:cubicBezTo>
                    <a:pt x="70" y="700"/>
                    <a:pt x="45" y="658"/>
                    <a:pt x="25" y="608"/>
                  </a:cubicBezTo>
                  <a:cubicBezTo>
                    <a:pt x="8" y="561"/>
                    <a:pt x="0" y="505"/>
                    <a:pt x="0" y="441"/>
                  </a:cubicBezTo>
                  <a:cubicBezTo>
                    <a:pt x="0" y="0"/>
                    <a:pt x="0" y="0"/>
                    <a:pt x="0" y="0"/>
                  </a:cubicBezTo>
                  <a:lnTo>
                    <a:pt x="175"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6" name="Freeform 3">
              <a:extLst>
                <a:ext uri="{FF2B5EF4-FFF2-40B4-BE49-F238E27FC236}">
                  <a16:creationId xmlns:a16="http://schemas.microsoft.com/office/drawing/2014/main" id="{C9C84F0E-3548-014E-A8C1-5C7A30B4D79E}"/>
                </a:ext>
              </a:extLst>
            </p:cNvPr>
            <p:cNvSpPr>
              <a:spLocks noChangeArrowheads="1"/>
            </p:cNvSpPr>
            <p:nvPr userDrawn="1"/>
          </p:nvSpPr>
          <p:spPr bwMode="auto">
            <a:xfrm>
              <a:off x="2624138" y="3141663"/>
              <a:ext cx="268287" cy="314325"/>
            </a:xfrm>
            <a:custGeom>
              <a:avLst/>
              <a:gdLst>
                <a:gd name="T0" fmla="*/ 606 w 746"/>
                <a:gd name="T1" fmla="*/ 225 h 871"/>
                <a:gd name="T2" fmla="*/ 606 w 746"/>
                <a:gd name="T3" fmla="*/ 225 h 871"/>
                <a:gd name="T4" fmla="*/ 500 w 746"/>
                <a:gd name="T5" fmla="*/ 164 h 871"/>
                <a:gd name="T6" fmla="*/ 383 w 746"/>
                <a:gd name="T7" fmla="*/ 148 h 871"/>
                <a:gd name="T8" fmla="*/ 253 w 746"/>
                <a:gd name="T9" fmla="*/ 173 h 871"/>
                <a:gd name="T10" fmla="*/ 203 w 746"/>
                <a:gd name="T11" fmla="*/ 245 h 871"/>
                <a:gd name="T12" fmla="*/ 256 w 746"/>
                <a:gd name="T13" fmla="*/ 320 h 871"/>
                <a:gd name="T14" fmla="*/ 386 w 746"/>
                <a:gd name="T15" fmla="*/ 350 h 871"/>
                <a:gd name="T16" fmla="*/ 508 w 746"/>
                <a:gd name="T17" fmla="*/ 367 h 871"/>
                <a:gd name="T18" fmla="*/ 625 w 746"/>
                <a:gd name="T19" fmla="*/ 406 h 871"/>
                <a:gd name="T20" fmla="*/ 711 w 746"/>
                <a:gd name="T21" fmla="*/ 481 h 871"/>
                <a:gd name="T22" fmla="*/ 745 w 746"/>
                <a:gd name="T23" fmla="*/ 611 h 871"/>
                <a:gd name="T24" fmla="*/ 717 w 746"/>
                <a:gd name="T25" fmla="*/ 717 h 871"/>
                <a:gd name="T26" fmla="*/ 645 w 746"/>
                <a:gd name="T27" fmla="*/ 798 h 871"/>
                <a:gd name="T28" fmla="*/ 533 w 746"/>
                <a:gd name="T29" fmla="*/ 853 h 871"/>
                <a:gd name="T30" fmla="*/ 383 w 746"/>
                <a:gd name="T31" fmla="*/ 870 h 871"/>
                <a:gd name="T32" fmla="*/ 183 w 746"/>
                <a:gd name="T33" fmla="*/ 842 h 871"/>
                <a:gd name="T34" fmla="*/ 0 w 746"/>
                <a:gd name="T35" fmla="*/ 720 h 871"/>
                <a:gd name="T36" fmla="*/ 92 w 746"/>
                <a:gd name="T37" fmla="*/ 598 h 871"/>
                <a:gd name="T38" fmla="*/ 233 w 746"/>
                <a:gd name="T39" fmla="*/ 689 h 871"/>
                <a:gd name="T40" fmla="*/ 389 w 746"/>
                <a:gd name="T41" fmla="*/ 720 h 871"/>
                <a:gd name="T42" fmla="*/ 450 w 746"/>
                <a:gd name="T43" fmla="*/ 714 h 871"/>
                <a:gd name="T44" fmla="*/ 508 w 746"/>
                <a:gd name="T45" fmla="*/ 698 h 871"/>
                <a:gd name="T46" fmla="*/ 550 w 746"/>
                <a:gd name="T47" fmla="*/ 662 h 871"/>
                <a:gd name="T48" fmla="*/ 567 w 746"/>
                <a:gd name="T49" fmla="*/ 614 h 871"/>
                <a:gd name="T50" fmla="*/ 517 w 746"/>
                <a:gd name="T51" fmla="*/ 531 h 871"/>
                <a:gd name="T52" fmla="*/ 372 w 746"/>
                <a:gd name="T53" fmla="*/ 498 h 871"/>
                <a:gd name="T54" fmla="*/ 253 w 746"/>
                <a:gd name="T55" fmla="*/ 478 h 871"/>
                <a:gd name="T56" fmla="*/ 142 w 746"/>
                <a:gd name="T57" fmla="*/ 436 h 871"/>
                <a:gd name="T58" fmla="*/ 61 w 746"/>
                <a:gd name="T59" fmla="*/ 364 h 871"/>
                <a:gd name="T60" fmla="*/ 31 w 746"/>
                <a:gd name="T61" fmla="*/ 250 h 871"/>
                <a:gd name="T62" fmla="*/ 61 w 746"/>
                <a:gd name="T63" fmla="*/ 134 h 871"/>
                <a:gd name="T64" fmla="*/ 145 w 746"/>
                <a:gd name="T65" fmla="*/ 56 h 871"/>
                <a:gd name="T66" fmla="*/ 259 w 746"/>
                <a:gd name="T67" fmla="*/ 14 h 871"/>
                <a:gd name="T68" fmla="*/ 381 w 746"/>
                <a:gd name="T69" fmla="*/ 0 h 871"/>
                <a:gd name="T70" fmla="*/ 556 w 746"/>
                <a:gd name="T71" fmla="*/ 25 h 871"/>
                <a:gd name="T72" fmla="*/ 703 w 746"/>
                <a:gd name="T73" fmla="*/ 112 h 871"/>
                <a:gd name="T74" fmla="*/ 606 w 746"/>
                <a:gd name="T75" fmla="*/ 225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6" h="871">
                  <a:moveTo>
                    <a:pt x="606" y="225"/>
                  </a:moveTo>
                  <a:lnTo>
                    <a:pt x="606" y="225"/>
                  </a:lnTo>
                  <a:cubicBezTo>
                    <a:pt x="572" y="195"/>
                    <a:pt x="536" y="173"/>
                    <a:pt x="500" y="164"/>
                  </a:cubicBezTo>
                  <a:cubicBezTo>
                    <a:pt x="464" y="153"/>
                    <a:pt x="425" y="148"/>
                    <a:pt x="383" y="148"/>
                  </a:cubicBezTo>
                  <a:cubicBezTo>
                    <a:pt x="328" y="148"/>
                    <a:pt x="286" y="153"/>
                    <a:pt x="253" y="173"/>
                  </a:cubicBezTo>
                  <a:cubicBezTo>
                    <a:pt x="220" y="189"/>
                    <a:pt x="203" y="214"/>
                    <a:pt x="203" y="245"/>
                  </a:cubicBezTo>
                  <a:cubicBezTo>
                    <a:pt x="206" y="281"/>
                    <a:pt x="222" y="306"/>
                    <a:pt x="256" y="320"/>
                  </a:cubicBezTo>
                  <a:cubicBezTo>
                    <a:pt x="289" y="336"/>
                    <a:pt x="331" y="345"/>
                    <a:pt x="386" y="350"/>
                  </a:cubicBezTo>
                  <a:cubicBezTo>
                    <a:pt x="425" y="356"/>
                    <a:pt x="467" y="359"/>
                    <a:pt x="508" y="367"/>
                  </a:cubicBezTo>
                  <a:cubicBezTo>
                    <a:pt x="550" y="375"/>
                    <a:pt x="589" y="387"/>
                    <a:pt x="625" y="406"/>
                  </a:cubicBezTo>
                  <a:cubicBezTo>
                    <a:pt x="658" y="425"/>
                    <a:pt x="689" y="450"/>
                    <a:pt x="711" y="481"/>
                  </a:cubicBezTo>
                  <a:cubicBezTo>
                    <a:pt x="733" y="514"/>
                    <a:pt x="745" y="556"/>
                    <a:pt x="745" y="611"/>
                  </a:cubicBezTo>
                  <a:cubicBezTo>
                    <a:pt x="745" y="650"/>
                    <a:pt x="736" y="684"/>
                    <a:pt x="717" y="717"/>
                  </a:cubicBezTo>
                  <a:cubicBezTo>
                    <a:pt x="700" y="748"/>
                    <a:pt x="675" y="775"/>
                    <a:pt x="645" y="798"/>
                  </a:cubicBezTo>
                  <a:cubicBezTo>
                    <a:pt x="614" y="823"/>
                    <a:pt x="575" y="839"/>
                    <a:pt x="533" y="853"/>
                  </a:cubicBezTo>
                  <a:cubicBezTo>
                    <a:pt x="489" y="864"/>
                    <a:pt x="439" y="870"/>
                    <a:pt x="383" y="870"/>
                  </a:cubicBezTo>
                  <a:cubicBezTo>
                    <a:pt x="317" y="870"/>
                    <a:pt x="250" y="862"/>
                    <a:pt x="183" y="842"/>
                  </a:cubicBezTo>
                  <a:cubicBezTo>
                    <a:pt x="117" y="820"/>
                    <a:pt x="56" y="781"/>
                    <a:pt x="0" y="720"/>
                  </a:cubicBezTo>
                  <a:cubicBezTo>
                    <a:pt x="92" y="598"/>
                    <a:pt x="92" y="598"/>
                    <a:pt x="92" y="598"/>
                  </a:cubicBezTo>
                  <a:cubicBezTo>
                    <a:pt x="133" y="639"/>
                    <a:pt x="181" y="673"/>
                    <a:pt x="233" y="689"/>
                  </a:cubicBezTo>
                  <a:cubicBezTo>
                    <a:pt x="286" y="709"/>
                    <a:pt x="339" y="720"/>
                    <a:pt x="389" y="720"/>
                  </a:cubicBezTo>
                  <a:cubicBezTo>
                    <a:pt x="408" y="720"/>
                    <a:pt x="431" y="720"/>
                    <a:pt x="450" y="714"/>
                  </a:cubicBezTo>
                  <a:cubicBezTo>
                    <a:pt x="472" y="711"/>
                    <a:pt x="492" y="706"/>
                    <a:pt x="508" y="698"/>
                  </a:cubicBezTo>
                  <a:cubicBezTo>
                    <a:pt x="525" y="686"/>
                    <a:pt x="539" y="675"/>
                    <a:pt x="550" y="662"/>
                  </a:cubicBezTo>
                  <a:cubicBezTo>
                    <a:pt x="561" y="648"/>
                    <a:pt x="567" y="631"/>
                    <a:pt x="567" y="614"/>
                  </a:cubicBezTo>
                  <a:cubicBezTo>
                    <a:pt x="570" y="575"/>
                    <a:pt x="553" y="548"/>
                    <a:pt x="517" y="531"/>
                  </a:cubicBezTo>
                  <a:cubicBezTo>
                    <a:pt x="483" y="514"/>
                    <a:pt x="436" y="503"/>
                    <a:pt x="372" y="498"/>
                  </a:cubicBezTo>
                  <a:cubicBezTo>
                    <a:pt x="333" y="495"/>
                    <a:pt x="292" y="489"/>
                    <a:pt x="253" y="478"/>
                  </a:cubicBezTo>
                  <a:cubicBezTo>
                    <a:pt x="211" y="470"/>
                    <a:pt x="175" y="456"/>
                    <a:pt x="142" y="436"/>
                  </a:cubicBezTo>
                  <a:cubicBezTo>
                    <a:pt x="108" y="420"/>
                    <a:pt x="84" y="395"/>
                    <a:pt x="61" y="364"/>
                  </a:cubicBezTo>
                  <a:cubicBezTo>
                    <a:pt x="39" y="334"/>
                    <a:pt x="31" y="298"/>
                    <a:pt x="31" y="250"/>
                  </a:cubicBezTo>
                  <a:cubicBezTo>
                    <a:pt x="31" y="206"/>
                    <a:pt x="42" y="167"/>
                    <a:pt x="61" y="134"/>
                  </a:cubicBezTo>
                  <a:cubicBezTo>
                    <a:pt x="84" y="103"/>
                    <a:pt x="111" y="78"/>
                    <a:pt x="145" y="56"/>
                  </a:cubicBezTo>
                  <a:cubicBezTo>
                    <a:pt x="181" y="37"/>
                    <a:pt x="217" y="23"/>
                    <a:pt x="259" y="14"/>
                  </a:cubicBezTo>
                  <a:cubicBezTo>
                    <a:pt x="300" y="6"/>
                    <a:pt x="339" y="0"/>
                    <a:pt x="381" y="0"/>
                  </a:cubicBezTo>
                  <a:cubicBezTo>
                    <a:pt x="445" y="0"/>
                    <a:pt x="503" y="9"/>
                    <a:pt x="556" y="25"/>
                  </a:cubicBezTo>
                  <a:cubicBezTo>
                    <a:pt x="606" y="42"/>
                    <a:pt x="656" y="70"/>
                    <a:pt x="703" y="112"/>
                  </a:cubicBezTo>
                  <a:lnTo>
                    <a:pt x="606" y="2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7" name="Freeform 4">
              <a:extLst>
                <a:ext uri="{FF2B5EF4-FFF2-40B4-BE49-F238E27FC236}">
                  <a16:creationId xmlns:a16="http://schemas.microsoft.com/office/drawing/2014/main" id="{BFDBDE14-7DDA-BC4B-8B26-0D40258509DE}"/>
                </a:ext>
              </a:extLst>
            </p:cNvPr>
            <p:cNvSpPr>
              <a:spLocks noChangeArrowheads="1"/>
            </p:cNvSpPr>
            <p:nvPr userDrawn="1"/>
          </p:nvSpPr>
          <p:spPr bwMode="auto">
            <a:xfrm>
              <a:off x="2928938" y="3063875"/>
              <a:ext cx="223837" cy="387350"/>
            </a:xfrm>
            <a:custGeom>
              <a:avLst/>
              <a:gdLst>
                <a:gd name="T0" fmla="*/ 342 w 621"/>
                <a:gd name="T1" fmla="*/ 0 h 1076"/>
                <a:gd name="T2" fmla="*/ 342 w 621"/>
                <a:gd name="T3" fmla="*/ 0 h 1076"/>
                <a:gd name="T4" fmla="*/ 342 w 621"/>
                <a:gd name="T5" fmla="*/ 239 h 1076"/>
                <a:gd name="T6" fmla="*/ 586 w 621"/>
                <a:gd name="T7" fmla="*/ 239 h 1076"/>
                <a:gd name="T8" fmla="*/ 586 w 621"/>
                <a:gd name="T9" fmla="*/ 391 h 1076"/>
                <a:gd name="T10" fmla="*/ 339 w 621"/>
                <a:gd name="T11" fmla="*/ 391 h 1076"/>
                <a:gd name="T12" fmla="*/ 339 w 621"/>
                <a:gd name="T13" fmla="*/ 780 h 1076"/>
                <a:gd name="T14" fmla="*/ 369 w 621"/>
                <a:gd name="T15" fmla="*/ 880 h 1076"/>
                <a:gd name="T16" fmla="*/ 461 w 621"/>
                <a:gd name="T17" fmla="*/ 916 h 1076"/>
                <a:gd name="T18" fmla="*/ 514 w 621"/>
                <a:gd name="T19" fmla="*/ 908 h 1076"/>
                <a:gd name="T20" fmla="*/ 567 w 621"/>
                <a:gd name="T21" fmla="*/ 889 h 1076"/>
                <a:gd name="T22" fmla="*/ 620 w 621"/>
                <a:gd name="T23" fmla="*/ 1036 h 1076"/>
                <a:gd name="T24" fmla="*/ 533 w 621"/>
                <a:gd name="T25" fmla="*/ 1064 h 1076"/>
                <a:gd name="T26" fmla="*/ 450 w 621"/>
                <a:gd name="T27" fmla="*/ 1072 h 1076"/>
                <a:gd name="T28" fmla="*/ 236 w 621"/>
                <a:gd name="T29" fmla="*/ 1002 h 1076"/>
                <a:gd name="T30" fmla="*/ 164 w 621"/>
                <a:gd name="T31" fmla="*/ 783 h 1076"/>
                <a:gd name="T32" fmla="*/ 164 w 621"/>
                <a:gd name="T33" fmla="*/ 391 h 1076"/>
                <a:gd name="T34" fmla="*/ 0 w 621"/>
                <a:gd name="T35" fmla="*/ 391 h 1076"/>
                <a:gd name="T36" fmla="*/ 0 w 621"/>
                <a:gd name="T37" fmla="*/ 239 h 1076"/>
                <a:gd name="T38" fmla="*/ 164 w 621"/>
                <a:gd name="T39" fmla="*/ 239 h 1076"/>
                <a:gd name="T40" fmla="*/ 164 w 621"/>
                <a:gd name="T41" fmla="*/ 19 h 1076"/>
                <a:gd name="T42" fmla="*/ 342 w 621"/>
                <a:gd name="T43" fmla="*/ 0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1" h="1076">
                  <a:moveTo>
                    <a:pt x="342" y="0"/>
                  </a:moveTo>
                  <a:lnTo>
                    <a:pt x="342" y="0"/>
                  </a:lnTo>
                  <a:cubicBezTo>
                    <a:pt x="342" y="239"/>
                    <a:pt x="342" y="239"/>
                    <a:pt x="342" y="239"/>
                  </a:cubicBezTo>
                  <a:cubicBezTo>
                    <a:pt x="586" y="239"/>
                    <a:pt x="586" y="239"/>
                    <a:pt x="586" y="239"/>
                  </a:cubicBezTo>
                  <a:cubicBezTo>
                    <a:pt x="586" y="391"/>
                    <a:pt x="586" y="391"/>
                    <a:pt x="586" y="391"/>
                  </a:cubicBezTo>
                  <a:cubicBezTo>
                    <a:pt x="339" y="391"/>
                    <a:pt x="339" y="391"/>
                    <a:pt x="339" y="391"/>
                  </a:cubicBezTo>
                  <a:cubicBezTo>
                    <a:pt x="339" y="780"/>
                    <a:pt x="339" y="780"/>
                    <a:pt x="339" y="780"/>
                  </a:cubicBezTo>
                  <a:cubicBezTo>
                    <a:pt x="339" y="825"/>
                    <a:pt x="350" y="858"/>
                    <a:pt x="369" y="880"/>
                  </a:cubicBezTo>
                  <a:cubicBezTo>
                    <a:pt x="389" y="905"/>
                    <a:pt x="420" y="916"/>
                    <a:pt x="461" y="916"/>
                  </a:cubicBezTo>
                  <a:cubicBezTo>
                    <a:pt x="478" y="916"/>
                    <a:pt x="494" y="914"/>
                    <a:pt x="514" y="908"/>
                  </a:cubicBezTo>
                  <a:cubicBezTo>
                    <a:pt x="533" y="905"/>
                    <a:pt x="550" y="897"/>
                    <a:pt x="567" y="889"/>
                  </a:cubicBezTo>
                  <a:cubicBezTo>
                    <a:pt x="620" y="1036"/>
                    <a:pt x="620" y="1036"/>
                    <a:pt x="620" y="1036"/>
                  </a:cubicBezTo>
                  <a:cubicBezTo>
                    <a:pt x="589" y="1047"/>
                    <a:pt x="561" y="1058"/>
                    <a:pt x="533" y="1064"/>
                  </a:cubicBezTo>
                  <a:cubicBezTo>
                    <a:pt x="508" y="1069"/>
                    <a:pt x="481" y="1072"/>
                    <a:pt x="450" y="1072"/>
                  </a:cubicBezTo>
                  <a:cubicBezTo>
                    <a:pt x="358" y="1075"/>
                    <a:pt x="286" y="1050"/>
                    <a:pt x="236" y="1002"/>
                  </a:cubicBezTo>
                  <a:cubicBezTo>
                    <a:pt x="189" y="952"/>
                    <a:pt x="164" y="880"/>
                    <a:pt x="164" y="783"/>
                  </a:cubicBezTo>
                  <a:cubicBezTo>
                    <a:pt x="164" y="391"/>
                    <a:pt x="164" y="391"/>
                    <a:pt x="164" y="391"/>
                  </a:cubicBezTo>
                  <a:cubicBezTo>
                    <a:pt x="0" y="391"/>
                    <a:pt x="0" y="391"/>
                    <a:pt x="0" y="391"/>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8" name="Freeform 5">
              <a:extLst>
                <a:ext uri="{FF2B5EF4-FFF2-40B4-BE49-F238E27FC236}">
                  <a16:creationId xmlns:a16="http://schemas.microsoft.com/office/drawing/2014/main" id="{4F4686AA-F632-E543-BF95-BA90F74EB178}"/>
                </a:ext>
              </a:extLst>
            </p:cNvPr>
            <p:cNvSpPr>
              <a:spLocks noChangeArrowheads="1"/>
            </p:cNvSpPr>
            <p:nvPr userDrawn="1"/>
          </p:nvSpPr>
          <p:spPr bwMode="auto">
            <a:xfrm>
              <a:off x="3186113" y="3143250"/>
              <a:ext cx="314325" cy="307975"/>
            </a:xfrm>
            <a:custGeom>
              <a:avLst/>
              <a:gdLst>
                <a:gd name="T0" fmla="*/ 433 w 873"/>
                <a:gd name="T1" fmla="*/ 0 h 857"/>
                <a:gd name="T2" fmla="*/ 433 w 873"/>
                <a:gd name="T3" fmla="*/ 0 h 857"/>
                <a:gd name="T4" fmla="*/ 611 w 873"/>
                <a:gd name="T5" fmla="*/ 33 h 857"/>
                <a:gd name="T6" fmla="*/ 750 w 873"/>
                <a:gd name="T7" fmla="*/ 125 h 857"/>
                <a:gd name="T8" fmla="*/ 839 w 873"/>
                <a:gd name="T9" fmla="*/ 261 h 857"/>
                <a:gd name="T10" fmla="*/ 872 w 873"/>
                <a:gd name="T11" fmla="*/ 428 h 857"/>
                <a:gd name="T12" fmla="*/ 839 w 873"/>
                <a:gd name="T13" fmla="*/ 597 h 857"/>
                <a:gd name="T14" fmla="*/ 753 w 873"/>
                <a:gd name="T15" fmla="*/ 733 h 857"/>
                <a:gd name="T16" fmla="*/ 614 w 873"/>
                <a:gd name="T17" fmla="*/ 825 h 857"/>
                <a:gd name="T18" fmla="*/ 433 w 873"/>
                <a:gd name="T19" fmla="*/ 856 h 857"/>
                <a:gd name="T20" fmla="*/ 256 w 873"/>
                <a:gd name="T21" fmla="*/ 825 h 857"/>
                <a:gd name="T22" fmla="*/ 117 w 873"/>
                <a:gd name="T23" fmla="*/ 733 h 857"/>
                <a:gd name="T24" fmla="*/ 31 w 873"/>
                <a:gd name="T25" fmla="*/ 597 h 857"/>
                <a:gd name="T26" fmla="*/ 0 w 873"/>
                <a:gd name="T27" fmla="*/ 428 h 857"/>
                <a:gd name="T28" fmla="*/ 31 w 873"/>
                <a:gd name="T29" fmla="*/ 261 h 857"/>
                <a:gd name="T30" fmla="*/ 120 w 873"/>
                <a:gd name="T31" fmla="*/ 125 h 857"/>
                <a:gd name="T32" fmla="*/ 256 w 873"/>
                <a:gd name="T33" fmla="*/ 33 h 857"/>
                <a:gd name="T34" fmla="*/ 433 w 873"/>
                <a:gd name="T35" fmla="*/ 0 h 857"/>
                <a:gd name="T36" fmla="*/ 433 w 873"/>
                <a:gd name="T37" fmla="*/ 161 h 857"/>
                <a:gd name="T38" fmla="*/ 433 w 873"/>
                <a:gd name="T39" fmla="*/ 161 h 857"/>
                <a:gd name="T40" fmla="*/ 325 w 873"/>
                <a:gd name="T41" fmla="*/ 181 h 857"/>
                <a:gd name="T42" fmla="*/ 245 w 873"/>
                <a:gd name="T43" fmla="*/ 242 h 857"/>
                <a:gd name="T44" fmla="*/ 195 w 873"/>
                <a:gd name="T45" fmla="*/ 328 h 857"/>
                <a:gd name="T46" fmla="*/ 175 w 873"/>
                <a:gd name="T47" fmla="*/ 430 h 857"/>
                <a:gd name="T48" fmla="*/ 195 w 873"/>
                <a:gd name="T49" fmla="*/ 533 h 857"/>
                <a:gd name="T50" fmla="*/ 245 w 873"/>
                <a:gd name="T51" fmla="*/ 617 h 857"/>
                <a:gd name="T52" fmla="*/ 325 w 873"/>
                <a:gd name="T53" fmla="*/ 675 h 857"/>
                <a:gd name="T54" fmla="*/ 433 w 873"/>
                <a:gd name="T55" fmla="*/ 697 h 857"/>
                <a:gd name="T56" fmla="*/ 542 w 873"/>
                <a:gd name="T57" fmla="*/ 675 h 857"/>
                <a:gd name="T58" fmla="*/ 625 w 873"/>
                <a:gd name="T59" fmla="*/ 617 h 857"/>
                <a:gd name="T60" fmla="*/ 675 w 873"/>
                <a:gd name="T61" fmla="*/ 533 h 857"/>
                <a:gd name="T62" fmla="*/ 694 w 873"/>
                <a:gd name="T63" fmla="*/ 430 h 857"/>
                <a:gd name="T64" fmla="*/ 675 w 873"/>
                <a:gd name="T65" fmla="*/ 328 h 857"/>
                <a:gd name="T66" fmla="*/ 622 w 873"/>
                <a:gd name="T67" fmla="*/ 242 h 857"/>
                <a:gd name="T68" fmla="*/ 539 w 873"/>
                <a:gd name="T69" fmla="*/ 181 h 857"/>
                <a:gd name="T70" fmla="*/ 433 w 873"/>
                <a:gd name="T71" fmla="*/ 161 h 857"/>
                <a:gd name="T72" fmla="*/ 433 w 873"/>
                <a:gd name="T73"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57">
                  <a:moveTo>
                    <a:pt x="433" y="0"/>
                  </a:moveTo>
                  <a:lnTo>
                    <a:pt x="433" y="0"/>
                  </a:lnTo>
                  <a:cubicBezTo>
                    <a:pt x="500" y="0"/>
                    <a:pt x="558" y="11"/>
                    <a:pt x="611" y="33"/>
                  </a:cubicBezTo>
                  <a:cubicBezTo>
                    <a:pt x="664" y="56"/>
                    <a:pt x="711" y="86"/>
                    <a:pt x="750" y="125"/>
                  </a:cubicBezTo>
                  <a:cubicBezTo>
                    <a:pt x="789" y="161"/>
                    <a:pt x="820" y="208"/>
                    <a:pt x="839" y="261"/>
                  </a:cubicBezTo>
                  <a:cubicBezTo>
                    <a:pt x="861" y="314"/>
                    <a:pt x="872" y="369"/>
                    <a:pt x="872" y="428"/>
                  </a:cubicBezTo>
                  <a:cubicBezTo>
                    <a:pt x="872" y="489"/>
                    <a:pt x="861" y="547"/>
                    <a:pt x="839" y="597"/>
                  </a:cubicBezTo>
                  <a:cubicBezTo>
                    <a:pt x="820" y="650"/>
                    <a:pt x="792" y="694"/>
                    <a:pt x="753" y="733"/>
                  </a:cubicBezTo>
                  <a:cubicBezTo>
                    <a:pt x="714" y="772"/>
                    <a:pt x="667" y="803"/>
                    <a:pt x="614" y="825"/>
                  </a:cubicBezTo>
                  <a:cubicBezTo>
                    <a:pt x="561" y="847"/>
                    <a:pt x="500" y="856"/>
                    <a:pt x="433" y="856"/>
                  </a:cubicBezTo>
                  <a:cubicBezTo>
                    <a:pt x="367" y="856"/>
                    <a:pt x="308" y="847"/>
                    <a:pt x="256" y="825"/>
                  </a:cubicBezTo>
                  <a:cubicBezTo>
                    <a:pt x="200" y="803"/>
                    <a:pt x="156" y="772"/>
                    <a:pt x="117" y="733"/>
                  </a:cubicBezTo>
                  <a:cubicBezTo>
                    <a:pt x="81" y="694"/>
                    <a:pt x="50" y="650"/>
                    <a:pt x="31" y="597"/>
                  </a:cubicBezTo>
                  <a:cubicBezTo>
                    <a:pt x="11" y="547"/>
                    <a:pt x="0" y="489"/>
                    <a:pt x="0" y="428"/>
                  </a:cubicBezTo>
                  <a:cubicBezTo>
                    <a:pt x="0" y="369"/>
                    <a:pt x="11" y="314"/>
                    <a:pt x="31" y="261"/>
                  </a:cubicBezTo>
                  <a:cubicBezTo>
                    <a:pt x="50" y="208"/>
                    <a:pt x="81" y="161"/>
                    <a:pt x="120" y="125"/>
                  </a:cubicBezTo>
                  <a:cubicBezTo>
                    <a:pt x="156" y="86"/>
                    <a:pt x="203" y="56"/>
                    <a:pt x="256" y="33"/>
                  </a:cubicBezTo>
                  <a:cubicBezTo>
                    <a:pt x="308" y="11"/>
                    <a:pt x="370" y="0"/>
                    <a:pt x="433" y="0"/>
                  </a:cubicBezTo>
                  <a:lnTo>
                    <a:pt x="433" y="161"/>
                  </a:lnTo>
                  <a:lnTo>
                    <a:pt x="433" y="161"/>
                  </a:lnTo>
                  <a:cubicBezTo>
                    <a:pt x="394" y="161"/>
                    <a:pt x="358" y="167"/>
                    <a:pt x="325" y="181"/>
                  </a:cubicBezTo>
                  <a:cubicBezTo>
                    <a:pt x="295" y="197"/>
                    <a:pt x="267" y="217"/>
                    <a:pt x="245" y="242"/>
                  </a:cubicBezTo>
                  <a:cubicBezTo>
                    <a:pt x="222" y="267"/>
                    <a:pt x="206" y="294"/>
                    <a:pt x="195" y="328"/>
                  </a:cubicBezTo>
                  <a:cubicBezTo>
                    <a:pt x="181" y="358"/>
                    <a:pt x="175" y="394"/>
                    <a:pt x="175" y="430"/>
                  </a:cubicBezTo>
                  <a:cubicBezTo>
                    <a:pt x="175" y="467"/>
                    <a:pt x="181" y="500"/>
                    <a:pt x="195" y="533"/>
                  </a:cubicBezTo>
                  <a:cubicBezTo>
                    <a:pt x="206" y="567"/>
                    <a:pt x="222" y="594"/>
                    <a:pt x="245" y="617"/>
                  </a:cubicBezTo>
                  <a:cubicBezTo>
                    <a:pt x="267" y="642"/>
                    <a:pt x="295" y="661"/>
                    <a:pt x="325" y="675"/>
                  </a:cubicBezTo>
                  <a:cubicBezTo>
                    <a:pt x="358" y="689"/>
                    <a:pt x="394" y="697"/>
                    <a:pt x="433" y="697"/>
                  </a:cubicBezTo>
                  <a:cubicBezTo>
                    <a:pt x="475" y="697"/>
                    <a:pt x="511" y="689"/>
                    <a:pt x="542" y="675"/>
                  </a:cubicBezTo>
                  <a:cubicBezTo>
                    <a:pt x="575" y="661"/>
                    <a:pt x="603" y="642"/>
                    <a:pt x="625" y="617"/>
                  </a:cubicBezTo>
                  <a:cubicBezTo>
                    <a:pt x="647" y="594"/>
                    <a:pt x="664" y="567"/>
                    <a:pt x="675" y="533"/>
                  </a:cubicBezTo>
                  <a:cubicBezTo>
                    <a:pt x="686" y="500"/>
                    <a:pt x="694" y="467"/>
                    <a:pt x="694" y="430"/>
                  </a:cubicBezTo>
                  <a:cubicBezTo>
                    <a:pt x="694" y="394"/>
                    <a:pt x="686" y="358"/>
                    <a:pt x="675" y="328"/>
                  </a:cubicBezTo>
                  <a:cubicBezTo>
                    <a:pt x="661" y="294"/>
                    <a:pt x="645" y="267"/>
                    <a:pt x="622" y="242"/>
                  </a:cubicBezTo>
                  <a:cubicBezTo>
                    <a:pt x="600" y="217"/>
                    <a:pt x="572" y="197"/>
                    <a:pt x="539" y="181"/>
                  </a:cubicBezTo>
                  <a:cubicBezTo>
                    <a:pt x="508" y="167"/>
                    <a:pt x="472" y="161"/>
                    <a:pt x="433" y="161"/>
                  </a:cubicBezTo>
                  <a:lnTo>
                    <a:pt x="433"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9" name="Freeform 6">
              <a:extLst>
                <a:ext uri="{FF2B5EF4-FFF2-40B4-BE49-F238E27FC236}">
                  <a16:creationId xmlns:a16="http://schemas.microsoft.com/office/drawing/2014/main" id="{1AFF59FE-12B4-6D4D-B799-C1D0C79BBC9D}"/>
                </a:ext>
              </a:extLst>
            </p:cNvPr>
            <p:cNvSpPr>
              <a:spLocks noChangeArrowheads="1"/>
            </p:cNvSpPr>
            <p:nvPr userDrawn="1"/>
          </p:nvSpPr>
          <p:spPr bwMode="auto">
            <a:xfrm>
              <a:off x="3567113" y="3143250"/>
              <a:ext cx="476250" cy="301625"/>
            </a:xfrm>
            <a:custGeom>
              <a:avLst/>
              <a:gdLst>
                <a:gd name="T0" fmla="*/ 575 w 1321"/>
                <a:gd name="T1" fmla="*/ 839 h 840"/>
                <a:gd name="T2" fmla="*/ 575 w 1321"/>
                <a:gd name="T3" fmla="*/ 839 h 840"/>
                <a:gd name="T4" fmla="*/ 575 w 1321"/>
                <a:gd name="T5" fmla="*/ 386 h 840"/>
                <a:gd name="T6" fmla="*/ 561 w 1321"/>
                <a:gd name="T7" fmla="*/ 300 h 840"/>
                <a:gd name="T8" fmla="*/ 523 w 1321"/>
                <a:gd name="T9" fmla="*/ 228 h 840"/>
                <a:gd name="T10" fmla="*/ 461 w 1321"/>
                <a:gd name="T11" fmla="*/ 181 h 840"/>
                <a:gd name="T12" fmla="*/ 378 w 1321"/>
                <a:gd name="T13" fmla="*/ 161 h 840"/>
                <a:gd name="T14" fmla="*/ 295 w 1321"/>
                <a:gd name="T15" fmla="*/ 181 h 840"/>
                <a:gd name="T16" fmla="*/ 231 w 1321"/>
                <a:gd name="T17" fmla="*/ 228 h 840"/>
                <a:gd name="T18" fmla="*/ 189 w 1321"/>
                <a:gd name="T19" fmla="*/ 300 h 840"/>
                <a:gd name="T20" fmla="*/ 175 w 1321"/>
                <a:gd name="T21" fmla="*/ 386 h 840"/>
                <a:gd name="T22" fmla="*/ 175 w 1321"/>
                <a:gd name="T23" fmla="*/ 839 h 840"/>
                <a:gd name="T24" fmla="*/ 0 w 1321"/>
                <a:gd name="T25" fmla="*/ 839 h 840"/>
                <a:gd name="T26" fmla="*/ 0 w 1321"/>
                <a:gd name="T27" fmla="*/ 14 h 840"/>
                <a:gd name="T28" fmla="*/ 164 w 1321"/>
                <a:gd name="T29" fmla="*/ 14 h 840"/>
                <a:gd name="T30" fmla="*/ 175 w 1321"/>
                <a:gd name="T31" fmla="*/ 125 h 840"/>
                <a:gd name="T32" fmla="*/ 278 w 1321"/>
                <a:gd name="T33" fmla="*/ 28 h 840"/>
                <a:gd name="T34" fmla="*/ 411 w 1321"/>
                <a:gd name="T35" fmla="*/ 0 h 840"/>
                <a:gd name="T36" fmla="*/ 492 w 1321"/>
                <a:gd name="T37" fmla="*/ 8 h 840"/>
                <a:gd name="T38" fmla="*/ 564 w 1321"/>
                <a:gd name="T39" fmla="*/ 39 h 840"/>
                <a:gd name="T40" fmla="*/ 628 w 1321"/>
                <a:gd name="T41" fmla="*/ 89 h 840"/>
                <a:gd name="T42" fmla="*/ 675 w 1321"/>
                <a:gd name="T43" fmla="*/ 167 h 840"/>
                <a:gd name="T44" fmla="*/ 800 w 1321"/>
                <a:gd name="T45" fmla="*/ 39 h 840"/>
                <a:gd name="T46" fmla="*/ 964 w 1321"/>
                <a:gd name="T47" fmla="*/ 3 h 840"/>
                <a:gd name="T48" fmla="*/ 1231 w 1321"/>
                <a:gd name="T49" fmla="*/ 103 h 840"/>
                <a:gd name="T50" fmla="*/ 1320 w 1321"/>
                <a:gd name="T51" fmla="*/ 383 h 840"/>
                <a:gd name="T52" fmla="*/ 1320 w 1321"/>
                <a:gd name="T53" fmla="*/ 839 h 840"/>
                <a:gd name="T54" fmla="*/ 1142 w 1321"/>
                <a:gd name="T55" fmla="*/ 839 h 840"/>
                <a:gd name="T56" fmla="*/ 1142 w 1321"/>
                <a:gd name="T57" fmla="*/ 383 h 840"/>
                <a:gd name="T58" fmla="*/ 1131 w 1321"/>
                <a:gd name="T59" fmla="*/ 297 h 840"/>
                <a:gd name="T60" fmla="*/ 1095 w 1321"/>
                <a:gd name="T61" fmla="*/ 228 h 840"/>
                <a:gd name="T62" fmla="*/ 1039 w 1321"/>
                <a:gd name="T63" fmla="*/ 181 h 840"/>
                <a:gd name="T64" fmla="*/ 956 w 1321"/>
                <a:gd name="T65" fmla="*/ 164 h 840"/>
                <a:gd name="T66" fmla="*/ 873 w 1321"/>
                <a:gd name="T67" fmla="*/ 181 h 840"/>
                <a:gd name="T68" fmla="*/ 809 w 1321"/>
                <a:gd name="T69" fmla="*/ 228 h 840"/>
                <a:gd name="T70" fmla="*/ 767 w 1321"/>
                <a:gd name="T71" fmla="*/ 300 h 840"/>
                <a:gd name="T72" fmla="*/ 753 w 1321"/>
                <a:gd name="T73" fmla="*/ 386 h 840"/>
                <a:gd name="T74" fmla="*/ 753 w 1321"/>
                <a:gd name="T75" fmla="*/ 839 h 840"/>
                <a:gd name="T76" fmla="*/ 575 w 1321"/>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1" h="840">
                  <a:moveTo>
                    <a:pt x="575" y="839"/>
                  </a:moveTo>
                  <a:lnTo>
                    <a:pt x="575" y="839"/>
                  </a:lnTo>
                  <a:cubicBezTo>
                    <a:pt x="575" y="386"/>
                    <a:pt x="575" y="386"/>
                    <a:pt x="575" y="386"/>
                  </a:cubicBezTo>
                  <a:cubicBezTo>
                    <a:pt x="575" y="356"/>
                    <a:pt x="570" y="328"/>
                    <a:pt x="561" y="300"/>
                  </a:cubicBezTo>
                  <a:cubicBezTo>
                    <a:pt x="553" y="272"/>
                    <a:pt x="539" y="247"/>
                    <a:pt x="523" y="228"/>
                  </a:cubicBezTo>
                  <a:cubicBezTo>
                    <a:pt x="506" y="208"/>
                    <a:pt x="486" y="192"/>
                    <a:pt x="461" y="181"/>
                  </a:cubicBezTo>
                  <a:cubicBezTo>
                    <a:pt x="436" y="167"/>
                    <a:pt x="409" y="161"/>
                    <a:pt x="378" y="161"/>
                  </a:cubicBezTo>
                  <a:cubicBezTo>
                    <a:pt x="348" y="161"/>
                    <a:pt x="320" y="167"/>
                    <a:pt x="295" y="181"/>
                  </a:cubicBezTo>
                  <a:cubicBezTo>
                    <a:pt x="270" y="192"/>
                    <a:pt x="248" y="208"/>
                    <a:pt x="231" y="228"/>
                  </a:cubicBezTo>
                  <a:cubicBezTo>
                    <a:pt x="211" y="247"/>
                    <a:pt x="200" y="272"/>
                    <a:pt x="189" y="300"/>
                  </a:cubicBezTo>
                  <a:cubicBezTo>
                    <a:pt x="181" y="328"/>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198" y="78"/>
                    <a:pt x="234" y="47"/>
                    <a:pt x="278" y="28"/>
                  </a:cubicBezTo>
                  <a:cubicBezTo>
                    <a:pt x="323" y="11"/>
                    <a:pt x="367" y="0"/>
                    <a:pt x="411" y="0"/>
                  </a:cubicBezTo>
                  <a:cubicBezTo>
                    <a:pt x="439" y="0"/>
                    <a:pt x="464" y="3"/>
                    <a:pt x="492" y="8"/>
                  </a:cubicBezTo>
                  <a:cubicBezTo>
                    <a:pt x="517" y="14"/>
                    <a:pt x="542" y="25"/>
                    <a:pt x="564" y="39"/>
                  </a:cubicBezTo>
                  <a:cubicBezTo>
                    <a:pt x="589" y="50"/>
                    <a:pt x="609" y="69"/>
                    <a:pt x="628" y="89"/>
                  </a:cubicBezTo>
                  <a:cubicBezTo>
                    <a:pt x="647" y="111"/>
                    <a:pt x="661" y="136"/>
                    <a:pt x="675" y="167"/>
                  </a:cubicBezTo>
                  <a:cubicBezTo>
                    <a:pt x="709" y="106"/>
                    <a:pt x="750" y="64"/>
                    <a:pt x="800" y="39"/>
                  </a:cubicBezTo>
                  <a:cubicBezTo>
                    <a:pt x="850" y="14"/>
                    <a:pt x="906" y="3"/>
                    <a:pt x="964" y="3"/>
                  </a:cubicBezTo>
                  <a:cubicBezTo>
                    <a:pt x="1081" y="3"/>
                    <a:pt x="1170" y="36"/>
                    <a:pt x="1231" y="103"/>
                  </a:cubicBezTo>
                  <a:cubicBezTo>
                    <a:pt x="1289" y="172"/>
                    <a:pt x="1320" y="264"/>
                    <a:pt x="1320" y="383"/>
                  </a:cubicBezTo>
                  <a:cubicBezTo>
                    <a:pt x="1320" y="839"/>
                    <a:pt x="1320" y="839"/>
                    <a:pt x="1320" y="839"/>
                  </a:cubicBezTo>
                  <a:cubicBezTo>
                    <a:pt x="1142" y="839"/>
                    <a:pt x="1142" y="839"/>
                    <a:pt x="1142" y="839"/>
                  </a:cubicBezTo>
                  <a:cubicBezTo>
                    <a:pt x="1142" y="383"/>
                    <a:pt x="1142" y="383"/>
                    <a:pt x="1142" y="383"/>
                  </a:cubicBezTo>
                  <a:cubicBezTo>
                    <a:pt x="1142" y="353"/>
                    <a:pt x="1139" y="325"/>
                    <a:pt x="1131" y="297"/>
                  </a:cubicBezTo>
                  <a:cubicBezTo>
                    <a:pt x="1122" y="269"/>
                    <a:pt x="1111" y="247"/>
                    <a:pt x="1095" y="228"/>
                  </a:cubicBezTo>
                  <a:cubicBezTo>
                    <a:pt x="1081" y="206"/>
                    <a:pt x="1061" y="192"/>
                    <a:pt x="1039" y="181"/>
                  </a:cubicBezTo>
                  <a:cubicBezTo>
                    <a:pt x="1014" y="169"/>
                    <a:pt x="986" y="164"/>
                    <a:pt x="956" y="164"/>
                  </a:cubicBezTo>
                  <a:cubicBezTo>
                    <a:pt x="925" y="164"/>
                    <a:pt x="897" y="169"/>
                    <a:pt x="873" y="181"/>
                  </a:cubicBezTo>
                  <a:cubicBezTo>
                    <a:pt x="847" y="192"/>
                    <a:pt x="825" y="208"/>
                    <a:pt x="809" y="228"/>
                  </a:cubicBezTo>
                  <a:cubicBezTo>
                    <a:pt x="789" y="250"/>
                    <a:pt x="775" y="272"/>
                    <a:pt x="767" y="300"/>
                  </a:cubicBezTo>
                  <a:cubicBezTo>
                    <a:pt x="756" y="328"/>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0" name="Freeform 7">
              <a:extLst>
                <a:ext uri="{FF2B5EF4-FFF2-40B4-BE49-F238E27FC236}">
                  <a16:creationId xmlns:a16="http://schemas.microsoft.com/office/drawing/2014/main" id="{F46638B0-F40C-B24A-93C9-6E1B70739452}"/>
                </a:ext>
              </a:extLst>
            </p:cNvPr>
            <p:cNvSpPr>
              <a:spLocks noChangeArrowheads="1"/>
            </p:cNvSpPr>
            <p:nvPr userDrawn="1"/>
          </p:nvSpPr>
          <p:spPr bwMode="auto">
            <a:xfrm>
              <a:off x="4105275" y="3141663"/>
              <a:ext cx="314325" cy="312737"/>
            </a:xfrm>
            <a:custGeom>
              <a:avLst/>
              <a:gdLst>
                <a:gd name="T0" fmla="*/ 864 w 874"/>
                <a:gd name="T1" fmla="*/ 498 h 868"/>
                <a:gd name="T2" fmla="*/ 864 w 874"/>
                <a:gd name="T3" fmla="*/ 498 h 868"/>
                <a:gd name="T4" fmla="*/ 181 w 874"/>
                <a:gd name="T5" fmla="*/ 498 h 868"/>
                <a:gd name="T6" fmla="*/ 267 w 874"/>
                <a:gd name="T7" fmla="*/ 650 h 868"/>
                <a:gd name="T8" fmla="*/ 456 w 874"/>
                <a:gd name="T9" fmla="*/ 706 h 868"/>
                <a:gd name="T10" fmla="*/ 592 w 874"/>
                <a:gd name="T11" fmla="*/ 684 h 868"/>
                <a:gd name="T12" fmla="*/ 700 w 874"/>
                <a:gd name="T13" fmla="*/ 617 h 868"/>
                <a:gd name="T14" fmla="*/ 814 w 874"/>
                <a:gd name="T15" fmla="*/ 725 h 868"/>
                <a:gd name="T16" fmla="*/ 739 w 874"/>
                <a:gd name="T17" fmla="*/ 786 h 868"/>
                <a:gd name="T18" fmla="*/ 650 w 874"/>
                <a:gd name="T19" fmla="*/ 831 h 868"/>
                <a:gd name="T20" fmla="*/ 553 w 874"/>
                <a:gd name="T21" fmla="*/ 859 h 868"/>
                <a:gd name="T22" fmla="*/ 453 w 874"/>
                <a:gd name="T23" fmla="*/ 867 h 868"/>
                <a:gd name="T24" fmla="*/ 267 w 874"/>
                <a:gd name="T25" fmla="*/ 836 h 868"/>
                <a:gd name="T26" fmla="*/ 123 w 874"/>
                <a:gd name="T27" fmla="*/ 748 h 868"/>
                <a:gd name="T28" fmla="*/ 31 w 874"/>
                <a:gd name="T29" fmla="*/ 609 h 868"/>
                <a:gd name="T30" fmla="*/ 0 w 874"/>
                <a:gd name="T31" fmla="*/ 431 h 868"/>
                <a:gd name="T32" fmla="*/ 31 w 874"/>
                <a:gd name="T33" fmla="*/ 256 h 868"/>
                <a:gd name="T34" fmla="*/ 123 w 874"/>
                <a:gd name="T35" fmla="*/ 120 h 868"/>
                <a:gd name="T36" fmla="*/ 261 w 874"/>
                <a:gd name="T37" fmla="*/ 31 h 868"/>
                <a:gd name="T38" fmla="*/ 442 w 874"/>
                <a:gd name="T39" fmla="*/ 0 h 868"/>
                <a:gd name="T40" fmla="*/ 628 w 874"/>
                <a:gd name="T41" fmla="*/ 31 h 868"/>
                <a:gd name="T42" fmla="*/ 767 w 874"/>
                <a:gd name="T43" fmla="*/ 125 h 868"/>
                <a:gd name="T44" fmla="*/ 850 w 874"/>
                <a:gd name="T45" fmla="*/ 278 h 868"/>
                <a:gd name="T46" fmla="*/ 864 w 874"/>
                <a:gd name="T47" fmla="*/ 498 h 868"/>
                <a:gd name="T48" fmla="*/ 187 w 874"/>
                <a:gd name="T49" fmla="*/ 353 h 868"/>
                <a:gd name="T50" fmla="*/ 187 w 874"/>
                <a:gd name="T51" fmla="*/ 353 h 868"/>
                <a:gd name="T52" fmla="*/ 695 w 874"/>
                <a:gd name="T53" fmla="*/ 353 h 868"/>
                <a:gd name="T54" fmla="*/ 620 w 874"/>
                <a:gd name="T55" fmla="*/ 203 h 868"/>
                <a:gd name="T56" fmla="*/ 448 w 874"/>
                <a:gd name="T57" fmla="*/ 153 h 868"/>
                <a:gd name="T58" fmla="*/ 278 w 874"/>
                <a:gd name="T59" fmla="*/ 203 h 868"/>
                <a:gd name="T60" fmla="*/ 187 w 874"/>
                <a:gd name="T61" fmla="*/ 353 h 868"/>
                <a:gd name="T62" fmla="*/ 864 w 874"/>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4" h="868">
                  <a:moveTo>
                    <a:pt x="864" y="498"/>
                  </a:moveTo>
                  <a:lnTo>
                    <a:pt x="864" y="498"/>
                  </a:lnTo>
                  <a:cubicBezTo>
                    <a:pt x="181" y="498"/>
                    <a:pt x="181" y="498"/>
                    <a:pt x="181" y="498"/>
                  </a:cubicBezTo>
                  <a:cubicBezTo>
                    <a:pt x="189" y="562"/>
                    <a:pt x="217" y="611"/>
                    <a:pt x="267" y="650"/>
                  </a:cubicBezTo>
                  <a:cubicBezTo>
                    <a:pt x="317" y="686"/>
                    <a:pt x="378" y="706"/>
                    <a:pt x="456" y="706"/>
                  </a:cubicBezTo>
                  <a:cubicBezTo>
                    <a:pt x="500" y="706"/>
                    <a:pt x="545" y="698"/>
                    <a:pt x="592" y="684"/>
                  </a:cubicBezTo>
                  <a:cubicBezTo>
                    <a:pt x="639" y="667"/>
                    <a:pt x="675" y="645"/>
                    <a:pt x="700" y="617"/>
                  </a:cubicBezTo>
                  <a:cubicBezTo>
                    <a:pt x="814" y="725"/>
                    <a:pt x="814" y="725"/>
                    <a:pt x="814" y="725"/>
                  </a:cubicBezTo>
                  <a:cubicBezTo>
                    <a:pt x="795" y="750"/>
                    <a:pt x="770" y="770"/>
                    <a:pt x="739" y="786"/>
                  </a:cubicBezTo>
                  <a:cubicBezTo>
                    <a:pt x="711" y="806"/>
                    <a:pt x="681" y="820"/>
                    <a:pt x="650" y="831"/>
                  </a:cubicBezTo>
                  <a:cubicBezTo>
                    <a:pt x="620" y="845"/>
                    <a:pt x="587" y="853"/>
                    <a:pt x="553" y="859"/>
                  </a:cubicBezTo>
                  <a:cubicBezTo>
                    <a:pt x="517" y="864"/>
                    <a:pt x="487" y="867"/>
                    <a:pt x="453" y="867"/>
                  </a:cubicBezTo>
                  <a:cubicBezTo>
                    <a:pt x="384" y="867"/>
                    <a:pt x="323" y="856"/>
                    <a:pt x="267" y="836"/>
                  </a:cubicBezTo>
                  <a:cubicBezTo>
                    <a:pt x="209" y="814"/>
                    <a:pt x="161" y="786"/>
                    <a:pt x="123" y="748"/>
                  </a:cubicBezTo>
                  <a:cubicBezTo>
                    <a:pt x="84" y="709"/>
                    <a:pt x="53" y="664"/>
                    <a:pt x="31" y="609"/>
                  </a:cubicBezTo>
                  <a:cubicBezTo>
                    <a:pt x="12" y="556"/>
                    <a:pt x="0" y="495"/>
                    <a:pt x="0" y="431"/>
                  </a:cubicBezTo>
                  <a:cubicBezTo>
                    <a:pt x="0" y="367"/>
                    <a:pt x="12" y="309"/>
                    <a:pt x="31" y="256"/>
                  </a:cubicBezTo>
                  <a:cubicBezTo>
                    <a:pt x="53" y="203"/>
                    <a:pt x="84" y="159"/>
                    <a:pt x="123" y="120"/>
                  </a:cubicBezTo>
                  <a:cubicBezTo>
                    <a:pt x="161" y="84"/>
                    <a:pt x="209" y="53"/>
                    <a:pt x="261" y="31"/>
                  </a:cubicBezTo>
                  <a:cubicBezTo>
                    <a:pt x="314" y="12"/>
                    <a:pt x="375" y="0"/>
                    <a:pt x="442" y="0"/>
                  </a:cubicBezTo>
                  <a:cubicBezTo>
                    <a:pt x="509" y="0"/>
                    <a:pt x="573" y="12"/>
                    <a:pt x="628" y="31"/>
                  </a:cubicBezTo>
                  <a:cubicBezTo>
                    <a:pt x="681" y="53"/>
                    <a:pt x="728" y="84"/>
                    <a:pt x="767" y="125"/>
                  </a:cubicBezTo>
                  <a:cubicBezTo>
                    <a:pt x="806" y="164"/>
                    <a:pt x="834" y="217"/>
                    <a:pt x="850" y="278"/>
                  </a:cubicBezTo>
                  <a:cubicBezTo>
                    <a:pt x="867" y="342"/>
                    <a:pt x="873" y="414"/>
                    <a:pt x="864" y="498"/>
                  </a:cubicBezTo>
                  <a:lnTo>
                    <a:pt x="187" y="353"/>
                  </a:lnTo>
                  <a:lnTo>
                    <a:pt x="187" y="353"/>
                  </a:lnTo>
                  <a:cubicBezTo>
                    <a:pt x="695" y="353"/>
                    <a:pt x="695" y="353"/>
                    <a:pt x="695" y="353"/>
                  </a:cubicBezTo>
                  <a:cubicBezTo>
                    <a:pt x="689" y="287"/>
                    <a:pt x="664" y="236"/>
                    <a:pt x="620" y="203"/>
                  </a:cubicBezTo>
                  <a:cubicBezTo>
                    <a:pt x="575" y="170"/>
                    <a:pt x="517" y="153"/>
                    <a:pt x="448" y="153"/>
                  </a:cubicBezTo>
                  <a:cubicBezTo>
                    <a:pt x="381" y="153"/>
                    <a:pt x="325" y="170"/>
                    <a:pt x="278" y="203"/>
                  </a:cubicBezTo>
                  <a:cubicBezTo>
                    <a:pt x="231" y="236"/>
                    <a:pt x="200" y="287"/>
                    <a:pt x="187"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1" name="Freeform 8">
              <a:extLst>
                <a:ext uri="{FF2B5EF4-FFF2-40B4-BE49-F238E27FC236}">
                  <a16:creationId xmlns:a16="http://schemas.microsoft.com/office/drawing/2014/main" id="{6730F715-DAA9-4C4F-9015-64A34444B963}"/>
                </a:ext>
              </a:extLst>
            </p:cNvPr>
            <p:cNvSpPr>
              <a:spLocks noChangeArrowheads="1"/>
            </p:cNvSpPr>
            <p:nvPr userDrawn="1"/>
          </p:nvSpPr>
          <p:spPr bwMode="auto">
            <a:xfrm>
              <a:off x="4481513" y="3141663"/>
              <a:ext cx="227012" cy="303212"/>
            </a:xfrm>
            <a:custGeom>
              <a:avLst/>
              <a:gdLst>
                <a:gd name="T0" fmla="*/ 164 w 631"/>
                <a:gd name="T1" fmla="*/ 20 h 843"/>
                <a:gd name="T2" fmla="*/ 164 w 631"/>
                <a:gd name="T3" fmla="*/ 20 h 843"/>
                <a:gd name="T4" fmla="*/ 175 w 631"/>
                <a:gd name="T5" fmla="*/ 128 h 843"/>
                <a:gd name="T6" fmla="*/ 289 w 631"/>
                <a:gd name="T7" fmla="*/ 25 h 843"/>
                <a:gd name="T8" fmla="*/ 422 w 631"/>
                <a:gd name="T9" fmla="*/ 0 h 843"/>
                <a:gd name="T10" fmla="*/ 539 w 631"/>
                <a:gd name="T11" fmla="*/ 20 h 843"/>
                <a:gd name="T12" fmla="*/ 630 w 631"/>
                <a:gd name="T13" fmla="*/ 70 h 843"/>
                <a:gd name="T14" fmla="*/ 550 w 631"/>
                <a:gd name="T15" fmla="*/ 222 h 843"/>
                <a:gd name="T16" fmla="*/ 486 w 631"/>
                <a:gd name="T17" fmla="*/ 184 h 843"/>
                <a:gd name="T18" fmla="*/ 402 w 631"/>
                <a:gd name="T19" fmla="*/ 172 h 843"/>
                <a:gd name="T20" fmla="*/ 316 w 631"/>
                <a:gd name="T21" fmla="*/ 186 h 843"/>
                <a:gd name="T22" fmla="*/ 244 w 631"/>
                <a:gd name="T23" fmla="*/ 228 h 843"/>
                <a:gd name="T24" fmla="*/ 194 w 631"/>
                <a:gd name="T25" fmla="*/ 297 h 843"/>
                <a:gd name="T26" fmla="*/ 175 w 631"/>
                <a:gd name="T27" fmla="*/ 397 h 843"/>
                <a:gd name="T28" fmla="*/ 175 w 631"/>
                <a:gd name="T29" fmla="*/ 842 h 843"/>
                <a:gd name="T30" fmla="*/ 0 w 631"/>
                <a:gd name="T31" fmla="*/ 842 h 843"/>
                <a:gd name="T32" fmla="*/ 0 w 631"/>
                <a:gd name="T33" fmla="*/ 20 h 843"/>
                <a:gd name="T34" fmla="*/ 164 w 631"/>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1" h="843">
                  <a:moveTo>
                    <a:pt x="164" y="20"/>
                  </a:moveTo>
                  <a:lnTo>
                    <a:pt x="164" y="20"/>
                  </a:lnTo>
                  <a:cubicBezTo>
                    <a:pt x="175" y="128"/>
                    <a:pt x="175" y="128"/>
                    <a:pt x="175" y="128"/>
                  </a:cubicBezTo>
                  <a:cubicBezTo>
                    <a:pt x="205" y="75"/>
                    <a:pt x="244" y="42"/>
                    <a:pt x="289" y="25"/>
                  </a:cubicBezTo>
                  <a:cubicBezTo>
                    <a:pt x="333" y="9"/>
                    <a:pt x="378" y="0"/>
                    <a:pt x="422" y="0"/>
                  </a:cubicBezTo>
                  <a:cubicBezTo>
                    <a:pt x="464" y="0"/>
                    <a:pt x="502" y="9"/>
                    <a:pt x="539" y="20"/>
                  </a:cubicBezTo>
                  <a:cubicBezTo>
                    <a:pt x="577" y="34"/>
                    <a:pt x="608" y="50"/>
                    <a:pt x="630" y="70"/>
                  </a:cubicBezTo>
                  <a:cubicBezTo>
                    <a:pt x="550" y="222"/>
                    <a:pt x="550" y="222"/>
                    <a:pt x="550" y="222"/>
                  </a:cubicBezTo>
                  <a:cubicBezTo>
                    <a:pt x="530" y="206"/>
                    <a:pt x="508" y="192"/>
                    <a:pt x="486" y="184"/>
                  </a:cubicBezTo>
                  <a:cubicBezTo>
                    <a:pt x="464" y="175"/>
                    <a:pt x="436" y="172"/>
                    <a:pt x="402" y="172"/>
                  </a:cubicBezTo>
                  <a:cubicBezTo>
                    <a:pt x="372" y="172"/>
                    <a:pt x="341" y="175"/>
                    <a:pt x="316" y="186"/>
                  </a:cubicBezTo>
                  <a:cubicBezTo>
                    <a:pt x="289" y="195"/>
                    <a:pt x="264" y="209"/>
                    <a:pt x="244" y="228"/>
                  </a:cubicBezTo>
                  <a:cubicBezTo>
                    <a:pt x="222" y="245"/>
                    <a:pt x="205" y="270"/>
                    <a:pt x="194" y="297"/>
                  </a:cubicBezTo>
                  <a:cubicBezTo>
                    <a:pt x="180" y="325"/>
                    <a:pt x="175" y="359"/>
                    <a:pt x="175" y="397"/>
                  </a:cubicBezTo>
                  <a:cubicBezTo>
                    <a:pt x="175" y="842"/>
                    <a:pt x="175" y="842"/>
                    <a:pt x="175"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2" name="Freeform 9">
              <a:extLst>
                <a:ext uri="{FF2B5EF4-FFF2-40B4-BE49-F238E27FC236}">
                  <a16:creationId xmlns:a16="http://schemas.microsoft.com/office/drawing/2014/main" id="{597932D4-682B-CC44-977C-859F9F960C77}"/>
                </a:ext>
              </a:extLst>
            </p:cNvPr>
            <p:cNvSpPr>
              <a:spLocks noChangeArrowheads="1"/>
            </p:cNvSpPr>
            <p:nvPr userDrawn="1"/>
          </p:nvSpPr>
          <p:spPr bwMode="auto">
            <a:xfrm>
              <a:off x="4872038" y="3141663"/>
              <a:ext cx="314325" cy="312737"/>
            </a:xfrm>
            <a:custGeom>
              <a:avLst/>
              <a:gdLst>
                <a:gd name="T0" fmla="*/ 863 w 872"/>
                <a:gd name="T1" fmla="*/ 498 h 868"/>
                <a:gd name="T2" fmla="*/ 863 w 872"/>
                <a:gd name="T3" fmla="*/ 498 h 868"/>
                <a:gd name="T4" fmla="*/ 183 w 872"/>
                <a:gd name="T5" fmla="*/ 498 h 868"/>
                <a:gd name="T6" fmla="*/ 266 w 872"/>
                <a:gd name="T7" fmla="*/ 650 h 868"/>
                <a:gd name="T8" fmla="*/ 458 w 872"/>
                <a:gd name="T9" fmla="*/ 706 h 868"/>
                <a:gd name="T10" fmla="*/ 590 w 872"/>
                <a:gd name="T11" fmla="*/ 684 h 868"/>
                <a:gd name="T12" fmla="*/ 699 w 872"/>
                <a:gd name="T13" fmla="*/ 617 h 868"/>
                <a:gd name="T14" fmla="*/ 815 w 872"/>
                <a:gd name="T15" fmla="*/ 725 h 868"/>
                <a:gd name="T16" fmla="*/ 740 w 872"/>
                <a:gd name="T17" fmla="*/ 786 h 868"/>
                <a:gd name="T18" fmla="*/ 649 w 872"/>
                <a:gd name="T19" fmla="*/ 831 h 868"/>
                <a:gd name="T20" fmla="*/ 551 w 872"/>
                <a:gd name="T21" fmla="*/ 859 h 868"/>
                <a:gd name="T22" fmla="*/ 452 w 872"/>
                <a:gd name="T23" fmla="*/ 867 h 868"/>
                <a:gd name="T24" fmla="*/ 266 w 872"/>
                <a:gd name="T25" fmla="*/ 836 h 868"/>
                <a:gd name="T26" fmla="*/ 122 w 872"/>
                <a:gd name="T27" fmla="*/ 748 h 868"/>
                <a:gd name="T28" fmla="*/ 30 w 872"/>
                <a:gd name="T29" fmla="*/ 609 h 868"/>
                <a:gd name="T30" fmla="*/ 0 w 872"/>
                <a:gd name="T31" fmla="*/ 431 h 868"/>
                <a:gd name="T32" fmla="*/ 30 w 872"/>
                <a:gd name="T33" fmla="*/ 256 h 868"/>
                <a:gd name="T34" fmla="*/ 122 w 872"/>
                <a:gd name="T35" fmla="*/ 120 h 868"/>
                <a:gd name="T36" fmla="*/ 261 w 872"/>
                <a:gd name="T37" fmla="*/ 31 h 868"/>
                <a:gd name="T38" fmla="*/ 441 w 872"/>
                <a:gd name="T39" fmla="*/ 0 h 868"/>
                <a:gd name="T40" fmla="*/ 626 w 872"/>
                <a:gd name="T41" fmla="*/ 31 h 868"/>
                <a:gd name="T42" fmla="*/ 765 w 872"/>
                <a:gd name="T43" fmla="*/ 125 h 868"/>
                <a:gd name="T44" fmla="*/ 849 w 872"/>
                <a:gd name="T45" fmla="*/ 278 h 868"/>
                <a:gd name="T46" fmla="*/ 863 w 872"/>
                <a:gd name="T47" fmla="*/ 498 h 868"/>
                <a:gd name="T48" fmla="*/ 186 w 872"/>
                <a:gd name="T49" fmla="*/ 353 h 868"/>
                <a:gd name="T50" fmla="*/ 186 w 872"/>
                <a:gd name="T51" fmla="*/ 353 h 868"/>
                <a:gd name="T52" fmla="*/ 696 w 872"/>
                <a:gd name="T53" fmla="*/ 353 h 868"/>
                <a:gd name="T54" fmla="*/ 621 w 872"/>
                <a:gd name="T55" fmla="*/ 203 h 868"/>
                <a:gd name="T56" fmla="*/ 447 w 872"/>
                <a:gd name="T57" fmla="*/ 153 h 868"/>
                <a:gd name="T58" fmla="*/ 278 w 872"/>
                <a:gd name="T59" fmla="*/ 203 h 868"/>
                <a:gd name="T60" fmla="*/ 186 w 872"/>
                <a:gd name="T61" fmla="*/ 353 h 868"/>
                <a:gd name="T62" fmla="*/ 863 w 872"/>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2" h="868">
                  <a:moveTo>
                    <a:pt x="863" y="498"/>
                  </a:moveTo>
                  <a:lnTo>
                    <a:pt x="863" y="498"/>
                  </a:lnTo>
                  <a:cubicBezTo>
                    <a:pt x="183" y="498"/>
                    <a:pt x="183" y="498"/>
                    <a:pt x="183" y="498"/>
                  </a:cubicBezTo>
                  <a:cubicBezTo>
                    <a:pt x="189" y="562"/>
                    <a:pt x="219" y="611"/>
                    <a:pt x="266" y="650"/>
                  </a:cubicBezTo>
                  <a:cubicBezTo>
                    <a:pt x="316" y="686"/>
                    <a:pt x="380" y="706"/>
                    <a:pt x="458" y="706"/>
                  </a:cubicBezTo>
                  <a:cubicBezTo>
                    <a:pt x="499" y="706"/>
                    <a:pt x="543" y="698"/>
                    <a:pt x="590" y="684"/>
                  </a:cubicBezTo>
                  <a:cubicBezTo>
                    <a:pt x="638" y="667"/>
                    <a:pt x="674" y="645"/>
                    <a:pt x="699" y="617"/>
                  </a:cubicBezTo>
                  <a:cubicBezTo>
                    <a:pt x="815" y="725"/>
                    <a:pt x="815" y="725"/>
                    <a:pt x="815" y="725"/>
                  </a:cubicBezTo>
                  <a:cubicBezTo>
                    <a:pt x="793" y="750"/>
                    <a:pt x="768" y="770"/>
                    <a:pt x="740" y="786"/>
                  </a:cubicBezTo>
                  <a:cubicBezTo>
                    <a:pt x="710" y="806"/>
                    <a:pt x="682" y="820"/>
                    <a:pt x="649" y="831"/>
                  </a:cubicBezTo>
                  <a:cubicBezTo>
                    <a:pt x="618" y="845"/>
                    <a:pt x="585" y="853"/>
                    <a:pt x="551" y="859"/>
                  </a:cubicBezTo>
                  <a:cubicBezTo>
                    <a:pt x="518" y="864"/>
                    <a:pt x="485" y="867"/>
                    <a:pt x="452" y="867"/>
                  </a:cubicBezTo>
                  <a:cubicBezTo>
                    <a:pt x="383" y="867"/>
                    <a:pt x="322" y="856"/>
                    <a:pt x="266" y="836"/>
                  </a:cubicBezTo>
                  <a:cubicBezTo>
                    <a:pt x="211" y="814"/>
                    <a:pt x="161" y="786"/>
                    <a:pt x="122" y="748"/>
                  </a:cubicBezTo>
                  <a:cubicBezTo>
                    <a:pt x="83" y="709"/>
                    <a:pt x="53" y="664"/>
                    <a:pt x="30" y="609"/>
                  </a:cubicBezTo>
                  <a:cubicBezTo>
                    <a:pt x="11" y="556"/>
                    <a:pt x="0" y="495"/>
                    <a:pt x="0" y="431"/>
                  </a:cubicBezTo>
                  <a:cubicBezTo>
                    <a:pt x="0" y="367"/>
                    <a:pt x="11" y="309"/>
                    <a:pt x="30" y="256"/>
                  </a:cubicBezTo>
                  <a:cubicBezTo>
                    <a:pt x="53" y="203"/>
                    <a:pt x="83" y="159"/>
                    <a:pt x="122" y="120"/>
                  </a:cubicBezTo>
                  <a:cubicBezTo>
                    <a:pt x="161" y="84"/>
                    <a:pt x="208" y="53"/>
                    <a:pt x="261" y="31"/>
                  </a:cubicBezTo>
                  <a:cubicBezTo>
                    <a:pt x="316" y="12"/>
                    <a:pt x="375" y="0"/>
                    <a:pt x="441" y="0"/>
                  </a:cubicBezTo>
                  <a:cubicBezTo>
                    <a:pt x="510" y="0"/>
                    <a:pt x="571" y="12"/>
                    <a:pt x="626" y="31"/>
                  </a:cubicBezTo>
                  <a:cubicBezTo>
                    <a:pt x="682" y="53"/>
                    <a:pt x="726" y="84"/>
                    <a:pt x="765" y="125"/>
                  </a:cubicBezTo>
                  <a:cubicBezTo>
                    <a:pt x="804" y="164"/>
                    <a:pt x="832" y="217"/>
                    <a:pt x="849" y="278"/>
                  </a:cubicBezTo>
                  <a:cubicBezTo>
                    <a:pt x="868" y="342"/>
                    <a:pt x="871" y="414"/>
                    <a:pt x="863" y="498"/>
                  </a:cubicBezTo>
                  <a:lnTo>
                    <a:pt x="186" y="353"/>
                  </a:lnTo>
                  <a:lnTo>
                    <a:pt x="186" y="353"/>
                  </a:lnTo>
                  <a:cubicBezTo>
                    <a:pt x="696" y="353"/>
                    <a:pt x="696" y="353"/>
                    <a:pt x="696" y="353"/>
                  </a:cubicBezTo>
                  <a:cubicBezTo>
                    <a:pt x="690" y="287"/>
                    <a:pt x="663" y="236"/>
                    <a:pt x="621" y="203"/>
                  </a:cubicBezTo>
                  <a:cubicBezTo>
                    <a:pt x="577" y="170"/>
                    <a:pt x="518" y="153"/>
                    <a:pt x="447" y="153"/>
                  </a:cubicBezTo>
                  <a:cubicBezTo>
                    <a:pt x="380" y="153"/>
                    <a:pt x="325" y="170"/>
                    <a:pt x="278" y="203"/>
                  </a:cubicBezTo>
                  <a:cubicBezTo>
                    <a:pt x="230" y="236"/>
                    <a:pt x="200" y="287"/>
                    <a:pt x="186" y="353"/>
                  </a:cubicBezTo>
                  <a:lnTo>
                    <a:pt x="863"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3" name="Freeform 10">
              <a:extLst>
                <a:ext uri="{FF2B5EF4-FFF2-40B4-BE49-F238E27FC236}">
                  <a16:creationId xmlns:a16="http://schemas.microsoft.com/office/drawing/2014/main" id="{96065675-A273-F046-BBBD-BF5AD455AD2C}"/>
                </a:ext>
              </a:extLst>
            </p:cNvPr>
            <p:cNvSpPr>
              <a:spLocks noChangeArrowheads="1"/>
            </p:cNvSpPr>
            <p:nvPr userDrawn="1"/>
          </p:nvSpPr>
          <p:spPr bwMode="auto">
            <a:xfrm>
              <a:off x="5205413" y="3149600"/>
              <a:ext cx="301625" cy="296863"/>
            </a:xfrm>
            <a:custGeom>
              <a:avLst/>
              <a:gdLst>
                <a:gd name="T0" fmla="*/ 606 w 837"/>
                <a:gd name="T1" fmla="*/ 0 h 823"/>
                <a:gd name="T2" fmla="*/ 820 w 837"/>
                <a:gd name="T3" fmla="*/ 0 h 823"/>
                <a:gd name="T4" fmla="*/ 820 w 837"/>
                <a:gd name="T5" fmla="*/ 5 h 823"/>
                <a:gd name="T6" fmla="*/ 536 w 837"/>
                <a:gd name="T7" fmla="*/ 402 h 823"/>
                <a:gd name="T8" fmla="*/ 836 w 837"/>
                <a:gd name="T9" fmla="*/ 819 h 823"/>
                <a:gd name="T10" fmla="*/ 836 w 837"/>
                <a:gd name="T11" fmla="*/ 822 h 823"/>
                <a:gd name="T12" fmla="*/ 625 w 837"/>
                <a:gd name="T13" fmla="*/ 822 h 823"/>
                <a:gd name="T14" fmla="*/ 420 w 837"/>
                <a:gd name="T15" fmla="*/ 525 h 823"/>
                <a:gd name="T16" fmla="*/ 212 w 837"/>
                <a:gd name="T17" fmla="*/ 822 h 823"/>
                <a:gd name="T18" fmla="*/ 0 w 837"/>
                <a:gd name="T19" fmla="*/ 822 h 823"/>
                <a:gd name="T20" fmla="*/ 0 w 837"/>
                <a:gd name="T21" fmla="*/ 819 h 823"/>
                <a:gd name="T22" fmla="*/ 303 w 837"/>
                <a:gd name="T23" fmla="*/ 402 h 823"/>
                <a:gd name="T24" fmla="*/ 20 w 837"/>
                <a:gd name="T25" fmla="*/ 5 h 823"/>
                <a:gd name="T26" fmla="*/ 20 w 837"/>
                <a:gd name="T27" fmla="*/ 0 h 823"/>
                <a:gd name="T28" fmla="*/ 231 w 837"/>
                <a:gd name="T29" fmla="*/ 0 h 823"/>
                <a:gd name="T30" fmla="*/ 420 w 837"/>
                <a:gd name="T31" fmla="*/ 294 h 823"/>
                <a:gd name="T32" fmla="*/ 606 w 837"/>
                <a:gd name="T33"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7" h="823">
                  <a:moveTo>
                    <a:pt x="606" y="0"/>
                  </a:moveTo>
                  <a:lnTo>
                    <a:pt x="820" y="0"/>
                  </a:lnTo>
                  <a:lnTo>
                    <a:pt x="820" y="5"/>
                  </a:lnTo>
                  <a:lnTo>
                    <a:pt x="536" y="402"/>
                  </a:lnTo>
                  <a:lnTo>
                    <a:pt x="836" y="819"/>
                  </a:lnTo>
                  <a:lnTo>
                    <a:pt x="836" y="822"/>
                  </a:lnTo>
                  <a:lnTo>
                    <a:pt x="625" y="822"/>
                  </a:lnTo>
                  <a:lnTo>
                    <a:pt x="420" y="525"/>
                  </a:lnTo>
                  <a:lnTo>
                    <a:pt x="212" y="822"/>
                  </a:lnTo>
                  <a:lnTo>
                    <a:pt x="0" y="822"/>
                  </a:lnTo>
                  <a:lnTo>
                    <a:pt x="0" y="819"/>
                  </a:lnTo>
                  <a:lnTo>
                    <a:pt x="303" y="402"/>
                  </a:lnTo>
                  <a:lnTo>
                    <a:pt x="20" y="5"/>
                  </a:lnTo>
                  <a:lnTo>
                    <a:pt x="20" y="0"/>
                  </a:lnTo>
                  <a:lnTo>
                    <a:pt x="231" y="0"/>
                  </a:lnTo>
                  <a:lnTo>
                    <a:pt x="420" y="294"/>
                  </a:lnTo>
                  <a:lnTo>
                    <a:pt x="60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4" name="Freeform 11">
              <a:extLst>
                <a:ext uri="{FF2B5EF4-FFF2-40B4-BE49-F238E27FC236}">
                  <a16:creationId xmlns:a16="http://schemas.microsoft.com/office/drawing/2014/main" id="{CFBF11F7-13DF-164C-9B41-A5A9A575E6B7}"/>
                </a:ext>
              </a:extLst>
            </p:cNvPr>
            <p:cNvSpPr>
              <a:spLocks noChangeArrowheads="1"/>
            </p:cNvSpPr>
            <p:nvPr userDrawn="1"/>
          </p:nvSpPr>
          <p:spPr bwMode="auto">
            <a:xfrm>
              <a:off x="5557838" y="3143250"/>
              <a:ext cx="323850" cy="439738"/>
            </a:xfrm>
            <a:custGeom>
              <a:avLst/>
              <a:gdLst>
                <a:gd name="T0" fmla="*/ 0 w 898"/>
                <a:gd name="T1" fmla="*/ 1221 h 1222"/>
                <a:gd name="T2" fmla="*/ 0 w 898"/>
                <a:gd name="T3" fmla="*/ 1221 h 1222"/>
                <a:gd name="T4" fmla="*/ 0 w 898"/>
                <a:gd name="T5" fmla="*/ 17 h 1222"/>
                <a:gd name="T6" fmla="*/ 164 w 898"/>
                <a:gd name="T7" fmla="*/ 17 h 1222"/>
                <a:gd name="T8" fmla="*/ 175 w 898"/>
                <a:gd name="T9" fmla="*/ 150 h 1222"/>
                <a:gd name="T10" fmla="*/ 306 w 898"/>
                <a:gd name="T11" fmla="*/ 36 h 1222"/>
                <a:gd name="T12" fmla="*/ 472 w 898"/>
                <a:gd name="T13" fmla="*/ 0 h 1222"/>
                <a:gd name="T14" fmla="*/ 645 w 898"/>
                <a:gd name="T15" fmla="*/ 33 h 1222"/>
                <a:gd name="T16" fmla="*/ 781 w 898"/>
                <a:gd name="T17" fmla="*/ 122 h 1222"/>
                <a:gd name="T18" fmla="*/ 867 w 898"/>
                <a:gd name="T19" fmla="*/ 256 h 1222"/>
                <a:gd name="T20" fmla="*/ 897 w 898"/>
                <a:gd name="T21" fmla="*/ 428 h 1222"/>
                <a:gd name="T22" fmla="*/ 867 w 898"/>
                <a:gd name="T23" fmla="*/ 600 h 1222"/>
                <a:gd name="T24" fmla="*/ 783 w 898"/>
                <a:gd name="T25" fmla="*/ 736 h 1222"/>
                <a:gd name="T26" fmla="*/ 650 w 898"/>
                <a:gd name="T27" fmla="*/ 828 h 1222"/>
                <a:gd name="T28" fmla="*/ 472 w 898"/>
                <a:gd name="T29" fmla="*/ 858 h 1222"/>
                <a:gd name="T30" fmla="*/ 392 w 898"/>
                <a:gd name="T31" fmla="*/ 850 h 1222"/>
                <a:gd name="T32" fmla="*/ 308 w 898"/>
                <a:gd name="T33" fmla="*/ 828 h 1222"/>
                <a:gd name="T34" fmla="*/ 233 w 898"/>
                <a:gd name="T35" fmla="*/ 786 h 1222"/>
                <a:gd name="T36" fmla="*/ 175 w 898"/>
                <a:gd name="T37" fmla="*/ 719 h 1222"/>
                <a:gd name="T38" fmla="*/ 175 w 898"/>
                <a:gd name="T39" fmla="*/ 1221 h 1222"/>
                <a:gd name="T40" fmla="*/ 0 w 898"/>
                <a:gd name="T41" fmla="*/ 1221 h 1222"/>
                <a:gd name="T42" fmla="*/ 456 w 898"/>
                <a:gd name="T43" fmla="*/ 692 h 1222"/>
                <a:gd name="T44" fmla="*/ 456 w 898"/>
                <a:gd name="T45" fmla="*/ 692 h 1222"/>
                <a:gd name="T46" fmla="*/ 561 w 898"/>
                <a:gd name="T47" fmla="*/ 672 h 1222"/>
                <a:gd name="T48" fmla="*/ 647 w 898"/>
                <a:gd name="T49" fmla="*/ 617 h 1222"/>
                <a:gd name="T50" fmla="*/ 703 w 898"/>
                <a:gd name="T51" fmla="*/ 536 h 1222"/>
                <a:gd name="T52" fmla="*/ 722 w 898"/>
                <a:gd name="T53" fmla="*/ 428 h 1222"/>
                <a:gd name="T54" fmla="*/ 650 w 898"/>
                <a:gd name="T55" fmla="*/ 239 h 1222"/>
                <a:gd name="T56" fmla="*/ 456 w 898"/>
                <a:gd name="T57" fmla="*/ 167 h 1222"/>
                <a:gd name="T58" fmla="*/ 345 w 898"/>
                <a:gd name="T59" fmla="*/ 186 h 1222"/>
                <a:gd name="T60" fmla="*/ 261 w 898"/>
                <a:gd name="T61" fmla="*/ 242 h 1222"/>
                <a:gd name="T62" fmla="*/ 208 w 898"/>
                <a:gd name="T63" fmla="*/ 325 h 1222"/>
                <a:gd name="T64" fmla="*/ 192 w 898"/>
                <a:gd name="T65" fmla="*/ 428 h 1222"/>
                <a:gd name="T66" fmla="*/ 211 w 898"/>
                <a:gd name="T67" fmla="*/ 530 h 1222"/>
                <a:gd name="T68" fmla="*/ 264 w 898"/>
                <a:gd name="T69" fmla="*/ 617 h 1222"/>
                <a:gd name="T70" fmla="*/ 347 w 898"/>
                <a:gd name="T71" fmla="*/ 672 h 1222"/>
                <a:gd name="T72" fmla="*/ 456 w 898"/>
                <a:gd name="T73" fmla="*/ 69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8" h="1222">
                  <a:moveTo>
                    <a:pt x="0" y="1221"/>
                  </a:moveTo>
                  <a:lnTo>
                    <a:pt x="0" y="1221"/>
                  </a:lnTo>
                  <a:cubicBezTo>
                    <a:pt x="0" y="17"/>
                    <a:pt x="0" y="17"/>
                    <a:pt x="0" y="17"/>
                  </a:cubicBezTo>
                  <a:cubicBezTo>
                    <a:pt x="164" y="17"/>
                    <a:pt x="164" y="17"/>
                    <a:pt x="164" y="17"/>
                  </a:cubicBezTo>
                  <a:cubicBezTo>
                    <a:pt x="175" y="150"/>
                    <a:pt x="175" y="150"/>
                    <a:pt x="175" y="150"/>
                  </a:cubicBezTo>
                  <a:cubicBezTo>
                    <a:pt x="208" y="100"/>
                    <a:pt x="253" y="61"/>
                    <a:pt x="306" y="36"/>
                  </a:cubicBezTo>
                  <a:cubicBezTo>
                    <a:pt x="361" y="11"/>
                    <a:pt x="417" y="0"/>
                    <a:pt x="472" y="0"/>
                  </a:cubicBezTo>
                  <a:cubicBezTo>
                    <a:pt x="536" y="0"/>
                    <a:pt x="592" y="11"/>
                    <a:pt x="645" y="33"/>
                  </a:cubicBezTo>
                  <a:cubicBezTo>
                    <a:pt x="697" y="53"/>
                    <a:pt x="742" y="83"/>
                    <a:pt x="781" y="122"/>
                  </a:cubicBezTo>
                  <a:cubicBezTo>
                    <a:pt x="817" y="158"/>
                    <a:pt x="847" y="206"/>
                    <a:pt x="867" y="256"/>
                  </a:cubicBezTo>
                  <a:cubicBezTo>
                    <a:pt x="886" y="308"/>
                    <a:pt x="897" y="367"/>
                    <a:pt x="897" y="428"/>
                  </a:cubicBezTo>
                  <a:cubicBezTo>
                    <a:pt x="897" y="492"/>
                    <a:pt x="886" y="550"/>
                    <a:pt x="867" y="600"/>
                  </a:cubicBezTo>
                  <a:cubicBezTo>
                    <a:pt x="847" y="653"/>
                    <a:pt x="820" y="700"/>
                    <a:pt x="783" y="736"/>
                  </a:cubicBezTo>
                  <a:cubicBezTo>
                    <a:pt x="747" y="775"/>
                    <a:pt x="703" y="805"/>
                    <a:pt x="650" y="828"/>
                  </a:cubicBezTo>
                  <a:cubicBezTo>
                    <a:pt x="597" y="847"/>
                    <a:pt x="536" y="858"/>
                    <a:pt x="472" y="858"/>
                  </a:cubicBezTo>
                  <a:cubicBezTo>
                    <a:pt x="447" y="858"/>
                    <a:pt x="420" y="856"/>
                    <a:pt x="392" y="850"/>
                  </a:cubicBezTo>
                  <a:cubicBezTo>
                    <a:pt x="364" y="847"/>
                    <a:pt x="336" y="839"/>
                    <a:pt x="308" y="828"/>
                  </a:cubicBezTo>
                  <a:cubicBezTo>
                    <a:pt x="283" y="817"/>
                    <a:pt x="258" y="803"/>
                    <a:pt x="233" y="786"/>
                  </a:cubicBezTo>
                  <a:cubicBezTo>
                    <a:pt x="211" y="767"/>
                    <a:pt x="192" y="744"/>
                    <a:pt x="175" y="719"/>
                  </a:cubicBezTo>
                  <a:cubicBezTo>
                    <a:pt x="175" y="1221"/>
                    <a:pt x="175" y="1221"/>
                    <a:pt x="175" y="1221"/>
                  </a:cubicBezTo>
                  <a:lnTo>
                    <a:pt x="0" y="1221"/>
                  </a:lnTo>
                  <a:close/>
                  <a:moveTo>
                    <a:pt x="456" y="692"/>
                  </a:moveTo>
                  <a:lnTo>
                    <a:pt x="456" y="692"/>
                  </a:lnTo>
                  <a:cubicBezTo>
                    <a:pt x="495" y="692"/>
                    <a:pt x="531" y="686"/>
                    <a:pt x="561" y="672"/>
                  </a:cubicBezTo>
                  <a:cubicBezTo>
                    <a:pt x="595" y="658"/>
                    <a:pt x="622" y="642"/>
                    <a:pt x="647" y="617"/>
                  </a:cubicBezTo>
                  <a:cubicBezTo>
                    <a:pt x="669" y="594"/>
                    <a:pt x="689" y="567"/>
                    <a:pt x="703" y="536"/>
                  </a:cubicBezTo>
                  <a:cubicBezTo>
                    <a:pt x="714" y="503"/>
                    <a:pt x="722" y="467"/>
                    <a:pt x="722" y="428"/>
                  </a:cubicBezTo>
                  <a:cubicBezTo>
                    <a:pt x="722" y="350"/>
                    <a:pt x="697" y="289"/>
                    <a:pt x="650" y="239"/>
                  </a:cubicBezTo>
                  <a:cubicBezTo>
                    <a:pt x="600" y="192"/>
                    <a:pt x="536" y="167"/>
                    <a:pt x="456" y="167"/>
                  </a:cubicBezTo>
                  <a:cubicBezTo>
                    <a:pt x="414" y="167"/>
                    <a:pt x="378" y="172"/>
                    <a:pt x="345" y="186"/>
                  </a:cubicBezTo>
                  <a:cubicBezTo>
                    <a:pt x="314" y="200"/>
                    <a:pt x="286" y="219"/>
                    <a:pt x="261" y="242"/>
                  </a:cubicBezTo>
                  <a:cubicBezTo>
                    <a:pt x="239" y="267"/>
                    <a:pt x="222" y="294"/>
                    <a:pt x="208" y="325"/>
                  </a:cubicBezTo>
                  <a:cubicBezTo>
                    <a:pt x="197" y="358"/>
                    <a:pt x="192" y="392"/>
                    <a:pt x="192" y="428"/>
                  </a:cubicBezTo>
                  <a:cubicBezTo>
                    <a:pt x="192" y="467"/>
                    <a:pt x="197" y="500"/>
                    <a:pt x="211" y="530"/>
                  </a:cubicBezTo>
                  <a:cubicBezTo>
                    <a:pt x="222" y="564"/>
                    <a:pt x="242" y="592"/>
                    <a:pt x="264" y="617"/>
                  </a:cubicBezTo>
                  <a:cubicBezTo>
                    <a:pt x="289" y="639"/>
                    <a:pt x="317" y="658"/>
                    <a:pt x="347" y="672"/>
                  </a:cubicBezTo>
                  <a:cubicBezTo>
                    <a:pt x="381" y="683"/>
                    <a:pt x="417" y="692"/>
                    <a:pt x="456" y="692"/>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5" name="Freeform 12">
              <a:extLst>
                <a:ext uri="{FF2B5EF4-FFF2-40B4-BE49-F238E27FC236}">
                  <a16:creationId xmlns:a16="http://schemas.microsoft.com/office/drawing/2014/main" id="{F56C2BA7-15B0-DA44-BEC3-24CC829F81BF}"/>
                </a:ext>
              </a:extLst>
            </p:cNvPr>
            <p:cNvSpPr>
              <a:spLocks noChangeArrowheads="1"/>
            </p:cNvSpPr>
            <p:nvPr userDrawn="1"/>
          </p:nvSpPr>
          <p:spPr bwMode="auto">
            <a:xfrm>
              <a:off x="5929313" y="3141663"/>
              <a:ext cx="315912" cy="312737"/>
            </a:xfrm>
            <a:custGeom>
              <a:avLst/>
              <a:gdLst>
                <a:gd name="T0" fmla="*/ 867 w 876"/>
                <a:gd name="T1" fmla="*/ 498 h 868"/>
                <a:gd name="T2" fmla="*/ 867 w 876"/>
                <a:gd name="T3" fmla="*/ 498 h 868"/>
                <a:gd name="T4" fmla="*/ 184 w 876"/>
                <a:gd name="T5" fmla="*/ 498 h 868"/>
                <a:gd name="T6" fmla="*/ 270 w 876"/>
                <a:gd name="T7" fmla="*/ 650 h 868"/>
                <a:gd name="T8" fmla="*/ 459 w 876"/>
                <a:gd name="T9" fmla="*/ 706 h 868"/>
                <a:gd name="T10" fmla="*/ 595 w 876"/>
                <a:gd name="T11" fmla="*/ 684 h 868"/>
                <a:gd name="T12" fmla="*/ 703 w 876"/>
                <a:gd name="T13" fmla="*/ 617 h 868"/>
                <a:gd name="T14" fmla="*/ 817 w 876"/>
                <a:gd name="T15" fmla="*/ 725 h 868"/>
                <a:gd name="T16" fmla="*/ 742 w 876"/>
                <a:gd name="T17" fmla="*/ 786 h 868"/>
                <a:gd name="T18" fmla="*/ 653 w 876"/>
                <a:gd name="T19" fmla="*/ 831 h 868"/>
                <a:gd name="T20" fmla="*/ 553 w 876"/>
                <a:gd name="T21" fmla="*/ 859 h 868"/>
                <a:gd name="T22" fmla="*/ 456 w 876"/>
                <a:gd name="T23" fmla="*/ 867 h 868"/>
                <a:gd name="T24" fmla="*/ 267 w 876"/>
                <a:gd name="T25" fmla="*/ 836 h 868"/>
                <a:gd name="T26" fmla="*/ 125 w 876"/>
                <a:gd name="T27" fmla="*/ 748 h 868"/>
                <a:gd name="T28" fmla="*/ 34 w 876"/>
                <a:gd name="T29" fmla="*/ 609 h 868"/>
                <a:gd name="T30" fmla="*/ 0 w 876"/>
                <a:gd name="T31" fmla="*/ 431 h 868"/>
                <a:gd name="T32" fmla="*/ 34 w 876"/>
                <a:gd name="T33" fmla="*/ 256 h 868"/>
                <a:gd name="T34" fmla="*/ 125 w 876"/>
                <a:gd name="T35" fmla="*/ 120 h 868"/>
                <a:gd name="T36" fmla="*/ 264 w 876"/>
                <a:gd name="T37" fmla="*/ 31 h 868"/>
                <a:gd name="T38" fmla="*/ 442 w 876"/>
                <a:gd name="T39" fmla="*/ 0 h 868"/>
                <a:gd name="T40" fmla="*/ 628 w 876"/>
                <a:gd name="T41" fmla="*/ 31 h 868"/>
                <a:gd name="T42" fmla="*/ 770 w 876"/>
                <a:gd name="T43" fmla="*/ 125 h 868"/>
                <a:gd name="T44" fmla="*/ 853 w 876"/>
                <a:gd name="T45" fmla="*/ 278 h 868"/>
                <a:gd name="T46" fmla="*/ 867 w 876"/>
                <a:gd name="T47" fmla="*/ 498 h 868"/>
                <a:gd name="T48" fmla="*/ 186 w 876"/>
                <a:gd name="T49" fmla="*/ 353 h 868"/>
                <a:gd name="T50" fmla="*/ 186 w 876"/>
                <a:gd name="T51" fmla="*/ 353 h 868"/>
                <a:gd name="T52" fmla="*/ 698 w 876"/>
                <a:gd name="T53" fmla="*/ 353 h 868"/>
                <a:gd name="T54" fmla="*/ 623 w 876"/>
                <a:gd name="T55" fmla="*/ 203 h 868"/>
                <a:gd name="T56" fmla="*/ 448 w 876"/>
                <a:gd name="T57" fmla="*/ 153 h 868"/>
                <a:gd name="T58" fmla="*/ 278 w 876"/>
                <a:gd name="T59" fmla="*/ 203 h 868"/>
                <a:gd name="T60" fmla="*/ 186 w 876"/>
                <a:gd name="T61" fmla="*/ 353 h 868"/>
                <a:gd name="T62" fmla="*/ 867 w 876"/>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8">
                  <a:moveTo>
                    <a:pt x="867" y="498"/>
                  </a:moveTo>
                  <a:lnTo>
                    <a:pt x="867" y="498"/>
                  </a:lnTo>
                  <a:cubicBezTo>
                    <a:pt x="184" y="498"/>
                    <a:pt x="184" y="498"/>
                    <a:pt x="184" y="498"/>
                  </a:cubicBezTo>
                  <a:cubicBezTo>
                    <a:pt x="192" y="562"/>
                    <a:pt x="220" y="611"/>
                    <a:pt x="270" y="650"/>
                  </a:cubicBezTo>
                  <a:cubicBezTo>
                    <a:pt x="317" y="686"/>
                    <a:pt x="381" y="706"/>
                    <a:pt x="459" y="706"/>
                  </a:cubicBezTo>
                  <a:cubicBezTo>
                    <a:pt x="503" y="706"/>
                    <a:pt x="547" y="698"/>
                    <a:pt x="595" y="684"/>
                  </a:cubicBezTo>
                  <a:cubicBezTo>
                    <a:pt x="639" y="667"/>
                    <a:pt x="675" y="645"/>
                    <a:pt x="703" y="617"/>
                  </a:cubicBezTo>
                  <a:cubicBezTo>
                    <a:pt x="817" y="725"/>
                    <a:pt x="817" y="725"/>
                    <a:pt x="817" y="725"/>
                  </a:cubicBezTo>
                  <a:cubicBezTo>
                    <a:pt x="795" y="750"/>
                    <a:pt x="770" y="770"/>
                    <a:pt x="742" y="786"/>
                  </a:cubicBezTo>
                  <a:cubicBezTo>
                    <a:pt x="714" y="806"/>
                    <a:pt x="684" y="820"/>
                    <a:pt x="653" y="831"/>
                  </a:cubicBezTo>
                  <a:cubicBezTo>
                    <a:pt x="620" y="845"/>
                    <a:pt x="589" y="853"/>
                    <a:pt x="553" y="859"/>
                  </a:cubicBezTo>
                  <a:cubicBezTo>
                    <a:pt x="520" y="864"/>
                    <a:pt x="486" y="867"/>
                    <a:pt x="456" y="867"/>
                  </a:cubicBezTo>
                  <a:cubicBezTo>
                    <a:pt x="386" y="867"/>
                    <a:pt x="323" y="856"/>
                    <a:pt x="267" y="836"/>
                  </a:cubicBezTo>
                  <a:cubicBezTo>
                    <a:pt x="211" y="814"/>
                    <a:pt x="164" y="786"/>
                    <a:pt x="125" y="748"/>
                  </a:cubicBezTo>
                  <a:cubicBezTo>
                    <a:pt x="86" y="709"/>
                    <a:pt x="56" y="664"/>
                    <a:pt x="34" y="609"/>
                  </a:cubicBezTo>
                  <a:cubicBezTo>
                    <a:pt x="11" y="556"/>
                    <a:pt x="0" y="495"/>
                    <a:pt x="0" y="431"/>
                  </a:cubicBezTo>
                  <a:cubicBezTo>
                    <a:pt x="0" y="367"/>
                    <a:pt x="11" y="309"/>
                    <a:pt x="34" y="256"/>
                  </a:cubicBezTo>
                  <a:cubicBezTo>
                    <a:pt x="56" y="203"/>
                    <a:pt x="86" y="159"/>
                    <a:pt x="125" y="120"/>
                  </a:cubicBezTo>
                  <a:cubicBezTo>
                    <a:pt x="161" y="84"/>
                    <a:pt x="209" y="53"/>
                    <a:pt x="264" y="31"/>
                  </a:cubicBezTo>
                  <a:cubicBezTo>
                    <a:pt x="317" y="12"/>
                    <a:pt x="378" y="0"/>
                    <a:pt x="442" y="0"/>
                  </a:cubicBezTo>
                  <a:cubicBezTo>
                    <a:pt x="511" y="0"/>
                    <a:pt x="573" y="12"/>
                    <a:pt x="628" y="31"/>
                  </a:cubicBezTo>
                  <a:cubicBezTo>
                    <a:pt x="684" y="53"/>
                    <a:pt x="731" y="84"/>
                    <a:pt x="770" y="125"/>
                  </a:cubicBezTo>
                  <a:cubicBezTo>
                    <a:pt x="806" y="164"/>
                    <a:pt x="834" y="217"/>
                    <a:pt x="853" y="278"/>
                  </a:cubicBezTo>
                  <a:cubicBezTo>
                    <a:pt x="870" y="342"/>
                    <a:pt x="875" y="414"/>
                    <a:pt x="867" y="498"/>
                  </a:cubicBezTo>
                  <a:lnTo>
                    <a:pt x="186" y="353"/>
                  </a:lnTo>
                  <a:lnTo>
                    <a:pt x="186" y="353"/>
                  </a:lnTo>
                  <a:cubicBezTo>
                    <a:pt x="698" y="353"/>
                    <a:pt x="698" y="353"/>
                    <a:pt x="698" y="353"/>
                  </a:cubicBezTo>
                  <a:cubicBezTo>
                    <a:pt x="692" y="287"/>
                    <a:pt x="667" y="236"/>
                    <a:pt x="623" y="203"/>
                  </a:cubicBezTo>
                  <a:cubicBezTo>
                    <a:pt x="578" y="170"/>
                    <a:pt x="520" y="153"/>
                    <a:pt x="448" y="153"/>
                  </a:cubicBezTo>
                  <a:cubicBezTo>
                    <a:pt x="384" y="153"/>
                    <a:pt x="328" y="170"/>
                    <a:pt x="278" y="203"/>
                  </a:cubicBezTo>
                  <a:cubicBezTo>
                    <a:pt x="231" y="236"/>
                    <a:pt x="200" y="287"/>
                    <a:pt x="186" y="353"/>
                  </a:cubicBezTo>
                  <a:lnTo>
                    <a:pt x="867"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6" name="Freeform 13">
              <a:extLst>
                <a:ext uri="{FF2B5EF4-FFF2-40B4-BE49-F238E27FC236}">
                  <a16:creationId xmlns:a16="http://schemas.microsoft.com/office/drawing/2014/main" id="{B56F7B07-2A5C-5740-9E94-CE949459735B}"/>
                </a:ext>
              </a:extLst>
            </p:cNvPr>
            <p:cNvSpPr>
              <a:spLocks noChangeArrowheads="1"/>
            </p:cNvSpPr>
            <p:nvPr userDrawn="1"/>
          </p:nvSpPr>
          <p:spPr bwMode="auto">
            <a:xfrm>
              <a:off x="6305550" y="3141663"/>
              <a:ext cx="228600" cy="303212"/>
            </a:xfrm>
            <a:custGeom>
              <a:avLst/>
              <a:gdLst>
                <a:gd name="T0" fmla="*/ 164 w 634"/>
                <a:gd name="T1" fmla="*/ 20 h 843"/>
                <a:gd name="T2" fmla="*/ 164 w 634"/>
                <a:gd name="T3" fmla="*/ 20 h 843"/>
                <a:gd name="T4" fmla="*/ 177 w 634"/>
                <a:gd name="T5" fmla="*/ 128 h 843"/>
                <a:gd name="T6" fmla="*/ 289 w 634"/>
                <a:gd name="T7" fmla="*/ 25 h 843"/>
                <a:gd name="T8" fmla="*/ 425 w 634"/>
                <a:gd name="T9" fmla="*/ 0 h 843"/>
                <a:gd name="T10" fmla="*/ 541 w 634"/>
                <a:gd name="T11" fmla="*/ 20 h 843"/>
                <a:gd name="T12" fmla="*/ 633 w 634"/>
                <a:gd name="T13" fmla="*/ 70 h 843"/>
                <a:gd name="T14" fmla="*/ 552 w 634"/>
                <a:gd name="T15" fmla="*/ 222 h 843"/>
                <a:gd name="T16" fmla="*/ 486 w 634"/>
                <a:gd name="T17" fmla="*/ 184 h 843"/>
                <a:gd name="T18" fmla="*/ 405 w 634"/>
                <a:gd name="T19" fmla="*/ 172 h 843"/>
                <a:gd name="T20" fmla="*/ 316 w 634"/>
                <a:gd name="T21" fmla="*/ 186 h 843"/>
                <a:gd name="T22" fmla="*/ 244 w 634"/>
                <a:gd name="T23" fmla="*/ 228 h 843"/>
                <a:gd name="T24" fmla="*/ 197 w 634"/>
                <a:gd name="T25" fmla="*/ 297 h 843"/>
                <a:gd name="T26" fmla="*/ 177 w 634"/>
                <a:gd name="T27" fmla="*/ 397 h 843"/>
                <a:gd name="T28" fmla="*/ 177 w 634"/>
                <a:gd name="T29" fmla="*/ 842 h 843"/>
                <a:gd name="T30" fmla="*/ 0 w 634"/>
                <a:gd name="T31" fmla="*/ 842 h 843"/>
                <a:gd name="T32" fmla="*/ 0 w 634"/>
                <a:gd name="T33" fmla="*/ 20 h 843"/>
                <a:gd name="T34" fmla="*/ 164 w 634"/>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4" h="843">
                  <a:moveTo>
                    <a:pt x="164" y="20"/>
                  </a:moveTo>
                  <a:lnTo>
                    <a:pt x="164" y="20"/>
                  </a:lnTo>
                  <a:cubicBezTo>
                    <a:pt x="177" y="128"/>
                    <a:pt x="177" y="128"/>
                    <a:pt x="177" y="128"/>
                  </a:cubicBezTo>
                  <a:cubicBezTo>
                    <a:pt x="208" y="75"/>
                    <a:pt x="244" y="42"/>
                    <a:pt x="289" y="25"/>
                  </a:cubicBezTo>
                  <a:cubicBezTo>
                    <a:pt x="333" y="9"/>
                    <a:pt x="380" y="0"/>
                    <a:pt x="425" y="0"/>
                  </a:cubicBezTo>
                  <a:cubicBezTo>
                    <a:pt x="466" y="0"/>
                    <a:pt x="505" y="9"/>
                    <a:pt x="541" y="20"/>
                  </a:cubicBezTo>
                  <a:cubicBezTo>
                    <a:pt x="577" y="34"/>
                    <a:pt x="608" y="50"/>
                    <a:pt x="633" y="70"/>
                  </a:cubicBezTo>
                  <a:cubicBezTo>
                    <a:pt x="552" y="222"/>
                    <a:pt x="552" y="222"/>
                    <a:pt x="552" y="222"/>
                  </a:cubicBezTo>
                  <a:cubicBezTo>
                    <a:pt x="530" y="206"/>
                    <a:pt x="508" y="192"/>
                    <a:pt x="486" y="184"/>
                  </a:cubicBezTo>
                  <a:cubicBezTo>
                    <a:pt x="464" y="175"/>
                    <a:pt x="436" y="172"/>
                    <a:pt x="405" y="172"/>
                  </a:cubicBezTo>
                  <a:cubicBezTo>
                    <a:pt x="372" y="172"/>
                    <a:pt x="344" y="175"/>
                    <a:pt x="316" y="186"/>
                  </a:cubicBezTo>
                  <a:cubicBezTo>
                    <a:pt x="289" y="195"/>
                    <a:pt x="266" y="209"/>
                    <a:pt x="244" y="228"/>
                  </a:cubicBezTo>
                  <a:cubicBezTo>
                    <a:pt x="225" y="245"/>
                    <a:pt x="208" y="270"/>
                    <a:pt x="197" y="297"/>
                  </a:cubicBezTo>
                  <a:cubicBezTo>
                    <a:pt x="183" y="325"/>
                    <a:pt x="177" y="359"/>
                    <a:pt x="177" y="397"/>
                  </a:cubicBezTo>
                  <a:cubicBezTo>
                    <a:pt x="177" y="842"/>
                    <a:pt x="177" y="842"/>
                    <a:pt x="177"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7" name="Freeform 14">
              <a:extLst>
                <a:ext uri="{FF2B5EF4-FFF2-40B4-BE49-F238E27FC236}">
                  <a16:creationId xmlns:a16="http://schemas.microsoft.com/office/drawing/2014/main" id="{A106F4E9-EEB2-DC41-A93F-38BD6AC491A0}"/>
                </a:ext>
              </a:extLst>
            </p:cNvPr>
            <p:cNvSpPr>
              <a:spLocks noChangeArrowheads="1"/>
            </p:cNvSpPr>
            <p:nvPr userDrawn="1"/>
          </p:nvSpPr>
          <p:spPr bwMode="auto">
            <a:xfrm>
              <a:off x="6577013" y="3148013"/>
              <a:ext cx="63500" cy="296862"/>
            </a:xfrm>
            <a:custGeom>
              <a:avLst/>
              <a:gdLst>
                <a:gd name="T0" fmla="*/ 175 w 176"/>
                <a:gd name="T1" fmla="*/ 825 h 826"/>
                <a:gd name="T2" fmla="*/ 0 w 176"/>
                <a:gd name="T3" fmla="*/ 825 h 826"/>
                <a:gd name="T4" fmla="*/ 0 w 176"/>
                <a:gd name="T5" fmla="*/ 0 h 826"/>
                <a:gd name="T6" fmla="*/ 175 w 176"/>
                <a:gd name="T7" fmla="*/ 0 h 826"/>
                <a:gd name="T8" fmla="*/ 175 w 176"/>
                <a:gd name="T9" fmla="*/ 825 h 826"/>
              </a:gdLst>
              <a:ahLst/>
              <a:cxnLst>
                <a:cxn ang="0">
                  <a:pos x="T0" y="T1"/>
                </a:cxn>
                <a:cxn ang="0">
                  <a:pos x="T2" y="T3"/>
                </a:cxn>
                <a:cxn ang="0">
                  <a:pos x="T4" y="T5"/>
                </a:cxn>
                <a:cxn ang="0">
                  <a:pos x="T6" y="T7"/>
                </a:cxn>
                <a:cxn ang="0">
                  <a:pos x="T8" y="T9"/>
                </a:cxn>
              </a:cxnLst>
              <a:rect l="0" t="0" r="r" b="b"/>
              <a:pathLst>
                <a:path w="176" h="826">
                  <a:moveTo>
                    <a:pt x="175" y="825"/>
                  </a:moveTo>
                  <a:lnTo>
                    <a:pt x="0" y="825"/>
                  </a:lnTo>
                  <a:lnTo>
                    <a:pt x="0" y="0"/>
                  </a:lnTo>
                  <a:lnTo>
                    <a:pt x="175" y="0"/>
                  </a:lnTo>
                  <a:lnTo>
                    <a:pt x="175" y="8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8" name="Freeform 15">
              <a:extLst>
                <a:ext uri="{FF2B5EF4-FFF2-40B4-BE49-F238E27FC236}">
                  <a16:creationId xmlns:a16="http://schemas.microsoft.com/office/drawing/2014/main" id="{7C174984-9E4C-8940-ACB5-80FD2A6E2308}"/>
                </a:ext>
              </a:extLst>
            </p:cNvPr>
            <p:cNvSpPr>
              <a:spLocks noChangeArrowheads="1"/>
            </p:cNvSpPr>
            <p:nvPr userDrawn="1"/>
          </p:nvSpPr>
          <p:spPr bwMode="auto">
            <a:xfrm>
              <a:off x="6707188" y="3141663"/>
              <a:ext cx="314325" cy="312737"/>
            </a:xfrm>
            <a:custGeom>
              <a:avLst/>
              <a:gdLst>
                <a:gd name="T0" fmla="*/ 864 w 873"/>
                <a:gd name="T1" fmla="*/ 498 h 868"/>
                <a:gd name="T2" fmla="*/ 864 w 873"/>
                <a:gd name="T3" fmla="*/ 498 h 868"/>
                <a:gd name="T4" fmla="*/ 184 w 873"/>
                <a:gd name="T5" fmla="*/ 498 h 868"/>
                <a:gd name="T6" fmla="*/ 267 w 873"/>
                <a:gd name="T7" fmla="*/ 650 h 868"/>
                <a:gd name="T8" fmla="*/ 459 w 873"/>
                <a:gd name="T9" fmla="*/ 706 h 868"/>
                <a:gd name="T10" fmla="*/ 592 w 873"/>
                <a:gd name="T11" fmla="*/ 684 h 868"/>
                <a:gd name="T12" fmla="*/ 700 w 873"/>
                <a:gd name="T13" fmla="*/ 617 h 868"/>
                <a:gd name="T14" fmla="*/ 817 w 873"/>
                <a:gd name="T15" fmla="*/ 725 h 868"/>
                <a:gd name="T16" fmla="*/ 742 w 873"/>
                <a:gd name="T17" fmla="*/ 786 h 868"/>
                <a:gd name="T18" fmla="*/ 650 w 873"/>
                <a:gd name="T19" fmla="*/ 831 h 868"/>
                <a:gd name="T20" fmla="*/ 553 w 873"/>
                <a:gd name="T21" fmla="*/ 859 h 868"/>
                <a:gd name="T22" fmla="*/ 453 w 873"/>
                <a:gd name="T23" fmla="*/ 867 h 868"/>
                <a:gd name="T24" fmla="*/ 267 w 873"/>
                <a:gd name="T25" fmla="*/ 836 h 868"/>
                <a:gd name="T26" fmla="*/ 123 w 873"/>
                <a:gd name="T27" fmla="*/ 748 h 868"/>
                <a:gd name="T28" fmla="*/ 34 w 873"/>
                <a:gd name="T29" fmla="*/ 609 h 868"/>
                <a:gd name="T30" fmla="*/ 0 w 873"/>
                <a:gd name="T31" fmla="*/ 431 h 868"/>
                <a:gd name="T32" fmla="*/ 34 w 873"/>
                <a:gd name="T33" fmla="*/ 256 h 868"/>
                <a:gd name="T34" fmla="*/ 123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7 w 873"/>
                <a:gd name="T53" fmla="*/ 353 h 868"/>
                <a:gd name="T54" fmla="*/ 622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4" y="498"/>
                    <a:pt x="184" y="498"/>
                    <a:pt x="184" y="498"/>
                  </a:cubicBezTo>
                  <a:cubicBezTo>
                    <a:pt x="189" y="562"/>
                    <a:pt x="220" y="611"/>
                    <a:pt x="267" y="650"/>
                  </a:cubicBezTo>
                  <a:cubicBezTo>
                    <a:pt x="317" y="686"/>
                    <a:pt x="381" y="706"/>
                    <a:pt x="459" y="706"/>
                  </a:cubicBezTo>
                  <a:cubicBezTo>
                    <a:pt x="500" y="706"/>
                    <a:pt x="545" y="698"/>
                    <a:pt x="592" y="684"/>
                  </a:cubicBezTo>
                  <a:cubicBezTo>
                    <a:pt x="639" y="667"/>
                    <a:pt x="675" y="645"/>
                    <a:pt x="700" y="617"/>
                  </a:cubicBezTo>
                  <a:cubicBezTo>
                    <a:pt x="817" y="725"/>
                    <a:pt x="817" y="725"/>
                    <a:pt x="817" y="725"/>
                  </a:cubicBezTo>
                  <a:cubicBezTo>
                    <a:pt x="795" y="750"/>
                    <a:pt x="770" y="770"/>
                    <a:pt x="742" y="786"/>
                  </a:cubicBezTo>
                  <a:cubicBezTo>
                    <a:pt x="711" y="806"/>
                    <a:pt x="684" y="820"/>
                    <a:pt x="650" y="831"/>
                  </a:cubicBezTo>
                  <a:cubicBezTo>
                    <a:pt x="620" y="845"/>
                    <a:pt x="586" y="853"/>
                    <a:pt x="553" y="859"/>
                  </a:cubicBezTo>
                  <a:cubicBezTo>
                    <a:pt x="520" y="864"/>
                    <a:pt x="486" y="867"/>
                    <a:pt x="453" y="867"/>
                  </a:cubicBezTo>
                  <a:cubicBezTo>
                    <a:pt x="384" y="867"/>
                    <a:pt x="322" y="856"/>
                    <a:pt x="267" y="836"/>
                  </a:cubicBezTo>
                  <a:cubicBezTo>
                    <a:pt x="211" y="814"/>
                    <a:pt x="164" y="786"/>
                    <a:pt x="123" y="748"/>
                  </a:cubicBezTo>
                  <a:cubicBezTo>
                    <a:pt x="84" y="709"/>
                    <a:pt x="53" y="664"/>
                    <a:pt x="34" y="609"/>
                  </a:cubicBezTo>
                  <a:cubicBezTo>
                    <a:pt x="11" y="556"/>
                    <a:pt x="0" y="495"/>
                    <a:pt x="0" y="431"/>
                  </a:cubicBezTo>
                  <a:cubicBezTo>
                    <a:pt x="0" y="367"/>
                    <a:pt x="11" y="309"/>
                    <a:pt x="34" y="256"/>
                  </a:cubicBezTo>
                  <a:cubicBezTo>
                    <a:pt x="53" y="203"/>
                    <a:pt x="84" y="159"/>
                    <a:pt x="123" y="120"/>
                  </a:cubicBezTo>
                  <a:cubicBezTo>
                    <a:pt x="161" y="84"/>
                    <a:pt x="209" y="53"/>
                    <a:pt x="261" y="31"/>
                  </a:cubicBezTo>
                  <a:cubicBezTo>
                    <a:pt x="317" y="12"/>
                    <a:pt x="375" y="0"/>
                    <a:pt x="442" y="0"/>
                  </a:cubicBezTo>
                  <a:cubicBezTo>
                    <a:pt x="511" y="0"/>
                    <a:pt x="572" y="12"/>
                    <a:pt x="628" y="31"/>
                  </a:cubicBezTo>
                  <a:cubicBezTo>
                    <a:pt x="684" y="53"/>
                    <a:pt x="728" y="84"/>
                    <a:pt x="767" y="125"/>
                  </a:cubicBezTo>
                  <a:cubicBezTo>
                    <a:pt x="806" y="164"/>
                    <a:pt x="834" y="217"/>
                    <a:pt x="850" y="278"/>
                  </a:cubicBezTo>
                  <a:cubicBezTo>
                    <a:pt x="870" y="342"/>
                    <a:pt x="872" y="414"/>
                    <a:pt x="864" y="498"/>
                  </a:cubicBezTo>
                  <a:lnTo>
                    <a:pt x="186" y="353"/>
                  </a:lnTo>
                  <a:lnTo>
                    <a:pt x="186" y="353"/>
                  </a:lnTo>
                  <a:cubicBezTo>
                    <a:pt x="697" y="353"/>
                    <a:pt x="697" y="353"/>
                    <a:pt x="697" y="353"/>
                  </a:cubicBezTo>
                  <a:cubicBezTo>
                    <a:pt x="692" y="287"/>
                    <a:pt x="667" y="236"/>
                    <a:pt x="622" y="203"/>
                  </a:cubicBezTo>
                  <a:cubicBezTo>
                    <a:pt x="578" y="170"/>
                    <a:pt x="520" y="153"/>
                    <a:pt x="447" y="153"/>
                  </a:cubicBezTo>
                  <a:cubicBezTo>
                    <a:pt x="384"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9" name="Freeform 16">
              <a:extLst>
                <a:ext uri="{FF2B5EF4-FFF2-40B4-BE49-F238E27FC236}">
                  <a16:creationId xmlns:a16="http://schemas.microsoft.com/office/drawing/2014/main" id="{11920894-A1A1-2741-ADAA-8275C1F38D3D}"/>
                </a:ext>
              </a:extLst>
            </p:cNvPr>
            <p:cNvSpPr>
              <a:spLocks noChangeArrowheads="1"/>
            </p:cNvSpPr>
            <p:nvPr userDrawn="1"/>
          </p:nvSpPr>
          <p:spPr bwMode="auto">
            <a:xfrm>
              <a:off x="7083425" y="3144838"/>
              <a:ext cx="293688" cy="301625"/>
            </a:xfrm>
            <a:custGeom>
              <a:avLst/>
              <a:gdLst>
                <a:gd name="T0" fmla="*/ 638 w 817"/>
                <a:gd name="T1" fmla="*/ 836 h 837"/>
                <a:gd name="T2" fmla="*/ 638 w 817"/>
                <a:gd name="T3" fmla="*/ 836 h 837"/>
                <a:gd name="T4" fmla="*/ 638 w 817"/>
                <a:gd name="T5" fmla="*/ 397 h 837"/>
                <a:gd name="T6" fmla="*/ 580 w 817"/>
                <a:gd name="T7" fmla="*/ 225 h 837"/>
                <a:gd name="T8" fmla="*/ 411 w 817"/>
                <a:gd name="T9" fmla="*/ 161 h 837"/>
                <a:gd name="T10" fmla="*/ 313 w 817"/>
                <a:gd name="T11" fmla="*/ 180 h 837"/>
                <a:gd name="T12" fmla="*/ 241 w 817"/>
                <a:gd name="T13" fmla="*/ 233 h 837"/>
                <a:gd name="T14" fmla="*/ 194 w 817"/>
                <a:gd name="T15" fmla="*/ 311 h 837"/>
                <a:gd name="T16" fmla="*/ 175 w 817"/>
                <a:gd name="T17" fmla="*/ 408 h 837"/>
                <a:gd name="T18" fmla="*/ 175 w 817"/>
                <a:gd name="T19" fmla="*/ 836 h 837"/>
                <a:gd name="T20" fmla="*/ 0 w 817"/>
                <a:gd name="T21" fmla="*/ 836 h 837"/>
                <a:gd name="T22" fmla="*/ 0 w 817"/>
                <a:gd name="T23" fmla="*/ 11 h 837"/>
                <a:gd name="T24" fmla="*/ 161 w 817"/>
                <a:gd name="T25" fmla="*/ 11 h 837"/>
                <a:gd name="T26" fmla="*/ 172 w 817"/>
                <a:gd name="T27" fmla="*/ 133 h 837"/>
                <a:gd name="T28" fmla="*/ 455 w 817"/>
                <a:gd name="T29" fmla="*/ 0 h 837"/>
                <a:gd name="T30" fmla="*/ 597 w 817"/>
                <a:gd name="T31" fmla="*/ 25 h 837"/>
                <a:gd name="T32" fmla="*/ 711 w 817"/>
                <a:gd name="T33" fmla="*/ 103 h 837"/>
                <a:gd name="T34" fmla="*/ 788 w 817"/>
                <a:gd name="T35" fmla="*/ 225 h 837"/>
                <a:gd name="T36" fmla="*/ 816 w 817"/>
                <a:gd name="T37" fmla="*/ 394 h 837"/>
                <a:gd name="T38" fmla="*/ 816 w 817"/>
                <a:gd name="T39" fmla="*/ 836 h 837"/>
                <a:gd name="T40" fmla="*/ 638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8" y="836"/>
                  </a:moveTo>
                  <a:lnTo>
                    <a:pt x="638" y="836"/>
                  </a:lnTo>
                  <a:cubicBezTo>
                    <a:pt x="638" y="397"/>
                    <a:pt x="638" y="397"/>
                    <a:pt x="638" y="397"/>
                  </a:cubicBezTo>
                  <a:cubicBezTo>
                    <a:pt x="638" y="325"/>
                    <a:pt x="619" y="269"/>
                    <a:pt x="580" y="225"/>
                  </a:cubicBezTo>
                  <a:cubicBezTo>
                    <a:pt x="541" y="183"/>
                    <a:pt x="483" y="161"/>
                    <a:pt x="411" y="161"/>
                  </a:cubicBezTo>
                  <a:cubicBezTo>
                    <a:pt x="375" y="161"/>
                    <a:pt x="344" y="166"/>
                    <a:pt x="313" y="180"/>
                  </a:cubicBezTo>
                  <a:cubicBezTo>
                    <a:pt x="286" y="191"/>
                    <a:pt x="261" y="211"/>
                    <a:pt x="241" y="233"/>
                  </a:cubicBezTo>
                  <a:cubicBezTo>
                    <a:pt x="219" y="255"/>
                    <a:pt x="205" y="283"/>
                    <a:pt x="194" y="311"/>
                  </a:cubicBezTo>
                  <a:cubicBezTo>
                    <a:pt x="180" y="341"/>
                    <a:pt x="175" y="375"/>
                    <a:pt x="175" y="408"/>
                  </a:cubicBezTo>
                  <a:cubicBezTo>
                    <a:pt x="175" y="836"/>
                    <a:pt x="175" y="836"/>
                    <a:pt x="175" y="836"/>
                  </a:cubicBezTo>
                  <a:cubicBezTo>
                    <a:pt x="0" y="836"/>
                    <a:pt x="0" y="836"/>
                    <a:pt x="0" y="836"/>
                  </a:cubicBezTo>
                  <a:cubicBezTo>
                    <a:pt x="0" y="11"/>
                    <a:pt x="0" y="11"/>
                    <a:pt x="0" y="11"/>
                  </a:cubicBezTo>
                  <a:cubicBezTo>
                    <a:pt x="161" y="11"/>
                    <a:pt x="161" y="11"/>
                    <a:pt x="161" y="11"/>
                  </a:cubicBezTo>
                  <a:cubicBezTo>
                    <a:pt x="172" y="133"/>
                    <a:pt x="172" y="133"/>
                    <a:pt x="172" y="133"/>
                  </a:cubicBezTo>
                  <a:cubicBezTo>
                    <a:pt x="250" y="44"/>
                    <a:pt x="344" y="0"/>
                    <a:pt x="455" y="0"/>
                  </a:cubicBezTo>
                  <a:cubicBezTo>
                    <a:pt x="505" y="0"/>
                    <a:pt x="552" y="8"/>
                    <a:pt x="597" y="25"/>
                  </a:cubicBezTo>
                  <a:cubicBezTo>
                    <a:pt x="641" y="44"/>
                    <a:pt x="677" y="69"/>
                    <a:pt x="711" y="103"/>
                  </a:cubicBezTo>
                  <a:cubicBezTo>
                    <a:pt x="744" y="136"/>
                    <a:pt x="769" y="178"/>
                    <a:pt x="788" y="225"/>
                  </a:cubicBezTo>
                  <a:cubicBezTo>
                    <a:pt x="808" y="275"/>
                    <a:pt x="816" y="330"/>
                    <a:pt x="816" y="394"/>
                  </a:cubicBezTo>
                  <a:cubicBezTo>
                    <a:pt x="816" y="836"/>
                    <a:pt x="816" y="836"/>
                    <a:pt x="816" y="836"/>
                  </a:cubicBezTo>
                  <a:lnTo>
                    <a:pt x="638"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0" name="Freeform 17">
              <a:extLst>
                <a:ext uri="{FF2B5EF4-FFF2-40B4-BE49-F238E27FC236}">
                  <a16:creationId xmlns:a16="http://schemas.microsoft.com/office/drawing/2014/main" id="{1C889C22-C97B-7F4B-838F-9C019CF80E6F}"/>
                </a:ext>
              </a:extLst>
            </p:cNvPr>
            <p:cNvSpPr>
              <a:spLocks noChangeArrowheads="1"/>
            </p:cNvSpPr>
            <p:nvPr userDrawn="1"/>
          </p:nvSpPr>
          <p:spPr bwMode="auto">
            <a:xfrm>
              <a:off x="7440613" y="3141663"/>
              <a:ext cx="274637" cy="311150"/>
            </a:xfrm>
            <a:custGeom>
              <a:avLst/>
              <a:gdLst>
                <a:gd name="T0" fmla="*/ 761 w 762"/>
                <a:gd name="T1" fmla="*/ 736 h 865"/>
                <a:gd name="T2" fmla="*/ 761 w 762"/>
                <a:gd name="T3" fmla="*/ 736 h 865"/>
                <a:gd name="T4" fmla="*/ 614 w 762"/>
                <a:gd name="T5" fmla="*/ 833 h 865"/>
                <a:gd name="T6" fmla="*/ 442 w 762"/>
                <a:gd name="T7" fmla="*/ 864 h 865"/>
                <a:gd name="T8" fmla="*/ 272 w 762"/>
                <a:gd name="T9" fmla="*/ 836 h 865"/>
                <a:gd name="T10" fmla="*/ 131 w 762"/>
                <a:gd name="T11" fmla="*/ 756 h 865"/>
                <a:gd name="T12" fmla="*/ 34 w 762"/>
                <a:gd name="T13" fmla="*/ 620 h 865"/>
                <a:gd name="T14" fmla="*/ 0 w 762"/>
                <a:gd name="T15" fmla="*/ 431 h 865"/>
                <a:gd name="T16" fmla="*/ 34 w 762"/>
                <a:gd name="T17" fmla="*/ 245 h 865"/>
                <a:gd name="T18" fmla="*/ 131 w 762"/>
                <a:gd name="T19" fmla="*/ 109 h 865"/>
                <a:gd name="T20" fmla="*/ 270 w 762"/>
                <a:gd name="T21" fmla="*/ 28 h 865"/>
                <a:gd name="T22" fmla="*/ 442 w 762"/>
                <a:gd name="T23" fmla="*/ 0 h 865"/>
                <a:gd name="T24" fmla="*/ 603 w 762"/>
                <a:gd name="T25" fmla="*/ 28 h 865"/>
                <a:gd name="T26" fmla="*/ 747 w 762"/>
                <a:gd name="T27" fmla="*/ 122 h 865"/>
                <a:gd name="T28" fmla="*/ 633 w 762"/>
                <a:gd name="T29" fmla="*/ 236 h 865"/>
                <a:gd name="T30" fmla="*/ 545 w 762"/>
                <a:gd name="T31" fmla="*/ 181 h 865"/>
                <a:gd name="T32" fmla="*/ 445 w 762"/>
                <a:gd name="T33" fmla="*/ 164 h 865"/>
                <a:gd name="T34" fmla="*/ 339 w 762"/>
                <a:gd name="T35" fmla="*/ 181 h 865"/>
                <a:gd name="T36" fmla="*/ 253 w 762"/>
                <a:gd name="T37" fmla="*/ 236 h 865"/>
                <a:gd name="T38" fmla="*/ 195 w 762"/>
                <a:gd name="T39" fmla="*/ 320 h 865"/>
                <a:gd name="T40" fmla="*/ 175 w 762"/>
                <a:gd name="T41" fmla="*/ 431 h 865"/>
                <a:gd name="T42" fmla="*/ 197 w 762"/>
                <a:gd name="T43" fmla="*/ 547 h 865"/>
                <a:gd name="T44" fmla="*/ 253 w 762"/>
                <a:gd name="T45" fmla="*/ 631 h 865"/>
                <a:gd name="T46" fmla="*/ 339 w 762"/>
                <a:gd name="T47" fmla="*/ 681 h 865"/>
                <a:gd name="T48" fmla="*/ 442 w 762"/>
                <a:gd name="T49" fmla="*/ 697 h 865"/>
                <a:gd name="T50" fmla="*/ 550 w 762"/>
                <a:gd name="T51" fmla="*/ 681 h 865"/>
                <a:gd name="T52" fmla="*/ 642 w 762"/>
                <a:gd name="T53" fmla="*/ 620 h 865"/>
                <a:gd name="T54" fmla="*/ 761 w 762"/>
                <a:gd name="T55" fmla="*/ 736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62" h="865">
                  <a:moveTo>
                    <a:pt x="761" y="736"/>
                  </a:moveTo>
                  <a:lnTo>
                    <a:pt x="761" y="736"/>
                  </a:lnTo>
                  <a:cubicBezTo>
                    <a:pt x="714" y="781"/>
                    <a:pt x="664" y="814"/>
                    <a:pt x="614" y="833"/>
                  </a:cubicBezTo>
                  <a:cubicBezTo>
                    <a:pt x="561" y="856"/>
                    <a:pt x="503" y="864"/>
                    <a:pt x="442" y="864"/>
                  </a:cubicBezTo>
                  <a:cubicBezTo>
                    <a:pt x="383" y="864"/>
                    <a:pt x="325" y="856"/>
                    <a:pt x="272" y="836"/>
                  </a:cubicBezTo>
                  <a:cubicBezTo>
                    <a:pt x="217" y="820"/>
                    <a:pt x="170" y="792"/>
                    <a:pt x="131" y="756"/>
                  </a:cubicBezTo>
                  <a:cubicBezTo>
                    <a:pt x="89" y="720"/>
                    <a:pt x="58" y="675"/>
                    <a:pt x="34" y="620"/>
                  </a:cubicBezTo>
                  <a:cubicBezTo>
                    <a:pt x="11" y="567"/>
                    <a:pt x="0" y="503"/>
                    <a:pt x="0" y="431"/>
                  </a:cubicBezTo>
                  <a:cubicBezTo>
                    <a:pt x="0" y="361"/>
                    <a:pt x="11" y="297"/>
                    <a:pt x="34" y="245"/>
                  </a:cubicBezTo>
                  <a:cubicBezTo>
                    <a:pt x="58" y="189"/>
                    <a:pt x="89" y="145"/>
                    <a:pt x="131" y="109"/>
                  </a:cubicBezTo>
                  <a:cubicBezTo>
                    <a:pt x="170" y="72"/>
                    <a:pt x="217" y="45"/>
                    <a:pt x="270" y="28"/>
                  </a:cubicBezTo>
                  <a:cubicBezTo>
                    <a:pt x="325" y="9"/>
                    <a:pt x="381" y="0"/>
                    <a:pt x="442" y="0"/>
                  </a:cubicBezTo>
                  <a:cubicBezTo>
                    <a:pt x="500" y="0"/>
                    <a:pt x="556" y="9"/>
                    <a:pt x="603" y="28"/>
                  </a:cubicBezTo>
                  <a:cubicBezTo>
                    <a:pt x="653" y="47"/>
                    <a:pt x="700" y="78"/>
                    <a:pt x="747" y="122"/>
                  </a:cubicBezTo>
                  <a:cubicBezTo>
                    <a:pt x="633" y="236"/>
                    <a:pt x="633" y="236"/>
                    <a:pt x="633" y="236"/>
                  </a:cubicBezTo>
                  <a:cubicBezTo>
                    <a:pt x="608" y="211"/>
                    <a:pt x="578" y="192"/>
                    <a:pt x="545" y="181"/>
                  </a:cubicBezTo>
                  <a:cubicBezTo>
                    <a:pt x="511" y="170"/>
                    <a:pt x="478" y="164"/>
                    <a:pt x="445" y="164"/>
                  </a:cubicBezTo>
                  <a:cubicBezTo>
                    <a:pt x="406" y="164"/>
                    <a:pt x="372" y="170"/>
                    <a:pt x="339" y="181"/>
                  </a:cubicBezTo>
                  <a:cubicBezTo>
                    <a:pt x="306" y="195"/>
                    <a:pt x="278" y="214"/>
                    <a:pt x="253" y="236"/>
                  </a:cubicBezTo>
                  <a:cubicBezTo>
                    <a:pt x="228" y="259"/>
                    <a:pt x="209" y="289"/>
                    <a:pt x="195" y="320"/>
                  </a:cubicBezTo>
                  <a:cubicBezTo>
                    <a:pt x="181" y="353"/>
                    <a:pt x="175" y="392"/>
                    <a:pt x="175" y="431"/>
                  </a:cubicBezTo>
                  <a:cubicBezTo>
                    <a:pt x="175" y="475"/>
                    <a:pt x="181" y="514"/>
                    <a:pt x="197" y="547"/>
                  </a:cubicBezTo>
                  <a:cubicBezTo>
                    <a:pt x="211" y="578"/>
                    <a:pt x="231" y="606"/>
                    <a:pt x="253" y="631"/>
                  </a:cubicBezTo>
                  <a:cubicBezTo>
                    <a:pt x="278" y="653"/>
                    <a:pt x="309" y="670"/>
                    <a:pt x="339" y="681"/>
                  </a:cubicBezTo>
                  <a:cubicBezTo>
                    <a:pt x="372" y="692"/>
                    <a:pt x="406" y="697"/>
                    <a:pt x="442" y="697"/>
                  </a:cubicBezTo>
                  <a:cubicBezTo>
                    <a:pt x="478" y="697"/>
                    <a:pt x="514" y="692"/>
                    <a:pt x="550" y="681"/>
                  </a:cubicBezTo>
                  <a:cubicBezTo>
                    <a:pt x="583" y="670"/>
                    <a:pt x="614" y="647"/>
                    <a:pt x="642" y="620"/>
                  </a:cubicBezTo>
                  <a:lnTo>
                    <a:pt x="761" y="7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1" name="Freeform 18">
              <a:extLst>
                <a:ext uri="{FF2B5EF4-FFF2-40B4-BE49-F238E27FC236}">
                  <a16:creationId xmlns:a16="http://schemas.microsoft.com/office/drawing/2014/main" id="{923E9F78-DC24-3F43-9DC2-655AF0EC2C2B}"/>
                </a:ext>
              </a:extLst>
            </p:cNvPr>
            <p:cNvSpPr>
              <a:spLocks noChangeArrowheads="1"/>
            </p:cNvSpPr>
            <p:nvPr userDrawn="1"/>
          </p:nvSpPr>
          <p:spPr bwMode="auto">
            <a:xfrm>
              <a:off x="7747000" y="3141663"/>
              <a:ext cx="314325" cy="312737"/>
            </a:xfrm>
            <a:custGeom>
              <a:avLst/>
              <a:gdLst>
                <a:gd name="T0" fmla="*/ 864 w 873"/>
                <a:gd name="T1" fmla="*/ 498 h 868"/>
                <a:gd name="T2" fmla="*/ 864 w 873"/>
                <a:gd name="T3" fmla="*/ 498 h 868"/>
                <a:gd name="T4" fmla="*/ 181 w 873"/>
                <a:gd name="T5" fmla="*/ 498 h 868"/>
                <a:gd name="T6" fmla="*/ 267 w 873"/>
                <a:gd name="T7" fmla="*/ 650 h 868"/>
                <a:gd name="T8" fmla="*/ 456 w 873"/>
                <a:gd name="T9" fmla="*/ 706 h 868"/>
                <a:gd name="T10" fmla="*/ 592 w 873"/>
                <a:gd name="T11" fmla="*/ 684 h 868"/>
                <a:gd name="T12" fmla="*/ 700 w 873"/>
                <a:gd name="T13" fmla="*/ 617 h 868"/>
                <a:gd name="T14" fmla="*/ 817 w 873"/>
                <a:gd name="T15" fmla="*/ 725 h 868"/>
                <a:gd name="T16" fmla="*/ 739 w 873"/>
                <a:gd name="T17" fmla="*/ 786 h 868"/>
                <a:gd name="T18" fmla="*/ 650 w 873"/>
                <a:gd name="T19" fmla="*/ 831 h 868"/>
                <a:gd name="T20" fmla="*/ 553 w 873"/>
                <a:gd name="T21" fmla="*/ 859 h 868"/>
                <a:gd name="T22" fmla="*/ 453 w 873"/>
                <a:gd name="T23" fmla="*/ 867 h 868"/>
                <a:gd name="T24" fmla="*/ 267 w 873"/>
                <a:gd name="T25" fmla="*/ 836 h 868"/>
                <a:gd name="T26" fmla="*/ 122 w 873"/>
                <a:gd name="T27" fmla="*/ 748 h 868"/>
                <a:gd name="T28" fmla="*/ 31 w 873"/>
                <a:gd name="T29" fmla="*/ 609 h 868"/>
                <a:gd name="T30" fmla="*/ 0 w 873"/>
                <a:gd name="T31" fmla="*/ 431 h 868"/>
                <a:gd name="T32" fmla="*/ 31 w 873"/>
                <a:gd name="T33" fmla="*/ 256 h 868"/>
                <a:gd name="T34" fmla="*/ 122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4 w 873"/>
                <a:gd name="T53" fmla="*/ 353 h 868"/>
                <a:gd name="T54" fmla="*/ 619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1" y="498"/>
                    <a:pt x="181" y="498"/>
                    <a:pt x="181" y="498"/>
                  </a:cubicBezTo>
                  <a:cubicBezTo>
                    <a:pt x="189" y="562"/>
                    <a:pt x="219" y="611"/>
                    <a:pt x="267" y="650"/>
                  </a:cubicBezTo>
                  <a:cubicBezTo>
                    <a:pt x="317" y="686"/>
                    <a:pt x="381" y="706"/>
                    <a:pt x="456" y="706"/>
                  </a:cubicBezTo>
                  <a:cubicBezTo>
                    <a:pt x="500" y="706"/>
                    <a:pt x="544" y="698"/>
                    <a:pt x="592" y="684"/>
                  </a:cubicBezTo>
                  <a:cubicBezTo>
                    <a:pt x="639" y="667"/>
                    <a:pt x="675" y="645"/>
                    <a:pt x="700" y="617"/>
                  </a:cubicBezTo>
                  <a:cubicBezTo>
                    <a:pt x="817" y="725"/>
                    <a:pt x="817" y="725"/>
                    <a:pt x="817" y="725"/>
                  </a:cubicBezTo>
                  <a:cubicBezTo>
                    <a:pt x="794" y="750"/>
                    <a:pt x="769" y="770"/>
                    <a:pt x="739" y="786"/>
                  </a:cubicBezTo>
                  <a:cubicBezTo>
                    <a:pt x="711" y="806"/>
                    <a:pt x="681" y="820"/>
                    <a:pt x="650" y="831"/>
                  </a:cubicBezTo>
                  <a:cubicBezTo>
                    <a:pt x="619" y="845"/>
                    <a:pt x="586" y="853"/>
                    <a:pt x="553" y="859"/>
                  </a:cubicBezTo>
                  <a:cubicBezTo>
                    <a:pt x="519" y="864"/>
                    <a:pt x="486" y="867"/>
                    <a:pt x="453" y="867"/>
                  </a:cubicBezTo>
                  <a:cubicBezTo>
                    <a:pt x="383" y="867"/>
                    <a:pt x="322" y="856"/>
                    <a:pt x="267" y="836"/>
                  </a:cubicBezTo>
                  <a:cubicBezTo>
                    <a:pt x="208" y="814"/>
                    <a:pt x="161" y="786"/>
                    <a:pt x="122" y="748"/>
                  </a:cubicBezTo>
                  <a:cubicBezTo>
                    <a:pt x="83" y="709"/>
                    <a:pt x="53" y="664"/>
                    <a:pt x="31" y="609"/>
                  </a:cubicBezTo>
                  <a:cubicBezTo>
                    <a:pt x="11" y="556"/>
                    <a:pt x="0" y="495"/>
                    <a:pt x="0" y="431"/>
                  </a:cubicBezTo>
                  <a:cubicBezTo>
                    <a:pt x="0" y="367"/>
                    <a:pt x="11" y="309"/>
                    <a:pt x="31" y="256"/>
                  </a:cubicBezTo>
                  <a:cubicBezTo>
                    <a:pt x="53" y="203"/>
                    <a:pt x="83" y="159"/>
                    <a:pt x="122" y="120"/>
                  </a:cubicBezTo>
                  <a:cubicBezTo>
                    <a:pt x="161" y="84"/>
                    <a:pt x="208" y="53"/>
                    <a:pt x="261" y="31"/>
                  </a:cubicBezTo>
                  <a:cubicBezTo>
                    <a:pt x="314" y="12"/>
                    <a:pt x="375" y="0"/>
                    <a:pt x="442" y="0"/>
                  </a:cubicBezTo>
                  <a:cubicBezTo>
                    <a:pt x="508" y="0"/>
                    <a:pt x="572" y="12"/>
                    <a:pt x="628" y="31"/>
                  </a:cubicBezTo>
                  <a:cubicBezTo>
                    <a:pt x="681" y="53"/>
                    <a:pt x="728" y="84"/>
                    <a:pt x="767" y="125"/>
                  </a:cubicBezTo>
                  <a:cubicBezTo>
                    <a:pt x="806" y="164"/>
                    <a:pt x="833" y="217"/>
                    <a:pt x="850" y="278"/>
                  </a:cubicBezTo>
                  <a:cubicBezTo>
                    <a:pt x="867" y="342"/>
                    <a:pt x="872" y="414"/>
                    <a:pt x="864" y="498"/>
                  </a:cubicBezTo>
                  <a:lnTo>
                    <a:pt x="186" y="353"/>
                  </a:lnTo>
                  <a:lnTo>
                    <a:pt x="186" y="353"/>
                  </a:lnTo>
                  <a:cubicBezTo>
                    <a:pt x="694" y="353"/>
                    <a:pt x="694" y="353"/>
                    <a:pt x="694" y="353"/>
                  </a:cubicBezTo>
                  <a:cubicBezTo>
                    <a:pt x="689" y="287"/>
                    <a:pt x="664" y="236"/>
                    <a:pt x="619" y="203"/>
                  </a:cubicBezTo>
                  <a:cubicBezTo>
                    <a:pt x="575" y="170"/>
                    <a:pt x="519" y="153"/>
                    <a:pt x="447" y="153"/>
                  </a:cubicBezTo>
                  <a:cubicBezTo>
                    <a:pt x="381"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2" name="Freeform 19">
              <a:extLst>
                <a:ext uri="{FF2B5EF4-FFF2-40B4-BE49-F238E27FC236}">
                  <a16:creationId xmlns:a16="http://schemas.microsoft.com/office/drawing/2014/main" id="{48AA1122-1D63-FD44-9DBD-CC8788004DA8}"/>
                </a:ext>
              </a:extLst>
            </p:cNvPr>
            <p:cNvSpPr>
              <a:spLocks noChangeArrowheads="1"/>
            </p:cNvSpPr>
            <p:nvPr userDrawn="1"/>
          </p:nvSpPr>
          <p:spPr bwMode="auto">
            <a:xfrm>
              <a:off x="1828800" y="3743325"/>
              <a:ext cx="323850" cy="311150"/>
            </a:xfrm>
            <a:custGeom>
              <a:avLst/>
              <a:gdLst>
                <a:gd name="T0" fmla="*/ 722 w 901"/>
                <a:gd name="T1" fmla="*/ 147 h 865"/>
                <a:gd name="T2" fmla="*/ 722 w 901"/>
                <a:gd name="T3" fmla="*/ 147 h 865"/>
                <a:gd name="T4" fmla="*/ 728 w 901"/>
                <a:gd name="T5" fmla="*/ 17 h 865"/>
                <a:gd name="T6" fmla="*/ 900 w 901"/>
                <a:gd name="T7" fmla="*/ 17 h 865"/>
                <a:gd name="T8" fmla="*/ 900 w 901"/>
                <a:gd name="T9" fmla="*/ 842 h 865"/>
                <a:gd name="T10" fmla="*/ 731 w 901"/>
                <a:gd name="T11" fmla="*/ 842 h 865"/>
                <a:gd name="T12" fmla="*/ 722 w 901"/>
                <a:gd name="T13" fmla="*/ 709 h 865"/>
                <a:gd name="T14" fmla="*/ 669 w 901"/>
                <a:gd name="T15" fmla="*/ 778 h 865"/>
                <a:gd name="T16" fmla="*/ 597 w 901"/>
                <a:gd name="T17" fmla="*/ 825 h 865"/>
                <a:gd name="T18" fmla="*/ 514 w 901"/>
                <a:gd name="T19" fmla="*/ 856 h 865"/>
                <a:gd name="T20" fmla="*/ 433 w 901"/>
                <a:gd name="T21" fmla="*/ 864 h 865"/>
                <a:gd name="T22" fmla="*/ 261 w 901"/>
                <a:gd name="T23" fmla="*/ 836 h 865"/>
                <a:gd name="T24" fmla="*/ 125 w 901"/>
                <a:gd name="T25" fmla="*/ 753 h 865"/>
                <a:gd name="T26" fmla="*/ 33 w 901"/>
                <a:gd name="T27" fmla="*/ 617 h 865"/>
                <a:gd name="T28" fmla="*/ 0 w 901"/>
                <a:gd name="T29" fmla="*/ 428 h 865"/>
                <a:gd name="T30" fmla="*/ 36 w 901"/>
                <a:gd name="T31" fmla="*/ 245 h 865"/>
                <a:gd name="T32" fmla="*/ 128 w 901"/>
                <a:gd name="T33" fmla="*/ 111 h 865"/>
                <a:gd name="T34" fmla="*/ 267 w 901"/>
                <a:gd name="T35" fmla="*/ 28 h 865"/>
                <a:gd name="T36" fmla="*/ 436 w 901"/>
                <a:gd name="T37" fmla="*/ 0 h 865"/>
                <a:gd name="T38" fmla="*/ 606 w 901"/>
                <a:gd name="T39" fmla="*/ 39 h 865"/>
                <a:gd name="T40" fmla="*/ 722 w 901"/>
                <a:gd name="T41" fmla="*/ 147 h 865"/>
                <a:gd name="T42" fmla="*/ 450 w 901"/>
                <a:gd name="T43" fmla="*/ 156 h 865"/>
                <a:gd name="T44" fmla="*/ 450 w 901"/>
                <a:gd name="T45" fmla="*/ 156 h 865"/>
                <a:gd name="T46" fmla="*/ 344 w 901"/>
                <a:gd name="T47" fmla="*/ 175 h 865"/>
                <a:gd name="T48" fmla="*/ 258 w 901"/>
                <a:gd name="T49" fmla="*/ 231 h 865"/>
                <a:gd name="T50" fmla="*/ 197 w 901"/>
                <a:gd name="T51" fmla="*/ 317 h 865"/>
                <a:gd name="T52" fmla="*/ 178 w 901"/>
                <a:gd name="T53" fmla="*/ 428 h 865"/>
                <a:gd name="T54" fmla="*/ 197 w 901"/>
                <a:gd name="T55" fmla="*/ 545 h 865"/>
                <a:gd name="T56" fmla="*/ 258 w 901"/>
                <a:gd name="T57" fmla="*/ 631 h 865"/>
                <a:gd name="T58" fmla="*/ 344 w 901"/>
                <a:gd name="T59" fmla="*/ 684 h 865"/>
                <a:gd name="T60" fmla="*/ 450 w 901"/>
                <a:gd name="T61" fmla="*/ 703 h 865"/>
                <a:gd name="T62" fmla="*/ 600 w 901"/>
                <a:gd name="T63" fmla="*/ 664 h 865"/>
                <a:gd name="T64" fmla="*/ 692 w 901"/>
                <a:gd name="T65" fmla="*/ 561 h 865"/>
                <a:gd name="T66" fmla="*/ 722 w 901"/>
                <a:gd name="T67" fmla="*/ 431 h 865"/>
                <a:gd name="T68" fmla="*/ 692 w 901"/>
                <a:gd name="T69" fmla="*/ 298 h 865"/>
                <a:gd name="T70" fmla="*/ 600 w 901"/>
                <a:gd name="T71" fmla="*/ 198 h 865"/>
                <a:gd name="T72" fmla="*/ 450 w 901"/>
                <a:gd name="T73" fmla="*/ 156 h 865"/>
                <a:gd name="T74" fmla="*/ 722 w 901"/>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1" h="865">
                  <a:moveTo>
                    <a:pt x="722" y="147"/>
                  </a:moveTo>
                  <a:lnTo>
                    <a:pt x="722" y="147"/>
                  </a:lnTo>
                  <a:cubicBezTo>
                    <a:pt x="728" y="17"/>
                    <a:pt x="728" y="17"/>
                    <a:pt x="728" y="17"/>
                  </a:cubicBezTo>
                  <a:cubicBezTo>
                    <a:pt x="900" y="17"/>
                    <a:pt x="900" y="17"/>
                    <a:pt x="900" y="17"/>
                  </a:cubicBezTo>
                  <a:cubicBezTo>
                    <a:pt x="900" y="842"/>
                    <a:pt x="900" y="842"/>
                    <a:pt x="900" y="842"/>
                  </a:cubicBezTo>
                  <a:cubicBezTo>
                    <a:pt x="731" y="842"/>
                    <a:pt x="731" y="842"/>
                    <a:pt x="731" y="842"/>
                  </a:cubicBezTo>
                  <a:cubicBezTo>
                    <a:pt x="722" y="709"/>
                    <a:pt x="722" y="709"/>
                    <a:pt x="722" y="709"/>
                  </a:cubicBezTo>
                  <a:cubicBezTo>
                    <a:pt x="708" y="736"/>
                    <a:pt x="692" y="759"/>
                    <a:pt x="669" y="778"/>
                  </a:cubicBezTo>
                  <a:cubicBezTo>
                    <a:pt x="647" y="797"/>
                    <a:pt x="622" y="814"/>
                    <a:pt x="597" y="825"/>
                  </a:cubicBezTo>
                  <a:cubicBezTo>
                    <a:pt x="569" y="839"/>
                    <a:pt x="542" y="847"/>
                    <a:pt x="514" y="856"/>
                  </a:cubicBezTo>
                  <a:cubicBezTo>
                    <a:pt x="486" y="861"/>
                    <a:pt x="458" y="864"/>
                    <a:pt x="433" y="864"/>
                  </a:cubicBezTo>
                  <a:cubicBezTo>
                    <a:pt x="372" y="864"/>
                    <a:pt x="314" y="853"/>
                    <a:pt x="261" y="836"/>
                  </a:cubicBezTo>
                  <a:cubicBezTo>
                    <a:pt x="208" y="817"/>
                    <a:pt x="164" y="789"/>
                    <a:pt x="125" y="753"/>
                  </a:cubicBezTo>
                  <a:cubicBezTo>
                    <a:pt x="86" y="714"/>
                    <a:pt x="56" y="670"/>
                    <a:pt x="33" y="617"/>
                  </a:cubicBezTo>
                  <a:cubicBezTo>
                    <a:pt x="11" y="561"/>
                    <a:pt x="0" y="500"/>
                    <a:pt x="0" y="428"/>
                  </a:cubicBezTo>
                  <a:cubicBezTo>
                    <a:pt x="0" y="361"/>
                    <a:pt x="11" y="300"/>
                    <a:pt x="36" y="245"/>
                  </a:cubicBezTo>
                  <a:cubicBezTo>
                    <a:pt x="58" y="192"/>
                    <a:pt x="89" y="147"/>
                    <a:pt x="128" y="111"/>
                  </a:cubicBezTo>
                  <a:cubicBezTo>
                    <a:pt x="167" y="75"/>
                    <a:pt x="214" y="48"/>
                    <a:pt x="267" y="28"/>
                  </a:cubicBezTo>
                  <a:cubicBezTo>
                    <a:pt x="319" y="9"/>
                    <a:pt x="375" y="0"/>
                    <a:pt x="436" y="0"/>
                  </a:cubicBezTo>
                  <a:cubicBezTo>
                    <a:pt x="497" y="0"/>
                    <a:pt x="553" y="14"/>
                    <a:pt x="606" y="39"/>
                  </a:cubicBezTo>
                  <a:cubicBezTo>
                    <a:pt x="658" y="64"/>
                    <a:pt x="697" y="103"/>
                    <a:pt x="722" y="147"/>
                  </a:cubicBezTo>
                  <a:lnTo>
                    <a:pt x="450" y="156"/>
                  </a:lnTo>
                  <a:lnTo>
                    <a:pt x="450" y="156"/>
                  </a:lnTo>
                  <a:cubicBezTo>
                    <a:pt x="414" y="156"/>
                    <a:pt x="378" y="164"/>
                    <a:pt x="344" y="175"/>
                  </a:cubicBezTo>
                  <a:cubicBezTo>
                    <a:pt x="311" y="189"/>
                    <a:pt x="283" y="206"/>
                    <a:pt x="258" y="231"/>
                  </a:cubicBezTo>
                  <a:cubicBezTo>
                    <a:pt x="233" y="253"/>
                    <a:pt x="211" y="284"/>
                    <a:pt x="197" y="317"/>
                  </a:cubicBezTo>
                  <a:cubicBezTo>
                    <a:pt x="183" y="350"/>
                    <a:pt x="178" y="386"/>
                    <a:pt x="178" y="428"/>
                  </a:cubicBezTo>
                  <a:cubicBezTo>
                    <a:pt x="178" y="472"/>
                    <a:pt x="183" y="509"/>
                    <a:pt x="197" y="545"/>
                  </a:cubicBezTo>
                  <a:cubicBezTo>
                    <a:pt x="211" y="578"/>
                    <a:pt x="233" y="606"/>
                    <a:pt x="258" y="631"/>
                  </a:cubicBezTo>
                  <a:cubicBezTo>
                    <a:pt x="283" y="653"/>
                    <a:pt x="311" y="672"/>
                    <a:pt x="344" y="684"/>
                  </a:cubicBezTo>
                  <a:cubicBezTo>
                    <a:pt x="378" y="698"/>
                    <a:pt x="414" y="703"/>
                    <a:pt x="450" y="703"/>
                  </a:cubicBezTo>
                  <a:cubicBezTo>
                    <a:pt x="511" y="703"/>
                    <a:pt x="561" y="689"/>
                    <a:pt x="600" y="664"/>
                  </a:cubicBezTo>
                  <a:cubicBezTo>
                    <a:pt x="642" y="636"/>
                    <a:pt x="672" y="603"/>
                    <a:pt x="692" y="561"/>
                  </a:cubicBezTo>
                  <a:cubicBezTo>
                    <a:pt x="714" y="522"/>
                    <a:pt x="722" y="478"/>
                    <a:pt x="722" y="431"/>
                  </a:cubicBezTo>
                  <a:cubicBezTo>
                    <a:pt x="722" y="384"/>
                    <a:pt x="714" y="339"/>
                    <a:pt x="692" y="298"/>
                  </a:cubicBezTo>
                  <a:cubicBezTo>
                    <a:pt x="672" y="259"/>
                    <a:pt x="642" y="223"/>
                    <a:pt x="600" y="198"/>
                  </a:cubicBezTo>
                  <a:cubicBezTo>
                    <a:pt x="561" y="170"/>
                    <a:pt x="511"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3" name="Freeform 20">
              <a:extLst>
                <a:ext uri="{FF2B5EF4-FFF2-40B4-BE49-F238E27FC236}">
                  <a16:creationId xmlns:a16="http://schemas.microsoft.com/office/drawing/2014/main" id="{2E9B9610-9A08-0447-AD11-5AAA13296216}"/>
                </a:ext>
              </a:extLst>
            </p:cNvPr>
            <p:cNvSpPr>
              <a:spLocks noChangeArrowheads="1"/>
            </p:cNvSpPr>
            <p:nvPr userDrawn="1"/>
          </p:nvSpPr>
          <p:spPr bwMode="auto">
            <a:xfrm>
              <a:off x="2214563" y="3743325"/>
              <a:ext cx="266700" cy="312738"/>
            </a:xfrm>
            <a:custGeom>
              <a:avLst/>
              <a:gdLst>
                <a:gd name="T0" fmla="*/ 603 w 743"/>
                <a:gd name="T1" fmla="*/ 222 h 870"/>
                <a:gd name="T2" fmla="*/ 603 w 743"/>
                <a:gd name="T3" fmla="*/ 222 h 870"/>
                <a:gd name="T4" fmla="*/ 500 w 743"/>
                <a:gd name="T5" fmla="*/ 161 h 870"/>
                <a:gd name="T6" fmla="*/ 381 w 743"/>
                <a:gd name="T7" fmla="*/ 147 h 870"/>
                <a:gd name="T8" fmla="*/ 250 w 743"/>
                <a:gd name="T9" fmla="*/ 169 h 870"/>
                <a:gd name="T10" fmla="*/ 203 w 743"/>
                <a:gd name="T11" fmla="*/ 244 h 870"/>
                <a:gd name="T12" fmla="*/ 253 w 743"/>
                <a:gd name="T13" fmla="*/ 319 h 870"/>
                <a:gd name="T14" fmla="*/ 386 w 743"/>
                <a:gd name="T15" fmla="*/ 349 h 870"/>
                <a:gd name="T16" fmla="*/ 506 w 743"/>
                <a:gd name="T17" fmla="*/ 366 h 870"/>
                <a:gd name="T18" fmla="*/ 622 w 743"/>
                <a:gd name="T19" fmla="*/ 405 h 870"/>
                <a:gd name="T20" fmla="*/ 708 w 743"/>
                <a:gd name="T21" fmla="*/ 480 h 870"/>
                <a:gd name="T22" fmla="*/ 742 w 743"/>
                <a:gd name="T23" fmla="*/ 608 h 870"/>
                <a:gd name="T24" fmla="*/ 717 w 743"/>
                <a:gd name="T25" fmla="*/ 713 h 870"/>
                <a:gd name="T26" fmla="*/ 645 w 743"/>
                <a:gd name="T27" fmla="*/ 797 h 870"/>
                <a:gd name="T28" fmla="*/ 531 w 743"/>
                <a:gd name="T29" fmla="*/ 849 h 870"/>
                <a:gd name="T30" fmla="*/ 383 w 743"/>
                <a:gd name="T31" fmla="*/ 869 h 870"/>
                <a:gd name="T32" fmla="*/ 184 w 743"/>
                <a:gd name="T33" fmla="*/ 838 h 870"/>
                <a:gd name="T34" fmla="*/ 0 w 743"/>
                <a:gd name="T35" fmla="*/ 716 h 870"/>
                <a:gd name="T36" fmla="*/ 92 w 743"/>
                <a:gd name="T37" fmla="*/ 597 h 870"/>
                <a:gd name="T38" fmla="*/ 231 w 743"/>
                <a:gd name="T39" fmla="*/ 688 h 870"/>
                <a:gd name="T40" fmla="*/ 386 w 743"/>
                <a:gd name="T41" fmla="*/ 719 h 870"/>
                <a:gd name="T42" fmla="*/ 450 w 743"/>
                <a:gd name="T43" fmla="*/ 713 h 870"/>
                <a:gd name="T44" fmla="*/ 506 w 743"/>
                <a:gd name="T45" fmla="*/ 694 h 870"/>
                <a:gd name="T46" fmla="*/ 550 w 743"/>
                <a:gd name="T47" fmla="*/ 661 h 870"/>
                <a:gd name="T48" fmla="*/ 567 w 743"/>
                <a:gd name="T49" fmla="*/ 611 h 870"/>
                <a:gd name="T50" fmla="*/ 517 w 743"/>
                <a:gd name="T51" fmla="*/ 530 h 870"/>
                <a:gd name="T52" fmla="*/ 372 w 743"/>
                <a:gd name="T53" fmla="*/ 497 h 870"/>
                <a:gd name="T54" fmla="*/ 250 w 743"/>
                <a:gd name="T55" fmla="*/ 477 h 870"/>
                <a:gd name="T56" fmla="*/ 142 w 743"/>
                <a:gd name="T57" fmla="*/ 436 h 870"/>
                <a:gd name="T58" fmla="*/ 61 w 743"/>
                <a:gd name="T59" fmla="*/ 363 h 870"/>
                <a:gd name="T60" fmla="*/ 28 w 743"/>
                <a:gd name="T61" fmla="*/ 249 h 870"/>
                <a:gd name="T62" fmla="*/ 61 w 743"/>
                <a:gd name="T63" fmla="*/ 133 h 870"/>
                <a:gd name="T64" fmla="*/ 145 w 743"/>
                <a:gd name="T65" fmla="*/ 55 h 870"/>
                <a:gd name="T66" fmla="*/ 258 w 743"/>
                <a:gd name="T67" fmla="*/ 11 h 870"/>
                <a:gd name="T68" fmla="*/ 378 w 743"/>
                <a:gd name="T69" fmla="*/ 0 h 870"/>
                <a:gd name="T70" fmla="*/ 553 w 743"/>
                <a:gd name="T71" fmla="*/ 22 h 870"/>
                <a:gd name="T72" fmla="*/ 703 w 743"/>
                <a:gd name="T73" fmla="*/ 108 h 870"/>
                <a:gd name="T74" fmla="*/ 603 w 743"/>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3" h="870">
                  <a:moveTo>
                    <a:pt x="603" y="222"/>
                  </a:moveTo>
                  <a:lnTo>
                    <a:pt x="603" y="222"/>
                  </a:lnTo>
                  <a:cubicBezTo>
                    <a:pt x="572" y="191"/>
                    <a:pt x="536" y="172"/>
                    <a:pt x="500" y="161"/>
                  </a:cubicBezTo>
                  <a:cubicBezTo>
                    <a:pt x="464" y="149"/>
                    <a:pt x="425" y="147"/>
                    <a:pt x="381" y="147"/>
                  </a:cubicBezTo>
                  <a:cubicBezTo>
                    <a:pt x="328" y="144"/>
                    <a:pt x="284" y="152"/>
                    <a:pt x="250" y="169"/>
                  </a:cubicBezTo>
                  <a:cubicBezTo>
                    <a:pt x="220" y="188"/>
                    <a:pt x="203" y="211"/>
                    <a:pt x="203" y="244"/>
                  </a:cubicBezTo>
                  <a:cubicBezTo>
                    <a:pt x="203" y="280"/>
                    <a:pt x="220" y="302"/>
                    <a:pt x="253" y="319"/>
                  </a:cubicBezTo>
                  <a:cubicBezTo>
                    <a:pt x="286" y="333"/>
                    <a:pt x="331" y="344"/>
                    <a:pt x="386" y="349"/>
                  </a:cubicBezTo>
                  <a:cubicBezTo>
                    <a:pt x="425" y="352"/>
                    <a:pt x="464" y="358"/>
                    <a:pt x="506" y="366"/>
                  </a:cubicBezTo>
                  <a:cubicBezTo>
                    <a:pt x="550" y="372"/>
                    <a:pt x="586" y="386"/>
                    <a:pt x="622" y="405"/>
                  </a:cubicBezTo>
                  <a:cubicBezTo>
                    <a:pt x="658" y="422"/>
                    <a:pt x="686" y="447"/>
                    <a:pt x="708" y="480"/>
                  </a:cubicBezTo>
                  <a:cubicBezTo>
                    <a:pt x="731" y="513"/>
                    <a:pt x="742" y="555"/>
                    <a:pt x="742" y="608"/>
                  </a:cubicBezTo>
                  <a:cubicBezTo>
                    <a:pt x="742" y="647"/>
                    <a:pt x="733" y="683"/>
                    <a:pt x="717" y="713"/>
                  </a:cubicBezTo>
                  <a:cubicBezTo>
                    <a:pt x="700" y="747"/>
                    <a:pt x="675" y="774"/>
                    <a:pt x="645" y="797"/>
                  </a:cubicBezTo>
                  <a:cubicBezTo>
                    <a:pt x="614" y="819"/>
                    <a:pt x="575" y="838"/>
                    <a:pt x="531" y="849"/>
                  </a:cubicBezTo>
                  <a:cubicBezTo>
                    <a:pt x="486" y="863"/>
                    <a:pt x="439" y="869"/>
                    <a:pt x="383" y="869"/>
                  </a:cubicBezTo>
                  <a:cubicBezTo>
                    <a:pt x="317" y="869"/>
                    <a:pt x="247" y="858"/>
                    <a:pt x="184" y="838"/>
                  </a:cubicBezTo>
                  <a:cubicBezTo>
                    <a:pt x="117" y="819"/>
                    <a:pt x="56" y="777"/>
                    <a:pt x="0" y="716"/>
                  </a:cubicBezTo>
                  <a:cubicBezTo>
                    <a:pt x="92" y="597"/>
                    <a:pt x="92" y="597"/>
                    <a:pt x="92" y="597"/>
                  </a:cubicBezTo>
                  <a:cubicBezTo>
                    <a:pt x="131" y="638"/>
                    <a:pt x="178" y="669"/>
                    <a:pt x="231" y="688"/>
                  </a:cubicBezTo>
                  <a:cubicBezTo>
                    <a:pt x="286" y="708"/>
                    <a:pt x="336" y="719"/>
                    <a:pt x="386" y="719"/>
                  </a:cubicBezTo>
                  <a:cubicBezTo>
                    <a:pt x="408" y="719"/>
                    <a:pt x="428" y="716"/>
                    <a:pt x="450" y="713"/>
                  </a:cubicBezTo>
                  <a:cubicBezTo>
                    <a:pt x="470" y="708"/>
                    <a:pt x="489" y="702"/>
                    <a:pt x="506" y="694"/>
                  </a:cubicBezTo>
                  <a:cubicBezTo>
                    <a:pt x="522" y="686"/>
                    <a:pt x="539" y="674"/>
                    <a:pt x="550" y="661"/>
                  </a:cubicBezTo>
                  <a:cubicBezTo>
                    <a:pt x="561" y="647"/>
                    <a:pt x="567" y="630"/>
                    <a:pt x="567" y="611"/>
                  </a:cubicBezTo>
                  <a:cubicBezTo>
                    <a:pt x="567" y="574"/>
                    <a:pt x="550" y="547"/>
                    <a:pt x="517" y="530"/>
                  </a:cubicBezTo>
                  <a:cubicBezTo>
                    <a:pt x="483" y="513"/>
                    <a:pt x="433" y="502"/>
                    <a:pt x="372" y="497"/>
                  </a:cubicBezTo>
                  <a:cubicBezTo>
                    <a:pt x="331" y="494"/>
                    <a:pt x="292" y="486"/>
                    <a:pt x="250" y="477"/>
                  </a:cubicBezTo>
                  <a:cubicBezTo>
                    <a:pt x="211" y="469"/>
                    <a:pt x="175" y="455"/>
                    <a:pt x="142" y="436"/>
                  </a:cubicBezTo>
                  <a:cubicBezTo>
                    <a:pt x="109" y="416"/>
                    <a:pt x="81" y="394"/>
                    <a:pt x="61" y="363"/>
                  </a:cubicBezTo>
                  <a:cubicBezTo>
                    <a:pt x="39" y="333"/>
                    <a:pt x="28" y="294"/>
                    <a:pt x="28" y="249"/>
                  </a:cubicBezTo>
                  <a:cubicBezTo>
                    <a:pt x="28" y="202"/>
                    <a:pt x="39" y="166"/>
                    <a:pt x="61" y="133"/>
                  </a:cubicBezTo>
                  <a:cubicBezTo>
                    <a:pt x="84" y="102"/>
                    <a:pt x="111" y="74"/>
                    <a:pt x="145" y="55"/>
                  </a:cubicBezTo>
                  <a:cubicBezTo>
                    <a:pt x="178" y="36"/>
                    <a:pt x="217" y="22"/>
                    <a:pt x="258" y="11"/>
                  </a:cubicBezTo>
                  <a:cubicBezTo>
                    <a:pt x="297" y="2"/>
                    <a:pt x="339" y="0"/>
                    <a:pt x="378" y="0"/>
                  </a:cubicBezTo>
                  <a:cubicBezTo>
                    <a:pt x="445" y="0"/>
                    <a:pt x="503" y="8"/>
                    <a:pt x="553" y="22"/>
                  </a:cubicBezTo>
                  <a:cubicBezTo>
                    <a:pt x="606" y="38"/>
                    <a:pt x="656" y="66"/>
                    <a:pt x="703" y="108"/>
                  </a:cubicBezTo>
                  <a:lnTo>
                    <a:pt x="603"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4" name="Freeform 21">
              <a:extLst>
                <a:ext uri="{FF2B5EF4-FFF2-40B4-BE49-F238E27FC236}">
                  <a16:creationId xmlns:a16="http://schemas.microsoft.com/office/drawing/2014/main" id="{E70BD038-26E5-9A48-804A-252A946F509E}"/>
                </a:ext>
              </a:extLst>
            </p:cNvPr>
            <p:cNvSpPr>
              <a:spLocks noChangeArrowheads="1"/>
            </p:cNvSpPr>
            <p:nvPr userDrawn="1"/>
          </p:nvSpPr>
          <p:spPr bwMode="auto">
            <a:xfrm>
              <a:off x="2698750" y="3749675"/>
              <a:ext cx="63500" cy="298450"/>
            </a:xfrm>
            <a:custGeom>
              <a:avLst/>
              <a:gdLst>
                <a:gd name="T0" fmla="*/ 175 w 176"/>
                <a:gd name="T1" fmla="*/ 828 h 829"/>
                <a:gd name="T2" fmla="*/ 0 w 176"/>
                <a:gd name="T3" fmla="*/ 828 h 829"/>
                <a:gd name="T4" fmla="*/ 0 w 176"/>
                <a:gd name="T5" fmla="*/ 0 h 829"/>
                <a:gd name="T6" fmla="*/ 175 w 176"/>
                <a:gd name="T7" fmla="*/ 0 h 829"/>
                <a:gd name="T8" fmla="*/ 175 w 176"/>
                <a:gd name="T9" fmla="*/ 828 h 829"/>
              </a:gdLst>
              <a:ahLst/>
              <a:cxnLst>
                <a:cxn ang="0">
                  <a:pos x="T0" y="T1"/>
                </a:cxn>
                <a:cxn ang="0">
                  <a:pos x="T2" y="T3"/>
                </a:cxn>
                <a:cxn ang="0">
                  <a:pos x="T4" y="T5"/>
                </a:cxn>
                <a:cxn ang="0">
                  <a:pos x="T6" y="T7"/>
                </a:cxn>
                <a:cxn ang="0">
                  <a:pos x="T8" y="T9"/>
                </a:cxn>
              </a:cxnLst>
              <a:rect l="0" t="0" r="r" b="b"/>
              <a:pathLst>
                <a:path w="176" h="829">
                  <a:moveTo>
                    <a:pt x="175" y="828"/>
                  </a:moveTo>
                  <a:lnTo>
                    <a:pt x="0" y="828"/>
                  </a:lnTo>
                  <a:lnTo>
                    <a:pt x="0" y="0"/>
                  </a:lnTo>
                  <a:lnTo>
                    <a:pt x="175" y="0"/>
                  </a:lnTo>
                  <a:lnTo>
                    <a:pt x="175" y="82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5" name="Freeform 22">
              <a:extLst>
                <a:ext uri="{FF2B5EF4-FFF2-40B4-BE49-F238E27FC236}">
                  <a16:creationId xmlns:a16="http://schemas.microsoft.com/office/drawing/2014/main" id="{EC45D851-8B05-F549-BB5A-3E56A84A68CF}"/>
                </a:ext>
              </a:extLst>
            </p:cNvPr>
            <p:cNvSpPr>
              <a:spLocks noChangeArrowheads="1"/>
            </p:cNvSpPr>
            <p:nvPr userDrawn="1"/>
          </p:nvSpPr>
          <p:spPr bwMode="auto">
            <a:xfrm>
              <a:off x="2822575" y="3665538"/>
              <a:ext cx="223838" cy="385762"/>
            </a:xfrm>
            <a:custGeom>
              <a:avLst/>
              <a:gdLst>
                <a:gd name="T0" fmla="*/ 342 w 620"/>
                <a:gd name="T1" fmla="*/ 0 h 1073"/>
                <a:gd name="T2" fmla="*/ 342 w 620"/>
                <a:gd name="T3" fmla="*/ 0 h 1073"/>
                <a:gd name="T4" fmla="*/ 342 w 620"/>
                <a:gd name="T5" fmla="*/ 239 h 1073"/>
                <a:gd name="T6" fmla="*/ 586 w 620"/>
                <a:gd name="T7" fmla="*/ 239 h 1073"/>
                <a:gd name="T8" fmla="*/ 586 w 620"/>
                <a:gd name="T9" fmla="*/ 389 h 1073"/>
                <a:gd name="T10" fmla="*/ 339 w 620"/>
                <a:gd name="T11" fmla="*/ 389 h 1073"/>
                <a:gd name="T12" fmla="*/ 339 w 620"/>
                <a:gd name="T13" fmla="*/ 780 h 1073"/>
                <a:gd name="T14" fmla="*/ 369 w 620"/>
                <a:gd name="T15" fmla="*/ 880 h 1073"/>
                <a:gd name="T16" fmla="*/ 461 w 620"/>
                <a:gd name="T17" fmla="*/ 917 h 1073"/>
                <a:gd name="T18" fmla="*/ 514 w 620"/>
                <a:gd name="T19" fmla="*/ 908 h 1073"/>
                <a:gd name="T20" fmla="*/ 566 w 620"/>
                <a:gd name="T21" fmla="*/ 886 h 1073"/>
                <a:gd name="T22" fmla="*/ 619 w 620"/>
                <a:gd name="T23" fmla="*/ 1033 h 1073"/>
                <a:gd name="T24" fmla="*/ 533 w 620"/>
                <a:gd name="T25" fmla="*/ 1061 h 1073"/>
                <a:gd name="T26" fmla="*/ 450 w 620"/>
                <a:gd name="T27" fmla="*/ 1072 h 1073"/>
                <a:gd name="T28" fmla="*/ 236 w 620"/>
                <a:gd name="T29" fmla="*/ 1000 h 1073"/>
                <a:gd name="T30" fmla="*/ 164 w 620"/>
                <a:gd name="T31" fmla="*/ 780 h 1073"/>
                <a:gd name="T32" fmla="*/ 164 w 620"/>
                <a:gd name="T33" fmla="*/ 389 h 1073"/>
                <a:gd name="T34" fmla="*/ 0 w 620"/>
                <a:gd name="T35" fmla="*/ 389 h 1073"/>
                <a:gd name="T36" fmla="*/ 0 w 620"/>
                <a:gd name="T37" fmla="*/ 239 h 1073"/>
                <a:gd name="T38" fmla="*/ 164 w 620"/>
                <a:gd name="T39" fmla="*/ 239 h 1073"/>
                <a:gd name="T40" fmla="*/ 164 w 620"/>
                <a:gd name="T41" fmla="*/ 19 h 1073"/>
                <a:gd name="T42" fmla="*/ 342 w 620"/>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0" h="1073">
                  <a:moveTo>
                    <a:pt x="342" y="0"/>
                  </a:moveTo>
                  <a:lnTo>
                    <a:pt x="342" y="0"/>
                  </a:lnTo>
                  <a:cubicBezTo>
                    <a:pt x="342" y="239"/>
                    <a:pt x="342" y="239"/>
                    <a:pt x="342" y="239"/>
                  </a:cubicBezTo>
                  <a:cubicBezTo>
                    <a:pt x="586" y="239"/>
                    <a:pt x="586" y="239"/>
                    <a:pt x="586" y="239"/>
                  </a:cubicBezTo>
                  <a:cubicBezTo>
                    <a:pt x="586" y="389"/>
                    <a:pt x="586" y="389"/>
                    <a:pt x="586" y="389"/>
                  </a:cubicBezTo>
                  <a:cubicBezTo>
                    <a:pt x="339" y="389"/>
                    <a:pt x="339" y="389"/>
                    <a:pt x="339" y="389"/>
                  </a:cubicBezTo>
                  <a:cubicBezTo>
                    <a:pt x="339" y="780"/>
                    <a:pt x="339" y="780"/>
                    <a:pt x="339" y="780"/>
                  </a:cubicBezTo>
                  <a:cubicBezTo>
                    <a:pt x="339" y="825"/>
                    <a:pt x="350" y="858"/>
                    <a:pt x="369" y="880"/>
                  </a:cubicBezTo>
                  <a:cubicBezTo>
                    <a:pt x="389" y="905"/>
                    <a:pt x="419" y="917"/>
                    <a:pt x="461" y="917"/>
                  </a:cubicBezTo>
                  <a:cubicBezTo>
                    <a:pt x="478" y="917"/>
                    <a:pt x="494" y="914"/>
                    <a:pt x="514" y="908"/>
                  </a:cubicBezTo>
                  <a:cubicBezTo>
                    <a:pt x="533" y="903"/>
                    <a:pt x="550" y="897"/>
                    <a:pt x="566" y="886"/>
                  </a:cubicBezTo>
                  <a:cubicBezTo>
                    <a:pt x="619" y="1033"/>
                    <a:pt x="619" y="1033"/>
                    <a:pt x="619" y="1033"/>
                  </a:cubicBezTo>
                  <a:cubicBezTo>
                    <a:pt x="589" y="1047"/>
                    <a:pt x="561" y="1055"/>
                    <a:pt x="533" y="1061"/>
                  </a:cubicBezTo>
                  <a:cubicBezTo>
                    <a:pt x="508" y="1069"/>
                    <a:pt x="480" y="1072"/>
                    <a:pt x="450" y="1072"/>
                  </a:cubicBezTo>
                  <a:cubicBezTo>
                    <a:pt x="358" y="1072"/>
                    <a:pt x="286" y="1050"/>
                    <a:pt x="236" y="1000"/>
                  </a:cubicBezTo>
                  <a:cubicBezTo>
                    <a:pt x="189" y="953"/>
                    <a:pt x="164" y="878"/>
                    <a:pt x="164" y="780"/>
                  </a:cubicBezTo>
                  <a:cubicBezTo>
                    <a:pt x="164" y="389"/>
                    <a:pt x="164" y="389"/>
                    <a:pt x="164" y="389"/>
                  </a:cubicBezTo>
                  <a:cubicBezTo>
                    <a:pt x="0" y="389"/>
                    <a:pt x="0" y="389"/>
                    <a:pt x="0" y="389"/>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6" name="Freeform 23">
              <a:extLst>
                <a:ext uri="{FF2B5EF4-FFF2-40B4-BE49-F238E27FC236}">
                  <a16:creationId xmlns:a16="http://schemas.microsoft.com/office/drawing/2014/main" id="{AA995A18-2D95-0E43-B94A-3DA3DCDB513C}"/>
                </a:ext>
              </a:extLst>
            </p:cNvPr>
            <p:cNvSpPr>
              <a:spLocks noChangeArrowheads="1"/>
            </p:cNvSpPr>
            <p:nvPr userDrawn="1"/>
          </p:nvSpPr>
          <p:spPr bwMode="auto">
            <a:xfrm>
              <a:off x="3208338" y="3749675"/>
              <a:ext cx="492125" cy="298450"/>
            </a:xfrm>
            <a:custGeom>
              <a:avLst/>
              <a:gdLst>
                <a:gd name="T0" fmla="*/ 761 w 1368"/>
                <a:gd name="T1" fmla="*/ 0 h 829"/>
                <a:gd name="T2" fmla="*/ 961 w 1368"/>
                <a:gd name="T3" fmla="*/ 647 h 829"/>
                <a:gd name="T4" fmla="*/ 1169 w 1368"/>
                <a:gd name="T5" fmla="*/ 0 h 829"/>
                <a:gd name="T6" fmla="*/ 1367 w 1368"/>
                <a:gd name="T7" fmla="*/ 0 h 829"/>
                <a:gd name="T8" fmla="*/ 1072 w 1368"/>
                <a:gd name="T9" fmla="*/ 828 h 829"/>
                <a:gd name="T10" fmla="*/ 867 w 1368"/>
                <a:gd name="T11" fmla="*/ 828 h 829"/>
                <a:gd name="T12" fmla="*/ 767 w 1368"/>
                <a:gd name="T13" fmla="*/ 555 h 829"/>
                <a:gd name="T14" fmla="*/ 686 w 1368"/>
                <a:gd name="T15" fmla="*/ 267 h 829"/>
                <a:gd name="T16" fmla="*/ 603 w 1368"/>
                <a:gd name="T17" fmla="*/ 555 h 829"/>
                <a:gd name="T18" fmla="*/ 503 w 1368"/>
                <a:gd name="T19" fmla="*/ 828 h 829"/>
                <a:gd name="T20" fmla="*/ 297 w 1368"/>
                <a:gd name="T21" fmla="*/ 828 h 829"/>
                <a:gd name="T22" fmla="*/ 0 w 1368"/>
                <a:gd name="T23" fmla="*/ 0 h 829"/>
                <a:gd name="T24" fmla="*/ 200 w 1368"/>
                <a:gd name="T25" fmla="*/ 0 h 829"/>
                <a:gd name="T26" fmla="*/ 408 w 1368"/>
                <a:gd name="T27" fmla="*/ 647 h 829"/>
                <a:gd name="T28" fmla="*/ 608 w 1368"/>
                <a:gd name="T29" fmla="*/ 0 h 829"/>
                <a:gd name="T30" fmla="*/ 761 w 1368"/>
                <a:gd name="T31" fmla="*/ 0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8" h="829">
                  <a:moveTo>
                    <a:pt x="761" y="0"/>
                  </a:moveTo>
                  <a:lnTo>
                    <a:pt x="961" y="647"/>
                  </a:lnTo>
                  <a:lnTo>
                    <a:pt x="1169" y="0"/>
                  </a:lnTo>
                  <a:lnTo>
                    <a:pt x="1367" y="0"/>
                  </a:lnTo>
                  <a:lnTo>
                    <a:pt x="1072" y="828"/>
                  </a:lnTo>
                  <a:lnTo>
                    <a:pt x="867" y="828"/>
                  </a:lnTo>
                  <a:lnTo>
                    <a:pt x="767" y="555"/>
                  </a:lnTo>
                  <a:lnTo>
                    <a:pt x="686" y="267"/>
                  </a:lnTo>
                  <a:lnTo>
                    <a:pt x="603" y="555"/>
                  </a:lnTo>
                  <a:lnTo>
                    <a:pt x="503" y="828"/>
                  </a:lnTo>
                  <a:lnTo>
                    <a:pt x="297" y="828"/>
                  </a:lnTo>
                  <a:lnTo>
                    <a:pt x="0" y="0"/>
                  </a:lnTo>
                  <a:lnTo>
                    <a:pt x="200" y="0"/>
                  </a:lnTo>
                  <a:lnTo>
                    <a:pt x="408" y="647"/>
                  </a:lnTo>
                  <a:lnTo>
                    <a:pt x="608" y="0"/>
                  </a:lnTo>
                  <a:lnTo>
                    <a:pt x="761"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7" name="Freeform 24">
              <a:extLst>
                <a:ext uri="{FF2B5EF4-FFF2-40B4-BE49-F238E27FC236}">
                  <a16:creationId xmlns:a16="http://schemas.microsoft.com/office/drawing/2014/main" id="{70EEA587-2306-EB49-8FE3-42EBD34E90A9}"/>
                </a:ext>
              </a:extLst>
            </p:cNvPr>
            <p:cNvSpPr>
              <a:spLocks noChangeArrowheads="1"/>
            </p:cNvSpPr>
            <p:nvPr userDrawn="1"/>
          </p:nvSpPr>
          <p:spPr bwMode="auto">
            <a:xfrm>
              <a:off x="37322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3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8" y="147"/>
                    <a:pt x="127" y="111"/>
                  </a:cubicBezTo>
                  <a:cubicBezTo>
                    <a:pt x="166" y="75"/>
                    <a:pt x="211" y="48"/>
                    <a:pt x="263"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38" y="636"/>
                    <a:pt x="669" y="603"/>
                    <a:pt x="691" y="561"/>
                  </a:cubicBezTo>
                  <a:cubicBezTo>
                    <a:pt x="711" y="522"/>
                    <a:pt x="722" y="478"/>
                    <a:pt x="722" y="431"/>
                  </a:cubicBezTo>
                  <a:cubicBezTo>
                    <a:pt x="722" y="384"/>
                    <a:pt x="711" y="339"/>
                    <a:pt x="691" y="298"/>
                  </a:cubicBezTo>
                  <a:cubicBezTo>
                    <a:pt x="669" y="259"/>
                    <a:pt x="638"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8" name="Freeform 25">
              <a:extLst>
                <a:ext uri="{FF2B5EF4-FFF2-40B4-BE49-F238E27FC236}">
                  <a16:creationId xmlns:a16="http://schemas.microsoft.com/office/drawing/2014/main" id="{72CD9F3A-AD63-334C-8F13-F68D61A86EBC}"/>
                </a:ext>
              </a:extLst>
            </p:cNvPr>
            <p:cNvSpPr>
              <a:spLocks noChangeArrowheads="1"/>
            </p:cNvSpPr>
            <p:nvPr userDrawn="1"/>
          </p:nvSpPr>
          <p:spPr bwMode="auto">
            <a:xfrm>
              <a:off x="4116388" y="3743325"/>
              <a:ext cx="268287" cy="312738"/>
            </a:xfrm>
            <a:custGeom>
              <a:avLst/>
              <a:gdLst>
                <a:gd name="T0" fmla="*/ 605 w 745"/>
                <a:gd name="T1" fmla="*/ 222 h 870"/>
                <a:gd name="T2" fmla="*/ 605 w 745"/>
                <a:gd name="T3" fmla="*/ 222 h 870"/>
                <a:gd name="T4" fmla="*/ 500 w 745"/>
                <a:gd name="T5" fmla="*/ 161 h 870"/>
                <a:gd name="T6" fmla="*/ 383 w 745"/>
                <a:gd name="T7" fmla="*/ 147 h 870"/>
                <a:gd name="T8" fmla="*/ 253 w 745"/>
                <a:gd name="T9" fmla="*/ 169 h 870"/>
                <a:gd name="T10" fmla="*/ 203 w 745"/>
                <a:gd name="T11" fmla="*/ 244 h 870"/>
                <a:gd name="T12" fmla="*/ 256 w 745"/>
                <a:gd name="T13" fmla="*/ 319 h 870"/>
                <a:gd name="T14" fmla="*/ 386 w 745"/>
                <a:gd name="T15" fmla="*/ 349 h 870"/>
                <a:gd name="T16" fmla="*/ 508 w 745"/>
                <a:gd name="T17" fmla="*/ 366 h 870"/>
                <a:gd name="T18" fmla="*/ 625 w 745"/>
                <a:gd name="T19" fmla="*/ 405 h 870"/>
                <a:gd name="T20" fmla="*/ 711 w 745"/>
                <a:gd name="T21" fmla="*/ 480 h 870"/>
                <a:gd name="T22" fmla="*/ 744 w 745"/>
                <a:gd name="T23" fmla="*/ 608 h 870"/>
                <a:gd name="T24" fmla="*/ 717 w 745"/>
                <a:gd name="T25" fmla="*/ 713 h 870"/>
                <a:gd name="T26" fmla="*/ 644 w 745"/>
                <a:gd name="T27" fmla="*/ 797 h 870"/>
                <a:gd name="T28" fmla="*/ 533 w 745"/>
                <a:gd name="T29" fmla="*/ 849 h 870"/>
                <a:gd name="T30" fmla="*/ 386 w 745"/>
                <a:gd name="T31" fmla="*/ 869 h 870"/>
                <a:gd name="T32" fmla="*/ 183 w 745"/>
                <a:gd name="T33" fmla="*/ 838 h 870"/>
                <a:gd name="T34" fmla="*/ 0 w 745"/>
                <a:gd name="T35" fmla="*/ 716 h 870"/>
                <a:gd name="T36" fmla="*/ 92 w 745"/>
                <a:gd name="T37" fmla="*/ 597 h 870"/>
                <a:gd name="T38" fmla="*/ 233 w 745"/>
                <a:gd name="T39" fmla="*/ 688 h 870"/>
                <a:gd name="T40" fmla="*/ 389 w 745"/>
                <a:gd name="T41" fmla="*/ 719 h 870"/>
                <a:gd name="T42" fmla="*/ 450 w 745"/>
                <a:gd name="T43" fmla="*/ 713 h 870"/>
                <a:gd name="T44" fmla="*/ 508 w 745"/>
                <a:gd name="T45" fmla="*/ 694 h 870"/>
                <a:gd name="T46" fmla="*/ 550 w 745"/>
                <a:gd name="T47" fmla="*/ 661 h 870"/>
                <a:gd name="T48" fmla="*/ 567 w 745"/>
                <a:gd name="T49" fmla="*/ 611 h 870"/>
                <a:gd name="T50" fmla="*/ 519 w 745"/>
                <a:gd name="T51" fmla="*/ 530 h 870"/>
                <a:gd name="T52" fmla="*/ 372 w 745"/>
                <a:gd name="T53" fmla="*/ 497 h 870"/>
                <a:gd name="T54" fmla="*/ 253 w 745"/>
                <a:gd name="T55" fmla="*/ 477 h 870"/>
                <a:gd name="T56" fmla="*/ 142 w 745"/>
                <a:gd name="T57" fmla="*/ 436 h 870"/>
                <a:gd name="T58" fmla="*/ 61 w 745"/>
                <a:gd name="T59" fmla="*/ 363 h 870"/>
                <a:gd name="T60" fmla="*/ 30 w 745"/>
                <a:gd name="T61" fmla="*/ 249 h 870"/>
                <a:gd name="T62" fmla="*/ 61 w 745"/>
                <a:gd name="T63" fmla="*/ 133 h 870"/>
                <a:gd name="T64" fmla="*/ 147 w 745"/>
                <a:gd name="T65" fmla="*/ 55 h 870"/>
                <a:gd name="T66" fmla="*/ 258 w 745"/>
                <a:gd name="T67" fmla="*/ 11 h 870"/>
                <a:gd name="T68" fmla="*/ 381 w 745"/>
                <a:gd name="T69" fmla="*/ 0 h 870"/>
                <a:gd name="T70" fmla="*/ 556 w 745"/>
                <a:gd name="T71" fmla="*/ 22 h 870"/>
                <a:gd name="T72" fmla="*/ 705 w 745"/>
                <a:gd name="T73" fmla="*/ 108 h 870"/>
                <a:gd name="T74" fmla="*/ 605 w 745"/>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5" h="870">
                  <a:moveTo>
                    <a:pt x="605" y="222"/>
                  </a:moveTo>
                  <a:lnTo>
                    <a:pt x="605" y="222"/>
                  </a:lnTo>
                  <a:cubicBezTo>
                    <a:pt x="572" y="191"/>
                    <a:pt x="536" y="172"/>
                    <a:pt x="500" y="161"/>
                  </a:cubicBezTo>
                  <a:cubicBezTo>
                    <a:pt x="464" y="149"/>
                    <a:pt x="425" y="147"/>
                    <a:pt x="383" y="147"/>
                  </a:cubicBezTo>
                  <a:cubicBezTo>
                    <a:pt x="328" y="144"/>
                    <a:pt x="286" y="152"/>
                    <a:pt x="253" y="169"/>
                  </a:cubicBezTo>
                  <a:cubicBezTo>
                    <a:pt x="219" y="188"/>
                    <a:pt x="203" y="211"/>
                    <a:pt x="203" y="244"/>
                  </a:cubicBezTo>
                  <a:cubicBezTo>
                    <a:pt x="206" y="280"/>
                    <a:pt x="222" y="302"/>
                    <a:pt x="256" y="319"/>
                  </a:cubicBezTo>
                  <a:cubicBezTo>
                    <a:pt x="289" y="333"/>
                    <a:pt x="333" y="344"/>
                    <a:pt x="386" y="349"/>
                  </a:cubicBezTo>
                  <a:cubicBezTo>
                    <a:pt x="425" y="352"/>
                    <a:pt x="467" y="358"/>
                    <a:pt x="508" y="366"/>
                  </a:cubicBezTo>
                  <a:cubicBezTo>
                    <a:pt x="550" y="372"/>
                    <a:pt x="589" y="386"/>
                    <a:pt x="625" y="405"/>
                  </a:cubicBezTo>
                  <a:cubicBezTo>
                    <a:pt x="658" y="422"/>
                    <a:pt x="689" y="447"/>
                    <a:pt x="711" y="480"/>
                  </a:cubicBezTo>
                  <a:cubicBezTo>
                    <a:pt x="733" y="513"/>
                    <a:pt x="744" y="555"/>
                    <a:pt x="744" y="608"/>
                  </a:cubicBezTo>
                  <a:cubicBezTo>
                    <a:pt x="744" y="647"/>
                    <a:pt x="736" y="683"/>
                    <a:pt x="717" y="713"/>
                  </a:cubicBezTo>
                  <a:cubicBezTo>
                    <a:pt x="700" y="747"/>
                    <a:pt x="678" y="774"/>
                    <a:pt x="644" y="797"/>
                  </a:cubicBezTo>
                  <a:cubicBezTo>
                    <a:pt x="614" y="819"/>
                    <a:pt x="578" y="838"/>
                    <a:pt x="533" y="849"/>
                  </a:cubicBezTo>
                  <a:cubicBezTo>
                    <a:pt x="489" y="863"/>
                    <a:pt x="439" y="869"/>
                    <a:pt x="386" y="869"/>
                  </a:cubicBezTo>
                  <a:cubicBezTo>
                    <a:pt x="317" y="869"/>
                    <a:pt x="250" y="858"/>
                    <a:pt x="183" y="838"/>
                  </a:cubicBezTo>
                  <a:cubicBezTo>
                    <a:pt x="117" y="819"/>
                    <a:pt x="56" y="777"/>
                    <a:pt x="0" y="716"/>
                  </a:cubicBezTo>
                  <a:cubicBezTo>
                    <a:pt x="92" y="597"/>
                    <a:pt x="92" y="597"/>
                    <a:pt x="92" y="597"/>
                  </a:cubicBezTo>
                  <a:cubicBezTo>
                    <a:pt x="133" y="638"/>
                    <a:pt x="181" y="669"/>
                    <a:pt x="233" y="688"/>
                  </a:cubicBezTo>
                  <a:cubicBezTo>
                    <a:pt x="286" y="708"/>
                    <a:pt x="339" y="719"/>
                    <a:pt x="389" y="719"/>
                  </a:cubicBezTo>
                  <a:cubicBezTo>
                    <a:pt x="408" y="719"/>
                    <a:pt x="430" y="716"/>
                    <a:pt x="450" y="713"/>
                  </a:cubicBezTo>
                  <a:cubicBezTo>
                    <a:pt x="472" y="708"/>
                    <a:pt x="492" y="702"/>
                    <a:pt x="508" y="694"/>
                  </a:cubicBezTo>
                  <a:cubicBezTo>
                    <a:pt x="525" y="686"/>
                    <a:pt x="539" y="674"/>
                    <a:pt x="550" y="661"/>
                  </a:cubicBezTo>
                  <a:cubicBezTo>
                    <a:pt x="561" y="647"/>
                    <a:pt x="567" y="630"/>
                    <a:pt x="567" y="611"/>
                  </a:cubicBezTo>
                  <a:cubicBezTo>
                    <a:pt x="569" y="574"/>
                    <a:pt x="553" y="547"/>
                    <a:pt x="519" y="530"/>
                  </a:cubicBezTo>
                  <a:cubicBezTo>
                    <a:pt x="483" y="513"/>
                    <a:pt x="436" y="502"/>
                    <a:pt x="372" y="497"/>
                  </a:cubicBezTo>
                  <a:cubicBezTo>
                    <a:pt x="333" y="494"/>
                    <a:pt x="292" y="486"/>
                    <a:pt x="253" y="477"/>
                  </a:cubicBezTo>
                  <a:cubicBezTo>
                    <a:pt x="211" y="469"/>
                    <a:pt x="175" y="455"/>
                    <a:pt x="142" y="436"/>
                  </a:cubicBezTo>
                  <a:cubicBezTo>
                    <a:pt x="108" y="416"/>
                    <a:pt x="83" y="394"/>
                    <a:pt x="61" y="363"/>
                  </a:cubicBezTo>
                  <a:cubicBezTo>
                    <a:pt x="42" y="333"/>
                    <a:pt x="30" y="294"/>
                    <a:pt x="30" y="249"/>
                  </a:cubicBezTo>
                  <a:cubicBezTo>
                    <a:pt x="30" y="202"/>
                    <a:pt x="42" y="166"/>
                    <a:pt x="61" y="133"/>
                  </a:cubicBezTo>
                  <a:cubicBezTo>
                    <a:pt x="83" y="102"/>
                    <a:pt x="111" y="74"/>
                    <a:pt x="147" y="55"/>
                  </a:cubicBezTo>
                  <a:cubicBezTo>
                    <a:pt x="181" y="36"/>
                    <a:pt x="217" y="22"/>
                    <a:pt x="258" y="11"/>
                  </a:cubicBezTo>
                  <a:cubicBezTo>
                    <a:pt x="300" y="2"/>
                    <a:pt x="339" y="0"/>
                    <a:pt x="381" y="0"/>
                  </a:cubicBezTo>
                  <a:cubicBezTo>
                    <a:pt x="444" y="0"/>
                    <a:pt x="503" y="8"/>
                    <a:pt x="556" y="22"/>
                  </a:cubicBezTo>
                  <a:cubicBezTo>
                    <a:pt x="605" y="38"/>
                    <a:pt x="656" y="66"/>
                    <a:pt x="705" y="108"/>
                  </a:cubicBezTo>
                  <a:lnTo>
                    <a:pt x="605"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9" name="Freeform 26">
              <a:extLst>
                <a:ext uri="{FF2B5EF4-FFF2-40B4-BE49-F238E27FC236}">
                  <a16:creationId xmlns:a16="http://schemas.microsoft.com/office/drawing/2014/main" id="{4AA9266C-9A95-AC43-A5B1-6FB5289A6E70}"/>
                </a:ext>
              </a:extLst>
            </p:cNvPr>
            <p:cNvSpPr>
              <a:spLocks noChangeArrowheads="1"/>
            </p:cNvSpPr>
            <p:nvPr userDrawn="1"/>
          </p:nvSpPr>
          <p:spPr bwMode="auto">
            <a:xfrm>
              <a:off x="4600575" y="3744913"/>
              <a:ext cx="476250" cy="301625"/>
            </a:xfrm>
            <a:custGeom>
              <a:avLst/>
              <a:gdLst>
                <a:gd name="T0" fmla="*/ 575 w 1322"/>
                <a:gd name="T1" fmla="*/ 839 h 840"/>
                <a:gd name="T2" fmla="*/ 575 w 1322"/>
                <a:gd name="T3" fmla="*/ 839 h 840"/>
                <a:gd name="T4" fmla="*/ 575 w 1322"/>
                <a:gd name="T5" fmla="*/ 386 h 840"/>
                <a:gd name="T6" fmla="*/ 564 w 1322"/>
                <a:gd name="T7" fmla="*/ 300 h 840"/>
                <a:gd name="T8" fmla="*/ 525 w 1322"/>
                <a:gd name="T9" fmla="*/ 228 h 840"/>
                <a:gd name="T10" fmla="*/ 461 w 1322"/>
                <a:gd name="T11" fmla="*/ 178 h 840"/>
                <a:gd name="T12" fmla="*/ 381 w 1322"/>
                <a:gd name="T13" fmla="*/ 161 h 840"/>
                <a:gd name="T14" fmla="*/ 295 w 1322"/>
                <a:gd name="T15" fmla="*/ 178 h 840"/>
                <a:gd name="T16" fmla="*/ 231 w 1322"/>
                <a:gd name="T17" fmla="*/ 228 h 840"/>
                <a:gd name="T18" fmla="*/ 192 w 1322"/>
                <a:gd name="T19" fmla="*/ 300 h 840"/>
                <a:gd name="T20" fmla="*/ 175 w 1322"/>
                <a:gd name="T21" fmla="*/ 386 h 840"/>
                <a:gd name="T22" fmla="*/ 175 w 1322"/>
                <a:gd name="T23" fmla="*/ 839 h 840"/>
                <a:gd name="T24" fmla="*/ 0 w 1322"/>
                <a:gd name="T25" fmla="*/ 839 h 840"/>
                <a:gd name="T26" fmla="*/ 0 w 1322"/>
                <a:gd name="T27" fmla="*/ 14 h 840"/>
                <a:gd name="T28" fmla="*/ 164 w 1322"/>
                <a:gd name="T29" fmla="*/ 14 h 840"/>
                <a:gd name="T30" fmla="*/ 175 w 1322"/>
                <a:gd name="T31" fmla="*/ 125 h 840"/>
                <a:gd name="T32" fmla="*/ 278 w 1322"/>
                <a:gd name="T33" fmla="*/ 28 h 840"/>
                <a:gd name="T34" fmla="*/ 411 w 1322"/>
                <a:gd name="T35" fmla="*/ 0 h 840"/>
                <a:gd name="T36" fmla="*/ 492 w 1322"/>
                <a:gd name="T37" fmla="*/ 8 h 840"/>
                <a:gd name="T38" fmla="*/ 567 w 1322"/>
                <a:gd name="T39" fmla="*/ 36 h 840"/>
                <a:gd name="T40" fmla="*/ 631 w 1322"/>
                <a:gd name="T41" fmla="*/ 89 h 840"/>
                <a:gd name="T42" fmla="*/ 675 w 1322"/>
                <a:gd name="T43" fmla="*/ 167 h 840"/>
                <a:gd name="T44" fmla="*/ 803 w 1322"/>
                <a:gd name="T45" fmla="*/ 39 h 840"/>
                <a:gd name="T46" fmla="*/ 964 w 1322"/>
                <a:gd name="T47" fmla="*/ 3 h 840"/>
                <a:gd name="T48" fmla="*/ 1230 w 1322"/>
                <a:gd name="T49" fmla="*/ 103 h 840"/>
                <a:gd name="T50" fmla="*/ 1321 w 1322"/>
                <a:gd name="T51" fmla="*/ 383 h 840"/>
                <a:gd name="T52" fmla="*/ 1321 w 1322"/>
                <a:gd name="T53" fmla="*/ 839 h 840"/>
                <a:gd name="T54" fmla="*/ 1145 w 1322"/>
                <a:gd name="T55" fmla="*/ 839 h 840"/>
                <a:gd name="T56" fmla="*/ 1145 w 1322"/>
                <a:gd name="T57" fmla="*/ 381 h 840"/>
                <a:gd name="T58" fmla="*/ 1134 w 1322"/>
                <a:gd name="T59" fmla="*/ 297 h 840"/>
                <a:gd name="T60" fmla="*/ 1097 w 1322"/>
                <a:gd name="T61" fmla="*/ 225 h 840"/>
                <a:gd name="T62" fmla="*/ 1039 w 1322"/>
                <a:gd name="T63" fmla="*/ 178 h 840"/>
                <a:gd name="T64" fmla="*/ 959 w 1322"/>
                <a:gd name="T65" fmla="*/ 161 h 840"/>
                <a:gd name="T66" fmla="*/ 872 w 1322"/>
                <a:gd name="T67" fmla="*/ 181 h 840"/>
                <a:gd name="T68" fmla="*/ 809 w 1322"/>
                <a:gd name="T69" fmla="*/ 228 h 840"/>
                <a:gd name="T70" fmla="*/ 767 w 1322"/>
                <a:gd name="T71" fmla="*/ 300 h 840"/>
                <a:gd name="T72" fmla="*/ 753 w 1322"/>
                <a:gd name="T73" fmla="*/ 386 h 840"/>
                <a:gd name="T74" fmla="*/ 753 w 1322"/>
                <a:gd name="T75" fmla="*/ 839 h 840"/>
                <a:gd name="T76" fmla="*/ 575 w 1322"/>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2" h="840">
                  <a:moveTo>
                    <a:pt x="575" y="839"/>
                  </a:moveTo>
                  <a:lnTo>
                    <a:pt x="575" y="839"/>
                  </a:lnTo>
                  <a:cubicBezTo>
                    <a:pt x="575" y="386"/>
                    <a:pt x="575" y="386"/>
                    <a:pt x="575" y="386"/>
                  </a:cubicBezTo>
                  <a:cubicBezTo>
                    <a:pt x="575" y="356"/>
                    <a:pt x="572" y="325"/>
                    <a:pt x="564" y="300"/>
                  </a:cubicBezTo>
                  <a:cubicBezTo>
                    <a:pt x="556" y="272"/>
                    <a:pt x="542" y="247"/>
                    <a:pt x="525" y="228"/>
                  </a:cubicBezTo>
                  <a:cubicBezTo>
                    <a:pt x="509" y="206"/>
                    <a:pt x="486" y="189"/>
                    <a:pt x="461" y="178"/>
                  </a:cubicBezTo>
                  <a:cubicBezTo>
                    <a:pt x="436" y="167"/>
                    <a:pt x="411" y="161"/>
                    <a:pt x="381" y="161"/>
                  </a:cubicBezTo>
                  <a:cubicBezTo>
                    <a:pt x="347" y="161"/>
                    <a:pt x="320" y="167"/>
                    <a:pt x="295" y="178"/>
                  </a:cubicBezTo>
                  <a:cubicBezTo>
                    <a:pt x="270" y="189"/>
                    <a:pt x="250" y="206"/>
                    <a:pt x="231" y="228"/>
                  </a:cubicBezTo>
                  <a:cubicBezTo>
                    <a:pt x="214" y="247"/>
                    <a:pt x="200" y="272"/>
                    <a:pt x="192" y="300"/>
                  </a:cubicBezTo>
                  <a:cubicBezTo>
                    <a:pt x="181" y="325"/>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200" y="78"/>
                    <a:pt x="234" y="47"/>
                    <a:pt x="278" y="28"/>
                  </a:cubicBezTo>
                  <a:cubicBezTo>
                    <a:pt x="323" y="8"/>
                    <a:pt x="367" y="0"/>
                    <a:pt x="411" y="0"/>
                  </a:cubicBezTo>
                  <a:cubicBezTo>
                    <a:pt x="439" y="0"/>
                    <a:pt x="467" y="3"/>
                    <a:pt x="492" y="8"/>
                  </a:cubicBezTo>
                  <a:cubicBezTo>
                    <a:pt x="520" y="14"/>
                    <a:pt x="542" y="22"/>
                    <a:pt x="567" y="36"/>
                  </a:cubicBezTo>
                  <a:cubicBezTo>
                    <a:pt x="589" y="50"/>
                    <a:pt x="611" y="67"/>
                    <a:pt x="631" y="89"/>
                  </a:cubicBezTo>
                  <a:cubicBezTo>
                    <a:pt x="647" y="111"/>
                    <a:pt x="664" y="136"/>
                    <a:pt x="675" y="167"/>
                  </a:cubicBezTo>
                  <a:cubicBezTo>
                    <a:pt x="711" y="106"/>
                    <a:pt x="753" y="61"/>
                    <a:pt x="803" y="39"/>
                  </a:cubicBezTo>
                  <a:cubicBezTo>
                    <a:pt x="853" y="14"/>
                    <a:pt x="906" y="3"/>
                    <a:pt x="964" y="3"/>
                  </a:cubicBezTo>
                  <a:cubicBezTo>
                    <a:pt x="1084" y="3"/>
                    <a:pt x="1172" y="36"/>
                    <a:pt x="1230" y="103"/>
                  </a:cubicBezTo>
                  <a:cubicBezTo>
                    <a:pt x="1291" y="169"/>
                    <a:pt x="1321" y="264"/>
                    <a:pt x="1321" y="383"/>
                  </a:cubicBezTo>
                  <a:cubicBezTo>
                    <a:pt x="1321" y="839"/>
                    <a:pt x="1321" y="839"/>
                    <a:pt x="1321" y="839"/>
                  </a:cubicBezTo>
                  <a:cubicBezTo>
                    <a:pt x="1145" y="839"/>
                    <a:pt x="1145" y="839"/>
                    <a:pt x="1145" y="839"/>
                  </a:cubicBezTo>
                  <a:cubicBezTo>
                    <a:pt x="1145" y="381"/>
                    <a:pt x="1145" y="381"/>
                    <a:pt x="1145" y="381"/>
                  </a:cubicBezTo>
                  <a:cubicBezTo>
                    <a:pt x="1145" y="353"/>
                    <a:pt x="1139" y="322"/>
                    <a:pt x="1134" y="297"/>
                  </a:cubicBezTo>
                  <a:cubicBezTo>
                    <a:pt x="1125" y="269"/>
                    <a:pt x="1114" y="247"/>
                    <a:pt x="1097" y="225"/>
                  </a:cubicBezTo>
                  <a:cubicBezTo>
                    <a:pt x="1081" y="206"/>
                    <a:pt x="1061" y="189"/>
                    <a:pt x="1039" y="178"/>
                  </a:cubicBezTo>
                  <a:cubicBezTo>
                    <a:pt x="1017" y="167"/>
                    <a:pt x="989" y="161"/>
                    <a:pt x="959" y="161"/>
                  </a:cubicBezTo>
                  <a:cubicBezTo>
                    <a:pt x="928" y="161"/>
                    <a:pt x="900" y="169"/>
                    <a:pt x="872" y="181"/>
                  </a:cubicBezTo>
                  <a:cubicBezTo>
                    <a:pt x="847" y="192"/>
                    <a:pt x="825" y="208"/>
                    <a:pt x="809" y="228"/>
                  </a:cubicBezTo>
                  <a:cubicBezTo>
                    <a:pt x="792" y="247"/>
                    <a:pt x="778" y="272"/>
                    <a:pt x="767" y="300"/>
                  </a:cubicBezTo>
                  <a:cubicBezTo>
                    <a:pt x="759" y="325"/>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0" name="Freeform 27">
              <a:extLst>
                <a:ext uri="{FF2B5EF4-FFF2-40B4-BE49-F238E27FC236}">
                  <a16:creationId xmlns:a16="http://schemas.microsoft.com/office/drawing/2014/main" id="{6745A430-6FAE-ED4D-A55A-AD8B18569B1C}"/>
                </a:ext>
              </a:extLst>
            </p:cNvPr>
            <p:cNvSpPr>
              <a:spLocks noChangeArrowheads="1"/>
            </p:cNvSpPr>
            <p:nvPr userDrawn="1"/>
          </p:nvSpPr>
          <p:spPr bwMode="auto">
            <a:xfrm>
              <a:off x="5138738" y="3743325"/>
              <a:ext cx="315912"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2 w 876"/>
                <a:gd name="T11" fmla="*/ 680 h 864"/>
                <a:gd name="T12" fmla="*/ 703 w 876"/>
                <a:gd name="T13" fmla="*/ 616 h 864"/>
                <a:gd name="T14" fmla="*/ 817 w 876"/>
                <a:gd name="T15" fmla="*/ 724 h 864"/>
                <a:gd name="T16" fmla="*/ 742 w 876"/>
                <a:gd name="T17" fmla="*/ 786 h 864"/>
                <a:gd name="T18" fmla="*/ 653 w 876"/>
                <a:gd name="T19" fmla="*/ 830 h 864"/>
                <a:gd name="T20" fmla="*/ 553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3 w 876"/>
                <a:gd name="T35" fmla="*/ 119 h 864"/>
                <a:gd name="T36" fmla="*/ 261 w 876"/>
                <a:gd name="T37" fmla="*/ 30 h 864"/>
                <a:gd name="T38" fmla="*/ 442 w 876"/>
                <a:gd name="T39" fmla="*/ 0 h 864"/>
                <a:gd name="T40" fmla="*/ 628 w 876"/>
                <a:gd name="T41" fmla="*/ 30 h 864"/>
                <a:gd name="T42" fmla="*/ 767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2 w 876"/>
                <a:gd name="T55" fmla="*/ 202 h 864"/>
                <a:gd name="T56" fmla="*/ 448 w 876"/>
                <a:gd name="T57" fmla="*/ 152 h 864"/>
                <a:gd name="T58" fmla="*/ 278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17" y="686"/>
                    <a:pt x="381" y="705"/>
                    <a:pt x="459" y="705"/>
                  </a:cubicBezTo>
                  <a:cubicBezTo>
                    <a:pt x="500" y="705"/>
                    <a:pt x="548" y="697"/>
                    <a:pt x="592" y="680"/>
                  </a:cubicBezTo>
                  <a:cubicBezTo>
                    <a:pt x="639" y="666"/>
                    <a:pt x="675" y="644"/>
                    <a:pt x="703" y="616"/>
                  </a:cubicBezTo>
                  <a:cubicBezTo>
                    <a:pt x="817" y="724"/>
                    <a:pt x="817" y="724"/>
                    <a:pt x="817" y="724"/>
                  </a:cubicBezTo>
                  <a:cubicBezTo>
                    <a:pt x="795" y="747"/>
                    <a:pt x="770" y="769"/>
                    <a:pt x="742" y="786"/>
                  </a:cubicBezTo>
                  <a:cubicBezTo>
                    <a:pt x="714" y="802"/>
                    <a:pt x="684" y="819"/>
                    <a:pt x="653" y="830"/>
                  </a:cubicBezTo>
                  <a:cubicBezTo>
                    <a:pt x="620" y="841"/>
                    <a:pt x="589" y="849"/>
                    <a:pt x="553" y="855"/>
                  </a:cubicBezTo>
                  <a:cubicBezTo>
                    <a:pt x="520" y="861"/>
                    <a:pt x="486" y="863"/>
                    <a:pt x="456" y="863"/>
                  </a:cubicBezTo>
                  <a:cubicBezTo>
                    <a:pt x="386" y="863"/>
                    <a:pt x="323" y="855"/>
                    <a:pt x="267" y="833"/>
                  </a:cubicBezTo>
                  <a:cubicBezTo>
                    <a:pt x="211" y="813"/>
                    <a:pt x="164" y="783"/>
                    <a:pt x="125" y="747"/>
                  </a:cubicBezTo>
                  <a:cubicBezTo>
                    <a:pt x="86" y="708"/>
                    <a:pt x="56" y="661"/>
                    <a:pt x="34" y="608"/>
                  </a:cubicBezTo>
                  <a:cubicBezTo>
                    <a:pt x="11" y="552"/>
                    <a:pt x="0" y="494"/>
                    <a:pt x="0" y="427"/>
                  </a:cubicBezTo>
                  <a:cubicBezTo>
                    <a:pt x="0" y="366"/>
                    <a:pt x="11" y="308"/>
                    <a:pt x="34" y="255"/>
                  </a:cubicBezTo>
                  <a:cubicBezTo>
                    <a:pt x="56" y="202"/>
                    <a:pt x="84" y="158"/>
                    <a:pt x="123" y="119"/>
                  </a:cubicBezTo>
                  <a:cubicBezTo>
                    <a:pt x="161" y="80"/>
                    <a:pt x="209" y="52"/>
                    <a:pt x="261" y="30"/>
                  </a:cubicBezTo>
                  <a:cubicBezTo>
                    <a:pt x="317" y="8"/>
                    <a:pt x="378" y="0"/>
                    <a:pt x="442" y="0"/>
                  </a:cubicBezTo>
                  <a:cubicBezTo>
                    <a:pt x="511" y="0"/>
                    <a:pt x="573" y="8"/>
                    <a:pt x="628" y="30"/>
                  </a:cubicBezTo>
                  <a:cubicBezTo>
                    <a:pt x="684" y="50"/>
                    <a:pt x="731" y="80"/>
                    <a:pt x="767" y="122"/>
                  </a:cubicBezTo>
                  <a:cubicBezTo>
                    <a:pt x="806" y="163"/>
                    <a:pt x="834" y="216"/>
                    <a:pt x="853" y="277"/>
                  </a:cubicBezTo>
                  <a:cubicBezTo>
                    <a:pt x="870" y="341"/>
                    <a:pt x="875" y="413"/>
                    <a:pt x="867" y="497"/>
                  </a:cubicBezTo>
                  <a:lnTo>
                    <a:pt x="186" y="352"/>
                  </a:lnTo>
                  <a:lnTo>
                    <a:pt x="186" y="352"/>
                  </a:lnTo>
                  <a:cubicBezTo>
                    <a:pt x="698" y="352"/>
                    <a:pt x="698" y="352"/>
                    <a:pt x="698" y="352"/>
                  </a:cubicBezTo>
                  <a:cubicBezTo>
                    <a:pt x="692" y="286"/>
                    <a:pt x="667" y="236"/>
                    <a:pt x="622" y="202"/>
                  </a:cubicBezTo>
                  <a:cubicBezTo>
                    <a:pt x="578" y="169"/>
                    <a:pt x="520" y="152"/>
                    <a:pt x="448" y="152"/>
                  </a:cubicBezTo>
                  <a:cubicBezTo>
                    <a:pt x="384" y="152"/>
                    <a:pt x="328" y="169"/>
                    <a:pt x="278"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1" name="Freeform 28">
              <a:extLst>
                <a:ext uri="{FF2B5EF4-FFF2-40B4-BE49-F238E27FC236}">
                  <a16:creationId xmlns:a16="http://schemas.microsoft.com/office/drawing/2014/main" id="{E3E2DFF6-D44B-5F42-95C1-7E783E653E68}"/>
                </a:ext>
              </a:extLst>
            </p:cNvPr>
            <p:cNvSpPr>
              <a:spLocks noChangeArrowheads="1"/>
            </p:cNvSpPr>
            <p:nvPr userDrawn="1"/>
          </p:nvSpPr>
          <p:spPr bwMode="auto">
            <a:xfrm>
              <a:off x="54975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4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9" y="147"/>
                    <a:pt x="127" y="111"/>
                  </a:cubicBezTo>
                  <a:cubicBezTo>
                    <a:pt x="166" y="75"/>
                    <a:pt x="211" y="48"/>
                    <a:pt x="264"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41" y="636"/>
                    <a:pt x="669" y="603"/>
                    <a:pt x="691" y="561"/>
                  </a:cubicBezTo>
                  <a:cubicBezTo>
                    <a:pt x="711" y="522"/>
                    <a:pt x="722" y="478"/>
                    <a:pt x="722" y="431"/>
                  </a:cubicBezTo>
                  <a:cubicBezTo>
                    <a:pt x="722" y="384"/>
                    <a:pt x="711" y="339"/>
                    <a:pt x="691" y="298"/>
                  </a:cubicBezTo>
                  <a:cubicBezTo>
                    <a:pt x="669" y="259"/>
                    <a:pt x="641"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2" name="Freeform 29">
              <a:extLst>
                <a:ext uri="{FF2B5EF4-FFF2-40B4-BE49-F238E27FC236}">
                  <a16:creationId xmlns:a16="http://schemas.microsoft.com/office/drawing/2014/main" id="{F1F0A8F6-9229-D949-BA1A-AC62C4C5F933}"/>
                </a:ext>
              </a:extLst>
            </p:cNvPr>
            <p:cNvSpPr>
              <a:spLocks noChangeArrowheads="1"/>
            </p:cNvSpPr>
            <p:nvPr userDrawn="1"/>
          </p:nvSpPr>
          <p:spPr bwMode="auto">
            <a:xfrm>
              <a:off x="5905500" y="3746500"/>
              <a:ext cx="293688" cy="301625"/>
            </a:xfrm>
            <a:custGeom>
              <a:avLst/>
              <a:gdLst>
                <a:gd name="T0" fmla="*/ 639 w 817"/>
                <a:gd name="T1" fmla="*/ 836 h 837"/>
                <a:gd name="T2" fmla="*/ 639 w 817"/>
                <a:gd name="T3" fmla="*/ 836 h 837"/>
                <a:gd name="T4" fmla="*/ 639 w 817"/>
                <a:gd name="T5" fmla="*/ 397 h 837"/>
                <a:gd name="T6" fmla="*/ 580 w 817"/>
                <a:gd name="T7" fmla="*/ 225 h 837"/>
                <a:gd name="T8" fmla="*/ 411 w 817"/>
                <a:gd name="T9" fmla="*/ 158 h 837"/>
                <a:gd name="T10" fmla="*/ 316 w 817"/>
                <a:gd name="T11" fmla="*/ 178 h 837"/>
                <a:gd name="T12" fmla="*/ 241 w 817"/>
                <a:gd name="T13" fmla="*/ 230 h 837"/>
                <a:gd name="T14" fmla="*/ 194 w 817"/>
                <a:gd name="T15" fmla="*/ 311 h 837"/>
                <a:gd name="T16" fmla="*/ 177 w 817"/>
                <a:gd name="T17" fmla="*/ 405 h 837"/>
                <a:gd name="T18" fmla="*/ 177 w 817"/>
                <a:gd name="T19" fmla="*/ 836 h 837"/>
                <a:gd name="T20" fmla="*/ 0 w 817"/>
                <a:gd name="T21" fmla="*/ 836 h 837"/>
                <a:gd name="T22" fmla="*/ 0 w 817"/>
                <a:gd name="T23" fmla="*/ 11 h 837"/>
                <a:gd name="T24" fmla="*/ 161 w 817"/>
                <a:gd name="T25" fmla="*/ 11 h 837"/>
                <a:gd name="T26" fmla="*/ 172 w 817"/>
                <a:gd name="T27" fmla="*/ 130 h 837"/>
                <a:gd name="T28" fmla="*/ 455 w 817"/>
                <a:gd name="T29" fmla="*/ 0 h 837"/>
                <a:gd name="T30" fmla="*/ 597 w 817"/>
                <a:gd name="T31" fmla="*/ 25 h 837"/>
                <a:gd name="T32" fmla="*/ 711 w 817"/>
                <a:gd name="T33" fmla="*/ 100 h 837"/>
                <a:gd name="T34" fmla="*/ 789 w 817"/>
                <a:gd name="T35" fmla="*/ 225 h 837"/>
                <a:gd name="T36" fmla="*/ 816 w 817"/>
                <a:gd name="T37" fmla="*/ 394 h 837"/>
                <a:gd name="T38" fmla="*/ 816 w 817"/>
                <a:gd name="T39" fmla="*/ 836 h 837"/>
                <a:gd name="T40" fmla="*/ 639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9" y="836"/>
                  </a:moveTo>
                  <a:lnTo>
                    <a:pt x="639" y="836"/>
                  </a:lnTo>
                  <a:cubicBezTo>
                    <a:pt x="639" y="397"/>
                    <a:pt x="639" y="397"/>
                    <a:pt x="639" y="397"/>
                  </a:cubicBezTo>
                  <a:cubicBezTo>
                    <a:pt x="639" y="325"/>
                    <a:pt x="619" y="266"/>
                    <a:pt x="580" y="225"/>
                  </a:cubicBezTo>
                  <a:cubicBezTo>
                    <a:pt x="541" y="180"/>
                    <a:pt x="486" y="158"/>
                    <a:pt x="411" y="158"/>
                  </a:cubicBezTo>
                  <a:cubicBezTo>
                    <a:pt x="377" y="158"/>
                    <a:pt x="344" y="166"/>
                    <a:pt x="316" y="178"/>
                  </a:cubicBezTo>
                  <a:cubicBezTo>
                    <a:pt x="286" y="192"/>
                    <a:pt x="261" y="208"/>
                    <a:pt x="241" y="230"/>
                  </a:cubicBezTo>
                  <a:cubicBezTo>
                    <a:pt x="222" y="255"/>
                    <a:pt x="205" y="280"/>
                    <a:pt x="194" y="311"/>
                  </a:cubicBezTo>
                  <a:cubicBezTo>
                    <a:pt x="183" y="341"/>
                    <a:pt x="177" y="372"/>
                    <a:pt x="177" y="405"/>
                  </a:cubicBezTo>
                  <a:cubicBezTo>
                    <a:pt x="177" y="836"/>
                    <a:pt x="177" y="836"/>
                    <a:pt x="177" y="836"/>
                  </a:cubicBezTo>
                  <a:cubicBezTo>
                    <a:pt x="0" y="836"/>
                    <a:pt x="0" y="836"/>
                    <a:pt x="0" y="836"/>
                  </a:cubicBezTo>
                  <a:cubicBezTo>
                    <a:pt x="0" y="11"/>
                    <a:pt x="0" y="11"/>
                    <a:pt x="0" y="11"/>
                  </a:cubicBezTo>
                  <a:cubicBezTo>
                    <a:pt x="161" y="11"/>
                    <a:pt x="161" y="11"/>
                    <a:pt x="161" y="11"/>
                  </a:cubicBezTo>
                  <a:cubicBezTo>
                    <a:pt x="172" y="130"/>
                    <a:pt x="172" y="130"/>
                    <a:pt x="172" y="130"/>
                  </a:cubicBezTo>
                  <a:cubicBezTo>
                    <a:pt x="250" y="42"/>
                    <a:pt x="344" y="0"/>
                    <a:pt x="455" y="0"/>
                  </a:cubicBezTo>
                  <a:cubicBezTo>
                    <a:pt x="505" y="0"/>
                    <a:pt x="552" y="8"/>
                    <a:pt x="597" y="25"/>
                  </a:cubicBezTo>
                  <a:cubicBezTo>
                    <a:pt x="641" y="42"/>
                    <a:pt x="680" y="66"/>
                    <a:pt x="711" y="100"/>
                  </a:cubicBezTo>
                  <a:cubicBezTo>
                    <a:pt x="744" y="133"/>
                    <a:pt x="769" y="175"/>
                    <a:pt x="789" y="225"/>
                  </a:cubicBezTo>
                  <a:cubicBezTo>
                    <a:pt x="808" y="275"/>
                    <a:pt x="816" y="330"/>
                    <a:pt x="816" y="394"/>
                  </a:cubicBezTo>
                  <a:cubicBezTo>
                    <a:pt x="816" y="836"/>
                    <a:pt x="816" y="836"/>
                    <a:pt x="816" y="836"/>
                  </a:cubicBezTo>
                  <a:lnTo>
                    <a:pt x="639"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3" name="Freeform 30">
              <a:extLst>
                <a:ext uri="{FF2B5EF4-FFF2-40B4-BE49-F238E27FC236}">
                  <a16:creationId xmlns:a16="http://schemas.microsoft.com/office/drawing/2014/main" id="{B16A197B-0E17-EF43-80AA-BFBCB40AC761}"/>
                </a:ext>
              </a:extLst>
            </p:cNvPr>
            <p:cNvSpPr>
              <a:spLocks noChangeArrowheads="1"/>
            </p:cNvSpPr>
            <p:nvPr userDrawn="1"/>
          </p:nvSpPr>
          <p:spPr bwMode="auto">
            <a:xfrm>
              <a:off x="6251575"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4" name="Freeform 31">
              <a:extLst>
                <a:ext uri="{FF2B5EF4-FFF2-40B4-BE49-F238E27FC236}">
                  <a16:creationId xmlns:a16="http://schemas.microsoft.com/office/drawing/2014/main" id="{575F5FA7-2A68-E247-8A62-204B7962F005}"/>
                </a:ext>
              </a:extLst>
            </p:cNvPr>
            <p:cNvSpPr>
              <a:spLocks noChangeArrowheads="1"/>
            </p:cNvSpPr>
            <p:nvPr userDrawn="1"/>
          </p:nvSpPr>
          <p:spPr bwMode="auto">
            <a:xfrm>
              <a:off x="6643688"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5" name="Freeform 32">
              <a:extLst>
                <a:ext uri="{FF2B5EF4-FFF2-40B4-BE49-F238E27FC236}">
                  <a16:creationId xmlns:a16="http://schemas.microsoft.com/office/drawing/2014/main" id="{34C098E7-184C-504A-8792-AF18A8E97AEC}"/>
                </a:ext>
              </a:extLst>
            </p:cNvPr>
            <p:cNvSpPr>
              <a:spLocks noChangeArrowheads="1"/>
            </p:cNvSpPr>
            <p:nvPr userDrawn="1"/>
          </p:nvSpPr>
          <p:spPr bwMode="auto">
            <a:xfrm>
              <a:off x="6897688" y="3743325"/>
              <a:ext cx="314325" cy="309563"/>
            </a:xfrm>
            <a:custGeom>
              <a:avLst/>
              <a:gdLst>
                <a:gd name="T0" fmla="*/ 436 w 873"/>
                <a:gd name="T1" fmla="*/ 0 h 860"/>
                <a:gd name="T2" fmla="*/ 436 w 873"/>
                <a:gd name="T3" fmla="*/ 0 h 860"/>
                <a:gd name="T4" fmla="*/ 611 w 873"/>
                <a:gd name="T5" fmla="*/ 34 h 860"/>
                <a:gd name="T6" fmla="*/ 750 w 873"/>
                <a:gd name="T7" fmla="*/ 125 h 860"/>
                <a:gd name="T8" fmla="*/ 842 w 873"/>
                <a:gd name="T9" fmla="*/ 261 h 860"/>
                <a:gd name="T10" fmla="*/ 872 w 873"/>
                <a:gd name="T11" fmla="*/ 431 h 860"/>
                <a:gd name="T12" fmla="*/ 842 w 873"/>
                <a:gd name="T13" fmla="*/ 600 h 860"/>
                <a:gd name="T14" fmla="*/ 753 w 873"/>
                <a:gd name="T15" fmla="*/ 736 h 860"/>
                <a:gd name="T16" fmla="*/ 614 w 873"/>
                <a:gd name="T17" fmla="*/ 825 h 860"/>
                <a:gd name="T18" fmla="*/ 436 w 873"/>
                <a:gd name="T19" fmla="*/ 859 h 860"/>
                <a:gd name="T20" fmla="*/ 256 w 873"/>
                <a:gd name="T21" fmla="*/ 825 h 860"/>
                <a:gd name="T22" fmla="*/ 119 w 873"/>
                <a:gd name="T23" fmla="*/ 736 h 860"/>
                <a:gd name="T24" fmla="*/ 31 w 873"/>
                <a:gd name="T25" fmla="*/ 600 h 860"/>
                <a:gd name="T26" fmla="*/ 0 w 873"/>
                <a:gd name="T27" fmla="*/ 431 h 860"/>
                <a:gd name="T28" fmla="*/ 31 w 873"/>
                <a:gd name="T29" fmla="*/ 261 h 860"/>
                <a:gd name="T30" fmla="*/ 119 w 873"/>
                <a:gd name="T31" fmla="*/ 125 h 860"/>
                <a:gd name="T32" fmla="*/ 258 w 873"/>
                <a:gd name="T33" fmla="*/ 34 h 860"/>
                <a:gd name="T34" fmla="*/ 436 w 873"/>
                <a:gd name="T35" fmla="*/ 0 h 860"/>
                <a:gd name="T36" fmla="*/ 436 w 873"/>
                <a:gd name="T37" fmla="*/ 161 h 860"/>
                <a:gd name="T38" fmla="*/ 436 w 873"/>
                <a:gd name="T39" fmla="*/ 161 h 860"/>
                <a:gd name="T40" fmla="*/ 328 w 873"/>
                <a:gd name="T41" fmla="*/ 184 h 860"/>
                <a:gd name="T42" fmla="*/ 247 w 873"/>
                <a:gd name="T43" fmla="*/ 242 h 860"/>
                <a:gd name="T44" fmla="*/ 194 w 873"/>
                <a:gd name="T45" fmla="*/ 328 h 860"/>
                <a:gd name="T46" fmla="*/ 178 w 873"/>
                <a:gd name="T47" fmla="*/ 431 h 860"/>
                <a:gd name="T48" fmla="*/ 194 w 873"/>
                <a:gd name="T49" fmla="*/ 536 h 860"/>
                <a:gd name="T50" fmla="*/ 247 w 873"/>
                <a:gd name="T51" fmla="*/ 620 h 860"/>
                <a:gd name="T52" fmla="*/ 328 w 873"/>
                <a:gd name="T53" fmla="*/ 678 h 860"/>
                <a:gd name="T54" fmla="*/ 436 w 873"/>
                <a:gd name="T55" fmla="*/ 698 h 860"/>
                <a:gd name="T56" fmla="*/ 544 w 873"/>
                <a:gd name="T57" fmla="*/ 678 h 860"/>
                <a:gd name="T58" fmla="*/ 625 w 873"/>
                <a:gd name="T59" fmla="*/ 620 h 860"/>
                <a:gd name="T60" fmla="*/ 678 w 873"/>
                <a:gd name="T61" fmla="*/ 536 h 860"/>
                <a:gd name="T62" fmla="*/ 694 w 873"/>
                <a:gd name="T63" fmla="*/ 431 h 860"/>
                <a:gd name="T64" fmla="*/ 675 w 873"/>
                <a:gd name="T65" fmla="*/ 328 h 860"/>
                <a:gd name="T66" fmla="*/ 622 w 873"/>
                <a:gd name="T67" fmla="*/ 242 h 860"/>
                <a:gd name="T68" fmla="*/ 542 w 873"/>
                <a:gd name="T69" fmla="*/ 184 h 860"/>
                <a:gd name="T70" fmla="*/ 436 w 873"/>
                <a:gd name="T71" fmla="*/ 161 h 860"/>
                <a:gd name="T72" fmla="*/ 436 w 873"/>
                <a:gd name="T73"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60">
                  <a:moveTo>
                    <a:pt x="436" y="0"/>
                  </a:moveTo>
                  <a:lnTo>
                    <a:pt x="436" y="0"/>
                  </a:lnTo>
                  <a:cubicBezTo>
                    <a:pt x="500" y="0"/>
                    <a:pt x="558" y="11"/>
                    <a:pt x="611" y="34"/>
                  </a:cubicBezTo>
                  <a:cubicBezTo>
                    <a:pt x="667" y="59"/>
                    <a:pt x="711" y="86"/>
                    <a:pt x="750" y="125"/>
                  </a:cubicBezTo>
                  <a:cubicBezTo>
                    <a:pt x="789" y="164"/>
                    <a:pt x="819" y="209"/>
                    <a:pt x="842" y="261"/>
                  </a:cubicBezTo>
                  <a:cubicBezTo>
                    <a:pt x="861" y="314"/>
                    <a:pt x="872" y="370"/>
                    <a:pt x="872" y="431"/>
                  </a:cubicBezTo>
                  <a:cubicBezTo>
                    <a:pt x="872" y="492"/>
                    <a:pt x="861" y="547"/>
                    <a:pt x="842" y="600"/>
                  </a:cubicBezTo>
                  <a:cubicBezTo>
                    <a:pt x="819" y="653"/>
                    <a:pt x="792" y="698"/>
                    <a:pt x="753" y="736"/>
                  </a:cubicBezTo>
                  <a:cubicBezTo>
                    <a:pt x="714" y="775"/>
                    <a:pt x="669" y="806"/>
                    <a:pt x="614" y="825"/>
                  </a:cubicBezTo>
                  <a:cubicBezTo>
                    <a:pt x="561" y="847"/>
                    <a:pt x="500" y="859"/>
                    <a:pt x="436" y="859"/>
                  </a:cubicBezTo>
                  <a:cubicBezTo>
                    <a:pt x="369" y="859"/>
                    <a:pt x="308" y="847"/>
                    <a:pt x="256" y="825"/>
                  </a:cubicBezTo>
                  <a:cubicBezTo>
                    <a:pt x="203" y="806"/>
                    <a:pt x="156" y="775"/>
                    <a:pt x="119" y="736"/>
                  </a:cubicBezTo>
                  <a:cubicBezTo>
                    <a:pt x="80" y="698"/>
                    <a:pt x="53" y="653"/>
                    <a:pt x="31" y="600"/>
                  </a:cubicBezTo>
                  <a:cubicBezTo>
                    <a:pt x="11" y="547"/>
                    <a:pt x="0" y="492"/>
                    <a:pt x="0" y="431"/>
                  </a:cubicBezTo>
                  <a:cubicBezTo>
                    <a:pt x="0" y="370"/>
                    <a:pt x="11" y="314"/>
                    <a:pt x="31" y="261"/>
                  </a:cubicBezTo>
                  <a:cubicBezTo>
                    <a:pt x="53" y="209"/>
                    <a:pt x="80" y="164"/>
                    <a:pt x="119" y="125"/>
                  </a:cubicBezTo>
                  <a:cubicBezTo>
                    <a:pt x="158" y="86"/>
                    <a:pt x="203" y="59"/>
                    <a:pt x="258" y="34"/>
                  </a:cubicBezTo>
                  <a:cubicBezTo>
                    <a:pt x="311" y="11"/>
                    <a:pt x="369" y="0"/>
                    <a:pt x="436" y="0"/>
                  </a:cubicBezTo>
                  <a:lnTo>
                    <a:pt x="436" y="161"/>
                  </a:lnTo>
                  <a:lnTo>
                    <a:pt x="436" y="161"/>
                  </a:lnTo>
                  <a:cubicBezTo>
                    <a:pt x="394" y="161"/>
                    <a:pt x="358" y="170"/>
                    <a:pt x="328" y="184"/>
                  </a:cubicBezTo>
                  <a:cubicBezTo>
                    <a:pt x="294" y="198"/>
                    <a:pt x="269" y="217"/>
                    <a:pt x="247" y="242"/>
                  </a:cubicBezTo>
                  <a:cubicBezTo>
                    <a:pt x="225" y="267"/>
                    <a:pt x="206" y="298"/>
                    <a:pt x="194" y="328"/>
                  </a:cubicBezTo>
                  <a:cubicBezTo>
                    <a:pt x="183" y="361"/>
                    <a:pt x="178" y="395"/>
                    <a:pt x="178" y="431"/>
                  </a:cubicBezTo>
                  <a:cubicBezTo>
                    <a:pt x="178" y="470"/>
                    <a:pt x="183" y="503"/>
                    <a:pt x="194" y="536"/>
                  </a:cubicBezTo>
                  <a:cubicBezTo>
                    <a:pt x="206" y="567"/>
                    <a:pt x="225" y="595"/>
                    <a:pt x="247" y="620"/>
                  </a:cubicBezTo>
                  <a:cubicBezTo>
                    <a:pt x="269" y="645"/>
                    <a:pt x="294" y="664"/>
                    <a:pt x="328" y="678"/>
                  </a:cubicBezTo>
                  <a:cubicBezTo>
                    <a:pt x="358" y="692"/>
                    <a:pt x="394" y="698"/>
                    <a:pt x="436" y="698"/>
                  </a:cubicBezTo>
                  <a:cubicBezTo>
                    <a:pt x="475" y="698"/>
                    <a:pt x="511" y="692"/>
                    <a:pt x="544" y="678"/>
                  </a:cubicBezTo>
                  <a:cubicBezTo>
                    <a:pt x="575" y="664"/>
                    <a:pt x="603" y="645"/>
                    <a:pt x="625" y="620"/>
                  </a:cubicBezTo>
                  <a:cubicBezTo>
                    <a:pt x="647" y="595"/>
                    <a:pt x="664" y="567"/>
                    <a:pt x="678" y="536"/>
                  </a:cubicBezTo>
                  <a:cubicBezTo>
                    <a:pt x="689" y="503"/>
                    <a:pt x="694" y="470"/>
                    <a:pt x="694" y="431"/>
                  </a:cubicBezTo>
                  <a:cubicBezTo>
                    <a:pt x="694" y="395"/>
                    <a:pt x="689" y="361"/>
                    <a:pt x="675" y="328"/>
                  </a:cubicBezTo>
                  <a:cubicBezTo>
                    <a:pt x="664" y="298"/>
                    <a:pt x="644" y="267"/>
                    <a:pt x="622" y="242"/>
                  </a:cubicBezTo>
                  <a:cubicBezTo>
                    <a:pt x="600" y="217"/>
                    <a:pt x="572" y="198"/>
                    <a:pt x="542" y="184"/>
                  </a:cubicBezTo>
                  <a:cubicBezTo>
                    <a:pt x="508" y="170"/>
                    <a:pt x="472" y="161"/>
                    <a:pt x="436" y="161"/>
                  </a:cubicBezTo>
                  <a:lnTo>
                    <a:pt x="43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6" name="Freeform 33">
              <a:extLst>
                <a:ext uri="{FF2B5EF4-FFF2-40B4-BE49-F238E27FC236}">
                  <a16:creationId xmlns:a16="http://schemas.microsoft.com/office/drawing/2014/main" id="{B6A67FDD-10A8-4D43-9C49-154E07D6EE85}"/>
                </a:ext>
              </a:extLst>
            </p:cNvPr>
            <p:cNvSpPr>
              <a:spLocks noChangeArrowheads="1"/>
            </p:cNvSpPr>
            <p:nvPr userDrawn="1"/>
          </p:nvSpPr>
          <p:spPr bwMode="auto">
            <a:xfrm>
              <a:off x="7431088" y="3627438"/>
              <a:ext cx="323850" cy="427037"/>
            </a:xfrm>
            <a:custGeom>
              <a:avLst/>
              <a:gdLst>
                <a:gd name="T0" fmla="*/ 175 w 898"/>
                <a:gd name="T1" fmla="*/ 0 h 1185"/>
                <a:gd name="T2" fmla="*/ 175 w 898"/>
                <a:gd name="T3" fmla="*/ 0 h 1185"/>
                <a:gd name="T4" fmla="*/ 175 w 898"/>
                <a:gd name="T5" fmla="*/ 472 h 1185"/>
                <a:gd name="T6" fmla="*/ 231 w 898"/>
                <a:gd name="T7" fmla="*/ 409 h 1185"/>
                <a:gd name="T8" fmla="*/ 306 w 898"/>
                <a:gd name="T9" fmla="*/ 361 h 1185"/>
                <a:gd name="T10" fmla="*/ 389 w 898"/>
                <a:gd name="T11" fmla="*/ 334 h 1185"/>
                <a:gd name="T12" fmla="*/ 472 w 898"/>
                <a:gd name="T13" fmla="*/ 325 h 1185"/>
                <a:gd name="T14" fmla="*/ 639 w 898"/>
                <a:gd name="T15" fmla="*/ 353 h 1185"/>
                <a:gd name="T16" fmla="*/ 775 w 898"/>
                <a:gd name="T17" fmla="*/ 434 h 1185"/>
                <a:gd name="T18" fmla="*/ 867 w 898"/>
                <a:gd name="T19" fmla="*/ 570 h 1185"/>
                <a:gd name="T20" fmla="*/ 897 w 898"/>
                <a:gd name="T21" fmla="*/ 753 h 1185"/>
                <a:gd name="T22" fmla="*/ 864 w 898"/>
                <a:gd name="T23" fmla="*/ 936 h 1185"/>
                <a:gd name="T24" fmla="*/ 775 w 898"/>
                <a:gd name="T25" fmla="*/ 1072 h 1185"/>
                <a:gd name="T26" fmla="*/ 639 w 898"/>
                <a:gd name="T27" fmla="*/ 1156 h 1185"/>
                <a:gd name="T28" fmla="*/ 467 w 898"/>
                <a:gd name="T29" fmla="*/ 1184 h 1185"/>
                <a:gd name="T30" fmla="*/ 303 w 898"/>
                <a:gd name="T31" fmla="*/ 1150 h 1185"/>
                <a:gd name="T32" fmla="*/ 175 w 898"/>
                <a:gd name="T33" fmla="*/ 1036 h 1185"/>
                <a:gd name="T34" fmla="*/ 167 w 898"/>
                <a:gd name="T35" fmla="*/ 1167 h 1185"/>
                <a:gd name="T36" fmla="*/ 0 w 898"/>
                <a:gd name="T37" fmla="*/ 1167 h 1185"/>
                <a:gd name="T38" fmla="*/ 0 w 898"/>
                <a:gd name="T39" fmla="*/ 0 h 1185"/>
                <a:gd name="T40" fmla="*/ 175 w 898"/>
                <a:gd name="T41" fmla="*/ 0 h 1185"/>
                <a:gd name="T42" fmla="*/ 456 w 898"/>
                <a:gd name="T43" fmla="*/ 486 h 1185"/>
                <a:gd name="T44" fmla="*/ 456 w 898"/>
                <a:gd name="T45" fmla="*/ 486 h 1185"/>
                <a:gd name="T46" fmla="*/ 353 w 898"/>
                <a:gd name="T47" fmla="*/ 506 h 1185"/>
                <a:gd name="T48" fmla="*/ 267 w 898"/>
                <a:gd name="T49" fmla="*/ 559 h 1185"/>
                <a:gd name="T50" fmla="*/ 208 w 898"/>
                <a:gd name="T51" fmla="*/ 645 h 1185"/>
                <a:gd name="T52" fmla="*/ 186 w 898"/>
                <a:gd name="T53" fmla="*/ 753 h 1185"/>
                <a:gd name="T54" fmla="*/ 208 w 898"/>
                <a:gd name="T55" fmla="*/ 864 h 1185"/>
                <a:gd name="T56" fmla="*/ 267 w 898"/>
                <a:gd name="T57" fmla="*/ 950 h 1185"/>
                <a:gd name="T58" fmla="*/ 350 w 898"/>
                <a:gd name="T59" fmla="*/ 1003 h 1185"/>
                <a:gd name="T60" fmla="*/ 456 w 898"/>
                <a:gd name="T61" fmla="*/ 1023 h 1185"/>
                <a:gd name="T62" fmla="*/ 558 w 898"/>
                <a:gd name="T63" fmla="*/ 1006 h 1185"/>
                <a:gd name="T64" fmla="*/ 645 w 898"/>
                <a:gd name="T65" fmla="*/ 950 h 1185"/>
                <a:gd name="T66" fmla="*/ 700 w 898"/>
                <a:gd name="T67" fmla="*/ 867 h 1185"/>
                <a:gd name="T68" fmla="*/ 722 w 898"/>
                <a:gd name="T69" fmla="*/ 753 h 1185"/>
                <a:gd name="T70" fmla="*/ 700 w 898"/>
                <a:gd name="T71" fmla="*/ 639 h 1185"/>
                <a:gd name="T72" fmla="*/ 645 w 898"/>
                <a:gd name="T73" fmla="*/ 556 h 1185"/>
                <a:gd name="T74" fmla="*/ 558 w 898"/>
                <a:gd name="T75" fmla="*/ 503 h 1185"/>
                <a:gd name="T76" fmla="*/ 456 w 898"/>
                <a:gd name="T77" fmla="*/ 48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8" h="1185">
                  <a:moveTo>
                    <a:pt x="175" y="0"/>
                  </a:moveTo>
                  <a:lnTo>
                    <a:pt x="175" y="0"/>
                  </a:lnTo>
                  <a:cubicBezTo>
                    <a:pt x="175" y="472"/>
                    <a:pt x="175" y="472"/>
                    <a:pt x="175" y="472"/>
                  </a:cubicBezTo>
                  <a:cubicBezTo>
                    <a:pt x="189" y="448"/>
                    <a:pt x="208" y="425"/>
                    <a:pt x="231" y="409"/>
                  </a:cubicBezTo>
                  <a:cubicBezTo>
                    <a:pt x="253" y="389"/>
                    <a:pt x="278" y="373"/>
                    <a:pt x="306" y="361"/>
                  </a:cubicBezTo>
                  <a:cubicBezTo>
                    <a:pt x="334" y="350"/>
                    <a:pt x="361" y="339"/>
                    <a:pt x="389" y="334"/>
                  </a:cubicBezTo>
                  <a:cubicBezTo>
                    <a:pt x="417" y="328"/>
                    <a:pt x="445" y="325"/>
                    <a:pt x="472" y="325"/>
                  </a:cubicBezTo>
                  <a:cubicBezTo>
                    <a:pt x="531" y="325"/>
                    <a:pt x="589" y="334"/>
                    <a:pt x="639" y="353"/>
                  </a:cubicBezTo>
                  <a:cubicBezTo>
                    <a:pt x="692" y="370"/>
                    <a:pt x="739" y="397"/>
                    <a:pt x="775" y="434"/>
                  </a:cubicBezTo>
                  <a:cubicBezTo>
                    <a:pt x="814" y="470"/>
                    <a:pt x="845" y="514"/>
                    <a:pt x="867" y="570"/>
                  </a:cubicBezTo>
                  <a:cubicBezTo>
                    <a:pt x="886" y="623"/>
                    <a:pt x="897" y="684"/>
                    <a:pt x="897" y="753"/>
                  </a:cubicBezTo>
                  <a:cubicBezTo>
                    <a:pt x="897" y="823"/>
                    <a:pt x="886" y="884"/>
                    <a:pt x="864" y="936"/>
                  </a:cubicBezTo>
                  <a:cubicBezTo>
                    <a:pt x="842" y="989"/>
                    <a:pt x="811" y="1036"/>
                    <a:pt x="775" y="1072"/>
                  </a:cubicBezTo>
                  <a:cubicBezTo>
                    <a:pt x="736" y="1109"/>
                    <a:pt x="692" y="1136"/>
                    <a:pt x="639" y="1156"/>
                  </a:cubicBezTo>
                  <a:cubicBezTo>
                    <a:pt x="586" y="1175"/>
                    <a:pt x="531" y="1184"/>
                    <a:pt x="467" y="1184"/>
                  </a:cubicBezTo>
                  <a:cubicBezTo>
                    <a:pt x="411" y="1184"/>
                    <a:pt x="356" y="1172"/>
                    <a:pt x="303" y="1150"/>
                  </a:cubicBezTo>
                  <a:cubicBezTo>
                    <a:pt x="253" y="1128"/>
                    <a:pt x="208" y="1089"/>
                    <a:pt x="175" y="1036"/>
                  </a:cubicBezTo>
                  <a:cubicBezTo>
                    <a:pt x="167" y="1167"/>
                    <a:pt x="167" y="1167"/>
                    <a:pt x="167" y="1167"/>
                  </a:cubicBezTo>
                  <a:cubicBezTo>
                    <a:pt x="0" y="1167"/>
                    <a:pt x="0" y="1167"/>
                    <a:pt x="0" y="1167"/>
                  </a:cubicBezTo>
                  <a:cubicBezTo>
                    <a:pt x="0" y="0"/>
                    <a:pt x="0" y="0"/>
                    <a:pt x="0" y="0"/>
                  </a:cubicBezTo>
                  <a:lnTo>
                    <a:pt x="175" y="0"/>
                  </a:lnTo>
                  <a:close/>
                  <a:moveTo>
                    <a:pt x="456" y="486"/>
                  </a:moveTo>
                  <a:lnTo>
                    <a:pt x="456" y="486"/>
                  </a:lnTo>
                  <a:cubicBezTo>
                    <a:pt x="420" y="486"/>
                    <a:pt x="383" y="492"/>
                    <a:pt x="353" y="506"/>
                  </a:cubicBezTo>
                  <a:cubicBezTo>
                    <a:pt x="320" y="517"/>
                    <a:pt x="289" y="536"/>
                    <a:pt x="267" y="559"/>
                  </a:cubicBezTo>
                  <a:cubicBezTo>
                    <a:pt x="242" y="584"/>
                    <a:pt x="222" y="611"/>
                    <a:pt x="208" y="645"/>
                  </a:cubicBezTo>
                  <a:cubicBezTo>
                    <a:pt x="195" y="678"/>
                    <a:pt x="186" y="714"/>
                    <a:pt x="186" y="753"/>
                  </a:cubicBezTo>
                  <a:cubicBezTo>
                    <a:pt x="186" y="795"/>
                    <a:pt x="195" y="831"/>
                    <a:pt x="208" y="864"/>
                  </a:cubicBezTo>
                  <a:cubicBezTo>
                    <a:pt x="222" y="897"/>
                    <a:pt x="242" y="925"/>
                    <a:pt x="267" y="950"/>
                  </a:cubicBezTo>
                  <a:cubicBezTo>
                    <a:pt x="289" y="972"/>
                    <a:pt x="320" y="992"/>
                    <a:pt x="350" y="1003"/>
                  </a:cubicBezTo>
                  <a:cubicBezTo>
                    <a:pt x="383" y="1017"/>
                    <a:pt x="420" y="1023"/>
                    <a:pt x="456" y="1023"/>
                  </a:cubicBezTo>
                  <a:cubicBezTo>
                    <a:pt x="492" y="1023"/>
                    <a:pt x="528" y="1017"/>
                    <a:pt x="558" y="1006"/>
                  </a:cubicBezTo>
                  <a:cubicBezTo>
                    <a:pt x="592" y="992"/>
                    <a:pt x="620" y="975"/>
                    <a:pt x="645" y="950"/>
                  </a:cubicBezTo>
                  <a:cubicBezTo>
                    <a:pt x="667" y="928"/>
                    <a:pt x="686" y="900"/>
                    <a:pt x="700" y="867"/>
                  </a:cubicBezTo>
                  <a:cubicBezTo>
                    <a:pt x="714" y="834"/>
                    <a:pt x="722" y="795"/>
                    <a:pt x="722" y="753"/>
                  </a:cubicBezTo>
                  <a:cubicBezTo>
                    <a:pt x="722" y="711"/>
                    <a:pt x="714" y="672"/>
                    <a:pt x="700" y="639"/>
                  </a:cubicBezTo>
                  <a:cubicBezTo>
                    <a:pt x="686" y="609"/>
                    <a:pt x="667" y="581"/>
                    <a:pt x="645" y="556"/>
                  </a:cubicBezTo>
                  <a:cubicBezTo>
                    <a:pt x="620" y="534"/>
                    <a:pt x="592" y="517"/>
                    <a:pt x="558" y="503"/>
                  </a:cubicBezTo>
                  <a:cubicBezTo>
                    <a:pt x="528" y="492"/>
                    <a:pt x="492" y="486"/>
                    <a:pt x="456" y="486"/>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7" name="Freeform 34">
              <a:extLst>
                <a:ext uri="{FF2B5EF4-FFF2-40B4-BE49-F238E27FC236}">
                  <a16:creationId xmlns:a16="http://schemas.microsoft.com/office/drawing/2014/main" id="{176176EE-7085-B647-A980-50C6B722CB76}"/>
                </a:ext>
              </a:extLst>
            </p:cNvPr>
            <p:cNvSpPr>
              <a:spLocks noChangeArrowheads="1"/>
            </p:cNvSpPr>
            <p:nvPr userDrawn="1"/>
          </p:nvSpPr>
          <p:spPr bwMode="auto">
            <a:xfrm>
              <a:off x="7804150" y="3743325"/>
              <a:ext cx="315913"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5 w 876"/>
                <a:gd name="T11" fmla="*/ 680 h 864"/>
                <a:gd name="T12" fmla="*/ 703 w 876"/>
                <a:gd name="T13" fmla="*/ 616 h 864"/>
                <a:gd name="T14" fmla="*/ 817 w 876"/>
                <a:gd name="T15" fmla="*/ 724 h 864"/>
                <a:gd name="T16" fmla="*/ 742 w 876"/>
                <a:gd name="T17" fmla="*/ 786 h 864"/>
                <a:gd name="T18" fmla="*/ 653 w 876"/>
                <a:gd name="T19" fmla="*/ 830 h 864"/>
                <a:gd name="T20" fmla="*/ 556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5 w 876"/>
                <a:gd name="T35" fmla="*/ 119 h 864"/>
                <a:gd name="T36" fmla="*/ 264 w 876"/>
                <a:gd name="T37" fmla="*/ 30 h 864"/>
                <a:gd name="T38" fmla="*/ 445 w 876"/>
                <a:gd name="T39" fmla="*/ 0 h 864"/>
                <a:gd name="T40" fmla="*/ 628 w 876"/>
                <a:gd name="T41" fmla="*/ 30 h 864"/>
                <a:gd name="T42" fmla="*/ 770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3 w 876"/>
                <a:gd name="T55" fmla="*/ 202 h 864"/>
                <a:gd name="T56" fmla="*/ 450 w 876"/>
                <a:gd name="T57" fmla="*/ 152 h 864"/>
                <a:gd name="T58" fmla="*/ 281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20" y="686"/>
                    <a:pt x="381" y="705"/>
                    <a:pt x="459" y="705"/>
                  </a:cubicBezTo>
                  <a:cubicBezTo>
                    <a:pt x="503" y="705"/>
                    <a:pt x="548" y="697"/>
                    <a:pt x="595" y="680"/>
                  </a:cubicBezTo>
                  <a:cubicBezTo>
                    <a:pt x="642" y="666"/>
                    <a:pt x="678" y="644"/>
                    <a:pt x="703" y="616"/>
                  </a:cubicBezTo>
                  <a:cubicBezTo>
                    <a:pt x="817" y="724"/>
                    <a:pt x="817" y="724"/>
                    <a:pt x="817" y="724"/>
                  </a:cubicBezTo>
                  <a:cubicBezTo>
                    <a:pt x="798" y="747"/>
                    <a:pt x="770" y="769"/>
                    <a:pt x="742" y="786"/>
                  </a:cubicBezTo>
                  <a:cubicBezTo>
                    <a:pt x="714" y="802"/>
                    <a:pt x="684" y="819"/>
                    <a:pt x="653" y="830"/>
                  </a:cubicBezTo>
                  <a:cubicBezTo>
                    <a:pt x="623" y="841"/>
                    <a:pt x="589" y="849"/>
                    <a:pt x="556" y="855"/>
                  </a:cubicBezTo>
                  <a:cubicBezTo>
                    <a:pt x="520" y="861"/>
                    <a:pt x="486" y="863"/>
                    <a:pt x="456" y="863"/>
                  </a:cubicBezTo>
                  <a:cubicBezTo>
                    <a:pt x="386" y="863"/>
                    <a:pt x="323" y="855"/>
                    <a:pt x="267" y="833"/>
                  </a:cubicBezTo>
                  <a:cubicBezTo>
                    <a:pt x="212" y="813"/>
                    <a:pt x="164" y="783"/>
                    <a:pt x="125" y="747"/>
                  </a:cubicBezTo>
                  <a:cubicBezTo>
                    <a:pt x="86" y="708"/>
                    <a:pt x="56" y="661"/>
                    <a:pt x="34" y="608"/>
                  </a:cubicBezTo>
                  <a:cubicBezTo>
                    <a:pt x="12" y="552"/>
                    <a:pt x="0" y="494"/>
                    <a:pt x="0" y="427"/>
                  </a:cubicBezTo>
                  <a:cubicBezTo>
                    <a:pt x="0" y="366"/>
                    <a:pt x="12" y="308"/>
                    <a:pt x="34" y="255"/>
                  </a:cubicBezTo>
                  <a:cubicBezTo>
                    <a:pt x="56" y="202"/>
                    <a:pt x="86" y="158"/>
                    <a:pt x="125" y="119"/>
                  </a:cubicBezTo>
                  <a:cubicBezTo>
                    <a:pt x="164" y="80"/>
                    <a:pt x="209" y="52"/>
                    <a:pt x="264" y="30"/>
                  </a:cubicBezTo>
                  <a:cubicBezTo>
                    <a:pt x="317" y="8"/>
                    <a:pt x="378" y="0"/>
                    <a:pt x="445" y="0"/>
                  </a:cubicBezTo>
                  <a:cubicBezTo>
                    <a:pt x="511" y="0"/>
                    <a:pt x="573" y="8"/>
                    <a:pt x="628" y="30"/>
                  </a:cubicBezTo>
                  <a:cubicBezTo>
                    <a:pt x="684" y="50"/>
                    <a:pt x="731" y="80"/>
                    <a:pt x="770" y="122"/>
                  </a:cubicBezTo>
                  <a:cubicBezTo>
                    <a:pt x="809" y="163"/>
                    <a:pt x="836" y="216"/>
                    <a:pt x="853" y="277"/>
                  </a:cubicBezTo>
                  <a:cubicBezTo>
                    <a:pt x="870" y="341"/>
                    <a:pt x="875" y="413"/>
                    <a:pt x="867" y="497"/>
                  </a:cubicBezTo>
                  <a:lnTo>
                    <a:pt x="186" y="352"/>
                  </a:lnTo>
                  <a:lnTo>
                    <a:pt x="186" y="352"/>
                  </a:lnTo>
                  <a:cubicBezTo>
                    <a:pt x="698" y="352"/>
                    <a:pt x="698" y="352"/>
                    <a:pt x="698" y="352"/>
                  </a:cubicBezTo>
                  <a:cubicBezTo>
                    <a:pt x="692" y="286"/>
                    <a:pt x="667" y="236"/>
                    <a:pt x="623" y="202"/>
                  </a:cubicBezTo>
                  <a:cubicBezTo>
                    <a:pt x="578" y="169"/>
                    <a:pt x="520" y="152"/>
                    <a:pt x="450" y="152"/>
                  </a:cubicBezTo>
                  <a:cubicBezTo>
                    <a:pt x="384" y="152"/>
                    <a:pt x="328" y="169"/>
                    <a:pt x="281"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9" name="Freeform 36">
              <a:extLst>
                <a:ext uri="{FF2B5EF4-FFF2-40B4-BE49-F238E27FC236}">
                  <a16:creationId xmlns:a16="http://schemas.microsoft.com/office/drawing/2014/main" id="{1D65CA47-B9DB-0E42-A6A7-78C35913AE91}"/>
                </a:ext>
              </a:extLst>
            </p:cNvPr>
            <p:cNvSpPr>
              <a:spLocks noChangeArrowheads="1"/>
            </p:cNvSpPr>
            <p:nvPr userDrawn="1"/>
          </p:nvSpPr>
          <p:spPr bwMode="auto">
            <a:xfrm>
              <a:off x="6570663" y="3024188"/>
              <a:ext cx="77787" cy="76200"/>
            </a:xfrm>
            <a:custGeom>
              <a:avLst/>
              <a:gdLst>
                <a:gd name="T0" fmla="*/ 0 w 218"/>
                <a:gd name="T1" fmla="*/ 106 h 213"/>
                <a:gd name="T2" fmla="*/ 0 w 218"/>
                <a:gd name="T3" fmla="*/ 106 h 213"/>
                <a:gd name="T4" fmla="*/ 33 w 218"/>
                <a:gd name="T5" fmla="*/ 25 h 213"/>
                <a:gd name="T6" fmla="*/ 108 w 218"/>
                <a:gd name="T7" fmla="*/ 0 h 213"/>
                <a:gd name="T8" fmla="*/ 183 w 218"/>
                <a:gd name="T9" fmla="*/ 25 h 213"/>
                <a:gd name="T10" fmla="*/ 217 w 218"/>
                <a:gd name="T11" fmla="*/ 106 h 213"/>
                <a:gd name="T12" fmla="*/ 183 w 218"/>
                <a:gd name="T13" fmla="*/ 184 h 213"/>
                <a:gd name="T14" fmla="*/ 108 w 218"/>
                <a:gd name="T15" fmla="*/ 212 h 213"/>
                <a:gd name="T16" fmla="*/ 33 w 218"/>
                <a:gd name="T17" fmla="*/ 184 h 213"/>
                <a:gd name="T18" fmla="*/ 0 w 218"/>
                <a:gd name="T19" fmla="*/ 10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3">
                  <a:moveTo>
                    <a:pt x="0" y="106"/>
                  </a:moveTo>
                  <a:lnTo>
                    <a:pt x="0" y="106"/>
                  </a:lnTo>
                  <a:cubicBezTo>
                    <a:pt x="0" y="70"/>
                    <a:pt x="11" y="42"/>
                    <a:pt x="33" y="25"/>
                  </a:cubicBezTo>
                  <a:cubicBezTo>
                    <a:pt x="56" y="9"/>
                    <a:pt x="80" y="0"/>
                    <a:pt x="108" y="0"/>
                  </a:cubicBezTo>
                  <a:cubicBezTo>
                    <a:pt x="136" y="0"/>
                    <a:pt x="161" y="9"/>
                    <a:pt x="183" y="25"/>
                  </a:cubicBezTo>
                  <a:cubicBezTo>
                    <a:pt x="206" y="42"/>
                    <a:pt x="217" y="70"/>
                    <a:pt x="217" y="106"/>
                  </a:cubicBezTo>
                  <a:cubicBezTo>
                    <a:pt x="217" y="139"/>
                    <a:pt x="206" y="167"/>
                    <a:pt x="183" y="184"/>
                  </a:cubicBezTo>
                  <a:cubicBezTo>
                    <a:pt x="161" y="203"/>
                    <a:pt x="136" y="212"/>
                    <a:pt x="108" y="212"/>
                  </a:cubicBezTo>
                  <a:cubicBezTo>
                    <a:pt x="80" y="212"/>
                    <a:pt x="56" y="203"/>
                    <a:pt x="33" y="184"/>
                  </a:cubicBezTo>
                  <a:cubicBezTo>
                    <a:pt x="11" y="167"/>
                    <a:pt x="0" y="139"/>
                    <a:pt x="0" y="106"/>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0" name="Freeform 37">
              <a:extLst>
                <a:ext uri="{FF2B5EF4-FFF2-40B4-BE49-F238E27FC236}">
                  <a16:creationId xmlns:a16="http://schemas.microsoft.com/office/drawing/2014/main" id="{8BD4A525-070F-7441-85C2-C1097D7DCD5F}"/>
                </a:ext>
              </a:extLst>
            </p:cNvPr>
            <p:cNvSpPr>
              <a:spLocks noChangeArrowheads="1"/>
            </p:cNvSpPr>
            <p:nvPr userDrawn="1"/>
          </p:nvSpPr>
          <p:spPr bwMode="auto">
            <a:xfrm>
              <a:off x="2690813" y="3625850"/>
              <a:ext cx="79375" cy="77788"/>
            </a:xfrm>
            <a:custGeom>
              <a:avLst/>
              <a:gdLst>
                <a:gd name="T0" fmla="*/ 0 w 221"/>
                <a:gd name="T1" fmla="*/ 105 h 215"/>
                <a:gd name="T2" fmla="*/ 0 w 221"/>
                <a:gd name="T3" fmla="*/ 105 h 215"/>
                <a:gd name="T4" fmla="*/ 34 w 221"/>
                <a:gd name="T5" fmla="*/ 28 h 215"/>
                <a:gd name="T6" fmla="*/ 111 w 221"/>
                <a:gd name="T7" fmla="*/ 0 h 215"/>
                <a:gd name="T8" fmla="*/ 186 w 221"/>
                <a:gd name="T9" fmla="*/ 28 h 215"/>
                <a:gd name="T10" fmla="*/ 220 w 221"/>
                <a:gd name="T11" fmla="*/ 105 h 215"/>
                <a:gd name="T12" fmla="*/ 186 w 221"/>
                <a:gd name="T13" fmla="*/ 186 h 215"/>
                <a:gd name="T14" fmla="*/ 111 w 221"/>
                <a:gd name="T15" fmla="*/ 214 h 215"/>
                <a:gd name="T16" fmla="*/ 34 w 221"/>
                <a:gd name="T17" fmla="*/ 186 h 215"/>
                <a:gd name="T18" fmla="*/ 0 w 221"/>
                <a:gd name="T19" fmla="*/ 10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215">
                  <a:moveTo>
                    <a:pt x="0" y="105"/>
                  </a:moveTo>
                  <a:lnTo>
                    <a:pt x="0" y="105"/>
                  </a:lnTo>
                  <a:cubicBezTo>
                    <a:pt x="0" y="69"/>
                    <a:pt x="11" y="44"/>
                    <a:pt x="34" y="28"/>
                  </a:cubicBezTo>
                  <a:cubicBezTo>
                    <a:pt x="59" y="8"/>
                    <a:pt x="84" y="0"/>
                    <a:pt x="111" y="0"/>
                  </a:cubicBezTo>
                  <a:cubicBezTo>
                    <a:pt x="136" y="0"/>
                    <a:pt x="161" y="8"/>
                    <a:pt x="186" y="28"/>
                  </a:cubicBezTo>
                  <a:cubicBezTo>
                    <a:pt x="209" y="44"/>
                    <a:pt x="220" y="69"/>
                    <a:pt x="220" y="105"/>
                  </a:cubicBezTo>
                  <a:cubicBezTo>
                    <a:pt x="220" y="141"/>
                    <a:pt x="209" y="169"/>
                    <a:pt x="186" y="186"/>
                  </a:cubicBezTo>
                  <a:cubicBezTo>
                    <a:pt x="161" y="202"/>
                    <a:pt x="136" y="214"/>
                    <a:pt x="111" y="214"/>
                  </a:cubicBezTo>
                  <a:cubicBezTo>
                    <a:pt x="84" y="214"/>
                    <a:pt x="59" y="202"/>
                    <a:pt x="34" y="186"/>
                  </a:cubicBezTo>
                  <a:cubicBezTo>
                    <a:pt x="11" y="169"/>
                    <a:pt x="0" y="141"/>
                    <a:pt x="0" y="105"/>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
        <p:nvSpPr>
          <p:cNvPr id="7" name="Picture Placeholder 6">
            <a:extLst>
              <a:ext uri="{FF2B5EF4-FFF2-40B4-BE49-F238E27FC236}">
                <a16:creationId xmlns:a16="http://schemas.microsoft.com/office/drawing/2014/main" id="{868A49DF-FC25-2C4E-949A-9101A5224E03}"/>
              </a:ext>
            </a:extLst>
          </p:cNvPr>
          <p:cNvSpPr>
            <a:spLocks noGrp="1"/>
          </p:cNvSpPr>
          <p:nvPr>
            <p:ph type="pic" sz="quarter" idx="11"/>
          </p:nvPr>
        </p:nvSpPr>
        <p:spPr>
          <a:xfrm>
            <a:off x="1932586" y="-151868"/>
            <a:ext cx="3768114" cy="3589150"/>
          </a:xfrm>
          <a:custGeom>
            <a:avLst/>
            <a:gdLst>
              <a:gd name="connsiteX0" fmla="*/ 0 w 3852324"/>
              <a:gd name="connsiteY0" fmla="*/ 0 h 3998792"/>
              <a:gd name="connsiteX1" fmla="*/ 3210257 w 3852324"/>
              <a:gd name="connsiteY1" fmla="*/ 0 h 3998792"/>
              <a:gd name="connsiteX2" fmla="*/ 3852324 w 3852324"/>
              <a:gd name="connsiteY2" fmla="*/ 642067 h 3998792"/>
              <a:gd name="connsiteX3" fmla="*/ 3852324 w 3852324"/>
              <a:gd name="connsiteY3" fmla="*/ 3998792 h 3998792"/>
              <a:gd name="connsiteX4" fmla="*/ 3852324 w 3852324"/>
              <a:gd name="connsiteY4" fmla="*/ 3998792 h 3998792"/>
              <a:gd name="connsiteX5" fmla="*/ 642067 w 3852324"/>
              <a:gd name="connsiteY5" fmla="*/ 3998792 h 3998792"/>
              <a:gd name="connsiteX6" fmla="*/ 0 w 3852324"/>
              <a:gd name="connsiteY6" fmla="*/ 3356725 h 3998792"/>
              <a:gd name="connsiteX7" fmla="*/ 0 w 3852324"/>
              <a:gd name="connsiteY7" fmla="*/ 0 h 3998792"/>
              <a:gd name="connsiteX0" fmla="*/ 0 w 3852324"/>
              <a:gd name="connsiteY0" fmla="*/ 185195 h 4183987"/>
              <a:gd name="connsiteX1" fmla="*/ 1913893 w 3852324"/>
              <a:gd name="connsiteY1" fmla="*/ 0 h 4183987"/>
              <a:gd name="connsiteX2" fmla="*/ 3852324 w 3852324"/>
              <a:gd name="connsiteY2" fmla="*/ 827262 h 4183987"/>
              <a:gd name="connsiteX3" fmla="*/ 3852324 w 3852324"/>
              <a:gd name="connsiteY3" fmla="*/ 4183987 h 4183987"/>
              <a:gd name="connsiteX4" fmla="*/ 3852324 w 3852324"/>
              <a:gd name="connsiteY4" fmla="*/ 4183987 h 4183987"/>
              <a:gd name="connsiteX5" fmla="*/ 642067 w 3852324"/>
              <a:gd name="connsiteY5" fmla="*/ 4183987 h 4183987"/>
              <a:gd name="connsiteX6" fmla="*/ 0 w 3852324"/>
              <a:gd name="connsiteY6" fmla="*/ 3541920 h 4183987"/>
              <a:gd name="connsiteX7" fmla="*/ 0 w 3852324"/>
              <a:gd name="connsiteY7" fmla="*/ 185195 h 4183987"/>
              <a:gd name="connsiteX0" fmla="*/ 0 w 4662552"/>
              <a:gd name="connsiteY0" fmla="*/ 185195 h 4183987"/>
              <a:gd name="connsiteX1" fmla="*/ 1913893 w 4662552"/>
              <a:gd name="connsiteY1" fmla="*/ 0 h 4183987"/>
              <a:gd name="connsiteX2" fmla="*/ 4662552 w 4662552"/>
              <a:gd name="connsiteY2" fmla="*/ 5460 h 4183987"/>
              <a:gd name="connsiteX3" fmla="*/ 3852324 w 4662552"/>
              <a:gd name="connsiteY3" fmla="*/ 4183987 h 4183987"/>
              <a:gd name="connsiteX4" fmla="*/ 3852324 w 4662552"/>
              <a:gd name="connsiteY4" fmla="*/ 4183987 h 4183987"/>
              <a:gd name="connsiteX5" fmla="*/ 642067 w 4662552"/>
              <a:gd name="connsiteY5" fmla="*/ 4183987 h 4183987"/>
              <a:gd name="connsiteX6" fmla="*/ 0 w 4662552"/>
              <a:gd name="connsiteY6" fmla="*/ 3541920 h 4183987"/>
              <a:gd name="connsiteX7" fmla="*/ 0 w 4662552"/>
              <a:gd name="connsiteY7" fmla="*/ 185195 h 4183987"/>
              <a:gd name="connsiteX0" fmla="*/ 0 w 4679914"/>
              <a:gd name="connsiteY0" fmla="*/ 185195 h 4183987"/>
              <a:gd name="connsiteX1" fmla="*/ 1913893 w 4679914"/>
              <a:gd name="connsiteY1" fmla="*/ 0 h 4183987"/>
              <a:gd name="connsiteX2" fmla="*/ 4662552 w 4679914"/>
              <a:gd name="connsiteY2" fmla="*/ 5460 h 4183987"/>
              <a:gd name="connsiteX3" fmla="*/ 3852324 w 4679914"/>
              <a:gd name="connsiteY3" fmla="*/ 4183987 h 4183987"/>
              <a:gd name="connsiteX4" fmla="*/ 4679914 w 4679914"/>
              <a:gd name="connsiteY4" fmla="*/ 2615618 h 4183987"/>
              <a:gd name="connsiteX5" fmla="*/ 642067 w 4679914"/>
              <a:gd name="connsiteY5" fmla="*/ 4183987 h 4183987"/>
              <a:gd name="connsiteX6" fmla="*/ 0 w 4679914"/>
              <a:gd name="connsiteY6" fmla="*/ 3541920 h 4183987"/>
              <a:gd name="connsiteX7" fmla="*/ 0 w 4679914"/>
              <a:gd name="connsiteY7" fmla="*/ 185195 h 4183987"/>
              <a:gd name="connsiteX0" fmla="*/ 0 w 4662552"/>
              <a:gd name="connsiteY0" fmla="*/ 185195 h 4183987"/>
              <a:gd name="connsiteX1" fmla="*/ 1913893 w 4662552"/>
              <a:gd name="connsiteY1" fmla="*/ 0 h 4183987"/>
              <a:gd name="connsiteX2" fmla="*/ 4662552 w 4662552"/>
              <a:gd name="connsiteY2" fmla="*/ 5460 h 4183987"/>
              <a:gd name="connsiteX3" fmla="*/ 3852324 w 4662552"/>
              <a:gd name="connsiteY3" fmla="*/ 4183987 h 4183987"/>
              <a:gd name="connsiteX4" fmla="*/ 4292162 w 4662552"/>
              <a:gd name="connsiteY4" fmla="*/ 3298524 h 4183987"/>
              <a:gd name="connsiteX5" fmla="*/ 642067 w 4662552"/>
              <a:gd name="connsiteY5" fmla="*/ 4183987 h 4183987"/>
              <a:gd name="connsiteX6" fmla="*/ 0 w 4662552"/>
              <a:gd name="connsiteY6" fmla="*/ 3541920 h 4183987"/>
              <a:gd name="connsiteX7" fmla="*/ 0 w 4662552"/>
              <a:gd name="connsiteY7" fmla="*/ 185195 h 4183987"/>
              <a:gd name="connsiteX0" fmla="*/ 0 w 4668339"/>
              <a:gd name="connsiteY0" fmla="*/ 185195 h 4183987"/>
              <a:gd name="connsiteX1" fmla="*/ 1913893 w 4668339"/>
              <a:gd name="connsiteY1" fmla="*/ 0 h 4183987"/>
              <a:gd name="connsiteX2" fmla="*/ 4662552 w 4668339"/>
              <a:gd name="connsiteY2" fmla="*/ 5460 h 4183987"/>
              <a:gd name="connsiteX3" fmla="*/ 4668339 w 4668339"/>
              <a:gd name="connsiteY3" fmla="*/ 2598255 h 4183987"/>
              <a:gd name="connsiteX4" fmla="*/ 4292162 w 4668339"/>
              <a:gd name="connsiteY4" fmla="*/ 3298524 h 4183987"/>
              <a:gd name="connsiteX5" fmla="*/ 642067 w 4668339"/>
              <a:gd name="connsiteY5" fmla="*/ 4183987 h 4183987"/>
              <a:gd name="connsiteX6" fmla="*/ 0 w 4668339"/>
              <a:gd name="connsiteY6" fmla="*/ 3541920 h 4183987"/>
              <a:gd name="connsiteX7" fmla="*/ 0 w 4668339"/>
              <a:gd name="connsiteY7" fmla="*/ 185195 h 4183987"/>
              <a:gd name="connsiteX0" fmla="*/ 0 w 4673552"/>
              <a:gd name="connsiteY0" fmla="*/ 185195 h 4183987"/>
              <a:gd name="connsiteX1" fmla="*/ 1913893 w 4673552"/>
              <a:gd name="connsiteY1" fmla="*/ 0 h 4183987"/>
              <a:gd name="connsiteX2" fmla="*/ 4662552 w 4673552"/>
              <a:gd name="connsiteY2" fmla="*/ 5460 h 4183987"/>
              <a:gd name="connsiteX3" fmla="*/ 4668339 w 4673552"/>
              <a:gd name="connsiteY3" fmla="*/ 2598255 h 4183987"/>
              <a:gd name="connsiteX4" fmla="*/ 4292162 w 4673552"/>
              <a:gd name="connsiteY4" fmla="*/ 3298524 h 4183987"/>
              <a:gd name="connsiteX5" fmla="*/ 642067 w 4673552"/>
              <a:gd name="connsiteY5" fmla="*/ 4183987 h 4183987"/>
              <a:gd name="connsiteX6" fmla="*/ 0 w 4673552"/>
              <a:gd name="connsiteY6" fmla="*/ 3541920 h 4183987"/>
              <a:gd name="connsiteX7" fmla="*/ 0 w 4673552"/>
              <a:gd name="connsiteY7" fmla="*/ 185195 h 4183987"/>
              <a:gd name="connsiteX0" fmla="*/ 0 w 4882702"/>
              <a:gd name="connsiteY0" fmla="*/ 185195 h 4183987"/>
              <a:gd name="connsiteX1" fmla="*/ 1913893 w 4882702"/>
              <a:gd name="connsiteY1" fmla="*/ 0 h 4183987"/>
              <a:gd name="connsiteX2" fmla="*/ 4662552 w 4882702"/>
              <a:gd name="connsiteY2" fmla="*/ 5460 h 4183987"/>
              <a:gd name="connsiteX3" fmla="*/ 4668339 w 4882702"/>
              <a:gd name="connsiteY3" fmla="*/ 2598255 h 4183987"/>
              <a:gd name="connsiteX4" fmla="*/ 4292162 w 4882702"/>
              <a:gd name="connsiteY4" fmla="*/ 3298524 h 4183987"/>
              <a:gd name="connsiteX5" fmla="*/ 642067 w 4882702"/>
              <a:gd name="connsiteY5" fmla="*/ 4183987 h 4183987"/>
              <a:gd name="connsiteX6" fmla="*/ 0 w 4882702"/>
              <a:gd name="connsiteY6" fmla="*/ 3541920 h 4183987"/>
              <a:gd name="connsiteX7" fmla="*/ 0 w 4882702"/>
              <a:gd name="connsiteY7" fmla="*/ 185195 h 4183987"/>
              <a:gd name="connsiteX0" fmla="*/ 0 w 4867446"/>
              <a:gd name="connsiteY0" fmla="*/ 185195 h 4183987"/>
              <a:gd name="connsiteX1" fmla="*/ 1913893 w 4867446"/>
              <a:gd name="connsiteY1" fmla="*/ 0 h 4183987"/>
              <a:gd name="connsiteX2" fmla="*/ 4662552 w 4867446"/>
              <a:gd name="connsiteY2" fmla="*/ 5460 h 4183987"/>
              <a:gd name="connsiteX3" fmla="*/ 4668339 w 4867446"/>
              <a:gd name="connsiteY3" fmla="*/ 2598255 h 4183987"/>
              <a:gd name="connsiteX4" fmla="*/ 4292162 w 4867446"/>
              <a:gd name="connsiteY4" fmla="*/ 3298524 h 4183987"/>
              <a:gd name="connsiteX5" fmla="*/ 642067 w 4867446"/>
              <a:gd name="connsiteY5" fmla="*/ 4183987 h 4183987"/>
              <a:gd name="connsiteX6" fmla="*/ 0 w 4867446"/>
              <a:gd name="connsiteY6" fmla="*/ 3541920 h 4183987"/>
              <a:gd name="connsiteX7" fmla="*/ 0 w 4867446"/>
              <a:gd name="connsiteY7" fmla="*/ 185195 h 4183987"/>
              <a:gd name="connsiteX0" fmla="*/ 0 w 4867446"/>
              <a:gd name="connsiteY0" fmla="*/ 185195 h 4183987"/>
              <a:gd name="connsiteX1" fmla="*/ 1913893 w 4867446"/>
              <a:gd name="connsiteY1" fmla="*/ 0 h 4183987"/>
              <a:gd name="connsiteX2" fmla="*/ 4662552 w 4867446"/>
              <a:gd name="connsiteY2" fmla="*/ 5460 h 4183987"/>
              <a:gd name="connsiteX3" fmla="*/ 4668339 w 4867446"/>
              <a:gd name="connsiteY3" fmla="*/ 2598255 h 4183987"/>
              <a:gd name="connsiteX4" fmla="*/ 3435635 w 4867446"/>
              <a:gd name="connsiteY4" fmla="*/ 2609830 h 4183987"/>
              <a:gd name="connsiteX5" fmla="*/ 642067 w 4867446"/>
              <a:gd name="connsiteY5" fmla="*/ 4183987 h 4183987"/>
              <a:gd name="connsiteX6" fmla="*/ 0 w 4867446"/>
              <a:gd name="connsiteY6" fmla="*/ 3541920 h 4183987"/>
              <a:gd name="connsiteX7" fmla="*/ 0 w 4867446"/>
              <a:gd name="connsiteY7" fmla="*/ 185195 h 4183987"/>
              <a:gd name="connsiteX0" fmla="*/ 0 w 4867446"/>
              <a:gd name="connsiteY0" fmla="*/ 185195 h 3541920"/>
              <a:gd name="connsiteX1" fmla="*/ 1913893 w 4867446"/>
              <a:gd name="connsiteY1" fmla="*/ 0 h 3541920"/>
              <a:gd name="connsiteX2" fmla="*/ 4662552 w 4867446"/>
              <a:gd name="connsiteY2" fmla="*/ 5460 h 3541920"/>
              <a:gd name="connsiteX3" fmla="*/ 4668339 w 4867446"/>
              <a:gd name="connsiteY3" fmla="*/ 2598255 h 3541920"/>
              <a:gd name="connsiteX4" fmla="*/ 3435635 w 4867446"/>
              <a:gd name="connsiteY4" fmla="*/ 2609830 h 3541920"/>
              <a:gd name="connsiteX5" fmla="*/ 3431565 w 4867446"/>
              <a:gd name="connsiteY5" fmla="*/ 1151420 h 3541920"/>
              <a:gd name="connsiteX6" fmla="*/ 0 w 4867446"/>
              <a:gd name="connsiteY6" fmla="*/ 3541920 h 3541920"/>
              <a:gd name="connsiteX7" fmla="*/ 0 w 4867446"/>
              <a:gd name="connsiteY7" fmla="*/ 185195 h 3541920"/>
              <a:gd name="connsiteX0" fmla="*/ 0 w 4867446"/>
              <a:gd name="connsiteY0" fmla="*/ 185195 h 2795063"/>
              <a:gd name="connsiteX1" fmla="*/ 1913893 w 4867446"/>
              <a:gd name="connsiteY1" fmla="*/ 0 h 2795063"/>
              <a:gd name="connsiteX2" fmla="*/ 4662552 w 4867446"/>
              <a:gd name="connsiteY2" fmla="*/ 5460 h 2795063"/>
              <a:gd name="connsiteX3" fmla="*/ 4668339 w 4867446"/>
              <a:gd name="connsiteY3" fmla="*/ 2598255 h 2795063"/>
              <a:gd name="connsiteX4" fmla="*/ 3435635 w 4867446"/>
              <a:gd name="connsiteY4" fmla="*/ 2609830 h 2795063"/>
              <a:gd name="connsiteX5" fmla="*/ 3431565 w 4867446"/>
              <a:gd name="connsiteY5" fmla="*/ 1151420 h 2795063"/>
              <a:gd name="connsiteX6" fmla="*/ 1921398 w 4867446"/>
              <a:gd name="connsiteY6" fmla="*/ 1145961 h 2795063"/>
              <a:gd name="connsiteX7" fmla="*/ 0 w 4867446"/>
              <a:gd name="connsiteY7" fmla="*/ 185195 h 2795063"/>
              <a:gd name="connsiteX0" fmla="*/ 0 w 4867446"/>
              <a:gd name="connsiteY0" fmla="*/ 185195 h 2795063"/>
              <a:gd name="connsiteX1" fmla="*/ 1913893 w 4867446"/>
              <a:gd name="connsiteY1" fmla="*/ 0 h 2795063"/>
              <a:gd name="connsiteX2" fmla="*/ 4662552 w 4867446"/>
              <a:gd name="connsiteY2" fmla="*/ 5460 h 2795063"/>
              <a:gd name="connsiteX3" fmla="*/ 4668339 w 4867446"/>
              <a:gd name="connsiteY3" fmla="*/ 2598255 h 2795063"/>
              <a:gd name="connsiteX4" fmla="*/ 3435635 w 4867446"/>
              <a:gd name="connsiteY4" fmla="*/ 2609830 h 2795063"/>
              <a:gd name="connsiteX5" fmla="*/ 3431565 w 4867446"/>
              <a:gd name="connsiteY5" fmla="*/ 1151420 h 2795063"/>
              <a:gd name="connsiteX6" fmla="*/ 1904036 w 4867446"/>
              <a:gd name="connsiteY6" fmla="*/ 1145961 h 2795063"/>
              <a:gd name="connsiteX7" fmla="*/ 0 w 4867446"/>
              <a:gd name="connsiteY7" fmla="*/ 185195 h 2795063"/>
              <a:gd name="connsiteX0" fmla="*/ 0 w 2963410"/>
              <a:gd name="connsiteY0" fmla="*/ 1145961 h 2795063"/>
              <a:gd name="connsiteX1" fmla="*/ 9857 w 2963410"/>
              <a:gd name="connsiteY1" fmla="*/ 0 h 2795063"/>
              <a:gd name="connsiteX2" fmla="*/ 2758516 w 2963410"/>
              <a:gd name="connsiteY2" fmla="*/ 5460 h 2795063"/>
              <a:gd name="connsiteX3" fmla="*/ 2764303 w 2963410"/>
              <a:gd name="connsiteY3" fmla="*/ 2598255 h 2795063"/>
              <a:gd name="connsiteX4" fmla="*/ 1531599 w 2963410"/>
              <a:gd name="connsiteY4" fmla="*/ 2609830 h 2795063"/>
              <a:gd name="connsiteX5" fmla="*/ 1527529 w 2963410"/>
              <a:gd name="connsiteY5" fmla="*/ 1151420 h 2795063"/>
              <a:gd name="connsiteX6" fmla="*/ 0 w 2963410"/>
              <a:gd name="connsiteY6" fmla="*/ 1145961 h 2795063"/>
              <a:gd name="connsiteX0" fmla="*/ 0 w 2963410"/>
              <a:gd name="connsiteY0" fmla="*/ 1145961 h 2795063"/>
              <a:gd name="connsiteX1" fmla="*/ 9857 w 2963410"/>
              <a:gd name="connsiteY1" fmla="*/ 0 h 2795063"/>
              <a:gd name="connsiteX2" fmla="*/ 2758516 w 2963410"/>
              <a:gd name="connsiteY2" fmla="*/ 5460 h 2795063"/>
              <a:gd name="connsiteX3" fmla="*/ 2764303 w 2963410"/>
              <a:gd name="connsiteY3" fmla="*/ 2598255 h 2795063"/>
              <a:gd name="connsiteX4" fmla="*/ 1531599 w 2963410"/>
              <a:gd name="connsiteY4" fmla="*/ 2609830 h 2795063"/>
              <a:gd name="connsiteX5" fmla="*/ 1527529 w 2963410"/>
              <a:gd name="connsiteY5" fmla="*/ 1151420 h 2795063"/>
              <a:gd name="connsiteX6" fmla="*/ 0 w 2963410"/>
              <a:gd name="connsiteY6" fmla="*/ 1145961 h 2795063"/>
              <a:gd name="connsiteX0" fmla="*/ 0 w 2963410"/>
              <a:gd name="connsiteY0" fmla="*/ 1145961 h 2795063"/>
              <a:gd name="connsiteX1" fmla="*/ 9857 w 2963410"/>
              <a:gd name="connsiteY1" fmla="*/ 0 h 2795063"/>
              <a:gd name="connsiteX2" fmla="*/ 2758516 w 2963410"/>
              <a:gd name="connsiteY2" fmla="*/ 5460 h 2795063"/>
              <a:gd name="connsiteX3" fmla="*/ 2764303 w 2963410"/>
              <a:gd name="connsiteY3" fmla="*/ 2598255 h 2795063"/>
              <a:gd name="connsiteX4" fmla="*/ 1531599 w 2963410"/>
              <a:gd name="connsiteY4" fmla="*/ 2609830 h 2795063"/>
              <a:gd name="connsiteX5" fmla="*/ 1527529 w 2963410"/>
              <a:gd name="connsiteY5" fmla="*/ 1151420 h 2795063"/>
              <a:gd name="connsiteX6" fmla="*/ 0 w 2963410"/>
              <a:gd name="connsiteY6" fmla="*/ 1145961 h 2795063"/>
              <a:gd name="connsiteX0" fmla="*/ 0 w 2963410"/>
              <a:gd name="connsiteY0" fmla="*/ 1145961 h 2795063"/>
              <a:gd name="connsiteX1" fmla="*/ 9857 w 2963410"/>
              <a:gd name="connsiteY1" fmla="*/ 0 h 2795063"/>
              <a:gd name="connsiteX2" fmla="*/ 2758516 w 2963410"/>
              <a:gd name="connsiteY2" fmla="*/ 5460 h 2795063"/>
              <a:gd name="connsiteX3" fmla="*/ 2764303 w 2963410"/>
              <a:gd name="connsiteY3" fmla="*/ 2598255 h 2795063"/>
              <a:gd name="connsiteX4" fmla="*/ 1531599 w 2963410"/>
              <a:gd name="connsiteY4" fmla="*/ 2609830 h 2795063"/>
              <a:gd name="connsiteX5" fmla="*/ 1527529 w 2963410"/>
              <a:gd name="connsiteY5" fmla="*/ 1151420 h 2795063"/>
              <a:gd name="connsiteX6" fmla="*/ 0 w 2963410"/>
              <a:gd name="connsiteY6" fmla="*/ 1145961 h 2795063"/>
              <a:gd name="connsiteX0" fmla="*/ 15878 w 2953888"/>
              <a:gd name="connsiteY0" fmla="*/ 1152311 h 2795063"/>
              <a:gd name="connsiteX1" fmla="*/ 335 w 2953888"/>
              <a:gd name="connsiteY1" fmla="*/ 0 h 2795063"/>
              <a:gd name="connsiteX2" fmla="*/ 2748994 w 2953888"/>
              <a:gd name="connsiteY2" fmla="*/ 5460 h 2795063"/>
              <a:gd name="connsiteX3" fmla="*/ 2754781 w 2953888"/>
              <a:gd name="connsiteY3" fmla="*/ 2598255 h 2795063"/>
              <a:gd name="connsiteX4" fmla="*/ 1522077 w 2953888"/>
              <a:gd name="connsiteY4" fmla="*/ 2609830 h 2795063"/>
              <a:gd name="connsiteX5" fmla="*/ 1518007 w 2953888"/>
              <a:gd name="connsiteY5" fmla="*/ 1151420 h 2795063"/>
              <a:gd name="connsiteX6" fmla="*/ 15878 w 2953888"/>
              <a:gd name="connsiteY6" fmla="*/ 1152311 h 2795063"/>
              <a:gd name="connsiteX0" fmla="*/ 15878 w 2953888"/>
              <a:gd name="connsiteY0" fmla="*/ 1152311 h 2806926"/>
              <a:gd name="connsiteX1" fmla="*/ 335 w 2953888"/>
              <a:gd name="connsiteY1" fmla="*/ 0 h 2806926"/>
              <a:gd name="connsiteX2" fmla="*/ 2748994 w 2953888"/>
              <a:gd name="connsiteY2" fmla="*/ 5460 h 2806926"/>
              <a:gd name="connsiteX3" fmla="*/ 2754781 w 2953888"/>
              <a:gd name="connsiteY3" fmla="*/ 2598255 h 2806926"/>
              <a:gd name="connsiteX4" fmla="*/ 1512552 w 2953888"/>
              <a:gd name="connsiteY4" fmla="*/ 2673330 h 2806926"/>
              <a:gd name="connsiteX5" fmla="*/ 1518007 w 2953888"/>
              <a:gd name="connsiteY5" fmla="*/ 1151420 h 2806926"/>
              <a:gd name="connsiteX6" fmla="*/ 15878 w 2953888"/>
              <a:gd name="connsiteY6" fmla="*/ 1152311 h 2806926"/>
              <a:gd name="connsiteX0" fmla="*/ 15878 w 2953888"/>
              <a:gd name="connsiteY0" fmla="*/ 1152311 h 2797896"/>
              <a:gd name="connsiteX1" fmla="*/ 335 w 2953888"/>
              <a:gd name="connsiteY1" fmla="*/ 0 h 2797896"/>
              <a:gd name="connsiteX2" fmla="*/ 2748994 w 2953888"/>
              <a:gd name="connsiteY2" fmla="*/ 5460 h 2797896"/>
              <a:gd name="connsiteX3" fmla="*/ 2754781 w 2953888"/>
              <a:gd name="connsiteY3" fmla="*/ 2598255 h 2797896"/>
              <a:gd name="connsiteX4" fmla="*/ 1525252 w 2953888"/>
              <a:gd name="connsiteY4" fmla="*/ 2625705 h 2797896"/>
              <a:gd name="connsiteX5" fmla="*/ 1518007 w 2953888"/>
              <a:gd name="connsiteY5" fmla="*/ 1151420 h 2797896"/>
              <a:gd name="connsiteX6" fmla="*/ 15878 w 2953888"/>
              <a:gd name="connsiteY6" fmla="*/ 1152311 h 2797896"/>
              <a:gd name="connsiteX0" fmla="*/ 15878 w 2975918"/>
              <a:gd name="connsiteY0" fmla="*/ 1152311 h 2890798"/>
              <a:gd name="connsiteX1" fmla="*/ 335 w 2975918"/>
              <a:gd name="connsiteY1" fmla="*/ 0 h 2890798"/>
              <a:gd name="connsiteX2" fmla="*/ 2748994 w 2975918"/>
              <a:gd name="connsiteY2" fmla="*/ 5460 h 2890798"/>
              <a:gd name="connsiteX3" fmla="*/ 2830981 w 2975918"/>
              <a:gd name="connsiteY3" fmla="*/ 2709380 h 2890798"/>
              <a:gd name="connsiteX4" fmla="*/ 1525252 w 2975918"/>
              <a:gd name="connsiteY4" fmla="*/ 2625705 h 2890798"/>
              <a:gd name="connsiteX5" fmla="*/ 1518007 w 2975918"/>
              <a:gd name="connsiteY5" fmla="*/ 1151420 h 2890798"/>
              <a:gd name="connsiteX6" fmla="*/ 15878 w 2975918"/>
              <a:gd name="connsiteY6" fmla="*/ 1152311 h 2890798"/>
              <a:gd name="connsiteX0" fmla="*/ 15878 w 2954722"/>
              <a:gd name="connsiteY0" fmla="*/ 1152311 h 2813557"/>
              <a:gd name="connsiteX1" fmla="*/ 335 w 2954722"/>
              <a:gd name="connsiteY1" fmla="*/ 0 h 2813557"/>
              <a:gd name="connsiteX2" fmla="*/ 2748994 w 2954722"/>
              <a:gd name="connsiteY2" fmla="*/ 5460 h 2813557"/>
              <a:gd name="connsiteX3" fmla="*/ 2757956 w 2954722"/>
              <a:gd name="connsiteY3" fmla="*/ 2617305 h 2813557"/>
              <a:gd name="connsiteX4" fmla="*/ 1525252 w 2954722"/>
              <a:gd name="connsiteY4" fmla="*/ 2625705 h 2813557"/>
              <a:gd name="connsiteX5" fmla="*/ 1518007 w 2954722"/>
              <a:gd name="connsiteY5" fmla="*/ 1151420 h 2813557"/>
              <a:gd name="connsiteX6" fmla="*/ 15878 w 2954722"/>
              <a:gd name="connsiteY6" fmla="*/ 1152311 h 2813557"/>
              <a:gd name="connsiteX0" fmla="*/ 15878 w 3070830"/>
              <a:gd name="connsiteY0" fmla="*/ 1152311 h 2813557"/>
              <a:gd name="connsiteX1" fmla="*/ 335 w 3070830"/>
              <a:gd name="connsiteY1" fmla="*/ 0 h 2813557"/>
              <a:gd name="connsiteX2" fmla="*/ 2898219 w 3070830"/>
              <a:gd name="connsiteY2" fmla="*/ 59435 h 2813557"/>
              <a:gd name="connsiteX3" fmla="*/ 2757956 w 3070830"/>
              <a:gd name="connsiteY3" fmla="*/ 2617305 h 2813557"/>
              <a:gd name="connsiteX4" fmla="*/ 1525252 w 3070830"/>
              <a:gd name="connsiteY4" fmla="*/ 2625705 h 2813557"/>
              <a:gd name="connsiteX5" fmla="*/ 1518007 w 3070830"/>
              <a:gd name="connsiteY5" fmla="*/ 1151420 h 2813557"/>
              <a:gd name="connsiteX6" fmla="*/ 15878 w 3070830"/>
              <a:gd name="connsiteY6" fmla="*/ 1152311 h 2813557"/>
              <a:gd name="connsiteX0" fmla="*/ 15878 w 2957063"/>
              <a:gd name="connsiteY0" fmla="*/ 1152311 h 2813557"/>
              <a:gd name="connsiteX1" fmla="*/ 335 w 2957063"/>
              <a:gd name="connsiteY1" fmla="*/ 0 h 2813557"/>
              <a:gd name="connsiteX2" fmla="*/ 2752169 w 2957063"/>
              <a:gd name="connsiteY2" fmla="*/ 5460 h 2813557"/>
              <a:gd name="connsiteX3" fmla="*/ 2757956 w 2957063"/>
              <a:gd name="connsiteY3" fmla="*/ 2617305 h 2813557"/>
              <a:gd name="connsiteX4" fmla="*/ 1525252 w 2957063"/>
              <a:gd name="connsiteY4" fmla="*/ 2625705 h 2813557"/>
              <a:gd name="connsiteX5" fmla="*/ 1518007 w 2957063"/>
              <a:gd name="connsiteY5" fmla="*/ 1151420 h 2813557"/>
              <a:gd name="connsiteX6" fmla="*/ 15878 w 2957063"/>
              <a:gd name="connsiteY6" fmla="*/ 1152311 h 2813557"/>
              <a:gd name="connsiteX0" fmla="*/ 0 w 2941185"/>
              <a:gd name="connsiteY0" fmla="*/ 1146851 h 2808097"/>
              <a:gd name="connsiteX1" fmla="*/ 70182 w 2941185"/>
              <a:gd name="connsiteY1" fmla="*/ 92965 h 2808097"/>
              <a:gd name="connsiteX2" fmla="*/ 2736291 w 2941185"/>
              <a:gd name="connsiteY2" fmla="*/ 0 h 2808097"/>
              <a:gd name="connsiteX3" fmla="*/ 2742078 w 2941185"/>
              <a:gd name="connsiteY3" fmla="*/ 2611845 h 2808097"/>
              <a:gd name="connsiteX4" fmla="*/ 1509374 w 2941185"/>
              <a:gd name="connsiteY4" fmla="*/ 2620245 h 2808097"/>
              <a:gd name="connsiteX5" fmla="*/ 1502129 w 2941185"/>
              <a:gd name="connsiteY5" fmla="*/ 1145960 h 2808097"/>
              <a:gd name="connsiteX6" fmla="*/ 0 w 2941185"/>
              <a:gd name="connsiteY6" fmla="*/ 1146851 h 2808097"/>
              <a:gd name="connsiteX0" fmla="*/ 656 w 2941841"/>
              <a:gd name="connsiteY0" fmla="*/ 1146851 h 2808097"/>
              <a:gd name="connsiteX1" fmla="*/ 988 w 2941841"/>
              <a:gd name="connsiteY1" fmla="*/ 890 h 2808097"/>
              <a:gd name="connsiteX2" fmla="*/ 2736947 w 2941841"/>
              <a:gd name="connsiteY2" fmla="*/ 0 h 2808097"/>
              <a:gd name="connsiteX3" fmla="*/ 2742734 w 2941841"/>
              <a:gd name="connsiteY3" fmla="*/ 2611845 h 2808097"/>
              <a:gd name="connsiteX4" fmla="*/ 1510030 w 2941841"/>
              <a:gd name="connsiteY4" fmla="*/ 2620245 h 2808097"/>
              <a:gd name="connsiteX5" fmla="*/ 1502785 w 2941841"/>
              <a:gd name="connsiteY5" fmla="*/ 1145960 h 2808097"/>
              <a:gd name="connsiteX6" fmla="*/ 656 w 2941841"/>
              <a:gd name="connsiteY6" fmla="*/ 1146851 h 2808097"/>
              <a:gd name="connsiteX0" fmla="*/ 656 w 2941841"/>
              <a:gd name="connsiteY0" fmla="*/ 1146851 h 2808097"/>
              <a:gd name="connsiteX1" fmla="*/ 988 w 2941841"/>
              <a:gd name="connsiteY1" fmla="*/ 890 h 2808097"/>
              <a:gd name="connsiteX2" fmla="*/ 2736947 w 2941841"/>
              <a:gd name="connsiteY2" fmla="*/ 0 h 2808097"/>
              <a:gd name="connsiteX3" fmla="*/ 2742734 w 2941841"/>
              <a:gd name="connsiteY3" fmla="*/ 2611845 h 2808097"/>
              <a:gd name="connsiteX4" fmla="*/ 1510030 w 2941841"/>
              <a:gd name="connsiteY4" fmla="*/ 2620245 h 2808097"/>
              <a:gd name="connsiteX5" fmla="*/ 1502785 w 2941841"/>
              <a:gd name="connsiteY5" fmla="*/ 1145960 h 2808097"/>
              <a:gd name="connsiteX6" fmla="*/ 656 w 2941841"/>
              <a:gd name="connsiteY6" fmla="*/ 1146851 h 2808097"/>
              <a:gd name="connsiteX0" fmla="*/ 1179 w 2942364"/>
              <a:gd name="connsiteY0" fmla="*/ 1146851 h 2808097"/>
              <a:gd name="connsiteX1" fmla="*/ 1511 w 2942364"/>
              <a:gd name="connsiteY1" fmla="*/ 890 h 2808097"/>
              <a:gd name="connsiteX2" fmla="*/ 2737470 w 2942364"/>
              <a:gd name="connsiteY2" fmla="*/ 0 h 2808097"/>
              <a:gd name="connsiteX3" fmla="*/ 2743257 w 2942364"/>
              <a:gd name="connsiteY3" fmla="*/ 2611845 h 2808097"/>
              <a:gd name="connsiteX4" fmla="*/ 1510553 w 2942364"/>
              <a:gd name="connsiteY4" fmla="*/ 2620245 h 2808097"/>
              <a:gd name="connsiteX5" fmla="*/ 1503308 w 2942364"/>
              <a:gd name="connsiteY5" fmla="*/ 1145960 h 2808097"/>
              <a:gd name="connsiteX6" fmla="*/ 1179 w 2942364"/>
              <a:gd name="connsiteY6" fmla="*/ 1146851 h 2808097"/>
              <a:gd name="connsiteX0" fmla="*/ 1179 w 2942364"/>
              <a:gd name="connsiteY0" fmla="*/ 1146851 h 2808097"/>
              <a:gd name="connsiteX1" fmla="*/ 1511 w 2942364"/>
              <a:gd name="connsiteY1" fmla="*/ 890 h 2808097"/>
              <a:gd name="connsiteX2" fmla="*/ 2737470 w 2942364"/>
              <a:gd name="connsiteY2" fmla="*/ 0 h 2808097"/>
              <a:gd name="connsiteX3" fmla="*/ 2743257 w 2942364"/>
              <a:gd name="connsiteY3" fmla="*/ 2611845 h 2808097"/>
              <a:gd name="connsiteX4" fmla="*/ 1510553 w 2942364"/>
              <a:gd name="connsiteY4" fmla="*/ 2620245 h 2808097"/>
              <a:gd name="connsiteX5" fmla="*/ 1503308 w 2942364"/>
              <a:gd name="connsiteY5" fmla="*/ 1145960 h 2808097"/>
              <a:gd name="connsiteX6" fmla="*/ 1179 w 2942364"/>
              <a:gd name="connsiteY6" fmla="*/ 1146851 h 2808097"/>
              <a:gd name="connsiteX0" fmla="*/ 1179 w 2942364"/>
              <a:gd name="connsiteY0" fmla="*/ 1146851 h 2808097"/>
              <a:gd name="connsiteX1" fmla="*/ 1511 w 2942364"/>
              <a:gd name="connsiteY1" fmla="*/ 890 h 2808097"/>
              <a:gd name="connsiteX2" fmla="*/ 2737470 w 2942364"/>
              <a:gd name="connsiteY2" fmla="*/ 0 h 2808097"/>
              <a:gd name="connsiteX3" fmla="*/ 2743257 w 2942364"/>
              <a:gd name="connsiteY3" fmla="*/ 2611845 h 2808097"/>
              <a:gd name="connsiteX4" fmla="*/ 1510553 w 2942364"/>
              <a:gd name="connsiteY4" fmla="*/ 2620245 h 2808097"/>
              <a:gd name="connsiteX5" fmla="*/ 1503308 w 2942364"/>
              <a:gd name="connsiteY5" fmla="*/ 1145960 h 2808097"/>
              <a:gd name="connsiteX6" fmla="*/ 1179 w 2942364"/>
              <a:gd name="connsiteY6" fmla="*/ 1146851 h 2808097"/>
              <a:gd name="connsiteX0" fmla="*/ 1179 w 2942364"/>
              <a:gd name="connsiteY0" fmla="*/ 1146851 h 3094930"/>
              <a:gd name="connsiteX1" fmla="*/ 1511 w 2942364"/>
              <a:gd name="connsiteY1" fmla="*/ 890 h 3094930"/>
              <a:gd name="connsiteX2" fmla="*/ 2737470 w 2942364"/>
              <a:gd name="connsiteY2" fmla="*/ 0 h 3094930"/>
              <a:gd name="connsiteX3" fmla="*/ 2743257 w 2942364"/>
              <a:gd name="connsiteY3" fmla="*/ 2611845 h 3094930"/>
              <a:gd name="connsiteX4" fmla="*/ 1510553 w 2942364"/>
              <a:gd name="connsiteY4" fmla="*/ 2620245 h 3094930"/>
              <a:gd name="connsiteX5" fmla="*/ 1503308 w 2942364"/>
              <a:gd name="connsiteY5" fmla="*/ 1145960 h 3094930"/>
              <a:gd name="connsiteX6" fmla="*/ 1179 w 2942364"/>
              <a:gd name="connsiteY6" fmla="*/ 1146851 h 3094930"/>
              <a:gd name="connsiteX0" fmla="*/ 1179 w 2942364"/>
              <a:gd name="connsiteY0" fmla="*/ 1146851 h 3094930"/>
              <a:gd name="connsiteX1" fmla="*/ 1511 w 2942364"/>
              <a:gd name="connsiteY1" fmla="*/ 890 h 3094930"/>
              <a:gd name="connsiteX2" fmla="*/ 2737470 w 2942364"/>
              <a:gd name="connsiteY2" fmla="*/ 0 h 3094930"/>
              <a:gd name="connsiteX3" fmla="*/ 2743257 w 2942364"/>
              <a:gd name="connsiteY3" fmla="*/ 2611845 h 3094930"/>
              <a:gd name="connsiteX4" fmla="*/ 1510553 w 2942364"/>
              <a:gd name="connsiteY4" fmla="*/ 2620245 h 3094930"/>
              <a:gd name="connsiteX5" fmla="*/ 1503308 w 2942364"/>
              <a:gd name="connsiteY5" fmla="*/ 1145960 h 3094930"/>
              <a:gd name="connsiteX6" fmla="*/ 1179 w 2942364"/>
              <a:gd name="connsiteY6" fmla="*/ 1146851 h 3094930"/>
              <a:gd name="connsiteX0" fmla="*/ 1179 w 2956684"/>
              <a:gd name="connsiteY0" fmla="*/ 1146851 h 3094930"/>
              <a:gd name="connsiteX1" fmla="*/ 1511 w 2956684"/>
              <a:gd name="connsiteY1" fmla="*/ 890 h 3094930"/>
              <a:gd name="connsiteX2" fmla="*/ 2737470 w 2956684"/>
              <a:gd name="connsiteY2" fmla="*/ 0 h 3094930"/>
              <a:gd name="connsiteX3" fmla="*/ 2743257 w 2956684"/>
              <a:gd name="connsiteY3" fmla="*/ 2611845 h 3094930"/>
              <a:gd name="connsiteX4" fmla="*/ 1510553 w 2956684"/>
              <a:gd name="connsiteY4" fmla="*/ 2620245 h 3094930"/>
              <a:gd name="connsiteX5" fmla="*/ 1503308 w 2956684"/>
              <a:gd name="connsiteY5" fmla="*/ 1145960 h 3094930"/>
              <a:gd name="connsiteX6" fmla="*/ 1179 w 2956684"/>
              <a:gd name="connsiteY6" fmla="*/ 1146851 h 3094930"/>
              <a:gd name="connsiteX0" fmla="*/ 1179 w 2941423"/>
              <a:gd name="connsiteY0" fmla="*/ 1146851 h 3094930"/>
              <a:gd name="connsiteX1" fmla="*/ 1511 w 2941423"/>
              <a:gd name="connsiteY1" fmla="*/ 890 h 3094930"/>
              <a:gd name="connsiteX2" fmla="*/ 2737470 w 2941423"/>
              <a:gd name="connsiteY2" fmla="*/ 0 h 3094930"/>
              <a:gd name="connsiteX3" fmla="*/ 2743257 w 2941423"/>
              <a:gd name="connsiteY3" fmla="*/ 2611845 h 3094930"/>
              <a:gd name="connsiteX4" fmla="*/ 1510553 w 2941423"/>
              <a:gd name="connsiteY4" fmla="*/ 2620245 h 3094930"/>
              <a:gd name="connsiteX5" fmla="*/ 1503308 w 2941423"/>
              <a:gd name="connsiteY5" fmla="*/ 1145960 h 3094930"/>
              <a:gd name="connsiteX6" fmla="*/ 1179 w 2941423"/>
              <a:gd name="connsiteY6" fmla="*/ 1146851 h 3094930"/>
              <a:gd name="connsiteX0" fmla="*/ 1179 w 2941423"/>
              <a:gd name="connsiteY0" fmla="*/ 1146851 h 3094930"/>
              <a:gd name="connsiteX1" fmla="*/ 1511 w 2941423"/>
              <a:gd name="connsiteY1" fmla="*/ 890 h 3094930"/>
              <a:gd name="connsiteX2" fmla="*/ 2737470 w 2941423"/>
              <a:gd name="connsiteY2" fmla="*/ 0 h 3094930"/>
              <a:gd name="connsiteX3" fmla="*/ 2743257 w 2941423"/>
              <a:gd name="connsiteY3" fmla="*/ 2611845 h 3094930"/>
              <a:gd name="connsiteX4" fmla="*/ 1510553 w 2941423"/>
              <a:gd name="connsiteY4" fmla="*/ 2620245 h 3094930"/>
              <a:gd name="connsiteX5" fmla="*/ 1503308 w 2941423"/>
              <a:gd name="connsiteY5" fmla="*/ 1145960 h 3094930"/>
              <a:gd name="connsiteX6" fmla="*/ 1179 w 2941423"/>
              <a:gd name="connsiteY6" fmla="*/ 1146851 h 3094930"/>
              <a:gd name="connsiteX0" fmla="*/ 1179 w 2941423"/>
              <a:gd name="connsiteY0" fmla="*/ 1146851 h 2939223"/>
              <a:gd name="connsiteX1" fmla="*/ 1511 w 2941423"/>
              <a:gd name="connsiteY1" fmla="*/ 890 h 2939223"/>
              <a:gd name="connsiteX2" fmla="*/ 2737470 w 2941423"/>
              <a:gd name="connsiteY2" fmla="*/ 0 h 2939223"/>
              <a:gd name="connsiteX3" fmla="*/ 2743257 w 2941423"/>
              <a:gd name="connsiteY3" fmla="*/ 2611845 h 2939223"/>
              <a:gd name="connsiteX4" fmla="*/ 1510553 w 2941423"/>
              <a:gd name="connsiteY4" fmla="*/ 2620245 h 2939223"/>
              <a:gd name="connsiteX5" fmla="*/ 1503308 w 2941423"/>
              <a:gd name="connsiteY5" fmla="*/ 1145960 h 2939223"/>
              <a:gd name="connsiteX6" fmla="*/ 1179 w 2941423"/>
              <a:gd name="connsiteY6" fmla="*/ 1146851 h 2939223"/>
              <a:gd name="connsiteX0" fmla="*/ 1179 w 2941423"/>
              <a:gd name="connsiteY0" fmla="*/ 1146851 h 2620245"/>
              <a:gd name="connsiteX1" fmla="*/ 1511 w 2941423"/>
              <a:gd name="connsiteY1" fmla="*/ 890 h 2620245"/>
              <a:gd name="connsiteX2" fmla="*/ 2737470 w 2941423"/>
              <a:gd name="connsiteY2" fmla="*/ 0 h 2620245"/>
              <a:gd name="connsiteX3" fmla="*/ 2743257 w 2941423"/>
              <a:gd name="connsiteY3" fmla="*/ 2611845 h 2620245"/>
              <a:gd name="connsiteX4" fmla="*/ 1510553 w 2941423"/>
              <a:gd name="connsiteY4" fmla="*/ 2620245 h 2620245"/>
              <a:gd name="connsiteX5" fmla="*/ 1503308 w 2941423"/>
              <a:gd name="connsiteY5" fmla="*/ 1145960 h 2620245"/>
              <a:gd name="connsiteX6" fmla="*/ 1179 w 2941423"/>
              <a:gd name="connsiteY6" fmla="*/ 1146851 h 2620245"/>
              <a:gd name="connsiteX0" fmla="*/ 1179 w 2941423"/>
              <a:gd name="connsiteY0" fmla="*/ 1146851 h 2611845"/>
              <a:gd name="connsiteX1" fmla="*/ 1511 w 2941423"/>
              <a:gd name="connsiteY1" fmla="*/ 890 h 2611845"/>
              <a:gd name="connsiteX2" fmla="*/ 2737470 w 2941423"/>
              <a:gd name="connsiteY2" fmla="*/ 0 h 2611845"/>
              <a:gd name="connsiteX3" fmla="*/ 2743257 w 2941423"/>
              <a:gd name="connsiteY3" fmla="*/ 2611845 h 2611845"/>
              <a:gd name="connsiteX4" fmla="*/ 1510553 w 2941423"/>
              <a:gd name="connsiteY4" fmla="*/ 2610720 h 2611845"/>
              <a:gd name="connsiteX5" fmla="*/ 1503308 w 2941423"/>
              <a:gd name="connsiteY5" fmla="*/ 1145960 h 2611845"/>
              <a:gd name="connsiteX6" fmla="*/ 1179 w 2941423"/>
              <a:gd name="connsiteY6" fmla="*/ 1146851 h 2611845"/>
              <a:gd name="connsiteX0" fmla="*/ 1179 w 2743257"/>
              <a:gd name="connsiteY0" fmla="*/ 1146851 h 2611845"/>
              <a:gd name="connsiteX1" fmla="*/ 1511 w 2743257"/>
              <a:gd name="connsiteY1" fmla="*/ 890 h 2611845"/>
              <a:gd name="connsiteX2" fmla="*/ 2737470 w 2743257"/>
              <a:gd name="connsiteY2" fmla="*/ 0 h 2611845"/>
              <a:gd name="connsiteX3" fmla="*/ 2743257 w 2743257"/>
              <a:gd name="connsiteY3" fmla="*/ 2611845 h 2611845"/>
              <a:gd name="connsiteX4" fmla="*/ 1510553 w 2743257"/>
              <a:gd name="connsiteY4" fmla="*/ 2610720 h 2611845"/>
              <a:gd name="connsiteX5" fmla="*/ 1503308 w 2743257"/>
              <a:gd name="connsiteY5" fmla="*/ 1145960 h 2611845"/>
              <a:gd name="connsiteX6" fmla="*/ 1179 w 2743257"/>
              <a:gd name="connsiteY6" fmla="*/ 1146851 h 2611845"/>
              <a:gd name="connsiteX0" fmla="*/ 0 w 2742078"/>
              <a:gd name="connsiteY0" fmla="*/ 1146851 h 2611845"/>
              <a:gd name="connsiteX1" fmla="*/ 332 w 2742078"/>
              <a:gd name="connsiteY1" fmla="*/ 890 h 2611845"/>
              <a:gd name="connsiteX2" fmla="*/ 2736291 w 2742078"/>
              <a:gd name="connsiteY2" fmla="*/ 0 h 2611845"/>
              <a:gd name="connsiteX3" fmla="*/ 2742078 w 2742078"/>
              <a:gd name="connsiteY3" fmla="*/ 2611845 h 2611845"/>
              <a:gd name="connsiteX4" fmla="*/ 1509374 w 2742078"/>
              <a:gd name="connsiteY4" fmla="*/ 2610720 h 2611845"/>
              <a:gd name="connsiteX5" fmla="*/ 1502129 w 2742078"/>
              <a:gd name="connsiteY5" fmla="*/ 1145960 h 2611845"/>
              <a:gd name="connsiteX6" fmla="*/ 0 w 2742078"/>
              <a:gd name="connsiteY6" fmla="*/ 1146851 h 2611845"/>
              <a:gd name="connsiteX0" fmla="*/ 0 w 2742078"/>
              <a:gd name="connsiteY0" fmla="*/ 1146851 h 2611845"/>
              <a:gd name="connsiteX1" fmla="*/ 332 w 2742078"/>
              <a:gd name="connsiteY1" fmla="*/ 890 h 2611845"/>
              <a:gd name="connsiteX2" fmla="*/ 2736291 w 2742078"/>
              <a:gd name="connsiteY2" fmla="*/ 0 h 2611845"/>
              <a:gd name="connsiteX3" fmla="*/ 2742078 w 2742078"/>
              <a:gd name="connsiteY3" fmla="*/ 2611845 h 2611845"/>
              <a:gd name="connsiteX4" fmla="*/ 1509374 w 2742078"/>
              <a:gd name="connsiteY4" fmla="*/ 2610720 h 2611845"/>
              <a:gd name="connsiteX5" fmla="*/ 1502129 w 2742078"/>
              <a:gd name="connsiteY5" fmla="*/ 1145960 h 2611845"/>
              <a:gd name="connsiteX6" fmla="*/ 0 w 2742078"/>
              <a:gd name="connsiteY6" fmla="*/ 1146851 h 2611845"/>
              <a:gd name="connsiteX0" fmla="*/ 0 w 2742078"/>
              <a:gd name="connsiteY0" fmla="*/ 1146851 h 2611845"/>
              <a:gd name="connsiteX1" fmla="*/ 332 w 2742078"/>
              <a:gd name="connsiteY1" fmla="*/ 890 h 2611845"/>
              <a:gd name="connsiteX2" fmla="*/ 2736291 w 2742078"/>
              <a:gd name="connsiteY2" fmla="*/ 0 h 2611845"/>
              <a:gd name="connsiteX3" fmla="*/ 2742078 w 2742078"/>
              <a:gd name="connsiteY3" fmla="*/ 2611845 h 2611845"/>
              <a:gd name="connsiteX4" fmla="*/ 1509374 w 2742078"/>
              <a:gd name="connsiteY4" fmla="*/ 2610720 h 2611845"/>
              <a:gd name="connsiteX5" fmla="*/ 1479904 w 2742078"/>
              <a:gd name="connsiteY5" fmla="*/ 1209460 h 2611845"/>
              <a:gd name="connsiteX6" fmla="*/ 0 w 2742078"/>
              <a:gd name="connsiteY6" fmla="*/ 1146851 h 2611845"/>
              <a:gd name="connsiteX0" fmla="*/ 0 w 2742078"/>
              <a:gd name="connsiteY0" fmla="*/ 1146851 h 2611845"/>
              <a:gd name="connsiteX1" fmla="*/ 332 w 2742078"/>
              <a:gd name="connsiteY1" fmla="*/ 890 h 2611845"/>
              <a:gd name="connsiteX2" fmla="*/ 2736291 w 2742078"/>
              <a:gd name="connsiteY2" fmla="*/ 0 h 2611845"/>
              <a:gd name="connsiteX3" fmla="*/ 2742078 w 2742078"/>
              <a:gd name="connsiteY3" fmla="*/ 2611845 h 2611845"/>
              <a:gd name="connsiteX4" fmla="*/ 1509374 w 2742078"/>
              <a:gd name="connsiteY4" fmla="*/ 2610720 h 2611845"/>
              <a:gd name="connsiteX5" fmla="*/ 1508479 w 2742078"/>
              <a:gd name="connsiteY5" fmla="*/ 1142785 h 2611845"/>
              <a:gd name="connsiteX6" fmla="*/ 0 w 2742078"/>
              <a:gd name="connsiteY6" fmla="*/ 1146851 h 2611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2078" h="2611845">
                <a:moveTo>
                  <a:pt x="0" y="1146851"/>
                </a:moveTo>
                <a:cubicBezTo>
                  <a:pt x="166" y="751670"/>
                  <a:pt x="221" y="417802"/>
                  <a:pt x="332" y="890"/>
                </a:cubicBezTo>
                <a:lnTo>
                  <a:pt x="2736291" y="0"/>
                </a:lnTo>
                <a:cubicBezTo>
                  <a:pt x="2739224" y="1387659"/>
                  <a:pt x="2739184" y="1305922"/>
                  <a:pt x="2742078" y="2611845"/>
                </a:cubicBezTo>
                <a:lnTo>
                  <a:pt x="1509374" y="2610720"/>
                </a:lnTo>
                <a:cubicBezTo>
                  <a:pt x="1508017" y="2124583"/>
                  <a:pt x="1513011" y="1968647"/>
                  <a:pt x="1508479" y="1142785"/>
                </a:cubicBezTo>
                <a:lnTo>
                  <a:pt x="0" y="1146851"/>
                </a:lnTo>
                <a:close/>
              </a:path>
            </a:pathLst>
          </a:custGeom>
          <a:solidFill>
            <a:schemeClr val="accent2"/>
          </a:solidFill>
        </p:spPr>
        <p:txBody>
          <a:bodyPr/>
          <a:lstStyle>
            <a:lvl1pPr>
              <a:defRPr sz="1000">
                <a:solidFill>
                  <a:schemeClr val="tx2"/>
                </a:solidFill>
              </a:defRPr>
            </a:lvl1pPr>
          </a:lstStyle>
          <a:p>
            <a:endParaRPr lang="en-US" noProof="0"/>
          </a:p>
        </p:txBody>
      </p:sp>
      <p:sp>
        <p:nvSpPr>
          <p:cNvPr id="71" name="Text Placeholder 19">
            <a:extLst>
              <a:ext uri="{FF2B5EF4-FFF2-40B4-BE49-F238E27FC236}">
                <a16:creationId xmlns:a16="http://schemas.microsoft.com/office/drawing/2014/main" id="{9CE7F073-4B4F-DE4A-B3A0-AF386249A910}"/>
              </a:ext>
            </a:extLst>
          </p:cNvPr>
          <p:cNvSpPr>
            <a:spLocks noGrp="1"/>
          </p:cNvSpPr>
          <p:nvPr>
            <p:ph type="body" sz="quarter" idx="10" hasCustomPrompt="1"/>
          </p:nvPr>
        </p:nvSpPr>
        <p:spPr>
          <a:xfrm>
            <a:off x="1" y="4335275"/>
            <a:ext cx="3455988" cy="397064"/>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grpSp>
        <p:nvGrpSpPr>
          <p:cNvPr id="81" name="Group 80">
            <a:extLst>
              <a:ext uri="{FF2B5EF4-FFF2-40B4-BE49-F238E27FC236}">
                <a16:creationId xmlns:a16="http://schemas.microsoft.com/office/drawing/2014/main" id="{E18B78F3-49A8-A444-AAAD-F0EE22BA5C6B}"/>
              </a:ext>
            </a:extLst>
          </p:cNvPr>
          <p:cNvGrpSpPr/>
          <p:nvPr userDrawn="1"/>
        </p:nvGrpSpPr>
        <p:grpSpPr>
          <a:xfrm>
            <a:off x="7391345" y="411163"/>
            <a:ext cx="1336166" cy="539307"/>
            <a:chOff x="2286000" y="2193925"/>
            <a:chExt cx="6835775" cy="2759075"/>
          </a:xfrm>
        </p:grpSpPr>
        <p:sp>
          <p:nvSpPr>
            <p:cNvPr id="82" name="Freeform 1">
              <a:extLst>
                <a:ext uri="{FF2B5EF4-FFF2-40B4-BE49-F238E27FC236}">
                  <a16:creationId xmlns:a16="http://schemas.microsoft.com/office/drawing/2014/main" id="{D22AEE53-A9CD-2C40-96FA-C73F55677DAC}"/>
                </a:ext>
              </a:extLst>
            </p:cNvPr>
            <p:cNvSpPr>
              <a:spLocks noChangeArrowheads="1"/>
            </p:cNvSpPr>
            <p:nvPr/>
          </p:nvSpPr>
          <p:spPr bwMode="auto">
            <a:xfrm>
              <a:off x="8378825" y="2471738"/>
              <a:ext cx="742950" cy="706437"/>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3" name="Freeform 2">
              <a:extLst>
                <a:ext uri="{FF2B5EF4-FFF2-40B4-BE49-F238E27FC236}">
                  <a16:creationId xmlns:a16="http://schemas.microsoft.com/office/drawing/2014/main" id="{975FC6AC-2AD0-684C-AECC-29F62BFBE947}"/>
                </a:ext>
              </a:extLst>
            </p:cNvPr>
            <p:cNvSpPr>
              <a:spLocks noChangeArrowheads="1"/>
            </p:cNvSpPr>
            <p:nvPr/>
          </p:nvSpPr>
          <p:spPr bwMode="auto">
            <a:xfrm>
              <a:off x="5299075" y="2781300"/>
              <a:ext cx="333375" cy="1349375"/>
            </a:xfrm>
            <a:custGeom>
              <a:avLst/>
              <a:gdLst>
                <a:gd name="T0" fmla="*/ 0 w 927"/>
                <a:gd name="T1" fmla="*/ 3749 h 3750"/>
                <a:gd name="T2" fmla="*/ 926 w 927"/>
                <a:gd name="T3" fmla="*/ 3749 h 3750"/>
                <a:gd name="T4" fmla="*/ 926 w 927"/>
                <a:gd name="T5" fmla="*/ 0 h 3750"/>
                <a:gd name="T6" fmla="*/ 0 w 927"/>
                <a:gd name="T7" fmla="*/ 0 h 3750"/>
                <a:gd name="T8" fmla="*/ 0 w 927"/>
                <a:gd name="T9" fmla="*/ 3749 h 3750"/>
              </a:gdLst>
              <a:ahLst/>
              <a:cxnLst>
                <a:cxn ang="0">
                  <a:pos x="T0" y="T1"/>
                </a:cxn>
                <a:cxn ang="0">
                  <a:pos x="T2" y="T3"/>
                </a:cxn>
                <a:cxn ang="0">
                  <a:pos x="T4" y="T5"/>
                </a:cxn>
                <a:cxn ang="0">
                  <a:pos x="T6" y="T7"/>
                </a:cxn>
                <a:cxn ang="0">
                  <a:pos x="T8" y="T9"/>
                </a:cxn>
              </a:cxnLst>
              <a:rect l="0" t="0" r="r" b="b"/>
              <a:pathLst>
                <a:path w="927" h="3750">
                  <a:moveTo>
                    <a:pt x="0" y="3749"/>
                  </a:moveTo>
                  <a:lnTo>
                    <a:pt x="926" y="3749"/>
                  </a:lnTo>
                  <a:lnTo>
                    <a:pt x="926" y="0"/>
                  </a:lnTo>
                  <a:lnTo>
                    <a:pt x="0" y="0"/>
                  </a:lnTo>
                  <a:lnTo>
                    <a:pt x="0" y="3749"/>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4" name="Freeform 3">
              <a:extLst>
                <a:ext uri="{FF2B5EF4-FFF2-40B4-BE49-F238E27FC236}">
                  <a16:creationId xmlns:a16="http://schemas.microsoft.com/office/drawing/2014/main" id="{E81B1E39-65D9-8A47-A0A8-444D80FCC4EB}"/>
                </a:ext>
              </a:extLst>
            </p:cNvPr>
            <p:cNvSpPr>
              <a:spLocks noChangeArrowheads="1"/>
            </p:cNvSpPr>
            <p:nvPr/>
          </p:nvSpPr>
          <p:spPr bwMode="auto">
            <a:xfrm>
              <a:off x="3781425" y="2193925"/>
              <a:ext cx="1206500" cy="1973263"/>
            </a:xfrm>
            <a:custGeom>
              <a:avLst/>
              <a:gdLst>
                <a:gd name="T0" fmla="*/ 2426 w 3353"/>
                <a:gd name="T1" fmla="*/ 1631 h 5480"/>
                <a:gd name="T2" fmla="*/ 2426 w 3353"/>
                <a:gd name="T3" fmla="*/ 1631 h 5480"/>
                <a:gd name="T4" fmla="*/ 2459 w 3353"/>
                <a:gd name="T5" fmla="*/ 1940 h 5480"/>
                <a:gd name="T6" fmla="*/ 1290 w 3353"/>
                <a:gd name="T7" fmla="*/ 1532 h 5480"/>
                <a:gd name="T8" fmla="*/ 0 w 3353"/>
                <a:gd name="T9" fmla="*/ 1995 h 5480"/>
                <a:gd name="T10" fmla="*/ 463 w 3353"/>
                <a:gd name="T11" fmla="*/ 2833 h 5480"/>
                <a:gd name="T12" fmla="*/ 1323 w 3353"/>
                <a:gd name="T13" fmla="*/ 2403 h 5480"/>
                <a:gd name="T14" fmla="*/ 2393 w 3353"/>
                <a:gd name="T15" fmla="*/ 3506 h 5480"/>
                <a:gd name="T16" fmla="*/ 1323 w 3353"/>
                <a:gd name="T17" fmla="*/ 4619 h 5480"/>
                <a:gd name="T18" fmla="*/ 485 w 3353"/>
                <a:gd name="T19" fmla="*/ 4178 h 5480"/>
                <a:gd name="T20" fmla="*/ 0 w 3353"/>
                <a:gd name="T21" fmla="*/ 5049 h 5480"/>
                <a:gd name="T22" fmla="*/ 1290 w 3353"/>
                <a:gd name="T23" fmla="*/ 5479 h 5480"/>
                <a:gd name="T24" fmla="*/ 2459 w 3353"/>
                <a:gd name="T25" fmla="*/ 5071 h 5480"/>
                <a:gd name="T26" fmla="*/ 2492 w 3353"/>
                <a:gd name="T27" fmla="*/ 5380 h 5480"/>
                <a:gd name="T28" fmla="*/ 3352 w 3353"/>
                <a:gd name="T29" fmla="*/ 5380 h 5480"/>
                <a:gd name="T30" fmla="*/ 3352 w 3353"/>
                <a:gd name="T31" fmla="*/ 0 h 5480"/>
                <a:gd name="T32" fmla="*/ 2426 w 3353"/>
                <a:gd name="T33" fmla="*/ 0 h 5480"/>
                <a:gd name="T34" fmla="*/ 2426 w 3353"/>
                <a:gd name="T35" fmla="*/ 1631 h 5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53" h="5480">
                  <a:moveTo>
                    <a:pt x="2426" y="1631"/>
                  </a:moveTo>
                  <a:lnTo>
                    <a:pt x="2426" y="1631"/>
                  </a:lnTo>
                  <a:cubicBezTo>
                    <a:pt x="2426" y="1819"/>
                    <a:pt x="2459" y="1940"/>
                    <a:pt x="2459" y="1940"/>
                  </a:cubicBezTo>
                  <a:cubicBezTo>
                    <a:pt x="2150" y="1720"/>
                    <a:pt x="1786" y="1532"/>
                    <a:pt x="1290" y="1532"/>
                  </a:cubicBezTo>
                  <a:cubicBezTo>
                    <a:pt x="794" y="1532"/>
                    <a:pt x="364" y="1720"/>
                    <a:pt x="0" y="1995"/>
                  </a:cubicBezTo>
                  <a:cubicBezTo>
                    <a:pt x="210" y="2249"/>
                    <a:pt x="364" y="2524"/>
                    <a:pt x="463" y="2833"/>
                  </a:cubicBezTo>
                  <a:cubicBezTo>
                    <a:pt x="673" y="2557"/>
                    <a:pt x="948" y="2403"/>
                    <a:pt x="1323" y="2403"/>
                  </a:cubicBezTo>
                  <a:cubicBezTo>
                    <a:pt x="1963" y="2403"/>
                    <a:pt x="2393" y="2833"/>
                    <a:pt x="2393" y="3506"/>
                  </a:cubicBezTo>
                  <a:cubicBezTo>
                    <a:pt x="2393" y="4211"/>
                    <a:pt x="1941" y="4619"/>
                    <a:pt x="1323" y="4619"/>
                  </a:cubicBezTo>
                  <a:cubicBezTo>
                    <a:pt x="982" y="4619"/>
                    <a:pt x="673" y="4465"/>
                    <a:pt x="485" y="4178"/>
                  </a:cubicBezTo>
                  <a:cubicBezTo>
                    <a:pt x="397" y="4520"/>
                    <a:pt x="210" y="4795"/>
                    <a:pt x="0" y="5049"/>
                  </a:cubicBezTo>
                  <a:cubicBezTo>
                    <a:pt x="364" y="5325"/>
                    <a:pt x="794" y="5479"/>
                    <a:pt x="1290" y="5479"/>
                  </a:cubicBezTo>
                  <a:cubicBezTo>
                    <a:pt x="1753" y="5479"/>
                    <a:pt x="2183" y="5292"/>
                    <a:pt x="2459" y="5071"/>
                  </a:cubicBezTo>
                  <a:cubicBezTo>
                    <a:pt x="2492" y="5380"/>
                    <a:pt x="2492" y="5380"/>
                    <a:pt x="2492" y="5380"/>
                  </a:cubicBezTo>
                  <a:cubicBezTo>
                    <a:pt x="3352" y="5380"/>
                    <a:pt x="3352" y="5380"/>
                    <a:pt x="3352" y="5380"/>
                  </a:cubicBezTo>
                  <a:cubicBezTo>
                    <a:pt x="3352" y="0"/>
                    <a:pt x="3352" y="0"/>
                    <a:pt x="3352" y="0"/>
                  </a:cubicBezTo>
                  <a:cubicBezTo>
                    <a:pt x="2426" y="0"/>
                    <a:pt x="2426" y="0"/>
                    <a:pt x="2426" y="0"/>
                  </a:cubicBezTo>
                  <a:lnTo>
                    <a:pt x="2426" y="1631"/>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5" name="Freeform 4">
              <a:extLst>
                <a:ext uri="{FF2B5EF4-FFF2-40B4-BE49-F238E27FC236}">
                  <a16:creationId xmlns:a16="http://schemas.microsoft.com/office/drawing/2014/main" id="{080F2756-1BAC-004A-9411-2A9EFF5519C5}"/>
                </a:ext>
              </a:extLst>
            </p:cNvPr>
            <p:cNvSpPr>
              <a:spLocks noChangeArrowheads="1"/>
            </p:cNvSpPr>
            <p:nvPr/>
          </p:nvSpPr>
          <p:spPr bwMode="auto">
            <a:xfrm>
              <a:off x="2286000" y="2746375"/>
              <a:ext cx="1441450" cy="1420813"/>
            </a:xfrm>
            <a:custGeom>
              <a:avLst/>
              <a:gdLst>
                <a:gd name="T0" fmla="*/ 1995 w 4003"/>
                <a:gd name="T1" fmla="*/ 0 h 3948"/>
                <a:gd name="T2" fmla="*/ 1995 w 4003"/>
                <a:gd name="T3" fmla="*/ 0 h 3948"/>
                <a:gd name="T4" fmla="*/ 0 w 4003"/>
                <a:gd name="T5" fmla="*/ 1974 h 3948"/>
                <a:gd name="T6" fmla="*/ 1995 w 4003"/>
                <a:gd name="T7" fmla="*/ 3947 h 3948"/>
                <a:gd name="T8" fmla="*/ 4002 w 4003"/>
                <a:gd name="T9" fmla="*/ 1974 h 3948"/>
                <a:gd name="T10" fmla="*/ 1995 w 4003"/>
                <a:gd name="T11" fmla="*/ 0 h 3948"/>
                <a:gd name="T12" fmla="*/ 1995 w 4003"/>
                <a:gd name="T13" fmla="*/ 3087 h 3948"/>
                <a:gd name="T14" fmla="*/ 1995 w 4003"/>
                <a:gd name="T15" fmla="*/ 3087 h 3948"/>
                <a:gd name="T16" fmla="*/ 926 w 4003"/>
                <a:gd name="T17" fmla="*/ 1974 h 3948"/>
                <a:gd name="T18" fmla="*/ 1995 w 4003"/>
                <a:gd name="T19" fmla="*/ 871 h 3948"/>
                <a:gd name="T20" fmla="*/ 3076 w 4003"/>
                <a:gd name="T21" fmla="*/ 1974 h 3948"/>
                <a:gd name="T22" fmla="*/ 1995 w 4003"/>
                <a:gd name="T23" fmla="*/ 3087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3" h="3948">
                  <a:moveTo>
                    <a:pt x="1995" y="0"/>
                  </a:moveTo>
                  <a:lnTo>
                    <a:pt x="1995" y="0"/>
                  </a:lnTo>
                  <a:cubicBezTo>
                    <a:pt x="860" y="0"/>
                    <a:pt x="0" y="893"/>
                    <a:pt x="0" y="1974"/>
                  </a:cubicBezTo>
                  <a:cubicBezTo>
                    <a:pt x="0" y="3109"/>
                    <a:pt x="860" y="3947"/>
                    <a:pt x="1995" y="3947"/>
                  </a:cubicBezTo>
                  <a:cubicBezTo>
                    <a:pt x="3142" y="3947"/>
                    <a:pt x="4002" y="3109"/>
                    <a:pt x="4002" y="1974"/>
                  </a:cubicBezTo>
                  <a:cubicBezTo>
                    <a:pt x="4002" y="893"/>
                    <a:pt x="3142" y="0"/>
                    <a:pt x="1995" y="0"/>
                  </a:cubicBezTo>
                  <a:close/>
                  <a:moveTo>
                    <a:pt x="1995" y="3087"/>
                  </a:moveTo>
                  <a:lnTo>
                    <a:pt x="1995" y="3087"/>
                  </a:lnTo>
                  <a:cubicBezTo>
                    <a:pt x="1389" y="3087"/>
                    <a:pt x="926" y="2624"/>
                    <a:pt x="926" y="1974"/>
                  </a:cubicBezTo>
                  <a:cubicBezTo>
                    <a:pt x="926" y="1356"/>
                    <a:pt x="1356" y="871"/>
                    <a:pt x="1995" y="871"/>
                  </a:cubicBezTo>
                  <a:cubicBezTo>
                    <a:pt x="2646" y="871"/>
                    <a:pt x="3076" y="1356"/>
                    <a:pt x="3076" y="1974"/>
                  </a:cubicBezTo>
                  <a:cubicBezTo>
                    <a:pt x="3076" y="2624"/>
                    <a:pt x="2613" y="3087"/>
                    <a:pt x="1995" y="3087"/>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6" name="Freeform 5">
              <a:extLst>
                <a:ext uri="{FF2B5EF4-FFF2-40B4-BE49-F238E27FC236}">
                  <a16:creationId xmlns:a16="http://schemas.microsoft.com/office/drawing/2014/main" id="{5E0F6CC5-4D63-A342-8D0F-4125A57F74E9}"/>
                </a:ext>
              </a:extLst>
            </p:cNvPr>
            <p:cNvSpPr>
              <a:spLocks noChangeArrowheads="1"/>
            </p:cNvSpPr>
            <p:nvPr/>
          </p:nvSpPr>
          <p:spPr bwMode="auto">
            <a:xfrm>
              <a:off x="5862638" y="2627313"/>
              <a:ext cx="1420812" cy="2325687"/>
            </a:xfrm>
            <a:custGeom>
              <a:avLst/>
              <a:gdLst>
                <a:gd name="T0" fmla="*/ 3914 w 3948"/>
                <a:gd name="T1" fmla="*/ 2216 h 6462"/>
                <a:gd name="T2" fmla="*/ 3914 w 3948"/>
                <a:gd name="T3" fmla="*/ 2216 h 6462"/>
                <a:gd name="T4" fmla="*/ 3517 w 3948"/>
                <a:gd name="T5" fmla="*/ 1048 h 6462"/>
                <a:gd name="T6" fmla="*/ 3947 w 3948"/>
                <a:gd name="T7" fmla="*/ 519 h 6462"/>
                <a:gd name="T8" fmla="*/ 3263 w 3948"/>
                <a:gd name="T9" fmla="*/ 0 h 6462"/>
                <a:gd name="T10" fmla="*/ 2800 w 3948"/>
                <a:gd name="T11" fmla="*/ 519 h 6462"/>
                <a:gd name="T12" fmla="*/ 1940 w 3948"/>
                <a:gd name="T13" fmla="*/ 331 h 6462"/>
                <a:gd name="T14" fmla="*/ 0 w 3948"/>
                <a:gd name="T15" fmla="*/ 2305 h 6462"/>
                <a:gd name="T16" fmla="*/ 1510 w 3948"/>
                <a:gd name="T17" fmla="*/ 4057 h 6462"/>
                <a:gd name="T18" fmla="*/ 2954 w 3948"/>
                <a:gd name="T19" fmla="*/ 4895 h 6462"/>
                <a:gd name="T20" fmla="*/ 2061 w 3948"/>
                <a:gd name="T21" fmla="*/ 5568 h 6462"/>
                <a:gd name="T22" fmla="*/ 1080 w 3948"/>
                <a:gd name="T23" fmla="*/ 4829 h 6462"/>
                <a:gd name="T24" fmla="*/ 1080 w 3948"/>
                <a:gd name="T25" fmla="*/ 4741 h 6462"/>
                <a:gd name="T26" fmla="*/ 132 w 3948"/>
                <a:gd name="T27" fmla="*/ 4741 h 6462"/>
                <a:gd name="T28" fmla="*/ 132 w 3948"/>
                <a:gd name="T29" fmla="*/ 4829 h 6462"/>
                <a:gd name="T30" fmla="*/ 2039 w 3948"/>
                <a:gd name="T31" fmla="*/ 6461 h 6462"/>
                <a:gd name="T32" fmla="*/ 3914 w 3948"/>
                <a:gd name="T33" fmla="*/ 4951 h 6462"/>
                <a:gd name="T34" fmla="*/ 3021 w 3948"/>
                <a:gd name="T35" fmla="*/ 3694 h 6462"/>
                <a:gd name="T36" fmla="*/ 3914 w 3948"/>
                <a:gd name="T37" fmla="*/ 2216 h 6462"/>
                <a:gd name="T38" fmla="*/ 1940 w 3948"/>
                <a:gd name="T39" fmla="*/ 3286 h 6462"/>
                <a:gd name="T40" fmla="*/ 1940 w 3948"/>
                <a:gd name="T41" fmla="*/ 3286 h 6462"/>
                <a:gd name="T42" fmla="*/ 959 w 3948"/>
                <a:gd name="T43" fmla="*/ 2238 h 6462"/>
                <a:gd name="T44" fmla="*/ 1940 w 3948"/>
                <a:gd name="T45" fmla="*/ 1202 h 6462"/>
                <a:gd name="T46" fmla="*/ 2954 w 3948"/>
                <a:gd name="T47" fmla="*/ 2238 h 6462"/>
                <a:gd name="T48" fmla="*/ 1940 w 3948"/>
                <a:gd name="T49" fmla="*/ 3286 h 6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8" h="6462">
                  <a:moveTo>
                    <a:pt x="3914" y="2216"/>
                  </a:moveTo>
                  <a:lnTo>
                    <a:pt x="3914" y="2216"/>
                  </a:lnTo>
                  <a:cubicBezTo>
                    <a:pt x="3914" y="1786"/>
                    <a:pt x="3759" y="1356"/>
                    <a:pt x="3517" y="1048"/>
                  </a:cubicBezTo>
                  <a:cubicBezTo>
                    <a:pt x="3947" y="519"/>
                    <a:pt x="3947" y="519"/>
                    <a:pt x="3947" y="519"/>
                  </a:cubicBezTo>
                  <a:cubicBezTo>
                    <a:pt x="3263" y="0"/>
                    <a:pt x="3263" y="0"/>
                    <a:pt x="3263" y="0"/>
                  </a:cubicBezTo>
                  <a:cubicBezTo>
                    <a:pt x="2800" y="519"/>
                    <a:pt x="2800" y="519"/>
                    <a:pt x="2800" y="519"/>
                  </a:cubicBezTo>
                  <a:cubicBezTo>
                    <a:pt x="2558" y="397"/>
                    <a:pt x="2282" y="331"/>
                    <a:pt x="1940" y="331"/>
                  </a:cubicBezTo>
                  <a:cubicBezTo>
                    <a:pt x="805" y="331"/>
                    <a:pt x="0" y="1202"/>
                    <a:pt x="0" y="2305"/>
                  </a:cubicBezTo>
                  <a:cubicBezTo>
                    <a:pt x="0" y="3286"/>
                    <a:pt x="595" y="3903"/>
                    <a:pt x="1510" y="4057"/>
                  </a:cubicBezTo>
                  <a:cubicBezTo>
                    <a:pt x="2128" y="4179"/>
                    <a:pt x="2954" y="4157"/>
                    <a:pt x="2954" y="4895"/>
                  </a:cubicBezTo>
                  <a:cubicBezTo>
                    <a:pt x="2954" y="5292"/>
                    <a:pt x="2679" y="5568"/>
                    <a:pt x="2061" y="5568"/>
                  </a:cubicBezTo>
                  <a:cubicBezTo>
                    <a:pt x="1422" y="5568"/>
                    <a:pt x="1080" y="5193"/>
                    <a:pt x="1080" y="4829"/>
                  </a:cubicBezTo>
                  <a:cubicBezTo>
                    <a:pt x="1080" y="4796"/>
                    <a:pt x="1080" y="4763"/>
                    <a:pt x="1080" y="4741"/>
                  </a:cubicBezTo>
                  <a:cubicBezTo>
                    <a:pt x="132" y="4741"/>
                    <a:pt x="132" y="4741"/>
                    <a:pt x="132" y="4741"/>
                  </a:cubicBezTo>
                  <a:cubicBezTo>
                    <a:pt x="132" y="4763"/>
                    <a:pt x="132" y="4796"/>
                    <a:pt x="132" y="4829"/>
                  </a:cubicBezTo>
                  <a:cubicBezTo>
                    <a:pt x="132" y="5689"/>
                    <a:pt x="871" y="6461"/>
                    <a:pt x="2039" y="6461"/>
                  </a:cubicBezTo>
                  <a:cubicBezTo>
                    <a:pt x="3329" y="6461"/>
                    <a:pt x="3914" y="5689"/>
                    <a:pt x="3914" y="4951"/>
                  </a:cubicBezTo>
                  <a:cubicBezTo>
                    <a:pt x="3914" y="4245"/>
                    <a:pt x="3539" y="3870"/>
                    <a:pt x="3021" y="3694"/>
                  </a:cubicBezTo>
                  <a:cubicBezTo>
                    <a:pt x="3539" y="3440"/>
                    <a:pt x="3914" y="2889"/>
                    <a:pt x="3914" y="2216"/>
                  </a:cubicBezTo>
                  <a:close/>
                  <a:moveTo>
                    <a:pt x="1940" y="3286"/>
                  </a:moveTo>
                  <a:lnTo>
                    <a:pt x="1940" y="3286"/>
                  </a:lnTo>
                  <a:cubicBezTo>
                    <a:pt x="1356" y="3286"/>
                    <a:pt x="959" y="2889"/>
                    <a:pt x="959" y="2238"/>
                  </a:cubicBezTo>
                  <a:cubicBezTo>
                    <a:pt x="959" y="1632"/>
                    <a:pt x="1334" y="1202"/>
                    <a:pt x="1940" y="1202"/>
                  </a:cubicBezTo>
                  <a:cubicBezTo>
                    <a:pt x="2591" y="1202"/>
                    <a:pt x="2954" y="1632"/>
                    <a:pt x="2954" y="2238"/>
                  </a:cubicBezTo>
                  <a:cubicBezTo>
                    <a:pt x="2954" y="2889"/>
                    <a:pt x="2624" y="3286"/>
                    <a:pt x="1940" y="3286"/>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7" name="Freeform 6">
              <a:extLst>
                <a:ext uri="{FF2B5EF4-FFF2-40B4-BE49-F238E27FC236}">
                  <a16:creationId xmlns:a16="http://schemas.microsoft.com/office/drawing/2014/main" id="{C5D46946-65FF-1340-B2BB-BAD564D89E09}"/>
                </a:ext>
              </a:extLst>
            </p:cNvPr>
            <p:cNvSpPr>
              <a:spLocks noChangeArrowheads="1"/>
            </p:cNvSpPr>
            <p:nvPr/>
          </p:nvSpPr>
          <p:spPr bwMode="auto">
            <a:xfrm>
              <a:off x="5299075" y="2193925"/>
              <a:ext cx="333375" cy="322263"/>
            </a:xfrm>
            <a:custGeom>
              <a:avLst/>
              <a:gdLst>
                <a:gd name="T0" fmla="*/ 0 w 927"/>
                <a:gd name="T1" fmla="*/ 893 h 894"/>
                <a:gd name="T2" fmla="*/ 926 w 927"/>
                <a:gd name="T3" fmla="*/ 893 h 894"/>
                <a:gd name="T4" fmla="*/ 926 w 927"/>
                <a:gd name="T5" fmla="*/ 0 h 894"/>
                <a:gd name="T6" fmla="*/ 0 w 927"/>
                <a:gd name="T7" fmla="*/ 0 h 894"/>
                <a:gd name="T8" fmla="*/ 0 w 927"/>
                <a:gd name="T9" fmla="*/ 893 h 894"/>
              </a:gdLst>
              <a:ahLst/>
              <a:cxnLst>
                <a:cxn ang="0">
                  <a:pos x="T0" y="T1"/>
                </a:cxn>
                <a:cxn ang="0">
                  <a:pos x="T2" y="T3"/>
                </a:cxn>
                <a:cxn ang="0">
                  <a:pos x="T4" y="T5"/>
                </a:cxn>
                <a:cxn ang="0">
                  <a:pos x="T6" y="T7"/>
                </a:cxn>
                <a:cxn ang="0">
                  <a:pos x="T8" y="T9"/>
                </a:cxn>
              </a:cxnLst>
              <a:rect l="0" t="0" r="r" b="b"/>
              <a:pathLst>
                <a:path w="927" h="894">
                  <a:moveTo>
                    <a:pt x="0" y="893"/>
                  </a:moveTo>
                  <a:lnTo>
                    <a:pt x="926" y="893"/>
                  </a:lnTo>
                  <a:lnTo>
                    <a:pt x="926" y="0"/>
                  </a:lnTo>
                  <a:lnTo>
                    <a:pt x="0" y="0"/>
                  </a:lnTo>
                  <a:lnTo>
                    <a:pt x="0" y="893"/>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8" name="Freeform 7">
              <a:extLst>
                <a:ext uri="{FF2B5EF4-FFF2-40B4-BE49-F238E27FC236}">
                  <a16:creationId xmlns:a16="http://schemas.microsoft.com/office/drawing/2014/main" id="{31B0DB00-FB4F-6341-8D3A-04775C3A0135}"/>
                </a:ext>
              </a:extLst>
            </p:cNvPr>
            <p:cNvSpPr>
              <a:spLocks noChangeArrowheads="1"/>
            </p:cNvSpPr>
            <p:nvPr/>
          </p:nvSpPr>
          <p:spPr bwMode="auto">
            <a:xfrm>
              <a:off x="7458075" y="2746375"/>
              <a:ext cx="1452563" cy="1420813"/>
            </a:xfrm>
            <a:custGeom>
              <a:avLst/>
              <a:gdLst>
                <a:gd name="T0" fmla="*/ 3076 w 4036"/>
                <a:gd name="T1" fmla="*/ 1764 h 3948"/>
                <a:gd name="T2" fmla="*/ 3076 w 4036"/>
                <a:gd name="T3" fmla="*/ 1764 h 3948"/>
                <a:gd name="T4" fmla="*/ 3076 w 4036"/>
                <a:gd name="T5" fmla="*/ 1974 h 3948"/>
                <a:gd name="T6" fmla="*/ 2007 w 4036"/>
                <a:gd name="T7" fmla="*/ 3087 h 3948"/>
                <a:gd name="T8" fmla="*/ 959 w 4036"/>
                <a:gd name="T9" fmla="*/ 1974 h 3948"/>
                <a:gd name="T10" fmla="*/ 2007 w 4036"/>
                <a:gd name="T11" fmla="*/ 871 h 3948"/>
                <a:gd name="T12" fmla="*/ 2062 w 4036"/>
                <a:gd name="T13" fmla="*/ 871 h 3948"/>
                <a:gd name="T14" fmla="*/ 2062 w 4036"/>
                <a:gd name="T15" fmla="*/ 0 h 3948"/>
                <a:gd name="T16" fmla="*/ 2007 w 4036"/>
                <a:gd name="T17" fmla="*/ 0 h 3948"/>
                <a:gd name="T18" fmla="*/ 0 w 4036"/>
                <a:gd name="T19" fmla="*/ 1974 h 3948"/>
                <a:gd name="T20" fmla="*/ 2007 w 4036"/>
                <a:gd name="T21" fmla="*/ 3947 h 3948"/>
                <a:gd name="T22" fmla="*/ 4035 w 4036"/>
                <a:gd name="T23" fmla="*/ 1974 h 3948"/>
                <a:gd name="T24" fmla="*/ 4002 w 4036"/>
                <a:gd name="T25" fmla="*/ 1764 h 3948"/>
                <a:gd name="T26" fmla="*/ 3076 w 4036"/>
                <a:gd name="T27" fmla="*/ 1764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6" h="3948">
                  <a:moveTo>
                    <a:pt x="3076" y="1764"/>
                  </a:moveTo>
                  <a:lnTo>
                    <a:pt x="3076" y="1764"/>
                  </a:lnTo>
                  <a:cubicBezTo>
                    <a:pt x="3076" y="1852"/>
                    <a:pt x="3076" y="1907"/>
                    <a:pt x="3076" y="1974"/>
                  </a:cubicBezTo>
                  <a:cubicBezTo>
                    <a:pt x="3076" y="2624"/>
                    <a:pt x="2624" y="3087"/>
                    <a:pt x="2007" y="3087"/>
                  </a:cubicBezTo>
                  <a:cubicBezTo>
                    <a:pt x="1422" y="3087"/>
                    <a:pt x="959" y="2624"/>
                    <a:pt x="959" y="1974"/>
                  </a:cubicBezTo>
                  <a:cubicBezTo>
                    <a:pt x="959" y="1356"/>
                    <a:pt x="1389" y="871"/>
                    <a:pt x="2007" y="871"/>
                  </a:cubicBezTo>
                  <a:cubicBezTo>
                    <a:pt x="2040" y="871"/>
                    <a:pt x="2040" y="871"/>
                    <a:pt x="2062" y="871"/>
                  </a:cubicBezTo>
                  <a:cubicBezTo>
                    <a:pt x="2062" y="0"/>
                    <a:pt x="2062" y="0"/>
                    <a:pt x="2062" y="0"/>
                  </a:cubicBezTo>
                  <a:cubicBezTo>
                    <a:pt x="2040" y="0"/>
                    <a:pt x="2040" y="0"/>
                    <a:pt x="2007" y="0"/>
                  </a:cubicBezTo>
                  <a:cubicBezTo>
                    <a:pt x="871" y="0"/>
                    <a:pt x="0" y="893"/>
                    <a:pt x="0" y="1974"/>
                  </a:cubicBezTo>
                  <a:cubicBezTo>
                    <a:pt x="0" y="3109"/>
                    <a:pt x="871" y="3947"/>
                    <a:pt x="2007" y="3947"/>
                  </a:cubicBezTo>
                  <a:cubicBezTo>
                    <a:pt x="3175" y="3947"/>
                    <a:pt x="4035" y="3109"/>
                    <a:pt x="4035" y="1974"/>
                  </a:cubicBezTo>
                  <a:cubicBezTo>
                    <a:pt x="4035" y="1907"/>
                    <a:pt x="4035" y="1852"/>
                    <a:pt x="4002" y="1764"/>
                  </a:cubicBezTo>
                  <a:lnTo>
                    <a:pt x="3076" y="176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Tree>
    <p:extLst>
      <p:ext uri="{BB962C8B-B14F-4D97-AF65-F5344CB8AC3E}">
        <p14:creationId xmlns:p14="http://schemas.microsoft.com/office/powerpoint/2010/main" val="178908200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digo-Cover_Arrow-white">
    <p:bg>
      <p:bgRef idx="1001">
        <a:schemeClr val="bg1"/>
      </p:bgRef>
    </p:bg>
    <p:spTree>
      <p:nvGrpSpPr>
        <p:cNvPr id="1" name=""/>
        <p:cNvGrpSpPr/>
        <p:nvPr/>
      </p:nvGrpSpPr>
      <p:grpSpPr>
        <a:xfrm>
          <a:off x="0" y="0"/>
          <a:ext cx="0" cy="0"/>
          <a:chOff x="0" y="0"/>
          <a:chExt cx="0" cy="0"/>
        </a:xfrm>
      </p:grpSpPr>
      <p:sp>
        <p:nvSpPr>
          <p:cNvPr id="78" name="Freeform 2">
            <a:extLst>
              <a:ext uri="{FF2B5EF4-FFF2-40B4-BE49-F238E27FC236}">
                <a16:creationId xmlns:a16="http://schemas.microsoft.com/office/drawing/2014/main" id="{DF2C6C9B-BAA4-E345-AF33-5A559F50B896}"/>
              </a:ext>
            </a:extLst>
          </p:cNvPr>
          <p:cNvSpPr>
            <a:spLocks noChangeArrowheads="1"/>
          </p:cNvSpPr>
          <p:nvPr/>
        </p:nvSpPr>
        <p:spPr bwMode="auto">
          <a:xfrm>
            <a:off x="-2739395" y="1245791"/>
            <a:ext cx="7355301" cy="7201375"/>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4" name="Title 1">
            <a:extLst>
              <a:ext uri="{FF2B5EF4-FFF2-40B4-BE49-F238E27FC236}">
                <a16:creationId xmlns:a16="http://schemas.microsoft.com/office/drawing/2014/main" id="{FCFEA4AF-DDE1-3B4C-85B8-C1A1D78F60B0}"/>
              </a:ext>
            </a:extLst>
          </p:cNvPr>
          <p:cNvSpPr>
            <a:spLocks noGrp="1"/>
          </p:cNvSpPr>
          <p:nvPr>
            <p:ph type="title" hasCustomPrompt="1"/>
          </p:nvPr>
        </p:nvSpPr>
        <p:spPr>
          <a:xfrm>
            <a:off x="1" y="3147825"/>
            <a:ext cx="3455988" cy="1187449"/>
          </a:xfrm>
          <a:prstGeom prst="rect">
            <a:avLst/>
          </a:prstGeom>
        </p:spPr>
        <p:txBody>
          <a:bodyPr lIns="432000" tIns="180000" rIns="72000" bIns="0"/>
          <a:lstStyle>
            <a:lvl1pPr>
              <a:defRPr lang="pl-PL" dirty="0"/>
            </a:lvl1pPr>
          </a:lstStyle>
          <a:p>
            <a:pPr lvl="0"/>
            <a:r>
              <a:rPr lang="en-US" noProof="0"/>
              <a:t>Presentation title</a:t>
            </a:r>
          </a:p>
        </p:txBody>
      </p:sp>
      <p:grpSp>
        <p:nvGrpSpPr>
          <p:cNvPr id="33" name="Group 32">
            <a:extLst>
              <a:ext uri="{FF2B5EF4-FFF2-40B4-BE49-F238E27FC236}">
                <a16:creationId xmlns:a16="http://schemas.microsoft.com/office/drawing/2014/main" id="{4B2B9ED4-4DFA-EB49-939D-3F245C247D48}"/>
              </a:ext>
            </a:extLst>
          </p:cNvPr>
          <p:cNvGrpSpPr/>
          <p:nvPr userDrawn="1"/>
        </p:nvGrpSpPr>
        <p:grpSpPr>
          <a:xfrm>
            <a:off x="7019217" y="4447762"/>
            <a:ext cx="1692983" cy="279387"/>
            <a:chOff x="1828800" y="3017838"/>
            <a:chExt cx="6291263" cy="1038225"/>
          </a:xfrm>
        </p:grpSpPr>
        <p:sp>
          <p:nvSpPr>
            <p:cNvPr id="34" name="Freeform 1">
              <a:extLst>
                <a:ext uri="{FF2B5EF4-FFF2-40B4-BE49-F238E27FC236}">
                  <a16:creationId xmlns:a16="http://schemas.microsoft.com/office/drawing/2014/main" id="{668DE3C6-9435-F84B-8EE5-06AB30A25176}"/>
                </a:ext>
              </a:extLst>
            </p:cNvPr>
            <p:cNvSpPr>
              <a:spLocks noChangeArrowheads="1"/>
            </p:cNvSpPr>
            <p:nvPr userDrawn="1"/>
          </p:nvSpPr>
          <p:spPr bwMode="auto">
            <a:xfrm>
              <a:off x="1831975" y="3017838"/>
              <a:ext cx="388938" cy="438150"/>
            </a:xfrm>
            <a:custGeom>
              <a:avLst/>
              <a:gdLst>
                <a:gd name="T0" fmla="*/ 1081 w 1082"/>
                <a:gd name="T1" fmla="*/ 1042 h 1215"/>
                <a:gd name="T2" fmla="*/ 1081 w 1082"/>
                <a:gd name="T3" fmla="*/ 1042 h 1215"/>
                <a:gd name="T4" fmla="*/ 873 w 1082"/>
                <a:gd name="T5" fmla="*/ 1172 h 1215"/>
                <a:gd name="T6" fmla="*/ 631 w 1082"/>
                <a:gd name="T7" fmla="*/ 1214 h 1215"/>
                <a:gd name="T8" fmla="*/ 350 w 1082"/>
                <a:gd name="T9" fmla="*/ 1164 h 1215"/>
                <a:gd name="T10" fmla="*/ 153 w 1082"/>
                <a:gd name="T11" fmla="*/ 1028 h 1215"/>
                <a:gd name="T12" fmla="*/ 39 w 1082"/>
                <a:gd name="T13" fmla="*/ 836 h 1215"/>
                <a:gd name="T14" fmla="*/ 0 w 1082"/>
                <a:gd name="T15" fmla="*/ 614 h 1215"/>
                <a:gd name="T16" fmla="*/ 39 w 1082"/>
                <a:gd name="T17" fmla="*/ 389 h 1215"/>
                <a:gd name="T18" fmla="*/ 156 w 1082"/>
                <a:gd name="T19" fmla="*/ 192 h 1215"/>
                <a:gd name="T20" fmla="*/ 353 w 1082"/>
                <a:gd name="T21" fmla="*/ 53 h 1215"/>
                <a:gd name="T22" fmla="*/ 631 w 1082"/>
                <a:gd name="T23" fmla="*/ 0 h 1215"/>
                <a:gd name="T24" fmla="*/ 864 w 1082"/>
                <a:gd name="T25" fmla="*/ 44 h 1215"/>
                <a:gd name="T26" fmla="*/ 1070 w 1082"/>
                <a:gd name="T27" fmla="*/ 178 h 1215"/>
                <a:gd name="T28" fmla="*/ 942 w 1082"/>
                <a:gd name="T29" fmla="*/ 297 h 1215"/>
                <a:gd name="T30" fmla="*/ 795 w 1082"/>
                <a:gd name="T31" fmla="*/ 206 h 1215"/>
                <a:gd name="T32" fmla="*/ 631 w 1082"/>
                <a:gd name="T33" fmla="*/ 178 h 1215"/>
                <a:gd name="T34" fmla="*/ 434 w 1082"/>
                <a:gd name="T35" fmla="*/ 214 h 1215"/>
                <a:gd name="T36" fmla="*/ 298 w 1082"/>
                <a:gd name="T37" fmla="*/ 314 h 1215"/>
                <a:gd name="T38" fmla="*/ 217 w 1082"/>
                <a:gd name="T39" fmla="*/ 453 h 1215"/>
                <a:gd name="T40" fmla="*/ 192 w 1082"/>
                <a:gd name="T41" fmla="*/ 614 h 1215"/>
                <a:gd name="T42" fmla="*/ 217 w 1082"/>
                <a:gd name="T43" fmla="*/ 769 h 1215"/>
                <a:gd name="T44" fmla="*/ 295 w 1082"/>
                <a:gd name="T45" fmla="*/ 906 h 1215"/>
                <a:gd name="T46" fmla="*/ 434 w 1082"/>
                <a:gd name="T47" fmla="*/ 1003 h 1215"/>
                <a:gd name="T48" fmla="*/ 631 w 1082"/>
                <a:gd name="T49" fmla="*/ 1039 h 1215"/>
                <a:gd name="T50" fmla="*/ 800 w 1082"/>
                <a:gd name="T51" fmla="*/ 1008 h 1215"/>
                <a:gd name="T52" fmla="*/ 950 w 1082"/>
                <a:gd name="T53" fmla="*/ 911 h 1215"/>
                <a:gd name="T54" fmla="*/ 1081 w 1082"/>
                <a:gd name="T55" fmla="*/ 1042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2" h="1215">
                  <a:moveTo>
                    <a:pt x="1081" y="1042"/>
                  </a:moveTo>
                  <a:lnTo>
                    <a:pt x="1081" y="1042"/>
                  </a:lnTo>
                  <a:cubicBezTo>
                    <a:pt x="1020" y="1100"/>
                    <a:pt x="950" y="1144"/>
                    <a:pt x="873" y="1172"/>
                  </a:cubicBezTo>
                  <a:cubicBezTo>
                    <a:pt x="798" y="1200"/>
                    <a:pt x="717" y="1214"/>
                    <a:pt x="631" y="1214"/>
                  </a:cubicBezTo>
                  <a:cubicBezTo>
                    <a:pt x="523" y="1214"/>
                    <a:pt x="431" y="1197"/>
                    <a:pt x="350" y="1164"/>
                  </a:cubicBezTo>
                  <a:cubicBezTo>
                    <a:pt x="273" y="1130"/>
                    <a:pt x="206" y="1086"/>
                    <a:pt x="153" y="1028"/>
                  </a:cubicBezTo>
                  <a:cubicBezTo>
                    <a:pt x="103" y="972"/>
                    <a:pt x="64" y="908"/>
                    <a:pt x="39" y="836"/>
                  </a:cubicBezTo>
                  <a:cubicBezTo>
                    <a:pt x="14" y="764"/>
                    <a:pt x="0" y="692"/>
                    <a:pt x="0" y="614"/>
                  </a:cubicBezTo>
                  <a:cubicBezTo>
                    <a:pt x="0" y="536"/>
                    <a:pt x="14" y="461"/>
                    <a:pt x="39" y="389"/>
                  </a:cubicBezTo>
                  <a:cubicBezTo>
                    <a:pt x="67" y="314"/>
                    <a:pt x="103" y="250"/>
                    <a:pt x="156" y="192"/>
                  </a:cubicBezTo>
                  <a:cubicBezTo>
                    <a:pt x="209" y="133"/>
                    <a:pt x="273" y="89"/>
                    <a:pt x="353" y="53"/>
                  </a:cubicBezTo>
                  <a:cubicBezTo>
                    <a:pt x="431" y="17"/>
                    <a:pt x="525" y="0"/>
                    <a:pt x="631" y="0"/>
                  </a:cubicBezTo>
                  <a:cubicBezTo>
                    <a:pt x="711" y="0"/>
                    <a:pt x="789" y="14"/>
                    <a:pt x="864" y="44"/>
                  </a:cubicBezTo>
                  <a:cubicBezTo>
                    <a:pt x="939" y="72"/>
                    <a:pt x="1009" y="117"/>
                    <a:pt x="1070" y="178"/>
                  </a:cubicBezTo>
                  <a:cubicBezTo>
                    <a:pt x="942" y="297"/>
                    <a:pt x="942" y="297"/>
                    <a:pt x="942" y="297"/>
                  </a:cubicBezTo>
                  <a:cubicBezTo>
                    <a:pt x="898" y="256"/>
                    <a:pt x="850" y="225"/>
                    <a:pt x="795" y="206"/>
                  </a:cubicBezTo>
                  <a:cubicBezTo>
                    <a:pt x="742" y="186"/>
                    <a:pt x="686" y="178"/>
                    <a:pt x="631" y="178"/>
                  </a:cubicBezTo>
                  <a:cubicBezTo>
                    <a:pt x="556" y="178"/>
                    <a:pt x="489" y="189"/>
                    <a:pt x="434" y="214"/>
                  </a:cubicBezTo>
                  <a:cubicBezTo>
                    <a:pt x="378" y="239"/>
                    <a:pt x="334" y="272"/>
                    <a:pt x="298" y="314"/>
                  </a:cubicBezTo>
                  <a:cubicBezTo>
                    <a:pt x="261" y="356"/>
                    <a:pt x="234" y="400"/>
                    <a:pt x="217" y="453"/>
                  </a:cubicBezTo>
                  <a:cubicBezTo>
                    <a:pt x="200" y="506"/>
                    <a:pt x="192" y="558"/>
                    <a:pt x="192" y="614"/>
                  </a:cubicBezTo>
                  <a:cubicBezTo>
                    <a:pt x="192" y="667"/>
                    <a:pt x="200" y="719"/>
                    <a:pt x="217" y="769"/>
                  </a:cubicBezTo>
                  <a:cubicBezTo>
                    <a:pt x="234" y="822"/>
                    <a:pt x="261" y="867"/>
                    <a:pt x="295" y="906"/>
                  </a:cubicBezTo>
                  <a:cubicBezTo>
                    <a:pt x="331" y="947"/>
                    <a:pt x="378" y="978"/>
                    <a:pt x="434" y="1003"/>
                  </a:cubicBezTo>
                  <a:cubicBezTo>
                    <a:pt x="489" y="1028"/>
                    <a:pt x="553" y="1039"/>
                    <a:pt x="631" y="1039"/>
                  </a:cubicBezTo>
                  <a:cubicBezTo>
                    <a:pt x="686" y="1039"/>
                    <a:pt x="745" y="1028"/>
                    <a:pt x="800" y="1008"/>
                  </a:cubicBezTo>
                  <a:cubicBezTo>
                    <a:pt x="859" y="986"/>
                    <a:pt x="906" y="953"/>
                    <a:pt x="950" y="911"/>
                  </a:cubicBezTo>
                  <a:lnTo>
                    <a:pt x="1081" y="104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5" name="Freeform 2">
              <a:extLst>
                <a:ext uri="{FF2B5EF4-FFF2-40B4-BE49-F238E27FC236}">
                  <a16:creationId xmlns:a16="http://schemas.microsoft.com/office/drawing/2014/main" id="{C493F1EF-D6F4-6D4E-A1FD-6E3D9CD1D6D4}"/>
                </a:ext>
              </a:extLst>
            </p:cNvPr>
            <p:cNvSpPr>
              <a:spLocks noChangeArrowheads="1"/>
            </p:cNvSpPr>
            <p:nvPr userDrawn="1"/>
          </p:nvSpPr>
          <p:spPr bwMode="auto">
            <a:xfrm>
              <a:off x="2268538" y="3149600"/>
              <a:ext cx="293687" cy="301625"/>
            </a:xfrm>
            <a:custGeom>
              <a:avLst/>
              <a:gdLst>
                <a:gd name="T0" fmla="*/ 175 w 815"/>
                <a:gd name="T1" fmla="*/ 0 h 837"/>
                <a:gd name="T2" fmla="*/ 175 w 815"/>
                <a:gd name="T3" fmla="*/ 0 h 837"/>
                <a:gd name="T4" fmla="*/ 175 w 815"/>
                <a:gd name="T5" fmla="*/ 439 h 837"/>
                <a:gd name="T6" fmla="*/ 233 w 815"/>
                <a:gd name="T7" fmla="*/ 611 h 837"/>
                <a:gd name="T8" fmla="*/ 406 w 815"/>
                <a:gd name="T9" fmla="*/ 675 h 837"/>
                <a:gd name="T10" fmla="*/ 500 w 815"/>
                <a:gd name="T11" fmla="*/ 658 h 837"/>
                <a:gd name="T12" fmla="*/ 572 w 815"/>
                <a:gd name="T13" fmla="*/ 602 h 837"/>
                <a:gd name="T14" fmla="*/ 622 w 815"/>
                <a:gd name="T15" fmla="*/ 525 h 837"/>
                <a:gd name="T16" fmla="*/ 639 w 815"/>
                <a:gd name="T17" fmla="*/ 427 h 837"/>
                <a:gd name="T18" fmla="*/ 639 w 815"/>
                <a:gd name="T19" fmla="*/ 0 h 837"/>
                <a:gd name="T20" fmla="*/ 814 w 815"/>
                <a:gd name="T21" fmla="*/ 0 h 837"/>
                <a:gd name="T22" fmla="*/ 814 w 815"/>
                <a:gd name="T23" fmla="*/ 825 h 837"/>
                <a:gd name="T24" fmla="*/ 656 w 815"/>
                <a:gd name="T25" fmla="*/ 825 h 837"/>
                <a:gd name="T26" fmla="*/ 645 w 815"/>
                <a:gd name="T27" fmla="*/ 702 h 837"/>
                <a:gd name="T28" fmla="*/ 514 w 815"/>
                <a:gd name="T29" fmla="*/ 805 h 837"/>
                <a:gd name="T30" fmla="*/ 356 w 815"/>
                <a:gd name="T31" fmla="*/ 836 h 837"/>
                <a:gd name="T32" fmla="*/ 211 w 815"/>
                <a:gd name="T33" fmla="*/ 811 h 837"/>
                <a:gd name="T34" fmla="*/ 100 w 815"/>
                <a:gd name="T35" fmla="*/ 733 h 837"/>
                <a:gd name="T36" fmla="*/ 25 w 815"/>
                <a:gd name="T37" fmla="*/ 608 h 837"/>
                <a:gd name="T38" fmla="*/ 0 w 815"/>
                <a:gd name="T39" fmla="*/ 441 h 837"/>
                <a:gd name="T40" fmla="*/ 0 w 815"/>
                <a:gd name="T41" fmla="*/ 0 h 837"/>
                <a:gd name="T42" fmla="*/ 175 w 815"/>
                <a:gd name="T43" fmla="*/ 0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5" h="837">
                  <a:moveTo>
                    <a:pt x="175" y="0"/>
                  </a:moveTo>
                  <a:lnTo>
                    <a:pt x="175" y="0"/>
                  </a:lnTo>
                  <a:cubicBezTo>
                    <a:pt x="175" y="439"/>
                    <a:pt x="175" y="439"/>
                    <a:pt x="175" y="439"/>
                  </a:cubicBezTo>
                  <a:cubicBezTo>
                    <a:pt x="175" y="508"/>
                    <a:pt x="195" y="566"/>
                    <a:pt x="233" y="611"/>
                  </a:cubicBezTo>
                  <a:cubicBezTo>
                    <a:pt x="275" y="655"/>
                    <a:pt x="331" y="675"/>
                    <a:pt x="406" y="675"/>
                  </a:cubicBezTo>
                  <a:cubicBezTo>
                    <a:pt x="439" y="675"/>
                    <a:pt x="470" y="669"/>
                    <a:pt x="500" y="658"/>
                  </a:cubicBezTo>
                  <a:cubicBezTo>
                    <a:pt x="528" y="644"/>
                    <a:pt x="553" y="627"/>
                    <a:pt x="572" y="602"/>
                  </a:cubicBezTo>
                  <a:cubicBezTo>
                    <a:pt x="595" y="580"/>
                    <a:pt x="611" y="555"/>
                    <a:pt x="622" y="525"/>
                  </a:cubicBezTo>
                  <a:cubicBezTo>
                    <a:pt x="633" y="494"/>
                    <a:pt x="639" y="461"/>
                    <a:pt x="639" y="427"/>
                  </a:cubicBezTo>
                  <a:cubicBezTo>
                    <a:pt x="639" y="0"/>
                    <a:pt x="639" y="0"/>
                    <a:pt x="639" y="0"/>
                  </a:cubicBezTo>
                  <a:cubicBezTo>
                    <a:pt x="814" y="0"/>
                    <a:pt x="814" y="0"/>
                    <a:pt x="814" y="0"/>
                  </a:cubicBezTo>
                  <a:cubicBezTo>
                    <a:pt x="814" y="825"/>
                    <a:pt x="814" y="825"/>
                    <a:pt x="814" y="825"/>
                  </a:cubicBezTo>
                  <a:cubicBezTo>
                    <a:pt x="656" y="825"/>
                    <a:pt x="656" y="825"/>
                    <a:pt x="656" y="825"/>
                  </a:cubicBezTo>
                  <a:cubicBezTo>
                    <a:pt x="645" y="702"/>
                    <a:pt x="645" y="702"/>
                    <a:pt x="645" y="702"/>
                  </a:cubicBezTo>
                  <a:cubicBezTo>
                    <a:pt x="603" y="750"/>
                    <a:pt x="561" y="783"/>
                    <a:pt x="514" y="805"/>
                  </a:cubicBezTo>
                  <a:cubicBezTo>
                    <a:pt x="467" y="825"/>
                    <a:pt x="414" y="836"/>
                    <a:pt x="356" y="836"/>
                  </a:cubicBezTo>
                  <a:cubicBezTo>
                    <a:pt x="303" y="836"/>
                    <a:pt x="256" y="827"/>
                    <a:pt x="211" y="811"/>
                  </a:cubicBezTo>
                  <a:cubicBezTo>
                    <a:pt x="170" y="791"/>
                    <a:pt x="131" y="766"/>
                    <a:pt x="100" y="733"/>
                  </a:cubicBezTo>
                  <a:cubicBezTo>
                    <a:pt x="70" y="700"/>
                    <a:pt x="45" y="658"/>
                    <a:pt x="25" y="608"/>
                  </a:cubicBezTo>
                  <a:cubicBezTo>
                    <a:pt x="8" y="561"/>
                    <a:pt x="0" y="505"/>
                    <a:pt x="0" y="441"/>
                  </a:cubicBezTo>
                  <a:cubicBezTo>
                    <a:pt x="0" y="0"/>
                    <a:pt x="0" y="0"/>
                    <a:pt x="0" y="0"/>
                  </a:cubicBezTo>
                  <a:lnTo>
                    <a:pt x="175"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6" name="Freeform 3">
              <a:extLst>
                <a:ext uri="{FF2B5EF4-FFF2-40B4-BE49-F238E27FC236}">
                  <a16:creationId xmlns:a16="http://schemas.microsoft.com/office/drawing/2014/main" id="{C9C84F0E-3548-014E-A8C1-5C7A30B4D79E}"/>
                </a:ext>
              </a:extLst>
            </p:cNvPr>
            <p:cNvSpPr>
              <a:spLocks noChangeArrowheads="1"/>
            </p:cNvSpPr>
            <p:nvPr userDrawn="1"/>
          </p:nvSpPr>
          <p:spPr bwMode="auto">
            <a:xfrm>
              <a:off x="2624138" y="3141663"/>
              <a:ext cx="268287" cy="314325"/>
            </a:xfrm>
            <a:custGeom>
              <a:avLst/>
              <a:gdLst>
                <a:gd name="T0" fmla="*/ 606 w 746"/>
                <a:gd name="T1" fmla="*/ 225 h 871"/>
                <a:gd name="T2" fmla="*/ 606 w 746"/>
                <a:gd name="T3" fmla="*/ 225 h 871"/>
                <a:gd name="T4" fmla="*/ 500 w 746"/>
                <a:gd name="T5" fmla="*/ 164 h 871"/>
                <a:gd name="T6" fmla="*/ 383 w 746"/>
                <a:gd name="T7" fmla="*/ 148 h 871"/>
                <a:gd name="T8" fmla="*/ 253 w 746"/>
                <a:gd name="T9" fmla="*/ 173 h 871"/>
                <a:gd name="T10" fmla="*/ 203 w 746"/>
                <a:gd name="T11" fmla="*/ 245 h 871"/>
                <a:gd name="T12" fmla="*/ 256 w 746"/>
                <a:gd name="T13" fmla="*/ 320 h 871"/>
                <a:gd name="T14" fmla="*/ 386 w 746"/>
                <a:gd name="T15" fmla="*/ 350 h 871"/>
                <a:gd name="T16" fmla="*/ 508 w 746"/>
                <a:gd name="T17" fmla="*/ 367 h 871"/>
                <a:gd name="T18" fmla="*/ 625 w 746"/>
                <a:gd name="T19" fmla="*/ 406 h 871"/>
                <a:gd name="T20" fmla="*/ 711 w 746"/>
                <a:gd name="T21" fmla="*/ 481 h 871"/>
                <a:gd name="T22" fmla="*/ 745 w 746"/>
                <a:gd name="T23" fmla="*/ 611 h 871"/>
                <a:gd name="T24" fmla="*/ 717 w 746"/>
                <a:gd name="T25" fmla="*/ 717 h 871"/>
                <a:gd name="T26" fmla="*/ 645 w 746"/>
                <a:gd name="T27" fmla="*/ 798 h 871"/>
                <a:gd name="T28" fmla="*/ 533 w 746"/>
                <a:gd name="T29" fmla="*/ 853 h 871"/>
                <a:gd name="T30" fmla="*/ 383 w 746"/>
                <a:gd name="T31" fmla="*/ 870 h 871"/>
                <a:gd name="T32" fmla="*/ 183 w 746"/>
                <a:gd name="T33" fmla="*/ 842 h 871"/>
                <a:gd name="T34" fmla="*/ 0 w 746"/>
                <a:gd name="T35" fmla="*/ 720 h 871"/>
                <a:gd name="T36" fmla="*/ 92 w 746"/>
                <a:gd name="T37" fmla="*/ 598 h 871"/>
                <a:gd name="T38" fmla="*/ 233 w 746"/>
                <a:gd name="T39" fmla="*/ 689 h 871"/>
                <a:gd name="T40" fmla="*/ 389 w 746"/>
                <a:gd name="T41" fmla="*/ 720 h 871"/>
                <a:gd name="T42" fmla="*/ 450 w 746"/>
                <a:gd name="T43" fmla="*/ 714 h 871"/>
                <a:gd name="T44" fmla="*/ 508 w 746"/>
                <a:gd name="T45" fmla="*/ 698 h 871"/>
                <a:gd name="T46" fmla="*/ 550 w 746"/>
                <a:gd name="T47" fmla="*/ 662 h 871"/>
                <a:gd name="T48" fmla="*/ 567 w 746"/>
                <a:gd name="T49" fmla="*/ 614 h 871"/>
                <a:gd name="T50" fmla="*/ 517 w 746"/>
                <a:gd name="T51" fmla="*/ 531 h 871"/>
                <a:gd name="T52" fmla="*/ 372 w 746"/>
                <a:gd name="T53" fmla="*/ 498 h 871"/>
                <a:gd name="T54" fmla="*/ 253 w 746"/>
                <a:gd name="T55" fmla="*/ 478 h 871"/>
                <a:gd name="T56" fmla="*/ 142 w 746"/>
                <a:gd name="T57" fmla="*/ 436 h 871"/>
                <a:gd name="T58" fmla="*/ 61 w 746"/>
                <a:gd name="T59" fmla="*/ 364 h 871"/>
                <a:gd name="T60" fmla="*/ 31 w 746"/>
                <a:gd name="T61" fmla="*/ 250 h 871"/>
                <a:gd name="T62" fmla="*/ 61 w 746"/>
                <a:gd name="T63" fmla="*/ 134 h 871"/>
                <a:gd name="T64" fmla="*/ 145 w 746"/>
                <a:gd name="T65" fmla="*/ 56 h 871"/>
                <a:gd name="T66" fmla="*/ 259 w 746"/>
                <a:gd name="T67" fmla="*/ 14 h 871"/>
                <a:gd name="T68" fmla="*/ 381 w 746"/>
                <a:gd name="T69" fmla="*/ 0 h 871"/>
                <a:gd name="T70" fmla="*/ 556 w 746"/>
                <a:gd name="T71" fmla="*/ 25 h 871"/>
                <a:gd name="T72" fmla="*/ 703 w 746"/>
                <a:gd name="T73" fmla="*/ 112 h 871"/>
                <a:gd name="T74" fmla="*/ 606 w 746"/>
                <a:gd name="T75" fmla="*/ 225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6" h="871">
                  <a:moveTo>
                    <a:pt x="606" y="225"/>
                  </a:moveTo>
                  <a:lnTo>
                    <a:pt x="606" y="225"/>
                  </a:lnTo>
                  <a:cubicBezTo>
                    <a:pt x="572" y="195"/>
                    <a:pt x="536" y="173"/>
                    <a:pt x="500" y="164"/>
                  </a:cubicBezTo>
                  <a:cubicBezTo>
                    <a:pt x="464" y="153"/>
                    <a:pt x="425" y="148"/>
                    <a:pt x="383" y="148"/>
                  </a:cubicBezTo>
                  <a:cubicBezTo>
                    <a:pt x="328" y="148"/>
                    <a:pt x="286" y="153"/>
                    <a:pt x="253" y="173"/>
                  </a:cubicBezTo>
                  <a:cubicBezTo>
                    <a:pt x="220" y="189"/>
                    <a:pt x="203" y="214"/>
                    <a:pt x="203" y="245"/>
                  </a:cubicBezTo>
                  <a:cubicBezTo>
                    <a:pt x="206" y="281"/>
                    <a:pt x="222" y="306"/>
                    <a:pt x="256" y="320"/>
                  </a:cubicBezTo>
                  <a:cubicBezTo>
                    <a:pt x="289" y="336"/>
                    <a:pt x="331" y="345"/>
                    <a:pt x="386" y="350"/>
                  </a:cubicBezTo>
                  <a:cubicBezTo>
                    <a:pt x="425" y="356"/>
                    <a:pt x="467" y="359"/>
                    <a:pt x="508" y="367"/>
                  </a:cubicBezTo>
                  <a:cubicBezTo>
                    <a:pt x="550" y="375"/>
                    <a:pt x="589" y="387"/>
                    <a:pt x="625" y="406"/>
                  </a:cubicBezTo>
                  <a:cubicBezTo>
                    <a:pt x="658" y="425"/>
                    <a:pt x="689" y="450"/>
                    <a:pt x="711" y="481"/>
                  </a:cubicBezTo>
                  <a:cubicBezTo>
                    <a:pt x="733" y="514"/>
                    <a:pt x="745" y="556"/>
                    <a:pt x="745" y="611"/>
                  </a:cubicBezTo>
                  <a:cubicBezTo>
                    <a:pt x="745" y="650"/>
                    <a:pt x="736" y="684"/>
                    <a:pt x="717" y="717"/>
                  </a:cubicBezTo>
                  <a:cubicBezTo>
                    <a:pt x="700" y="748"/>
                    <a:pt x="675" y="775"/>
                    <a:pt x="645" y="798"/>
                  </a:cubicBezTo>
                  <a:cubicBezTo>
                    <a:pt x="614" y="823"/>
                    <a:pt x="575" y="839"/>
                    <a:pt x="533" y="853"/>
                  </a:cubicBezTo>
                  <a:cubicBezTo>
                    <a:pt x="489" y="864"/>
                    <a:pt x="439" y="870"/>
                    <a:pt x="383" y="870"/>
                  </a:cubicBezTo>
                  <a:cubicBezTo>
                    <a:pt x="317" y="870"/>
                    <a:pt x="250" y="862"/>
                    <a:pt x="183" y="842"/>
                  </a:cubicBezTo>
                  <a:cubicBezTo>
                    <a:pt x="117" y="820"/>
                    <a:pt x="56" y="781"/>
                    <a:pt x="0" y="720"/>
                  </a:cubicBezTo>
                  <a:cubicBezTo>
                    <a:pt x="92" y="598"/>
                    <a:pt x="92" y="598"/>
                    <a:pt x="92" y="598"/>
                  </a:cubicBezTo>
                  <a:cubicBezTo>
                    <a:pt x="133" y="639"/>
                    <a:pt x="181" y="673"/>
                    <a:pt x="233" y="689"/>
                  </a:cubicBezTo>
                  <a:cubicBezTo>
                    <a:pt x="286" y="709"/>
                    <a:pt x="339" y="720"/>
                    <a:pt x="389" y="720"/>
                  </a:cubicBezTo>
                  <a:cubicBezTo>
                    <a:pt x="408" y="720"/>
                    <a:pt x="431" y="720"/>
                    <a:pt x="450" y="714"/>
                  </a:cubicBezTo>
                  <a:cubicBezTo>
                    <a:pt x="472" y="711"/>
                    <a:pt x="492" y="706"/>
                    <a:pt x="508" y="698"/>
                  </a:cubicBezTo>
                  <a:cubicBezTo>
                    <a:pt x="525" y="686"/>
                    <a:pt x="539" y="675"/>
                    <a:pt x="550" y="662"/>
                  </a:cubicBezTo>
                  <a:cubicBezTo>
                    <a:pt x="561" y="648"/>
                    <a:pt x="567" y="631"/>
                    <a:pt x="567" y="614"/>
                  </a:cubicBezTo>
                  <a:cubicBezTo>
                    <a:pt x="570" y="575"/>
                    <a:pt x="553" y="548"/>
                    <a:pt x="517" y="531"/>
                  </a:cubicBezTo>
                  <a:cubicBezTo>
                    <a:pt x="483" y="514"/>
                    <a:pt x="436" y="503"/>
                    <a:pt x="372" y="498"/>
                  </a:cubicBezTo>
                  <a:cubicBezTo>
                    <a:pt x="333" y="495"/>
                    <a:pt x="292" y="489"/>
                    <a:pt x="253" y="478"/>
                  </a:cubicBezTo>
                  <a:cubicBezTo>
                    <a:pt x="211" y="470"/>
                    <a:pt x="175" y="456"/>
                    <a:pt x="142" y="436"/>
                  </a:cubicBezTo>
                  <a:cubicBezTo>
                    <a:pt x="108" y="420"/>
                    <a:pt x="84" y="395"/>
                    <a:pt x="61" y="364"/>
                  </a:cubicBezTo>
                  <a:cubicBezTo>
                    <a:pt x="39" y="334"/>
                    <a:pt x="31" y="298"/>
                    <a:pt x="31" y="250"/>
                  </a:cubicBezTo>
                  <a:cubicBezTo>
                    <a:pt x="31" y="206"/>
                    <a:pt x="42" y="167"/>
                    <a:pt x="61" y="134"/>
                  </a:cubicBezTo>
                  <a:cubicBezTo>
                    <a:pt x="84" y="103"/>
                    <a:pt x="111" y="78"/>
                    <a:pt x="145" y="56"/>
                  </a:cubicBezTo>
                  <a:cubicBezTo>
                    <a:pt x="181" y="37"/>
                    <a:pt x="217" y="23"/>
                    <a:pt x="259" y="14"/>
                  </a:cubicBezTo>
                  <a:cubicBezTo>
                    <a:pt x="300" y="6"/>
                    <a:pt x="339" y="0"/>
                    <a:pt x="381" y="0"/>
                  </a:cubicBezTo>
                  <a:cubicBezTo>
                    <a:pt x="445" y="0"/>
                    <a:pt x="503" y="9"/>
                    <a:pt x="556" y="25"/>
                  </a:cubicBezTo>
                  <a:cubicBezTo>
                    <a:pt x="606" y="42"/>
                    <a:pt x="656" y="70"/>
                    <a:pt x="703" y="112"/>
                  </a:cubicBezTo>
                  <a:lnTo>
                    <a:pt x="606" y="2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7" name="Freeform 4">
              <a:extLst>
                <a:ext uri="{FF2B5EF4-FFF2-40B4-BE49-F238E27FC236}">
                  <a16:creationId xmlns:a16="http://schemas.microsoft.com/office/drawing/2014/main" id="{BFDBDE14-7DDA-BC4B-8B26-0D40258509DE}"/>
                </a:ext>
              </a:extLst>
            </p:cNvPr>
            <p:cNvSpPr>
              <a:spLocks noChangeArrowheads="1"/>
            </p:cNvSpPr>
            <p:nvPr userDrawn="1"/>
          </p:nvSpPr>
          <p:spPr bwMode="auto">
            <a:xfrm>
              <a:off x="2928938" y="3063875"/>
              <a:ext cx="223837" cy="387350"/>
            </a:xfrm>
            <a:custGeom>
              <a:avLst/>
              <a:gdLst>
                <a:gd name="T0" fmla="*/ 342 w 621"/>
                <a:gd name="T1" fmla="*/ 0 h 1076"/>
                <a:gd name="T2" fmla="*/ 342 w 621"/>
                <a:gd name="T3" fmla="*/ 0 h 1076"/>
                <a:gd name="T4" fmla="*/ 342 w 621"/>
                <a:gd name="T5" fmla="*/ 239 h 1076"/>
                <a:gd name="T6" fmla="*/ 586 w 621"/>
                <a:gd name="T7" fmla="*/ 239 h 1076"/>
                <a:gd name="T8" fmla="*/ 586 w 621"/>
                <a:gd name="T9" fmla="*/ 391 h 1076"/>
                <a:gd name="T10" fmla="*/ 339 w 621"/>
                <a:gd name="T11" fmla="*/ 391 h 1076"/>
                <a:gd name="T12" fmla="*/ 339 w 621"/>
                <a:gd name="T13" fmla="*/ 780 h 1076"/>
                <a:gd name="T14" fmla="*/ 369 w 621"/>
                <a:gd name="T15" fmla="*/ 880 h 1076"/>
                <a:gd name="T16" fmla="*/ 461 w 621"/>
                <a:gd name="T17" fmla="*/ 916 h 1076"/>
                <a:gd name="T18" fmla="*/ 514 w 621"/>
                <a:gd name="T19" fmla="*/ 908 h 1076"/>
                <a:gd name="T20" fmla="*/ 567 w 621"/>
                <a:gd name="T21" fmla="*/ 889 h 1076"/>
                <a:gd name="T22" fmla="*/ 620 w 621"/>
                <a:gd name="T23" fmla="*/ 1036 h 1076"/>
                <a:gd name="T24" fmla="*/ 533 w 621"/>
                <a:gd name="T25" fmla="*/ 1064 h 1076"/>
                <a:gd name="T26" fmla="*/ 450 w 621"/>
                <a:gd name="T27" fmla="*/ 1072 h 1076"/>
                <a:gd name="T28" fmla="*/ 236 w 621"/>
                <a:gd name="T29" fmla="*/ 1002 h 1076"/>
                <a:gd name="T30" fmla="*/ 164 w 621"/>
                <a:gd name="T31" fmla="*/ 783 h 1076"/>
                <a:gd name="T32" fmla="*/ 164 w 621"/>
                <a:gd name="T33" fmla="*/ 391 h 1076"/>
                <a:gd name="T34" fmla="*/ 0 w 621"/>
                <a:gd name="T35" fmla="*/ 391 h 1076"/>
                <a:gd name="T36" fmla="*/ 0 w 621"/>
                <a:gd name="T37" fmla="*/ 239 h 1076"/>
                <a:gd name="T38" fmla="*/ 164 w 621"/>
                <a:gd name="T39" fmla="*/ 239 h 1076"/>
                <a:gd name="T40" fmla="*/ 164 w 621"/>
                <a:gd name="T41" fmla="*/ 19 h 1076"/>
                <a:gd name="T42" fmla="*/ 342 w 621"/>
                <a:gd name="T43" fmla="*/ 0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1" h="1076">
                  <a:moveTo>
                    <a:pt x="342" y="0"/>
                  </a:moveTo>
                  <a:lnTo>
                    <a:pt x="342" y="0"/>
                  </a:lnTo>
                  <a:cubicBezTo>
                    <a:pt x="342" y="239"/>
                    <a:pt x="342" y="239"/>
                    <a:pt x="342" y="239"/>
                  </a:cubicBezTo>
                  <a:cubicBezTo>
                    <a:pt x="586" y="239"/>
                    <a:pt x="586" y="239"/>
                    <a:pt x="586" y="239"/>
                  </a:cubicBezTo>
                  <a:cubicBezTo>
                    <a:pt x="586" y="391"/>
                    <a:pt x="586" y="391"/>
                    <a:pt x="586" y="391"/>
                  </a:cubicBezTo>
                  <a:cubicBezTo>
                    <a:pt x="339" y="391"/>
                    <a:pt x="339" y="391"/>
                    <a:pt x="339" y="391"/>
                  </a:cubicBezTo>
                  <a:cubicBezTo>
                    <a:pt x="339" y="780"/>
                    <a:pt x="339" y="780"/>
                    <a:pt x="339" y="780"/>
                  </a:cubicBezTo>
                  <a:cubicBezTo>
                    <a:pt x="339" y="825"/>
                    <a:pt x="350" y="858"/>
                    <a:pt x="369" y="880"/>
                  </a:cubicBezTo>
                  <a:cubicBezTo>
                    <a:pt x="389" y="905"/>
                    <a:pt x="420" y="916"/>
                    <a:pt x="461" y="916"/>
                  </a:cubicBezTo>
                  <a:cubicBezTo>
                    <a:pt x="478" y="916"/>
                    <a:pt x="494" y="914"/>
                    <a:pt x="514" y="908"/>
                  </a:cubicBezTo>
                  <a:cubicBezTo>
                    <a:pt x="533" y="905"/>
                    <a:pt x="550" y="897"/>
                    <a:pt x="567" y="889"/>
                  </a:cubicBezTo>
                  <a:cubicBezTo>
                    <a:pt x="620" y="1036"/>
                    <a:pt x="620" y="1036"/>
                    <a:pt x="620" y="1036"/>
                  </a:cubicBezTo>
                  <a:cubicBezTo>
                    <a:pt x="589" y="1047"/>
                    <a:pt x="561" y="1058"/>
                    <a:pt x="533" y="1064"/>
                  </a:cubicBezTo>
                  <a:cubicBezTo>
                    <a:pt x="508" y="1069"/>
                    <a:pt x="481" y="1072"/>
                    <a:pt x="450" y="1072"/>
                  </a:cubicBezTo>
                  <a:cubicBezTo>
                    <a:pt x="358" y="1075"/>
                    <a:pt x="286" y="1050"/>
                    <a:pt x="236" y="1002"/>
                  </a:cubicBezTo>
                  <a:cubicBezTo>
                    <a:pt x="189" y="952"/>
                    <a:pt x="164" y="880"/>
                    <a:pt x="164" y="783"/>
                  </a:cubicBezTo>
                  <a:cubicBezTo>
                    <a:pt x="164" y="391"/>
                    <a:pt x="164" y="391"/>
                    <a:pt x="164" y="391"/>
                  </a:cubicBezTo>
                  <a:cubicBezTo>
                    <a:pt x="0" y="391"/>
                    <a:pt x="0" y="391"/>
                    <a:pt x="0" y="391"/>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8" name="Freeform 5">
              <a:extLst>
                <a:ext uri="{FF2B5EF4-FFF2-40B4-BE49-F238E27FC236}">
                  <a16:creationId xmlns:a16="http://schemas.microsoft.com/office/drawing/2014/main" id="{4F4686AA-F632-E543-BF95-BA90F74EB178}"/>
                </a:ext>
              </a:extLst>
            </p:cNvPr>
            <p:cNvSpPr>
              <a:spLocks noChangeArrowheads="1"/>
            </p:cNvSpPr>
            <p:nvPr userDrawn="1"/>
          </p:nvSpPr>
          <p:spPr bwMode="auto">
            <a:xfrm>
              <a:off x="3186113" y="3143250"/>
              <a:ext cx="314325" cy="307975"/>
            </a:xfrm>
            <a:custGeom>
              <a:avLst/>
              <a:gdLst>
                <a:gd name="T0" fmla="*/ 433 w 873"/>
                <a:gd name="T1" fmla="*/ 0 h 857"/>
                <a:gd name="T2" fmla="*/ 433 w 873"/>
                <a:gd name="T3" fmla="*/ 0 h 857"/>
                <a:gd name="T4" fmla="*/ 611 w 873"/>
                <a:gd name="T5" fmla="*/ 33 h 857"/>
                <a:gd name="T6" fmla="*/ 750 w 873"/>
                <a:gd name="T7" fmla="*/ 125 h 857"/>
                <a:gd name="T8" fmla="*/ 839 w 873"/>
                <a:gd name="T9" fmla="*/ 261 h 857"/>
                <a:gd name="T10" fmla="*/ 872 w 873"/>
                <a:gd name="T11" fmla="*/ 428 h 857"/>
                <a:gd name="T12" fmla="*/ 839 w 873"/>
                <a:gd name="T13" fmla="*/ 597 h 857"/>
                <a:gd name="T14" fmla="*/ 753 w 873"/>
                <a:gd name="T15" fmla="*/ 733 h 857"/>
                <a:gd name="T16" fmla="*/ 614 w 873"/>
                <a:gd name="T17" fmla="*/ 825 h 857"/>
                <a:gd name="T18" fmla="*/ 433 w 873"/>
                <a:gd name="T19" fmla="*/ 856 h 857"/>
                <a:gd name="T20" fmla="*/ 256 w 873"/>
                <a:gd name="T21" fmla="*/ 825 h 857"/>
                <a:gd name="T22" fmla="*/ 117 w 873"/>
                <a:gd name="T23" fmla="*/ 733 h 857"/>
                <a:gd name="T24" fmla="*/ 31 w 873"/>
                <a:gd name="T25" fmla="*/ 597 h 857"/>
                <a:gd name="T26" fmla="*/ 0 w 873"/>
                <a:gd name="T27" fmla="*/ 428 h 857"/>
                <a:gd name="T28" fmla="*/ 31 w 873"/>
                <a:gd name="T29" fmla="*/ 261 h 857"/>
                <a:gd name="T30" fmla="*/ 120 w 873"/>
                <a:gd name="T31" fmla="*/ 125 h 857"/>
                <a:gd name="T32" fmla="*/ 256 w 873"/>
                <a:gd name="T33" fmla="*/ 33 h 857"/>
                <a:gd name="T34" fmla="*/ 433 w 873"/>
                <a:gd name="T35" fmla="*/ 0 h 857"/>
                <a:gd name="T36" fmla="*/ 433 w 873"/>
                <a:gd name="T37" fmla="*/ 161 h 857"/>
                <a:gd name="T38" fmla="*/ 433 w 873"/>
                <a:gd name="T39" fmla="*/ 161 h 857"/>
                <a:gd name="T40" fmla="*/ 325 w 873"/>
                <a:gd name="T41" fmla="*/ 181 h 857"/>
                <a:gd name="T42" fmla="*/ 245 w 873"/>
                <a:gd name="T43" fmla="*/ 242 h 857"/>
                <a:gd name="T44" fmla="*/ 195 w 873"/>
                <a:gd name="T45" fmla="*/ 328 h 857"/>
                <a:gd name="T46" fmla="*/ 175 w 873"/>
                <a:gd name="T47" fmla="*/ 430 h 857"/>
                <a:gd name="T48" fmla="*/ 195 w 873"/>
                <a:gd name="T49" fmla="*/ 533 h 857"/>
                <a:gd name="T50" fmla="*/ 245 w 873"/>
                <a:gd name="T51" fmla="*/ 617 h 857"/>
                <a:gd name="T52" fmla="*/ 325 w 873"/>
                <a:gd name="T53" fmla="*/ 675 h 857"/>
                <a:gd name="T54" fmla="*/ 433 w 873"/>
                <a:gd name="T55" fmla="*/ 697 h 857"/>
                <a:gd name="T56" fmla="*/ 542 w 873"/>
                <a:gd name="T57" fmla="*/ 675 h 857"/>
                <a:gd name="T58" fmla="*/ 625 w 873"/>
                <a:gd name="T59" fmla="*/ 617 h 857"/>
                <a:gd name="T60" fmla="*/ 675 w 873"/>
                <a:gd name="T61" fmla="*/ 533 h 857"/>
                <a:gd name="T62" fmla="*/ 694 w 873"/>
                <a:gd name="T63" fmla="*/ 430 h 857"/>
                <a:gd name="T64" fmla="*/ 675 w 873"/>
                <a:gd name="T65" fmla="*/ 328 h 857"/>
                <a:gd name="T66" fmla="*/ 622 w 873"/>
                <a:gd name="T67" fmla="*/ 242 h 857"/>
                <a:gd name="T68" fmla="*/ 539 w 873"/>
                <a:gd name="T69" fmla="*/ 181 h 857"/>
                <a:gd name="T70" fmla="*/ 433 w 873"/>
                <a:gd name="T71" fmla="*/ 161 h 857"/>
                <a:gd name="T72" fmla="*/ 433 w 873"/>
                <a:gd name="T73"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57">
                  <a:moveTo>
                    <a:pt x="433" y="0"/>
                  </a:moveTo>
                  <a:lnTo>
                    <a:pt x="433" y="0"/>
                  </a:lnTo>
                  <a:cubicBezTo>
                    <a:pt x="500" y="0"/>
                    <a:pt x="558" y="11"/>
                    <a:pt x="611" y="33"/>
                  </a:cubicBezTo>
                  <a:cubicBezTo>
                    <a:pt x="664" y="56"/>
                    <a:pt x="711" y="86"/>
                    <a:pt x="750" y="125"/>
                  </a:cubicBezTo>
                  <a:cubicBezTo>
                    <a:pt x="789" y="161"/>
                    <a:pt x="820" y="208"/>
                    <a:pt x="839" y="261"/>
                  </a:cubicBezTo>
                  <a:cubicBezTo>
                    <a:pt x="861" y="314"/>
                    <a:pt x="872" y="369"/>
                    <a:pt x="872" y="428"/>
                  </a:cubicBezTo>
                  <a:cubicBezTo>
                    <a:pt x="872" y="489"/>
                    <a:pt x="861" y="547"/>
                    <a:pt x="839" y="597"/>
                  </a:cubicBezTo>
                  <a:cubicBezTo>
                    <a:pt x="820" y="650"/>
                    <a:pt x="792" y="694"/>
                    <a:pt x="753" y="733"/>
                  </a:cubicBezTo>
                  <a:cubicBezTo>
                    <a:pt x="714" y="772"/>
                    <a:pt x="667" y="803"/>
                    <a:pt x="614" y="825"/>
                  </a:cubicBezTo>
                  <a:cubicBezTo>
                    <a:pt x="561" y="847"/>
                    <a:pt x="500" y="856"/>
                    <a:pt x="433" y="856"/>
                  </a:cubicBezTo>
                  <a:cubicBezTo>
                    <a:pt x="367" y="856"/>
                    <a:pt x="308" y="847"/>
                    <a:pt x="256" y="825"/>
                  </a:cubicBezTo>
                  <a:cubicBezTo>
                    <a:pt x="200" y="803"/>
                    <a:pt x="156" y="772"/>
                    <a:pt x="117" y="733"/>
                  </a:cubicBezTo>
                  <a:cubicBezTo>
                    <a:pt x="81" y="694"/>
                    <a:pt x="50" y="650"/>
                    <a:pt x="31" y="597"/>
                  </a:cubicBezTo>
                  <a:cubicBezTo>
                    <a:pt x="11" y="547"/>
                    <a:pt x="0" y="489"/>
                    <a:pt x="0" y="428"/>
                  </a:cubicBezTo>
                  <a:cubicBezTo>
                    <a:pt x="0" y="369"/>
                    <a:pt x="11" y="314"/>
                    <a:pt x="31" y="261"/>
                  </a:cubicBezTo>
                  <a:cubicBezTo>
                    <a:pt x="50" y="208"/>
                    <a:pt x="81" y="161"/>
                    <a:pt x="120" y="125"/>
                  </a:cubicBezTo>
                  <a:cubicBezTo>
                    <a:pt x="156" y="86"/>
                    <a:pt x="203" y="56"/>
                    <a:pt x="256" y="33"/>
                  </a:cubicBezTo>
                  <a:cubicBezTo>
                    <a:pt x="308" y="11"/>
                    <a:pt x="370" y="0"/>
                    <a:pt x="433" y="0"/>
                  </a:cubicBezTo>
                  <a:lnTo>
                    <a:pt x="433" y="161"/>
                  </a:lnTo>
                  <a:lnTo>
                    <a:pt x="433" y="161"/>
                  </a:lnTo>
                  <a:cubicBezTo>
                    <a:pt x="394" y="161"/>
                    <a:pt x="358" y="167"/>
                    <a:pt x="325" y="181"/>
                  </a:cubicBezTo>
                  <a:cubicBezTo>
                    <a:pt x="295" y="197"/>
                    <a:pt x="267" y="217"/>
                    <a:pt x="245" y="242"/>
                  </a:cubicBezTo>
                  <a:cubicBezTo>
                    <a:pt x="222" y="267"/>
                    <a:pt x="206" y="294"/>
                    <a:pt x="195" y="328"/>
                  </a:cubicBezTo>
                  <a:cubicBezTo>
                    <a:pt x="181" y="358"/>
                    <a:pt x="175" y="394"/>
                    <a:pt x="175" y="430"/>
                  </a:cubicBezTo>
                  <a:cubicBezTo>
                    <a:pt x="175" y="467"/>
                    <a:pt x="181" y="500"/>
                    <a:pt x="195" y="533"/>
                  </a:cubicBezTo>
                  <a:cubicBezTo>
                    <a:pt x="206" y="567"/>
                    <a:pt x="222" y="594"/>
                    <a:pt x="245" y="617"/>
                  </a:cubicBezTo>
                  <a:cubicBezTo>
                    <a:pt x="267" y="642"/>
                    <a:pt x="295" y="661"/>
                    <a:pt x="325" y="675"/>
                  </a:cubicBezTo>
                  <a:cubicBezTo>
                    <a:pt x="358" y="689"/>
                    <a:pt x="394" y="697"/>
                    <a:pt x="433" y="697"/>
                  </a:cubicBezTo>
                  <a:cubicBezTo>
                    <a:pt x="475" y="697"/>
                    <a:pt x="511" y="689"/>
                    <a:pt x="542" y="675"/>
                  </a:cubicBezTo>
                  <a:cubicBezTo>
                    <a:pt x="575" y="661"/>
                    <a:pt x="603" y="642"/>
                    <a:pt x="625" y="617"/>
                  </a:cubicBezTo>
                  <a:cubicBezTo>
                    <a:pt x="647" y="594"/>
                    <a:pt x="664" y="567"/>
                    <a:pt x="675" y="533"/>
                  </a:cubicBezTo>
                  <a:cubicBezTo>
                    <a:pt x="686" y="500"/>
                    <a:pt x="694" y="467"/>
                    <a:pt x="694" y="430"/>
                  </a:cubicBezTo>
                  <a:cubicBezTo>
                    <a:pt x="694" y="394"/>
                    <a:pt x="686" y="358"/>
                    <a:pt x="675" y="328"/>
                  </a:cubicBezTo>
                  <a:cubicBezTo>
                    <a:pt x="661" y="294"/>
                    <a:pt x="645" y="267"/>
                    <a:pt x="622" y="242"/>
                  </a:cubicBezTo>
                  <a:cubicBezTo>
                    <a:pt x="600" y="217"/>
                    <a:pt x="572" y="197"/>
                    <a:pt x="539" y="181"/>
                  </a:cubicBezTo>
                  <a:cubicBezTo>
                    <a:pt x="508" y="167"/>
                    <a:pt x="472" y="161"/>
                    <a:pt x="433" y="161"/>
                  </a:cubicBezTo>
                  <a:lnTo>
                    <a:pt x="433"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9" name="Freeform 6">
              <a:extLst>
                <a:ext uri="{FF2B5EF4-FFF2-40B4-BE49-F238E27FC236}">
                  <a16:creationId xmlns:a16="http://schemas.microsoft.com/office/drawing/2014/main" id="{1AFF59FE-12B4-6D4D-B799-C1D0C79BBC9D}"/>
                </a:ext>
              </a:extLst>
            </p:cNvPr>
            <p:cNvSpPr>
              <a:spLocks noChangeArrowheads="1"/>
            </p:cNvSpPr>
            <p:nvPr userDrawn="1"/>
          </p:nvSpPr>
          <p:spPr bwMode="auto">
            <a:xfrm>
              <a:off x="3567113" y="3143250"/>
              <a:ext cx="476250" cy="301625"/>
            </a:xfrm>
            <a:custGeom>
              <a:avLst/>
              <a:gdLst>
                <a:gd name="T0" fmla="*/ 575 w 1321"/>
                <a:gd name="T1" fmla="*/ 839 h 840"/>
                <a:gd name="T2" fmla="*/ 575 w 1321"/>
                <a:gd name="T3" fmla="*/ 839 h 840"/>
                <a:gd name="T4" fmla="*/ 575 w 1321"/>
                <a:gd name="T5" fmla="*/ 386 h 840"/>
                <a:gd name="T6" fmla="*/ 561 w 1321"/>
                <a:gd name="T7" fmla="*/ 300 h 840"/>
                <a:gd name="T8" fmla="*/ 523 w 1321"/>
                <a:gd name="T9" fmla="*/ 228 h 840"/>
                <a:gd name="T10" fmla="*/ 461 w 1321"/>
                <a:gd name="T11" fmla="*/ 181 h 840"/>
                <a:gd name="T12" fmla="*/ 378 w 1321"/>
                <a:gd name="T13" fmla="*/ 161 h 840"/>
                <a:gd name="T14" fmla="*/ 295 w 1321"/>
                <a:gd name="T15" fmla="*/ 181 h 840"/>
                <a:gd name="T16" fmla="*/ 231 w 1321"/>
                <a:gd name="T17" fmla="*/ 228 h 840"/>
                <a:gd name="T18" fmla="*/ 189 w 1321"/>
                <a:gd name="T19" fmla="*/ 300 h 840"/>
                <a:gd name="T20" fmla="*/ 175 w 1321"/>
                <a:gd name="T21" fmla="*/ 386 h 840"/>
                <a:gd name="T22" fmla="*/ 175 w 1321"/>
                <a:gd name="T23" fmla="*/ 839 h 840"/>
                <a:gd name="T24" fmla="*/ 0 w 1321"/>
                <a:gd name="T25" fmla="*/ 839 h 840"/>
                <a:gd name="T26" fmla="*/ 0 w 1321"/>
                <a:gd name="T27" fmla="*/ 14 h 840"/>
                <a:gd name="T28" fmla="*/ 164 w 1321"/>
                <a:gd name="T29" fmla="*/ 14 h 840"/>
                <a:gd name="T30" fmla="*/ 175 w 1321"/>
                <a:gd name="T31" fmla="*/ 125 h 840"/>
                <a:gd name="T32" fmla="*/ 278 w 1321"/>
                <a:gd name="T33" fmla="*/ 28 h 840"/>
                <a:gd name="T34" fmla="*/ 411 w 1321"/>
                <a:gd name="T35" fmla="*/ 0 h 840"/>
                <a:gd name="T36" fmla="*/ 492 w 1321"/>
                <a:gd name="T37" fmla="*/ 8 h 840"/>
                <a:gd name="T38" fmla="*/ 564 w 1321"/>
                <a:gd name="T39" fmla="*/ 39 h 840"/>
                <a:gd name="T40" fmla="*/ 628 w 1321"/>
                <a:gd name="T41" fmla="*/ 89 h 840"/>
                <a:gd name="T42" fmla="*/ 675 w 1321"/>
                <a:gd name="T43" fmla="*/ 167 h 840"/>
                <a:gd name="T44" fmla="*/ 800 w 1321"/>
                <a:gd name="T45" fmla="*/ 39 h 840"/>
                <a:gd name="T46" fmla="*/ 964 w 1321"/>
                <a:gd name="T47" fmla="*/ 3 h 840"/>
                <a:gd name="T48" fmla="*/ 1231 w 1321"/>
                <a:gd name="T49" fmla="*/ 103 h 840"/>
                <a:gd name="T50" fmla="*/ 1320 w 1321"/>
                <a:gd name="T51" fmla="*/ 383 h 840"/>
                <a:gd name="T52" fmla="*/ 1320 w 1321"/>
                <a:gd name="T53" fmla="*/ 839 h 840"/>
                <a:gd name="T54" fmla="*/ 1142 w 1321"/>
                <a:gd name="T55" fmla="*/ 839 h 840"/>
                <a:gd name="T56" fmla="*/ 1142 w 1321"/>
                <a:gd name="T57" fmla="*/ 383 h 840"/>
                <a:gd name="T58" fmla="*/ 1131 w 1321"/>
                <a:gd name="T59" fmla="*/ 297 h 840"/>
                <a:gd name="T60" fmla="*/ 1095 w 1321"/>
                <a:gd name="T61" fmla="*/ 228 h 840"/>
                <a:gd name="T62" fmla="*/ 1039 w 1321"/>
                <a:gd name="T63" fmla="*/ 181 h 840"/>
                <a:gd name="T64" fmla="*/ 956 w 1321"/>
                <a:gd name="T65" fmla="*/ 164 h 840"/>
                <a:gd name="T66" fmla="*/ 873 w 1321"/>
                <a:gd name="T67" fmla="*/ 181 h 840"/>
                <a:gd name="T68" fmla="*/ 809 w 1321"/>
                <a:gd name="T69" fmla="*/ 228 h 840"/>
                <a:gd name="T70" fmla="*/ 767 w 1321"/>
                <a:gd name="T71" fmla="*/ 300 h 840"/>
                <a:gd name="T72" fmla="*/ 753 w 1321"/>
                <a:gd name="T73" fmla="*/ 386 h 840"/>
                <a:gd name="T74" fmla="*/ 753 w 1321"/>
                <a:gd name="T75" fmla="*/ 839 h 840"/>
                <a:gd name="T76" fmla="*/ 575 w 1321"/>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1" h="840">
                  <a:moveTo>
                    <a:pt x="575" y="839"/>
                  </a:moveTo>
                  <a:lnTo>
                    <a:pt x="575" y="839"/>
                  </a:lnTo>
                  <a:cubicBezTo>
                    <a:pt x="575" y="386"/>
                    <a:pt x="575" y="386"/>
                    <a:pt x="575" y="386"/>
                  </a:cubicBezTo>
                  <a:cubicBezTo>
                    <a:pt x="575" y="356"/>
                    <a:pt x="570" y="328"/>
                    <a:pt x="561" y="300"/>
                  </a:cubicBezTo>
                  <a:cubicBezTo>
                    <a:pt x="553" y="272"/>
                    <a:pt x="539" y="247"/>
                    <a:pt x="523" y="228"/>
                  </a:cubicBezTo>
                  <a:cubicBezTo>
                    <a:pt x="506" y="208"/>
                    <a:pt x="486" y="192"/>
                    <a:pt x="461" y="181"/>
                  </a:cubicBezTo>
                  <a:cubicBezTo>
                    <a:pt x="436" y="167"/>
                    <a:pt x="409" y="161"/>
                    <a:pt x="378" y="161"/>
                  </a:cubicBezTo>
                  <a:cubicBezTo>
                    <a:pt x="348" y="161"/>
                    <a:pt x="320" y="167"/>
                    <a:pt x="295" y="181"/>
                  </a:cubicBezTo>
                  <a:cubicBezTo>
                    <a:pt x="270" y="192"/>
                    <a:pt x="248" y="208"/>
                    <a:pt x="231" y="228"/>
                  </a:cubicBezTo>
                  <a:cubicBezTo>
                    <a:pt x="211" y="247"/>
                    <a:pt x="200" y="272"/>
                    <a:pt x="189" y="300"/>
                  </a:cubicBezTo>
                  <a:cubicBezTo>
                    <a:pt x="181" y="328"/>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198" y="78"/>
                    <a:pt x="234" y="47"/>
                    <a:pt x="278" y="28"/>
                  </a:cubicBezTo>
                  <a:cubicBezTo>
                    <a:pt x="323" y="11"/>
                    <a:pt x="367" y="0"/>
                    <a:pt x="411" y="0"/>
                  </a:cubicBezTo>
                  <a:cubicBezTo>
                    <a:pt x="439" y="0"/>
                    <a:pt x="464" y="3"/>
                    <a:pt x="492" y="8"/>
                  </a:cubicBezTo>
                  <a:cubicBezTo>
                    <a:pt x="517" y="14"/>
                    <a:pt x="542" y="25"/>
                    <a:pt x="564" y="39"/>
                  </a:cubicBezTo>
                  <a:cubicBezTo>
                    <a:pt x="589" y="50"/>
                    <a:pt x="609" y="69"/>
                    <a:pt x="628" y="89"/>
                  </a:cubicBezTo>
                  <a:cubicBezTo>
                    <a:pt x="647" y="111"/>
                    <a:pt x="661" y="136"/>
                    <a:pt x="675" y="167"/>
                  </a:cubicBezTo>
                  <a:cubicBezTo>
                    <a:pt x="709" y="106"/>
                    <a:pt x="750" y="64"/>
                    <a:pt x="800" y="39"/>
                  </a:cubicBezTo>
                  <a:cubicBezTo>
                    <a:pt x="850" y="14"/>
                    <a:pt x="906" y="3"/>
                    <a:pt x="964" y="3"/>
                  </a:cubicBezTo>
                  <a:cubicBezTo>
                    <a:pt x="1081" y="3"/>
                    <a:pt x="1170" y="36"/>
                    <a:pt x="1231" y="103"/>
                  </a:cubicBezTo>
                  <a:cubicBezTo>
                    <a:pt x="1289" y="172"/>
                    <a:pt x="1320" y="264"/>
                    <a:pt x="1320" y="383"/>
                  </a:cubicBezTo>
                  <a:cubicBezTo>
                    <a:pt x="1320" y="839"/>
                    <a:pt x="1320" y="839"/>
                    <a:pt x="1320" y="839"/>
                  </a:cubicBezTo>
                  <a:cubicBezTo>
                    <a:pt x="1142" y="839"/>
                    <a:pt x="1142" y="839"/>
                    <a:pt x="1142" y="839"/>
                  </a:cubicBezTo>
                  <a:cubicBezTo>
                    <a:pt x="1142" y="383"/>
                    <a:pt x="1142" y="383"/>
                    <a:pt x="1142" y="383"/>
                  </a:cubicBezTo>
                  <a:cubicBezTo>
                    <a:pt x="1142" y="353"/>
                    <a:pt x="1139" y="325"/>
                    <a:pt x="1131" y="297"/>
                  </a:cubicBezTo>
                  <a:cubicBezTo>
                    <a:pt x="1122" y="269"/>
                    <a:pt x="1111" y="247"/>
                    <a:pt x="1095" y="228"/>
                  </a:cubicBezTo>
                  <a:cubicBezTo>
                    <a:pt x="1081" y="206"/>
                    <a:pt x="1061" y="192"/>
                    <a:pt x="1039" y="181"/>
                  </a:cubicBezTo>
                  <a:cubicBezTo>
                    <a:pt x="1014" y="169"/>
                    <a:pt x="986" y="164"/>
                    <a:pt x="956" y="164"/>
                  </a:cubicBezTo>
                  <a:cubicBezTo>
                    <a:pt x="925" y="164"/>
                    <a:pt x="897" y="169"/>
                    <a:pt x="873" y="181"/>
                  </a:cubicBezTo>
                  <a:cubicBezTo>
                    <a:pt x="847" y="192"/>
                    <a:pt x="825" y="208"/>
                    <a:pt x="809" y="228"/>
                  </a:cubicBezTo>
                  <a:cubicBezTo>
                    <a:pt x="789" y="250"/>
                    <a:pt x="775" y="272"/>
                    <a:pt x="767" y="300"/>
                  </a:cubicBezTo>
                  <a:cubicBezTo>
                    <a:pt x="756" y="328"/>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0" name="Freeform 7">
              <a:extLst>
                <a:ext uri="{FF2B5EF4-FFF2-40B4-BE49-F238E27FC236}">
                  <a16:creationId xmlns:a16="http://schemas.microsoft.com/office/drawing/2014/main" id="{F46638B0-F40C-B24A-93C9-6E1B70739452}"/>
                </a:ext>
              </a:extLst>
            </p:cNvPr>
            <p:cNvSpPr>
              <a:spLocks noChangeArrowheads="1"/>
            </p:cNvSpPr>
            <p:nvPr userDrawn="1"/>
          </p:nvSpPr>
          <p:spPr bwMode="auto">
            <a:xfrm>
              <a:off x="4105275" y="3141663"/>
              <a:ext cx="314325" cy="312737"/>
            </a:xfrm>
            <a:custGeom>
              <a:avLst/>
              <a:gdLst>
                <a:gd name="T0" fmla="*/ 864 w 874"/>
                <a:gd name="T1" fmla="*/ 498 h 868"/>
                <a:gd name="T2" fmla="*/ 864 w 874"/>
                <a:gd name="T3" fmla="*/ 498 h 868"/>
                <a:gd name="T4" fmla="*/ 181 w 874"/>
                <a:gd name="T5" fmla="*/ 498 h 868"/>
                <a:gd name="T6" fmla="*/ 267 w 874"/>
                <a:gd name="T7" fmla="*/ 650 h 868"/>
                <a:gd name="T8" fmla="*/ 456 w 874"/>
                <a:gd name="T9" fmla="*/ 706 h 868"/>
                <a:gd name="T10" fmla="*/ 592 w 874"/>
                <a:gd name="T11" fmla="*/ 684 h 868"/>
                <a:gd name="T12" fmla="*/ 700 w 874"/>
                <a:gd name="T13" fmla="*/ 617 h 868"/>
                <a:gd name="T14" fmla="*/ 814 w 874"/>
                <a:gd name="T15" fmla="*/ 725 h 868"/>
                <a:gd name="T16" fmla="*/ 739 w 874"/>
                <a:gd name="T17" fmla="*/ 786 h 868"/>
                <a:gd name="T18" fmla="*/ 650 w 874"/>
                <a:gd name="T19" fmla="*/ 831 h 868"/>
                <a:gd name="T20" fmla="*/ 553 w 874"/>
                <a:gd name="T21" fmla="*/ 859 h 868"/>
                <a:gd name="T22" fmla="*/ 453 w 874"/>
                <a:gd name="T23" fmla="*/ 867 h 868"/>
                <a:gd name="T24" fmla="*/ 267 w 874"/>
                <a:gd name="T25" fmla="*/ 836 h 868"/>
                <a:gd name="T26" fmla="*/ 123 w 874"/>
                <a:gd name="T27" fmla="*/ 748 h 868"/>
                <a:gd name="T28" fmla="*/ 31 w 874"/>
                <a:gd name="T29" fmla="*/ 609 h 868"/>
                <a:gd name="T30" fmla="*/ 0 w 874"/>
                <a:gd name="T31" fmla="*/ 431 h 868"/>
                <a:gd name="T32" fmla="*/ 31 w 874"/>
                <a:gd name="T33" fmla="*/ 256 h 868"/>
                <a:gd name="T34" fmla="*/ 123 w 874"/>
                <a:gd name="T35" fmla="*/ 120 h 868"/>
                <a:gd name="T36" fmla="*/ 261 w 874"/>
                <a:gd name="T37" fmla="*/ 31 h 868"/>
                <a:gd name="T38" fmla="*/ 442 w 874"/>
                <a:gd name="T39" fmla="*/ 0 h 868"/>
                <a:gd name="T40" fmla="*/ 628 w 874"/>
                <a:gd name="T41" fmla="*/ 31 h 868"/>
                <a:gd name="T42" fmla="*/ 767 w 874"/>
                <a:gd name="T43" fmla="*/ 125 h 868"/>
                <a:gd name="T44" fmla="*/ 850 w 874"/>
                <a:gd name="T45" fmla="*/ 278 h 868"/>
                <a:gd name="T46" fmla="*/ 864 w 874"/>
                <a:gd name="T47" fmla="*/ 498 h 868"/>
                <a:gd name="T48" fmla="*/ 187 w 874"/>
                <a:gd name="T49" fmla="*/ 353 h 868"/>
                <a:gd name="T50" fmla="*/ 187 w 874"/>
                <a:gd name="T51" fmla="*/ 353 h 868"/>
                <a:gd name="T52" fmla="*/ 695 w 874"/>
                <a:gd name="T53" fmla="*/ 353 h 868"/>
                <a:gd name="T54" fmla="*/ 620 w 874"/>
                <a:gd name="T55" fmla="*/ 203 h 868"/>
                <a:gd name="T56" fmla="*/ 448 w 874"/>
                <a:gd name="T57" fmla="*/ 153 h 868"/>
                <a:gd name="T58" fmla="*/ 278 w 874"/>
                <a:gd name="T59" fmla="*/ 203 h 868"/>
                <a:gd name="T60" fmla="*/ 187 w 874"/>
                <a:gd name="T61" fmla="*/ 353 h 868"/>
                <a:gd name="T62" fmla="*/ 864 w 874"/>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4" h="868">
                  <a:moveTo>
                    <a:pt x="864" y="498"/>
                  </a:moveTo>
                  <a:lnTo>
                    <a:pt x="864" y="498"/>
                  </a:lnTo>
                  <a:cubicBezTo>
                    <a:pt x="181" y="498"/>
                    <a:pt x="181" y="498"/>
                    <a:pt x="181" y="498"/>
                  </a:cubicBezTo>
                  <a:cubicBezTo>
                    <a:pt x="189" y="562"/>
                    <a:pt x="217" y="611"/>
                    <a:pt x="267" y="650"/>
                  </a:cubicBezTo>
                  <a:cubicBezTo>
                    <a:pt x="317" y="686"/>
                    <a:pt x="378" y="706"/>
                    <a:pt x="456" y="706"/>
                  </a:cubicBezTo>
                  <a:cubicBezTo>
                    <a:pt x="500" y="706"/>
                    <a:pt x="545" y="698"/>
                    <a:pt x="592" y="684"/>
                  </a:cubicBezTo>
                  <a:cubicBezTo>
                    <a:pt x="639" y="667"/>
                    <a:pt x="675" y="645"/>
                    <a:pt x="700" y="617"/>
                  </a:cubicBezTo>
                  <a:cubicBezTo>
                    <a:pt x="814" y="725"/>
                    <a:pt x="814" y="725"/>
                    <a:pt x="814" y="725"/>
                  </a:cubicBezTo>
                  <a:cubicBezTo>
                    <a:pt x="795" y="750"/>
                    <a:pt x="770" y="770"/>
                    <a:pt x="739" y="786"/>
                  </a:cubicBezTo>
                  <a:cubicBezTo>
                    <a:pt x="711" y="806"/>
                    <a:pt x="681" y="820"/>
                    <a:pt x="650" y="831"/>
                  </a:cubicBezTo>
                  <a:cubicBezTo>
                    <a:pt x="620" y="845"/>
                    <a:pt x="587" y="853"/>
                    <a:pt x="553" y="859"/>
                  </a:cubicBezTo>
                  <a:cubicBezTo>
                    <a:pt x="517" y="864"/>
                    <a:pt x="487" y="867"/>
                    <a:pt x="453" y="867"/>
                  </a:cubicBezTo>
                  <a:cubicBezTo>
                    <a:pt x="384" y="867"/>
                    <a:pt x="323" y="856"/>
                    <a:pt x="267" y="836"/>
                  </a:cubicBezTo>
                  <a:cubicBezTo>
                    <a:pt x="209" y="814"/>
                    <a:pt x="161" y="786"/>
                    <a:pt x="123" y="748"/>
                  </a:cubicBezTo>
                  <a:cubicBezTo>
                    <a:pt x="84" y="709"/>
                    <a:pt x="53" y="664"/>
                    <a:pt x="31" y="609"/>
                  </a:cubicBezTo>
                  <a:cubicBezTo>
                    <a:pt x="12" y="556"/>
                    <a:pt x="0" y="495"/>
                    <a:pt x="0" y="431"/>
                  </a:cubicBezTo>
                  <a:cubicBezTo>
                    <a:pt x="0" y="367"/>
                    <a:pt x="12" y="309"/>
                    <a:pt x="31" y="256"/>
                  </a:cubicBezTo>
                  <a:cubicBezTo>
                    <a:pt x="53" y="203"/>
                    <a:pt x="84" y="159"/>
                    <a:pt x="123" y="120"/>
                  </a:cubicBezTo>
                  <a:cubicBezTo>
                    <a:pt x="161" y="84"/>
                    <a:pt x="209" y="53"/>
                    <a:pt x="261" y="31"/>
                  </a:cubicBezTo>
                  <a:cubicBezTo>
                    <a:pt x="314" y="12"/>
                    <a:pt x="375" y="0"/>
                    <a:pt x="442" y="0"/>
                  </a:cubicBezTo>
                  <a:cubicBezTo>
                    <a:pt x="509" y="0"/>
                    <a:pt x="573" y="12"/>
                    <a:pt x="628" y="31"/>
                  </a:cubicBezTo>
                  <a:cubicBezTo>
                    <a:pt x="681" y="53"/>
                    <a:pt x="728" y="84"/>
                    <a:pt x="767" y="125"/>
                  </a:cubicBezTo>
                  <a:cubicBezTo>
                    <a:pt x="806" y="164"/>
                    <a:pt x="834" y="217"/>
                    <a:pt x="850" y="278"/>
                  </a:cubicBezTo>
                  <a:cubicBezTo>
                    <a:pt x="867" y="342"/>
                    <a:pt x="873" y="414"/>
                    <a:pt x="864" y="498"/>
                  </a:cubicBezTo>
                  <a:lnTo>
                    <a:pt x="187" y="353"/>
                  </a:lnTo>
                  <a:lnTo>
                    <a:pt x="187" y="353"/>
                  </a:lnTo>
                  <a:cubicBezTo>
                    <a:pt x="695" y="353"/>
                    <a:pt x="695" y="353"/>
                    <a:pt x="695" y="353"/>
                  </a:cubicBezTo>
                  <a:cubicBezTo>
                    <a:pt x="689" y="287"/>
                    <a:pt x="664" y="236"/>
                    <a:pt x="620" y="203"/>
                  </a:cubicBezTo>
                  <a:cubicBezTo>
                    <a:pt x="575" y="170"/>
                    <a:pt x="517" y="153"/>
                    <a:pt x="448" y="153"/>
                  </a:cubicBezTo>
                  <a:cubicBezTo>
                    <a:pt x="381" y="153"/>
                    <a:pt x="325" y="170"/>
                    <a:pt x="278" y="203"/>
                  </a:cubicBezTo>
                  <a:cubicBezTo>
                    <a:pt x="231" y="236"/>
                    <a:pt x="200" y="287"/>
                    <a:pt x="187"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1" name="Freeform 8">
              <a:extLst>
                <a:ext uri="{FF2B5EF4-FFF2-40B4-BE49-F238E27FC236}">
                  <a16:creationId xmlns:a16="http://schemas.microsoft.com/office/drawing/2014/main" id="{6730F715-DAA9-4C4F-9015-64A34444B963}"/>
                </a:ext>
              </a:extLst>
            </p:cNvPr>
            <p:cNvSpPr>
              <a:spLocks noChangeArrowheads="1"/>
            </p:cNvSpPr>
            <p:nvPr userDrawn="1"/>
          </p:nvSpPr>
          <p:spPr bwMode="auto">
            <a:xfrm>
              <a:off x="4481513" y="3141663"/>
              <a:ext cx="227012" cy="303212"/>
            </a:xfrm>
            <a:custGeom>
              <a:avLst/>
              <a:gdLst>
                <a:gd name="T0" fmla="*/ 164 w 631"/>
                <a:gd name="T1" fmla="*/ 20 h 843"/>
                <a:gd name="T2" fmla="*/ 164 w 631"/>
                <a:gd name="T3" fmla="*/ 20 h 843"/>
                <a:gd name="T4" fmla="*/ 175 w 631"/>
                <a:gd name="T5" fmla="*/ 128 h 843"/>
                <a:gd name="T6" fmla="*/ 289 w 631"/>
                <a:gd name="T7" fmla="*/ 25 h 843"/>
                <a:gd name="T8" fmla="*/ 422 w 631"/>
                <a:gd name="T9" fmla="*/ 0 h 843"/>
                <a:gd name="T10" fmla="*/ 539 w 631"/>
                <a:gd name="T11" fmla="*/ 20 h 843"/>
                <a:gd name="T12" fmla="*/ 630 w 631"/>
                <a:gd name="T13" fmla="*/ 70 h 843"/>
                <a:gd name="T14" fmla="*/ 550 w 631"/>
                <a:gd name="T15" fmla="*/ 222 h 843"/>
                <a:gd name="T16" fmla="*/ 486 w 631"/>
                <a:gd name="T17" fmla="*/ 184 h 843"/>
                <a:gd name="T18" fmla="*/ 402 w 631"/>
                <a:gd name="T19" fmla="*/ 172 h 843"/>
                <a:gd name="T20" fmla="*/ 316 w 631"/>
                <a:gd name="T21" fmla="*/ 186 h 843"/>
                <a:gd name="T22" fmla="*/ 244 w 631"/>
                <a:gd name="T23" fmla="*/ 228 h 843"/>
                <a:gd name="T24" fmla="*/ 194 w 631"/>
                <a:gd name="T25" fmla="*/ 297 h 843"/>
                <a:gd name="T26" fmla="*/ 175 w 631"/>
                <a:gd name="T27" fmla="*/ 397 h 843"/>
                <a:gd name="T28" fmla="*/ 175 w 631"/>
                <a:gd name="T29" fmla="*/ 842 h 843"/>
                <a:gd name="T30" fmla="*/ 0 w 631"/>
                <a:gd name="T31" fmla="*/ 842 h 843"/>
                <a:gd name="T32" fmla="*/ 0 w 631"/>
                <a:gd name="T33" fmla="*/ 20 h 843"/>
                <a:gd name="T34" fmla="*/ 164 w 631"/>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1" h="843">
                  <a:moveTo>
                    <a:pt x="164" y="20"/>
                  </a:moveTo>
                  <a:lnTo>
                    <a:pt x="164" y="20"/>
                  </a:lnTo>
                  <a:cubicBezTo>
                    <a:pt x="175" y="128"/>
                    <a:pt x="175" y="128"/>
                    <a:pt x="175" y="128"/>
                  </a:cubicBezTo>
                  <a:cubicBezTo>
                    <a:pt x="205" y="75"/>
                    <a:pt x="244" y="42"/>
                    <a:pt x="289" y="25"/>
                  </a:cubicBezTo>
                  <a:cubicBezTo>
                    <a:pt x="333" y="9"/>
                    <a:pt x="378" y="0"/>
                    <a:pt x="422" y="0"/>
                  </a:cubicBezTo>
                  <a:cubicBezTo>
                    <a:pt x="464" y="0"/>
                    <a:pt x="502" y="9"/>
                    <a:pt x="539" y="20"/>
                  </a:cubicBezTo>
                  <a:cubicBezTo>
                    <a:pt x="577" y="34"/>
                    <a:pt x="608" y="50"/>
                    <a:pt x="630" y="70"/>
                  </a:cubicBezTo>
                  <a:cubicBezTo>
                    <a:pt x="550" y="222"/>
                    <a:pt x="550" y="222"/>
                    <a:pt x="550" y="222"/>
                  </a:cubicBezTo>
                  <a:cubicBezTo>
                    <a:pt x="530" y="206"/>
                    <a:pt x="508" y="192"/>
                    <a:pt x="486" y="184"/>
                  </a:cubicBezTo>
                  <a:cubicBezTo>
                    <a:pt x="464" y="175"/>
                    <a:pt x="436" y="172"/>
                    <a:pt x="402" y="172"/>
                  </a:cubicBezTo>
                  <a:cubicBezTo>
                    <a:pt x="372" y="172"/>
                    <a:pt x="341" y="175"/>
                    <a:pt x="316" y="186"/>
                  </a:cubicBezTo>
                  <a:cubicBezTo>
                    <a:pt x="289" y="195"/>
                    <a:pt x="264" y="209"/>
                    <a:pt x="244" y="228"/>
                  </a:cubicBezTo>
                  <a:cubicBezTo>
                    <a:pt x="222" y="245"/>
                    <a:pt x="205" y="270"/>
                    <a:pt x="194" y="297"/>
                  </a:cubicBezTo>
                  <a:cubicBezTo>
                    <a:pt x="180" y="325"/>
                    <a:pt x="175" y="359"/>
                    <a:pt x="175" y="397"/>
                  </a:cubicBezTo>
                  <a:cubicBezTo>
                    <a:pt x="175" y="842"/>
                    <a:pt x="175" y="842"/>
                    <a:pt x="175"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2" name="Freeform 9">
              <a:extLst>
                <a:ext uri="{FF2B5EF4-FFF2-40B4-BE49-F238E27FC236}">
                  <a16:creationId xmlns:a16="http://schemas.microsoft.com/office/drawing/2014/main" id="{597932D4-682B-CC44-977C-859F9F960C77}"/>
                </a:ext>
              </a:extLst>
            </p:cNvPr>
            <p:cNvSpPr>
              <a:spLocks noChangeArrowheads="1"/>
            </p:cNvSpPr>
            <p:nvPr userDrawn="1"/>
          </p:nvSpPr>
          <p:spPr bwMode="auto">
            <a:xfrm>
              <a:off x="4872038" y="3141663"/>
              <a:ext cx="314325" cy="312737"/>
            </a:xfrm>
            <a:custGeom>
              <a:avLst/>
              <a:gdLst>
                <a:gd name="T0" fmla="*/ 863 w 872"/>
                <a:gd name="T1" fmla="*/ 498 h 868"/>
                <a:gd name="T2" fmla="*/ 863 w 872"/>
                <a:gd name="T3" fmla="*/ 498 h 868"/>
                <a:gd name="T4" fmla="*/ 183 w 872"/>
                <a:gd name="T5" fmla="*/ 498 h 868"/>
                <a:gd name="T6" fmla="*/ 266 w 872"/>
                <a:gd name="T7" fmla="*/ 650 h 868"/>
                <a:gd name="T8" fmla="*/ 458 w 872"/>
                <a:gd name="T9" fmla="*/ 706 h 868"/>
                <a:gd name="T10" fmla="*/ 590 w 872"/>
                <a:gd name="T11" fmla="*/ 684 h 868"/>
                <a:gd name="T12" fmla="*/ 699 w 872"/>
                <a:gd name="T13" fmla="*/ 617 h 868"/>
                <a:gd name="T14" fmla="*/ 815 w 872"/>
                <a:gd name="T15" fmla="*/ 725 h 868"/>
                <a:gd name="T16" fmla="*/ 740 w 872"/>
                <a:gd name="T17" fmla="*/ 786 h 868"/>
                <a:gd name="T18" fmla="*/ 649 w 872"/>
                <a:gd name="T19" fmla="*/ 831 h 868"/>
                <a:gd name="T20" fmla="*/ 551 w 872"/>
                <a:gd name="T21" fmla="*/ 859 h 868"/>
                <a:gd name="T22" fmla="*/ 452 w 872"/>
                <a:gd name="T23" fmla="*/ 867 h 868"/>
                <a:gd name="T24" fmla="*/ 266 w 872"/>
                <a:gd name="T25" fmla="*/ 836 h 868"/>
                <a:gd name="T26" fmla="*/ 122 w 872"/>
                <a:gd name="T27" fmla="*/ 748 h 868"/>
                <a:gd name="T28" fmla="*/ 30 w 872"/>
                <a:gd name="T29" fmla="*/ 609 h 868"/>
                <a:gd name="T30" fmla="*/ 0 w 872"/>
                <a:gd name="T31" fmla="*/ 431 h 868"/>
                <a:gd name="T32" fmla="*/ 30 w 872"/>
                <a:gd name="T33" fmla="*/ 256 h 868"/>
                <a:gd name="T34" fmla="*/ 122 w 872"/>
                <a:gd name="T35" fmla="*/ 120 h 868"/>
                <a:gd name="T36" fmla="*/ 261 w 872"/>
                <a:gd name="T37" fmla="*/ 31 h 868"/>
                <a:gd name="T38" fmla="*/ 441 w 872"/>
                <a:gd name="T39" fmla="*/ 0 h 868"/>
                <a:gd name="T40" fmla="*/ 626 w 872"/>
                <a:gd name="T41" fmla="*/ 31 h 868"/>
                <a:gd name="T42" fmla="*/ 765 w 872"/>
                <a:gd name="T43" fmla="*/ 125 h 868"/>
                <a:gd name="T44" fmla="*/ 849 w 872"/>
                <a:gd name="T45" fmla="*/ 278 h 868"/>
                <a:gd name="T46" fmla="*/ 863 w 872"/>
                <a:gd name="T47" fmla="*/ 498 h 868"/>
                <a:gd name="T48" fmla="*/ 186 w 872"/>
                <a:gd name="T49" fmla="*/ 353 h 868"/>
                <a:gd name="T50" fmla="*/ 186 w 872"/>
                <a:gd name="T51" fmla="*/ 353 h 868"/>
                <a:gd name="T52" fmla="*/ 696 w 872"/>
                <a:gd name="T53" fmla="*/ 353 h 868"/>
                <a:gd name="T54" fmla="*/ 621 w 872"/>
                <a:gd name="T55" fmla="*/ 203 h 868"/>
                <a:gd name="T56" fmla="*/ 447 w 872"/>
                <a:gd name="T57" fmla="*/ 153 h 868"/>
                <a:gd name="T58" fmla="*/ 278 w 872"/>
                <a:gd name="T59" fmla="*/ 203 h 868"/>
                <a:gd name="T60" fmla="*/ 186 w 872"/>
                <a:gd name="T61" fmla="*/ 353 h 868"/>
                <a:gd name="T62" fmla="*/ 863 w 872"/>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2" h="868">
                  <a:moveTo>
                    <a:pt x="863" y="498"/>
                  </a:moveTo>
                  <a:lnTo>
                    <a:pt x="863" y="498"/>
                  </a:lnTo>
                  <a:cubicBezTo>
                    <a:pt x="183" y="498"/>
                    <a:pt x="183" y="498"/>
                    <a:pt x="183" y="498"/>
                  </a:cubicBezTo>
                  <a:cubicBezTo>
                    <a:pt x="189" y="562"/>
                    <a:pt x="219" y="611"/>
                    <a:pt x="266" y="650"/>
                  </a:cubicBezTo>
                  <a:cubicBezTo>
                    <a:pt x="316" y="686"/>
                    <a:pt x="380" y="706"/>
                    <a:pt x="458" y="706"/>
                  </a:cubicBezTo>
                  <a:cubicBezTo>
                    <a:pt x="499" y="706"/>
                    <a:pt x="543" y="698"/>
                    <a:pt x="590" y="684"/>
                  </a:cubicBezTo>
                  <a:cubicBezTo>
                    <a:pt x="638" y="667"/>
                    <a:pt x="674" y="645"/>
                    <a:pt x="699" y="617"/>
                  </a:cubicBezTo>
                  <a:cubicBezTo>
                    <a:pt x="815" y="725"/>
                    <a:pt x="815" y="725"/>
                    <a:pt x="815" y="725"/>
                  </a:cubicBezTo>
                  <a:cubicBezTo>
                    <a:pt x="793" y="750"/>
                    <a:pt x="768" y="770"/>
                    <a:pt x="740" y="786"/>
                  </a:cubicBezTo>
                  <a:cubicBezTo>
                    <a:pt x="710" y="806"/>
                    <a:pt x="682" y="820"/>
                    <a:pt x="649" y="831"/>
                  </a:cubicBezTo>
                  <a:cubicBezTo>
                    <a:pt x="618" y="845"/>
                    <a:pt x="585" y="853"/>
                    <a:pt x="551" y="859"/>
                  </a:cubicBezTo>
                  <a:cubicBezTo>
                    <a:pt x="518" y="864"/>
                    <a:pt x="485" y="867"/>
                    <a:pt x="452" y="867"/>
                  </a:cubicBezTo>
                  <a:cubicBezTo>
                    <a:pt x="383" y="867"/>
                    <a:pt x="322" y="856"/>
                    <a:pt x="266" y="836"/>
                  </a:cubicBezTo>
                  <a:cubicBezTo>
                    <a:pt x="211" y="814"/>
                    <a:pt x="161" y="786"/>
                    <a:pt x="122" y="748"/>
                  </a:cubicBezTo>
                  <a:cubicBezTo>
                    <a:pt x="83" y="709"/>
                    <a:pt x="53" y="664"/>
                    <a:pt x="30" y="609"/>
                  </a:cubicBezTo>
                  <a:cubicBezTo>
                    <a:pt x="11" y="556"/>
                    <a:pt x="0" y="495"/>
                    <a:pt x="0" y="431"/>
                  </a:cubicBezTo>
                  <a:cubicBezTo>
                    <a:pt x="0" y="367"/>
                    <a:pt x="11" y="309"/>
                    <a:pt x="30" y="256"/>
                  </a:cubicBezTo>
                  <a:cubicBezTo>
                    <a:pt x="53" y="203"/>
                    <a:pt x="83" y="159"/>
                    <a:pt x="122" y="120"/>
                  </a:cubicBezTo>
                  <a:cubicBezTo>
                    <a:pt x="161" y="84"/>
                    <a:pt x="208" y="53"/>
                    <a:pt x="261" y="31"/>
                  </a:cubicBezTo>
                  <a:cubicBezTo>
                    <a:pt x="316" y="12"/>
                    <a:pt x="375" y="0"/>
                    <a:pt x="441" y="0"/>
                  </a:cubicBezTo>
                  <a:cubicBezTo>
                    <a:pt x="510" y="0"/>
                    <a:pt x="571" y="12"/>
                    <a:pt x="626" y="31"/>
                  </a:cubicBezTo>
                  <a:cubicBezTo>
                    <a:pt x="682" y="53"/>
                    <a:pt x="726" y="84"/>
                    <a:pt x="765" y="125"/>
                  </a:cubicBezTo>
                  <a:cubicBezTo>
                    <a:pt x="804" y="164"/>
                    <a:pt x="832" y="217"/>
                    <a:pt x="849" y="278"/>
                  </a:cubicBezTo>
                  <a:cubicBezTo>
                    <a:pt x="868" y="342"/>
                    <a:pt x="871" y="414"/>
                    <a:pt x="863" y="498"/>
                  </a:cubicBezTo>
                  <a:lnTo>
                    <a:pt x="186" y="353"/>
                  </a:lnTo>
                  <a:lnTo>
                    <a:pt x="186" y="353"/>
                  </a:lnTo>
                  <a:cubicBezTo>
                    <a:pt x="696" y="353"/>
                    <a:pt x="696" y="353"/>
                    <a:pt x="696" y="353"/>
                  </a:cubicBezTo>
                  <a:cubicBezTo>
                    <a:pt x="690" y="287"/>
                    <a:pt x="663" y="236"/>
                    <a:pt x="621" y="203"/>
                  </a:cubicBezTo>
                  <a:cubicBezTo>
                    <a:pt x="577" y="170"/>
                    <a:pt x="518" y="153"/>
                    <a:pt x="447" y="153"/>
                  </a:cubicBezTo>
                  <a:cubicBezTo>
                    <a:pt x="380" y="153"/>
                    <a:pt x="325" y="170"/>
                    <a:pt x="278" y="203"/>
                  </a:cubicBezTo>
                  <a:cubicBezTo>
                    <a:pt x="230" y="236"/>
                    <a:pt x="200" y="287"/>
                    <a:pt x="186" y="353"/>
                  </a:cubicBezTo>
                  <a:lnTo>
                    <a:pt x="863"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3" name="Freeform 10">
              <a:extLst>
                <a:ext uri="{FF2B5EF4-FFF2-40B4-BE49-F238E27FC236}">
                  <a16:creationId xmlns:a16="http://schemas.microsoft.com/office/drawing/2014/main" id="{96065675-A273-F046-BBBD-BF5AD455AD2C}"/>
                </a:ext>
              </a:extLst>
            </p:cNvPr>
            <p:cNvSpPr>
              <a:spLocks noChangeArrowheads="1"/>
            </p:cNvSpPr>
            <p:nvPr userDrawn="1"/>
          </p:nvSpPr>
          <p:spPr bwMode="auto">
            <a:xfrm>
              <a:off x="5205413" y="3149600"/>
              <a:ext cx="301625" cy="296863"/>
            </a:xfrm>
            <a:custGeom>
              <a:avLst/>
              <a:gdLst>
                <a:gd name="T0" fmla="*/ 606 w 837"/>
                <a:gd name="T1" fmla="*/ 0 h 823"/>
                <a:gd name="T2" fmla="*/ 820 w 837"/>
                <a:gd name="T3" fmla="*/ 0 h 823"/>
                <a:gd name="T4" fmla="*/ 820 w 837"/>
                <a:gd name="T5" fmla="*/ 5 h 823"/>
                <a:gd name="T6" fmla="*/ 536 w 837"/>
                <a:gd name="T7" fmla="*/ 402 h 823"/>
                <a:gd name="T8" fmla="*/ 836 w 837"/>
                <a:gd name="T9" fmla="*/ 819 h 823"/>
                <a:gd name="T10" fmla="*/ 836 w 837"/>
                <a:gd name="T11" fmla="*/ 822 h 823"/>
                <a:gd name="T12" fmla="*/ 625 w 837"/>
                <a:gd name="T13" fmla="*/ 822 h 823"/>
                <a:gd name="T14" fmla="*/ 420 w 837"/>
                <a:gd name="T15" fmla="*/ 525 h 823"/>
                <a:gd name="T16" fmla="*/ 212 w 837"/>
                <a:gd name="T17" fmla="*/ 822 h 823"/>
                <a:gd name="T18" fmla="*/ 0 w 837"/>
                <a:gd name="T19" fmla="*/ 822 h 823"/>
                <a:gd name="T20" fmla="*/ 0 w 837"/>
                <a:gd name="T21" fmla="*/ 819 h 823"/>
                <a:gd name="T22" fmla="*/ 303 w 837"/>
                <a:gd name="T23" fmla="*/ 402 h 823"/>
                <a:gd name="T24" fmla="*/ 20 w 837"/>
                <a:gd name="T25" fmla="*/ 5 h 823"/>
                <a:gd name="T26" fmla="*/ 20 w 837"/>
                <a:gd name="T27" fmla="*/ 0 h 823"/>
                <a:gd name="T28" fmla="*/ 231 w 837"/>
                <a:gd name="T29" fmla="*/ 0 h 823"/>
                <a:gd name="T30" fmla="*/ 420 w 837"/>
                <a:gd name="T31" fmla="*/ 294 h 823"/>
                <a:gd name="T32" fmla="*/ 606 w 837"/>
                <a:gd name="T33"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7" h="823">
                  <a:moveTo>
                    <a:pt x="606" y="0"/>
                  </a:moveTo>
                  <a:lnTo>
                    <a:pt x="820" y="0"/>
                  </a:lnTo>
                  <a:lnTo>
                    <a:pt x="820" y="5"/>
                  </a:lnTo>
                  <a:lnTo>
                    <a:pt x="536" y="402"/>
                  </a:lnTo>
                  <a:lnTo>
                    <a:pt x="836" y="819"/>
                  </a:lnTo>
                  <a:lnTo>
                    <a:pt x="836" y="822"/>
                  </a:lnTo>
                  <a:lnTo>
                    <a:pt x="625" y="822"/>
                  </a:lnTo>
                  <a:lnTo>
                    <a:pt x="420" y="525"/>
                  </a:lnTo>
                  <a:lnTo>
                    <a:pt x="212" y="822"/>
                  </a:lnTo>
                  <a:lnTo>
                    <a:pt x="0" y="822"/>
                  </a:lnTo>
                  <a:lnTo>
                    <a:pt x="0" y="819"/>
                  </a:lnTo>
                  <a:lnTo>
                    <a:pt x="303" y="402"/>
                  </a:lnTo>
                  <a:lnTo>
                    <a:pt x="20" y="5"/>
                  </a:lnTo>
                  <a:lnTo>
                    <a:pt x="20" y="0"/>
                  </a:lnTo>
                  <a:lnTo>
                    <a:pt x="231" y="0"/>
                  </a:lnTo>
                  <a:lnTo>
                    <a:pt x="420" y="294"/>
                  </a:lnTo>
                  <a:lnTo>
                    <a:pt x="60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4" name="Freeform 11">
              <a:extLst>
                <a:ext uri="{FF2B5EF4-FFF2-40B4-BE49-F238E27FC236}">
                  <a16:creationId xmlns:a16="http://schemas.microsoft.com/office/drawing/2014/main" id="{CFBF11F7-13DF-164C-9B41-A5A9A575E6B7}"/>
                </a:ext>
              </a:extLst>
            </p:cNvPr>
            <p:cNvSpPr>
              <a:spLocks noChangeArrowheads="1"/>
            </p:cNvSpPr>
            <p:nvPr userDrawn="1"/>
          </p:nvSpPr>
          <p:spPr bwMode="auto">
            <a:xfrm>
              <a:off x="5557838" y="3143250"/>
              <a:ext cx="323850" cy="439738"/>
            </a:xfrm>
            <a:custGeom>
              <a:avLst/>
              <a:gdLst>
                <a:gd name="T0" fmla="*/ 0 w 898"/>
                <a:gd name="T1" fmla="*/ 1221 h 1222"/>
                <a:gd name="T2" fmla="*/ 0 w 898"/>
                <a:gd name="T3" fmla="*/ 1221 h 1222"/>
                <a:gd name="T4" fmla="*/ 0 w 898"/>
                <a:gd name="T5" fmla="*/ 17 h 1222"/>
                <a:gd name="T6" fmla="*/ 164 w 898"/>
                <a:gd name="T7" fmla="*/ 17 h 1222"/>
                <a:gd name="T8" fmla="*/ 175 w 898"/>
                <a:gd name="T9" fmla="*/ 150 h 1222"/>
                <a:gd name="T10" fmla="*/ 306 w 898"/>
                <a:gd name="T11" fmla="*/ 36 h 1222"/>
                <a:gd name="T12" fmla="*/ 472 w 898"/>
                <a:gd name="T13" fmla="*/ 0 h 1222"/>
                <a:gd name="T14" fmla="*/ 645 w 898"/>
                <a:gd name="T15" fmla="*/ 33 h 1222"/>
                <a:gd name="T16" fmla="*/ 781 w 898"/>
                <a:gd name="T17" fmla="*/ 122 h 1222"/>
                <a:gd name="T18" fmla="*/ 867 w 898"/>
                <a:gd name="T19" fmla="*/ 256 h 1222"/>
                <a:gd name="T20" fmla="*/ 897 w 898"/>
                <a:gd name="T21" fmla="*/ 428 h 1222"/>
                <a:gd name="T22" fmla="*/ 867 w 898"/>
                <a:gd name="T23" fmla="*/ 600 h 1222"/>
                <a:gd name="T24" fmla="*/ 783 w 898"/>
                <a:gd name="T25" fmla="*/ 736 h 1222"/>
                <a:gd name="T26" fmla="*/ 650 w 898"/>
                <a:gd name="T27" fmla="*/ 828 h 1222"/>
                <a:gd name="T28" fmla="*/ 472 w 898"/>
                <a:gd name="T29" fmla="*/ 858 h 1222"/>
                <a:gd name="T30" fmla="*/ 392 w 898"/>
                <a:gd name="T31" fmla="*/ 850 h 1222"/>
                <a:gd name="T32" fmla="*/ 308 w 898"/>
                <a:gd name="T33" fmla="*/ 828 h 1222"/>
                <a:gd name="T34" fmla="*/ 233 w 898"/>
                <a:gd name="T35" fmla="*/ 786 h 1222"/>
                <a:gd name="T36" fmla="*/ 175 w 898"/>
                <a:gd name="T37" fmla="*/ 719 h 1222"/>
                <a:gd name="T38" fmla="*/ 175 w 898"/>
                <a:gd name="T39" fmla="*/ 1221 h 1222"/>
                <a:gd name="T40" fmla="*/ 0 w 898"/>
                <a:gd name="T41" fmla="*/ 1221 h 1222"/>
                <a:gd name="T42" fmla="*/ 456 w 898"/>
                <a:gd name="T43" fmla="*/ 692 h 1222"/>
                <a:gd name="T44" fmla="*/ 456 w 898"/>
                <a:gd name="T45" fmla="*/ 692 h 1222"/>
                <a:gd name="T46" fmla="*/ 561 w 898"/>
                <a:gd name="T47" fmla="*/ 672 h 1222"/>
                <a:gd name="T48" fmla="*/ 647 w 898"/>
                <a:gd name="T49" fmla="*/ 617 h 1222"/>
                <a:gd name="T50" fmla="*/ 703 w 898"/>
                <a:gd name="T51" fmla="*/ 536 h 1222"/>
                <a:gd name="T52" fmla="*/ 722 w 898"/>
                <a:gd name="T53" fmla="*/ 428 h 1222"/>
                <a:gd name="T54" fmla="*/ 650 w 898"/>
                <a:gd name="T55" fmla="*/ 239 h 1222"/>
                <a:gd name="T56" fmla="*/ 456 w 898"/>
                <a:gd name="T57" fmla="*/ 167 h 1222"/>
                <a:gd name="T58" fmla="*/ 345 w 898"/>
                <a:gd name="T59" fmla="*/ 186 h 1222"/>
                <a:gd name="T60" fmla="*/ 261 w 898"/>
                <a:gd name="T61" fmla="*/ 242 h 1222"/>
                <a:gd name="T62" fmla="*/ 208 w 898"/>
                <a:gd name="T63" fmla="*/ 325 h 1222"/>
                <a:gd name="T64" fmla="*/ 192 w 898"/>
                <a:gd name="T65" fmla="*/ 428 h 1222"/>
                <a:gd name="T66" fmla="*/ 211 w 898"/>
                <a:gd name="T67" fmla="*/ 530 h 1222"/>
                <a:gd name="T68" fmla="*/ 264 w 898"/>
                <a:gd name="T69" fmla="*/ 617 h 1222"/>
                <a:gd name="T70" fmla="*/ 347 w 898"/>
                <a:gd name="T71" fmla="*/ 672 h 1222"/>
                <a:gd name="T72" fmla="*/ 456 w 898"/>
                <a:gd name="T73" fmla="*/ 69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8" h="1222">
                  <a:moveTo>
                    <a:pt x="0" y="1221"/>
                  </a:moveTo>
                  <a:lnTo>
                    <a:pt x="0" y="1221"/>
                  </a:lnTo>
                  <a:cubicBezTo>
                    <a:pt x="0" y="17"/>
                    <a:pt x="0" y="17"/>
                    <a:pt x="0" y="17"/>
                  </a:cubicBezTo>
                  <a:cubicBezTo>
                    <a:pt x="164" y="17"/>
                    <a:pt x="164" y="17"/>
                    <a:pt x="164" y="17"/>
                  </a:cubicBezTo>
                  <a:cubicBezTo>
                    <a:pt x="175" y="150"/>
                    <a:pt x="175" y="150"/>
                    <a:pt x="175" y="150"/>
                  </a:cubicBezTo>
                  <a:cubicBezTo>
                    <a:pt x="208" y="100"/>
                    <a:pt x="253" y="61"/>
                    <a:pt x="306" y="36"/>
                  </a:cubicBezTo>
                  <a:cubicBezTo>
                    <a:pt x="361" y="11"/>
                    <a:pt x="417" y="0"/>
                    <a:pt x="472" y="0"/>
                  </a:cubicBezTo>
                  <a:cubicBezTo>
                    <a:pt x="536" y="0"/>
                    <a:pt x="592" y="11"/>
                    <a:pt x="645" y="33"/>
                  </a:cubicBezTo>
                  <a:cubicBezTo>
                    <a:pt x="697" y="53"/>
                    <a:pt x="742" y="83"/>
                    <a:pt x="781" y="122"/>
                  </a:cubicBezTo>
                  <a:cubicBezTo>
                    <a:pt x="817" y="158"/>
                    <a:pt x="847" y="206"/>
                    <a:pt x="867" y="256"/>
                  </a:cubicBezTo>
                  <a:cubicBezTo>
                    <a:pt x="886" y="308"/>
                    <a:pt x="897" y="367"/>
                    <a:pt x="897" y="428"/>
                  </a:cubicBezTo>
                  <a:cubicBezTo>
                    <a:pt x="897" y="492"/>
                    <a:pt x="886" y="550"/>
                    <a:pt x="867" y="600"/>
                  </a:cubicBezTo>
                  <a:cubicBezTo>
                    <a:pt x="847" y="653"/>
                    <a:pt x="820" y="700"/>
                    <a:pt x="783" y="736"/>
                  </a:cubicBezTo>
                  <a:cubicBezTo>
                    <a:pt x="747" y="775"/>
                    <a:pt x="703" y="805"/>
                    <a:pt x="650" y="828"/>
                  </a:cubicBezTo>
                  <a:cubicBezTo>
                    <a:pt x="597" y="847"/>
                    <a:pt x="536" y="858"/>
                    <a:pt x="472" y="858"/>
                  </a:cubicBezTo>
                  <a:cubicBezTo>
                    <a:pt x="447" y="858"/>
                    <a:pt x="420" y="856"/>
                    <a:pt x="392" y="850"/>
                  </a:cubicBezTo>
                  <a:cubicBezTo>
                    <a:pt x="364" y="847"/>
                    <a:pt x="336" y="839"/>
                    <a:pt x="308" y="828"/>
                  </a:cubicBezTo>
                  <a:cubicBezTo>
                    <a:pt x="283" y="817"/>
                    <a:pt x="258" y="803"/>
                    <a:pt x="233" y="786"/>
                  </a:cubicBezTo>
                  <a:cubicBezTo>
                    <a:pt x="211" y="767"/>
                    <a:pt x="192" y="744"/>
                    <a:pt x="175" y="719"/>
                  </a:cubicBezTo>
                  <a:cubicBezTo>
                    <a:pt x="175" y="1221"/>
                    <a:pt x="175" y="1221"/>
                    <a:pt x="175" y="1221"/>
                  </a:cubicBezTo>
                  <a:lnTo>
                    <a:pt x="0" y="1221"/>
                  </a:lnTo>
                  <a:close/>
                  <a:moveTo>
                    <a:pt x="456" y="692"/>
                  </a:moveTo>
                  <a:lnTo>
                    <a:pt x="456" y="692"/>
                  </a:lnTo>
                  <a:cubicBezTo>
                    <a:pt x="495" y="692"/>
                    <a:pt x="531" y="686"/>
                    <a:pt x="561" y="672"/>
                  </a:cubicBezTo>
                  <a:cubicBezTo>
                    <a:pt x="595" y="658"/>
                    <a:pt x="622" y="642"/>
                    <a:pt x="647" y="617"/>
                  </a:cubicBezTo>
                  <a:cubicBezTo>
                    <a:pt x="669" y="594"/>
                    <a:pt x="689" y="567"/>
                    <a:pt x="703" y="536"/>
                  </a:cubicBezTo>
                  <a:cubicBezTo>
                    <a:pt x="714" y="503"/>
                    <a:pt x="722" y="467"/>
                    <a:pt x="722" y="428"/>
                  </a:cubicBezTo>
                  <a:cubicBezTo>
                    <a:pt x="722" y="350"/>
                    <a:pt x="697" y="289"/>
                    <a:pt x="650" y="239"/>
                  </a:cubicBezTo>
                  <a:cubicBezTo>
                    <a:pt x="600" y="192"/>
                    <a:pt x="536" y="167"/>
                    <a:pt x="456" y="167"/>
                  </a:cubicBezTo>
                  <a:cubicBezTo>
                    <a:pt x="414" y="167"/>
                    <a:pt x="378" y="172"/>
                    <a:pt x="345" y="186"/>
                  </a:cubicBezTo>
                  <a:cubicBezTo>
                    <a:pt x="314" y="200"/>
                    <a:pt x="286" y="219"/>
                    <a:pt x="261" y="242"/>
                  </a:cubicBezTo>
                  <a:cubicBezTo>
                    <a:pt x="239" y="267"/>
                    <a:pt x="222" y="294"/>
                    <a:pt x="208" y="325"/>
                  </a:cubicBezTo>
                  <a:cubicBezTo>
                    <a:pt x="197" y="358"/>
                    <a:pt x="192" y="392"/>
                    <a:pt x="192" y="428"/>
                  </a:cubicBezTo>
                  <a:cubicBezTo>
                    <a:pt x="192" y="467"/>
                    <a:pt x="197" y="500"/>
                    <a:pt x="211" y="530"/>
                  </a:cubicBezTo>
                  <a:cubicBezTo>
                    <a:pt x="222" y="564"/>
                    <a:pt x="242" y="592"/>
                    <a:pt x="264" y="617"/>
                  </a:cubicBezTo>
                  <a:cubicBezTo>
                    <a:pt x="289" y="639"/>
                    <a:pt x="317" y="658"/>
                    <a:pt x="347" y="672"/>
                  </a:cubicBezTo>
                  <a:cubicBezTo>
                    <a:pt x="381" y="683"/>
                    <a:pt x="417" y="692"/>
                    <a:pt x="456" y="692"/>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5" name="Freeform 12">
              <a:extLst>
                <a:ext uri="{FF2B5EF4-FFF2-40B4-BE49-F238E27FC236}">
                  <a16:creationId xmlns:a16="http://schemas.microsoft.com/office/drawing/2014/main" id="{F56C2BA7-15B0-DA44-BEC3-24CC829F81BF}"/>
                </a:ext>
              </a:extLst>
            </p:cNvPr>
            <p:cNvSpPr>
              <a:spLocks noChangeArrowheads="1"/>
            </p:cNvSpPr>
            <p:nvPr userDrawn="1"/>
          </p:nvSpPr>
          <p:spPr bwMode="auto">
            <a:xfrm>
              <a:off x="5929313" y="3141663"/>
              <a:ext cx="315912" cy="312737"/>
            </a:xfrm>
            <a:custGeom>
              <a:avLst/>
              <a:gdLst>
                <a:gd name="T0" fmla="*/ 867 w 876"/>
                <a:gd name="T1" fmla="*/ 498 h 868"/>
                <a:gd name="T2" fmla="*/ 867 w 876"/>
                <a:gd name="T3" fmla="*/ 498 h 868"/>
                <a:gd name="T4" fmla="*/ 184 w 876"/>
                <a:gd name="T5" fmla="*/ 498 h 868"/>
                <a:gd name="T6" fmla="*/ 270 w 876"/>
                <a:gd name="T7" fmla="*/ 650 h 868"/>
                <a:gd name="T8" fmla="*/ 459 w 876"/>
                <a:gd name="T9" fmla="*/ 706 h 868"/>
                <a:gd name="T10" fmla="*/ 595 w 876"/>
                <a:gd name="T11" fmla="*/ 684 h 868"/>
                <a:gd name="T12" fmla="*/ 703 w 876"/>
                <a:gd name="T13" fmla="*/ 617 h 868"/>
                <a:gd name="T14" fmla="*/ 817 w 876"/>
                <a:gd name="T15" fmla="*/ 725 h 868"/>
                <a:gd name="T16" fmla="*/ 742 w 876"/>
                <a:gd name="T17" fmla="*/ 786 h 868"/>
                <a:gd name="T18" fmla="*/ 653 w 876"/>
                <a:gd name="T19" fmla="*/ 831 h 868"/>
                <a:gd name="T20" fmla="*/ 553 w 876"/>
                <a:gd name="T21" fmla="*/ 859 h 868"/>
                <a:gd name="T22" fmla="*/ 456 w 876"/>
                <a:gd name="T23" fmla="*/ 867 h 868"/>
                <a:gd name="T24" fmla="*/ 267 w 876"/>
                <a:gd name="T25" fmla="*/ 836 h 868"/>
                <a:gd name="T26" fmla="*/ 125 w 876"/>
                <a:gd name="T27" fmla="*/ 748 h 868"/>
                <a:gd name="T28" fmla="*/ 34 w 876"/>
                <a:gd name="T29" fmla="*/ 609 h 868"/>
                <a:gd name="T30" fmla="*/ 0 w 876"/>
                <a:gd name="T31" fmla="*/ 431 h 868"/>
                <a:gd name="T32" fmla="*/ 34 w 876"/>
                <a:gd name="T33" fmla="*/ 256 h 868"/>
                <a:gd name="T34" fmla="*/ 125 w 876"/>
                <a:gd name="T35" fmla="*/ 120 h 868"/>
                <a:gd name="T36" fmla="*/ 264 w 876"/>
                <a:gd name="T37" fmla="*/ 31 h 868"/>
                <a:gd name="T38" fmla="*/ 442 w 876"/>
                <a:gd name="T39" fmla="*/ 0 h 868"/>
                <a:gd name="T40" fmla="*/ 628 w 876"/>
                <a:gd name="T41" fmla="*/ 31 h 868"/>
                <a:gd name="T42" fmla="*/ 770 w 876"/>
                <a:gd name="T43" fmla="*/ 125 h 868"/>
                <a:gd name="T44" fmla="*/ 853 w 876"/>
                <a:gd name="T45" fmla="*/ 278 h 868"/>
                <a:gd name="T46" fmla="*/ 867 w 876"/>
                <a:gd name="T47" fmla="*/ 498 h 868"/>
                <a:gd name="T48" fmla="*/ 186 w 876"/>
                <a:gd name="T49" fmla="*/ 353 h 868"/>
                <a:gd name="T50" fmla="*/ 186 w 876"/>
                <a:gd name="T51" fmla="*/ 353 h 868"/>
                <a:gd name="T52" fmla="*/ 698 w 876"/>
                <a:gd name="T53" fmla="*/ 353 h 868"/>
                <a:gd name="T54" fmla="*/ 623 w 876"/>
                <a:gd name="T55" fmla="*/ 203 h 868"/>
                <a:gd name="T56" fmla="*/ 448 w 876"/>
                <a:gd name="T57" fmla="*/ 153 h 868"/>
                <a:gd name="T58" fmla="*/ 278 w 876"/>
                <a:gd name="T59" fmla="*/ 203 h 868"/>
                <a:gd name="T60" fmla="*/ 186 w 876"/>
                <a:gd name="T61" fmla="*/ 353 h 868"/>
                <a:gd name="T62" fmla="*/ 867 w 876"/>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8">
                  <a:moveTo>
                    <a:pt x="867" y="498"/>
                  </a:moveTo>
                  <a:lnTo>
                    <a:pt x="867" y="498"/>
                  </a:lnTo>
                  <a:cubicBezTo>
                    <a:pt x="184" y="498"/>
                    <a:pt x="184" y="498"/>
                    <a:pt x="184" y="498"/>
                  </a:cubicBezTo>
                  <a:cubicBezTo>
                    <a:pt x="192" y="562"/>
                    <a:pt x="220" y="611"/>
                    <a:pt x="270" y="650"/>
                  </a:cubicBezTo>
                  <a:cubicBezTo>
                    <a:pt x="317" y="686"/>
                    <a:pt x="381" y="706"/>
                    <a:pt x="459" y="706"/>
                  </a:cubicBezTo>
                  <a:cubicBezTo>
                    <a:pt x="503" y="706"/>
                    <a:pt x="547" y="698"/>
                    <a:pt x="595" y="684"/>
                  </a:cubicBezTo>
                  <a:cubicBezTo>
                    <a:pt x="639" y="667"/>
                    <a:pt x="675" y="645"/>
                    <a:pt x="703" y="617"/>
                  </a:cubicBezTo>
                  <a:cubicBezTo>
                    <a:pt x="817" y="725"/>
                    <a:pt x="817" y="725"/>
                    <a:pt x="817" y="725"/>
                  </a:cubicBezTo>
                  <a:cubicBezTo>
                    <a:pt x="795" y="750"/>
                    <a:pt x="770" y="770"/>
                    <a:pt x="742" y="786"/>
                  </a:cubicBezTo>
                  <a:cubicBezTo>
                    <a:pt x="714" y="806"/>
                    <a:pt x="684" y="820"/>
                    <a:pt x="653" y="831"/>
                  </a:cubicBezTo>
                  <a:cubicBezTo>
                    <a:pt x="620" y="845"/>
                    <a:pt x="589" y="853"/>
                    <a:pt x="553" y="859"/>
                  </a:cubicBezTo>
                  <a:cubicBezTo>
                    <a:pt x="520" y="864"/>
                    <a:pt x="486" y="867"/>
                    <a:pt x="456" y="867"/>
                  </a:cubicBezTo>
                  <a:cubicBezTo>
                    <a:pt x="386" y="867"/>
                    <a:pt x="323" y="856"/>
                    <a:pt x="267" y="836"/>
                  </a:cubicBezTo>
                  <a:cubicBezTo>
                    <a:pt x="211" y="814"/>
                    <a:pt x="164" y="786"/>
                    <a:pt x="125" y="748"/>
                  </a:cubicBezTo>
                  <a:cubicBezTo>
                    <a:pt x="86" y="709"/>
                    <a:pt x="56" y="664"/>
                    <a:pt x="34" y="609"/>
                  </a:cubicBezTo>
                  <a:cubicBezTo>
                    <a:pt x="11" y="556"/>
                    <a:pt x="0" y="495"/>
                    <a:pt x="0" y="431"/>
                  </a:cubicBezTo>
                  <a:cubicBezTo>
                    <a:pt x="0" y="367"/>
                    <a:pt x="11" y="309"/>
                    <a:pt x="34" y="256"/>
                  </a:cubicBezTo>
                  <a:cubicBezTo>
                    <a:pt x="56" y="203"/>
                    <a:pt x="86" y="159"/>
                    <a:pt x="125" y="120"/>
                  </a:cubicBezTo>
                  <a:cubicBezTo>
                    <a:pt x="161" y="84"/>
                    <a:pt x="209" y="53"/>
                    <a:pt x="264" y="31"/>
                  </a:cubicBezTo>
                  <a:cubicBezTo>
                    <a:pt x="317" y="12"/>
                    <a:pt x="378" y="0"/>
                    <a:pt x="442" y="0"/>
                  </a:cubicBezTo>
                  <a:cubicBezTo>
                    <a:pt x="511" y="0"/>
                    <a:pt x="573" y="12"/>
                    <a:pt x="628" y="31"/>
                  </a:cubicBezTo>
                  <a:cubicBezTo>
                    <a:pt x="684" y="53"/>
                    <a:pt x="731" y="84"/>
                    <a:pt x="770" y="125"/>
                  </a:cubicBezTo>
                  <a:cubicBezTo>
                    <a:pt x="806" y="164"/>
                    <a:pt x="834" y="217"/>
                    <a:pt x="853" y="278"/>
                  </a:cubicBezTo>
                  <a:cubicBezTo>
                    <a:pt x="870" y="342"/>
                    <a:pt x="875" y="414"/>
                    <a:pt x="867" y="498"/>
                  </a:cubicBezTo>
                  <a:lnTo>
                    <a:pt x="186" y="353"/>
                  </a:lnTo>
                  <a:lnTo>
                    <a:pt x="186" y="353"/>
                  </a:lnTo>
                  <a:cubicBezTo>
                    <a:pt x="698" y="353"/>
                    <a:pt x="698" y="353"/>
                    <a:pt x="698" y="353"/>
                  </a:cubicBezTo>
                  <a:cubicBezTo>
                    <a:pt x="692" y="287"/>
                    <a:pt x="667" y="236"/>
                    <a:pt x="623" y="203"/>
                  </a:cubicBezTo>
                  <a:cubicBezTo>
                    <a:pt x="578" y="170"/>
                    <a:pt x="520" y="153"/>
                    <a:pt x="448" y="153"/>
                  </a:cubicBezTo>
                  <a:cubicBezTo>
                    <a:pt x="384" y="153"/>
                    <a:pt x="328" y="170"/>
                    <a:pt x="278" y="203"/>
                  </a:cubicBezTo>
                  <a:cubicBezTo>
                    <a:pt x="231" y="236"/>
                    <a:pt x="200" y="287"/>
                    <a:pt x="186" y="353"/>
                  </a:cubicBezTo>
                  <a:lnTo>
                    <a:pt x="867"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6" name="Freeform 13">
              <a:extLst>
                <a:ext uri="{FF2B5EF4-FFF2-40B4-BE49-F238E27FC236}">
                  <a16:creationId xmlns:a16="http://schemas.microsoft.com/office/drawing/2014/main" id="{B56F7B07-2A5C-5740-9E94-CE949459735B}"/>
                </a:ext>
              </a:extLst>
            </p:cNvPr>
            <p:cNvSpPr>
              <a:spLocks noChangeArrowheads="1"/>
            </p:cNvSpPr>
            <p:nvPr userDrawn="1"/>
          </p:nvSpPr>
          <p:spPr bwMode="auto">
            <a:xfrm>
              <a:off x="6305550" y="3141663"/>
              <a:ext cx="228600" cy="303212"/>
            </a:xfrm>
            <a:custGeom>
              <a:avLst/>
              <a:gdLst>
                <a:gd name="T0" fmla="*/ 164 w 634"/>
                <a:gd name="T1" fmla="*/ 20 h 843"/>
                <a:gd name="T2" fmla="*/ 164 w 634"/>
                <a:gd name="T3" fmla="*/ 20 h 843"/>
                <a:gd name="T4" fmla="*/ 177 w 634"/>
                <a:gd name="T5" fmla="*/ 128 h 843"/>
                <a:gd name="T6" fmla="*/ 289 w 634"/>
                <a:gd name="T7" fmla="*/ 25 h 843"/>
                <a:gd name="T8" fmla="*/ 425 w 634"/>
                <a:gd name="T9" fmla="*/ 0 h 843"/>
                <a:gd name="T10" fmla="*/ 541 w 634"/>
                <a:gd name="T11" fmla="*/ 20 h 843"/>
                <a:gd name="T12" fmla="*/ 633 w 634"/>
                <a:gd name="T13" fmla="*/ 70 h 843"/>
                <a:gd name="T14" fmla="*/ 552 w 634"/>
                <a:gd name="T15" fmla="*/ 222 h 843"/>
                <a:gd name="T16" fmla="*/ 486 w 634"/>
                <a:gd name="T17" fmla="*/ 184 h 843"/>
                <a:gd name="T18" fmla="*/ 405 w 634"/>
                <a:gd name="T19" fmla="*/ 172 h 843"/>
                <a:gd name="T20" fmla="*/ 316 w 634"/>
                <a:gd name="T21" fmla="*/ 186 h 843"/>
                <a:gd name="T22" fmla="*/ 244 w 634"/>
                <a:gd name="T23" fmla="*/ 228 h 843"/>
                <a:gd name="T24" fmla="*/ 197 w 634"/>
                <a:gd name="T25" fmla="*/ 297 h 843"/>
                <a:gd name="T26" fmla="*/ 177 w 634"/>
                <a:gd name="T27" fmla="*/ 397 h 843"/>
                <a:gd name="T28" fmla="*/ 177 w 634"/>
                <a:gd name="T29" fmla="*/ 842 h 843"/>
                <a:gd name="T30" fmla="*/ 0 w 634"/>
                <a:gd name="T31" fmla="*/ 842 h 843"/>
                <a:gd name="T32" fmla="*/ 0 w 634"/>
                <a:gd name="T33" fmla="*/ 20 h 843"/>
                <a:gd name="T34" fmla="*/ 164 w 634"/>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4" h="843">
                  <a:moveTo>
                    <a:pt x="164" y="20"/>
                  </a:moveTo>
                  <a:lnTo>
                    <a:pt x="164" y="20"/>
                  </a:lnTo>
                  <a:cubicBezTo>
                    <a:pt x="177" y="128"/>
                    <a:pt x="177" y="128"/>
                    <a:pt x="177" y="128"/>
                  </a:cubicBezTo>
                  <a:cubicBezTo>
                    <a:pt x="208" y="75"/>
                    <a:pt x="244" y="42"/>
                    <a:pt x="289" y="25"/>
                  </a:cubicBezTo>
                  <a:cubicBezTo>
                    <a:pt x="333" y="9"/>
                    <a:pt x="380" y="0"/>
                    <a:pt x="425" y="0"/>
                  </a:cubicBezTo>
                  <a:cubicBezTo>
                    <a:pt x="466" y="0"/>
                    <a:pt x="505" y="9"/>
                    <a:pt x="541" y="20"/>
                  </a:cubicBezTo>
                  <a:cubicBezTo>
                    <a:pt x="577" y="34"/>
                    <a:pt x="608" y="50"/>
                    <a:pt x="633" y="70"/>
                  </a:cubicBezTo>
                  <a:cubicBezTo>
                    <a:pt x="552" y="222"/>
                    <a:pt x="552" y="222"/>
                    <a:pt x="552" y="222"/>
                  </a:cubicBezTo>
                  <a:cubicBezTo>
                    <a:pt x="530" y="206"/>
                    <a:pt x="508" y="192"/>
                    <a:pt x="486" y="184"/>
                  </a:cubicBezTo>
                  <a:cubicBezTo>
                    <a:pt x="464" y="175"/>
                    <a:pt x="436" y="172"/>
                    <a:pt x="405" y="172"/>
                  </a:cubicBezTo>
                  <a:cubicBezTo>
                    <a:pt x="372" y="172"/>
                    <a:pt x="344" y="175"/>
                    <a:pt x="316" y="186"/>
                  </a:cubicBezTo>
                  <a:cubicBezTo>
                    <a:pt x="289" y="195"/>
                    <a:pt x="266" y="209"/>
                    <a:pt x="244" y="228"/>
                  </a:cubicBezTo>
                  <a:cubicBezTo>
                    <a:pt x="225" y="245"/>
                    <a:pt x="208" y="270"/>
                    <a:pt x="197" y="297"/>
                  </a:cubicBezTo>
                  <a:cubicBezTo>
                    <a:pt x="183" y="325"/>
                    <a:pt x="177" y="359"/>
                    <a:pt x="177" y="397"/>
                  </a:cubicBezTo>
                  <a:cubicBezTo>
                    <a:pt x="177" y="842"/>
                    <a:pt x="177" y="842"/>
                    <a:pt x="177"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7" name="Freeform 14">
              <a:extLst>
                <a:ext uri="{FF2B5EF4-FFF2-40B4-BE49-F238E27FC236}">
                  <a16:creationId xmlns:a16="http://schemas.microsoft.com/office/drawing/2014/main" id="{A106F4E9-EEB2-DC41-A93F-38BD6AC491A0}"/>
                </a:ext>
              </a:extLst>
            </p:cNvPr>
            <p:cNvSpPr>
              <a:spLocks noChangeArrowheads="1"/>
            </p:cNvSpPr>
            <p:nvPr userDrawn="1"/>
          </p:nvSpPr>
          <p:spPr bwMode="auto">
            <a:xfrm>
              <a:off x="6577013" y="3148013"/>
              <a:ext cx="63500" cy="296862"/>
            </a:xfrm>
            <a:custGeom>
              <a:avLst/>
              <a:gdLst>
                <a:gd name="T0" fmla="*/ 175 w 176"/>
                <a:gd name="T1" fmla="*/ 825 h 826"/>
                <a:gd name="T2" fmla="*/ 0 w 176"/>
                <a:gd name="T3" fmla="*/ 825 h 826"/>
                <a:gd name="T4" fmla="*/ 0 w 176"/>
                <a:gd name="T5" fmla="*/ 0 h 826"/>
                <a:gd name="T6" fmla="*/ 175 w 176"/>
                <a:gd name="T7" fmla="*/ 0 h 826"/>
                <a:gd name="T8" fmla="*/ 175 w 176"/>
                <a:gd name="T9" fmla="*/ 825 h 826"/>
              </a:gdLst>
              <a:ahLst/>
              <a:cxnLst>
                <a:cxn ang="0">
                  <a:pos x="T0" y="T1"/>
                </a:cxn>
                <a:cxn ang="0">
                  <a:pos x="T2" y="T3"/>
                </a:cxn>
                <a:cxn ang="0">
                  <a:pos x="T4" y="T5"/>
                </a:cxn>
                <a:cxn ang="0">
                  <a:pos x="T6" y="T7"/>
                </a:cxn>
                <a:cxn ang="0">
                  <a:pos x="T8" y="T9"/>
                </a:cxn>
              </a:cxnLst>
              <a:rect l="0" t="0" r="r" b="b"/>
              <a:pathLst>
                <a:path w="176" h="826">
                  <a:moveTo>
                    <a:pt x="175" y="825"/>
                  </a:moveTo>
                  <a:lnTo>
                    <a:pt x="0" y="825"/>
                  </a:lnTo>
                  <a:lnTo>
                    <a:pt x="0" y="0"/>
                  </a:lnTo>
                  <a:lnTo>
                    <a:pt x="175" y="0"/>
                  </a:lnTo>
                  <a:lnTo>
                    <a:pt x="175" y="8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8" name="Freeform 15">
              <a:extLst>
                <a:ext uri="{FF2B5EF4-FFF2-40B4-BE49-F238E27FC236}">
                  <a16:creationId xmlns:a16="http://schemas.microsoft.com/office/drawing/2014/main" id="{7C174984-9E4C-8940-ACB5-80FD2A6E2308}"/>
                </a:ext>
              </a:extLst>
            </p:cNvPr>
            <p:cNvSpPr>
              <a:spLocks noChangeArrowheads="1"/>
            </p:cNvSpPr>
            <p:nvPr userDrawn="1"/>
          </p:nvSpPr>
          <p:spPr bwMode="auto">
            <a:xfrm>
              <a:off x="6707188" y="3141663"/>
              <a:ext cx="314325" cy="312737"/>
            </a:xfrm>
            <a:custGeom>
              <a:avLst/>
              <a:gdLst>
                <a:gd name="T0" fmla="*/ 864 w 873"/>
                <a:gd name="T1" fmla="*/ 498 h 868"/>
                <a:gd name="T2" fmla="*/ 864 w 873"/>
                <a:gd name="T3" fmla="*/ 498 h 868"/>
                <a:gd name="T4" fmla="*/ 184 w 873"/>
                <a:gd name="T5" fmla="*/ 498 h 868"/>
                <a:gd name="T6" fmla="*/ 267 w 873"/>
                <a:gd name="T7" fmla="*/ 650 h 868"/>
                <a:gd name="T8" fmla="*/ 459 w 873"/>
                <a:gd name="T9" fmla="*/ 706 h 868"/>
                <a:gd name="T10" fmla="*/ 592 w 873"/>
                <a:gd name="T11" fmla="*/ 684 h 868"/>
                <a:gd name="T12" fmla="*/ 700 w 873"/>
                <a:gd name="T13" fmla="*/ 617 h 868"/>
                <a:gd name="T14" fmla="*/ 817 w 873"/>
                <a:gd name="T15" fmla="*/ 725 h 868"/>
                <a:gd name="T16" fmla="*/ 742 w 873"/>
                <a:gd name="T17" fmla="*/ 786 h 868"/>
                <a:gd name="T18" fmla="*/ 650 w 873"/>
                <a:gd name="T19" fmla="*/ 831 h 868"/>
                <a:gd name="T20" fmla="*/ 553 w 873"/>
                <a:gd name="T21" fmla="*/ 859 h 868"/>
                <a:gd name="T22" fmla="*/ 453 w 873"/>
                <a:gd name="T23" fmla="*/ 867 h 868"/>
                <a:gd name="T24" fmla="*/ 267 w 873"/>
                <a:gd name="T25" fmla="*/ 836 h 868"/>
                <a:gd name="T26" fmla="*/ 123 w 873"/>
                <a:gd name="T27" fmla="*/ 748 h 868"/>
                <a:gd name="T28" fmla="*/ 34 w 873"/>
                <a:gd name="T29" fmla="*/ 609 h 868"/>
                <a:gd name="T30" fmla="*/ 0 w 873"/>
                <a:gd name="T31" fmla="*/ 431 h 868"/>
                <a:gd name="T32" fmla="*/ 34 w 873"/>
                <a:gd name="T33" fmla="*/ 256 h 868"/>
                <a:gd name="T34" fmla="*/ 123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7 w 873"/>
                <a:gd name="T53" fmla="*/ 353 h 868"/>
                <a:gd name="T54" fmla="*/ 622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4" y="498"/>
                    <a:pt x="184" y="498"/>
                    <a:pt x="184" y="498"/>
                  </a:cubicBezTo>
                  <a:cubicBezTo>
                    <a:pt x="189" y="562"/>
                    <a:pt x="220" y="611"/>
                    <a:pt x="267" y="650"/>
                  </a:cubicBezTo>
                  <a:cubicBezTo>
                    <a:pt x="317" y="686"/>
                    <a:pt x="381" y="706"/>
                    <a:pt x="459" y="706"/>
                  </a:cubicBezTo>
                  <a:cubicBezTo>
                    <a:pt x="500" y="706"/>
                    <a:pt x="545" y="698"/>
                    <a:pt x="592" y="684"/>
                  </a:cubicBezTo>
                  <a:cubicBezTo>
                    <a:pt x="639" y="667"/>
                    <a:pt x="675" y="645"/>
                    <a:pt x="700" y="617"/>
                  </a:cubicBezTo>
                  <a:cubicBezTo>
                    <a:pt x="817" y="725"/>
                    <a:pt x="817" y="725"/>
                    <a:pt x="817" y="725"/>
                  </a:cubicBezTo>
                  <a:cubicBezTo>
                    <a:pt x="795" y="750"/>
                    <a:pt x="770" y="770"/>
                    <a:pt x="742" y="786"/>
                  </a:cubicBezTo>
                  <a:cubicBezTo>
                    <a:pt x="711" y="806"/>
                    <a:pt x="684" y="820"/>
                    <a:pt x="650" y="831"/>
                  </a:cubicBezTo>
                  <a:cubicBezTo>
                    <a:pt x="620" y="845"/>
                    <a:pt x="586" y="853"/>
                    <a:pt x="553" y="859"/>
                  </a:cubicBezTo>
                  <a:cubicBezTo>
                    <a:pt x="520" y="864"/>
                    <a:pt x="486" y="867"/>
                    <a:pt x="453" y="867"/>
                  </a:cubicBezTo>
                  <a:cubicBezTo>
                    <a:pt x="384" y="867"/>
                    <a:pt x="322" y="856"/>
                    <a:pt x="267" y="836"/>
                  </a:cubicBezTo>
                  <a:cubicBezTo>
                    <a:pt x="211" y="814"/>
                    <a:pt x="164" y="786"/>
                    <a:pt x="123" y="748"/>
                  </a:cubicBezTo>
                  <a:cubicBezTo>
                    <a:pt x="84" y="709"/>
                    <a:pt x="53" y="664"/>
                    <a:pt x="34" y="609"/>
                  </a:cubicBezTo>
                  <a:cubicBezTo>
                    <a:pt x="11" y="556"/>
                    <a:pt x="0" y="495"/>
                    <a:pt x="0" y="431"/>
                  </a:cubicBezTo>
                  <a:cubicBezTo>
                    <a:pt x="0" y="367"/>
                    <a:pt x="11" y="309"/>
                    <a:pt x="34" y="256"/>
                  </a:cubicBezTo>
                  <a:cubicBezTo>
                    <a:pt x="53" y="203"/>
                    <a:pt x="84" y="159"/>
                    <a:pt x="123" y="120"/>
                  </a:cubicBezTo>
                  <a:cubicBezTo>
                    <a:pt x="161" y="84"/>
                    <a:pt x="209" y="53"/>
                    <a:pt x="261" y="31"/>
                  </a:cubicBezTo>
                  <a:cubicBezTo>
                    <a:pt x="317" y="12"/>
                    <a:pt x="375" y="0"/>
                    <a:pt x="442" y="0"/>
                  </a:cubicBezTo>
                  <a:cubicBezTo>
                    <a:pt x="511" y="0"/>
                    <a:pt x="572" y="12"/>
                    <a:pt x="628" y="31"/>
                  </a:cubicBezTo>
                  <a:cubicBezTo>
                    <a:pt x="684" y="53"/>
                    <a:pt x="728" y="84"/>
                    <a:pt x="767" y="125"/>
                  </a:cubicBezTo>
                  <a:cubicBezTo>
                    <a:pt x="806" y="164"/>
                    <a:pt x="834" y="217"/>
                    <a:pt x="850" y="278"/>
                  </a:cubicBezTo>
                  <a:cubicBezTo>
                    <a:pt x="870" y="342"/>
                    <a:pt x="872" y="414"/>
                    <a:pt x="864" y="498"/>
                  </a:cubicBezTo>
                  <a:lnTo>
                    <a:pt x="186" y="353"/>
                  </a:lnTo>
                  <a:lnTo>
                    <a:pt x="186" y="353"/>
                  </a:lnTo>
                  <a:cubicBezTo>
                    <a:pt x="697" y="353"/>
                    <a:pt x="697" y="353"/>
                    <a:pt x="697" y="353"/>
                  </a:cubicBezTo>
                  <a:cubicBezTo>
                    <a:pt x="692" y="287"/>
                    <a:pt x="667" y="236"/>
                    <a:pt x="622" y="203"/>
                  </a:cubicBezTo>
                  <a:cubicBezTo>
                    <a:pt x="578" y="170"/>
                    <a:pt x="520" y="153"/>
                    <a:pt x="447" y="153"/>
                  </a:cubicBezTo>
                  <a:cubicBezTo>
                    <a:pt x="384"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9" name="Freeform 16">
              <a:extLst>
                <a:ext uri="{FF2B5EF4-FFF2-40B4-BE49-F238E27FC236}">
                  <a16:creationId xmlns:a16="http://schemas.microsoft.com/office/drawing/2014/main" id="{11920894-A1A1-2741-ADAA-8275C1F38D3D}"/>
                </a:ext>
              </a:extLst>
            </p:cNvPr>
            <p:cNvSpPr>
              <a:spLocks noChangeArrowheads="1"/>
            </p:cNvSpPr>
            <p:nvPr userDrawn="1"/>
          </p:nvSpPr>
          <p:spPr bwMode="auto">
            <a:xfrm>
              <a:off x="7083425" y="3144838"/>
              <a:ext cx="293688" cy="301625"/>
            </a:xfrm>
            <a:custGeom>
              <a:avLst/>
              <a:gdLst>
                <a:gd name="T0" fmla="*/ 638 w 817"/>
                <a:gd name="T1" fmla="*/ 836 h 837"/>
                <a:gd name="T2" fmla="*/ 638 w 817"/>
                <a:gd name="T3" fmla="*/ 836 h 837"/>
                <a:gd name="T4" fmla="*/ 638 w 817"/>
                <a:gd name="T5" fmla="*/ 397 h 837"/>
                <a:gd name="T6" fmla="*/ 580 w 817"/>
                <a:gd name="T7" fmla="*/ 225 h 837"/>
                <a:gd name="T8" fmla="*/ 411 w 817"/>
                <a:gd name="T9" fmla="*/ 161 h 837"/>
                <a:gd name="T10" fmla="*/ 313 w 817"/>
                <a:gd name="T11" fmla="*/ 180 h 837"/>
                <a:gd name="T12" fmla="*/ 241 w 817"/>
                <a:gd name="T13" fmla="*/ 233 h 837"/>
                <a:gd name="T14" fmla="*/ 194 w 817"/>
                <a:gd name="T15" fmla="*/ 311 h 837"/>
                <a:gd name="T16" fmla="*/ 175 w 817"/>
                <a:gd name="T17" fmla="*/ 408 h 837"/>
                <a:gd name="T18" fmla="*/ 175 w 817"/>
                <a:gd name="T19" fmla="*/ 836 h 837"/>
                <a:gd name="T20" fmla="*/ 0 w 817"/>
                <a:gd name="T21" fmla="*/ 836 h 837"/>
                <a:gd name="T22" fmla="*/ 0 w 817"/>
                <a:gd name="T23" fmla="*/ 11 h 837"/>
                <a:gd name="T24" fmla="*/ 161 w 817"/>
                <a:gd name="T25" fmla="*/ 11 h 837"/>
                <a:gd name="T26" fmla="*/ 172 w 817"/>
                <a:gd name="T27" fmla="*/ 133 h 837"/>
                <a:gd name="T28" fmla="*/ 455 w 817"/>
                <a:gd name="T29" fmla="*/ 0 h 837"/>
                <a:gd name="T30" fmla="*/ 597 w 817"/>
                <a:gd name="T31" fmla="*/ 25 h 837"/>
                <a:gd name="T32" fmla="*/ 711 w 817"/>
                <a:gd name="T33" fmla="*/ 103 h 837"/>
                <a:gd name="T34" fmla="*/ 788 w 817"/>
                <a:gd name="T35" fmla="*/ 225 h 837"/>
                <a:gd name="T36" fmla="*/ 816 w 817"/>
                <a:gd name="T37" fmla="*/ 394 h 837"/>
                <a:gd name="T38" fmla="*/ 816 w 817"/>
                <a:gd name="T39" fmla="*/ 836 h 837"/>
                <a:gd name="T40" fmla="*/ 638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8" y="836"/>
                  </a:moveTo>
                  <a:lnTo>
                    <a:pt x="638" y="836"/>
                  </a:lnTo>
                  <a:cubicBezTo>
                    <a:pt x="638" y="397"/>
                    <a:pt x="638" y="397"/>
                    <a:pt x="638" y="397"/>
                  </a:cubicBezTo>
                  <a:cubicBezTo>
                    <a:pt x="638" y="325"/>
                    <a:pt x="619" y="269"/>
                    <a:pt x="580" y="225"/>
                  </a:cubicBezTo>
                  <a:cubicBezTo>
                    <a:pt x="541" y="183"/>
                    <a:pt x="483" y="161"/>
                    <a:pt x="411" y="161"/>
                  </a:cubicBezTo>
                  <a:cubicBezTo>
                    <a:pt x="375" y="161"/>
                    <a:pt x="344" y="166"/>
                    <a:pt x="313" y="180"/>
                  </a:cubicBezTo>
                  <a:cubicBezTo>
                    <a:pt x="286" y="191"/>
                    <a:pt x="261" y="211"/>
                    <a:pt x="241" y="233"/>
                  </a:cubicBezTo>
                  <a:cubicBezTo>
                    <a:pt x="219" y="255"/>
                    <a:pt x="205" y="283"/>
                    <a:pt x="194" y="311"/>
                  </a:cubicBezTo>
                  <a:cubicBezTo>
                    <a:pt x="180" y="341"/>
                    <a:pt x="175" y="375"/>
                    <a:pt x="175" y="408"/>
                  </a:cubicBezTo>
                  <a:cubicBezTo>
                    <a:pt x="175" y="836"/>
                    <a:pt x="175" y="836"/>
                    <a:pt x="175" y="836"/>
                  </a:cubicBezTo>
                  <a:cubicBezTo>
                    <a:pt x="0" y="836"/>
                    <a:pt x="0" y="836"/>
                    <a:pt x="0" y="836"/>
                  </a:cubicBezTo>
                  <a:cubicBezTo>
                    <a:pt x="0" y="11"/>
                    <a:pt x="0" y="11"/>
                    <a:pt x="0" y="11"/>
                  </a:cubicBezTo>
                  <a:cubicBezTo>
                    <a:pt x="161" y="11"/>
                    <a:pt x="161" y="11"/>
                    <a:pt x="161" y="11"/>
                  </a:cubicBezTo>
                  <a:cubicBezTo>
                    <a:pt x="172" y="133"/>
                    <a:pt x="172" y="133"/>
                    <a:pt x="172" y="133"/>
                  </a:cubicBezTo>
                  <a:cubicBezTo>
                    <a:pt x="250" y="44"/>
                    <a:pt x="344" y="0"/>
                    <a:pt x="455" y="0"/>
                  </a:cubicBezTo>
                  <a:cubicBezTo>
                    <a:pt x="505" y="0"/>
                    <a:pt x="552" y="8"/>
                    <a:pt x="597" y="25"/>
                  </a:cubicBezTo>
                  <a:cubicBezTo>
                    <a:pt x="641" y="44"/>
                    <a:pt x="677" y="69"/>
                    <a:pt x="711" y="103"/>
                  </a:cubicBezTo>
                  <a:cubicBezTo>
                    <a:pt x="744" y="136"/>
                    <a:pt x="769" y="178"/>
                    <a:pt x="788" y="225"/>
                  </a:cubicBezTo>
                  <a:cubicBezTo>
                    <a:pt x="808" y="275"/>
                    <a:pt x="816" y="330"/>
                    <a:pt x="816" y="394"/>
                  </a:cubicBezTo>
                  <a:cubicBezTo>
                    <a:pt x="816" y="836"/>
                    <a:pt x="816" y="836"/>
                    <a:pt x="816" y="836"/>
                  </a:cubicBezTo>
                  <a:lnTo>
                    <a:pt x="638"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0" name="Freeform 17">
              <a:extLst>
                <a:ext uri="{FF2B5EF4-FFF2-40B4-BE49-F238E27FC236}">
                  <a16:creationId xmlns:a16="http://schemas.microsoft.com/office/drawing/2014/main" id="{1C889C22-C97B-7F4B-838F-9C019CF80E6F}"/>
                </a:ext>
              </a:extLst>
            </p:cNvPr>
            <p:cNvSpPr>
              <a:spLocks noChangeArrowheads="1"/>
            </p:cNvSpPr>
            <p:nvPr userDrawn="1"/>
          </p:nvSpPr>
          <p:spPr bwMode="auto">
            <a:xfrm>
              <a:off x="7440613" y="3141663"/>
              <a:ext cx="274637" cy="311150"/>
            </a:xfrm>
            <a:custGeom>
              <a:avLst/>
              <a:gdLst>
                <a:gd name="T0" fmla="*/ 761 w 762"/>
                <a:gd name="T1" fmla="*/ 736 h 865"/>
                <a:gd name="T2" fmla="*/ 761 w 762"/>
                <a:gd name="T3" fmla="*/ 736 h 865"/>
                <a:gd name="T4" fmla="*/ 614 w 762"/>
                <a:gd name="T5" fmla="*/ 833 h 865"/>
                <a:gd name="T6" fmla="*/ 442 w 762"/>
                <a:gd name="T7" fmla="*/ 864 h 865"/>
                <a:gd name="T8" fmla="*/ 272 w 762"/>
                <a:gd name="T9" fmla="*/ 836 h 865"/>
                <a:gd name="T10" fmla="*/ 131 w 762"/>
                <a:gd name="T11" fmla="*/ 756 h 865"/>
                <a:gd name="T12" fmla="*/ 34 w 762"/>
                <a:gd name="T13" fmla="*/ 620 h 865"/>
                <a:gd name="T14" fmla="*/ 0 w 762"/>
                <a:gd name="T15" fmla="*/ 431 h 865"/>
                <a:gd name="T16" fmla="*/ 34 w 762"/>
                <a:gd name="T17" fmla="*/ 245 h 865"/>
                <a:gd name="T18" fmla="*/ 131 w 762"/>
                <a:gd name="T19" fmla="*/ 109 h 865"/>
                <a:gd name="T20" fmla="*/ 270 w 762"/>
                <a:gd name="T21" fmla="*/ 28 h 865"/>
                <a:gd name="T22" fmla="*/ 442 w 762"/>
                <a:gd name="T23" fmla="*/ 0 h 865"/>
                <a:gd name="T24" fmla="*/ 603 w 762"/>
                <a:gd name="T25" fmla="*/ 28 h 865"/>
                <a:gd name="T26" fmla="*/ 747 w 762"/>
                <a:gd name="T27" fmla="*/ 122 h 865"/>
                <a:gd name="T28" fmla="*/ 633 w 762"/>
                <a:gd name="T29" fmla="*/ 236 h 865"/>
                <a:gd name="T30" fmla="*/ 545 w 762"/>
                <a:gd name="T31" fmla="*/ 181 h 865"/>
                <a:gd name="T32" fmla="*/ 445 w 762"/>
                <a:gd name="T33" fmla="*/ 164 h 865"/>
                <a:gd name="T34" fmla="*/ 339 w 762"/>
                <a:gd name="T35" fmla="*/ 181 h 865"/>
                <a:gd name="T36" fmla="*/ 253 w 762"/>
                <a:gd name="T37" fmla="*/ 236 h 865"/>
                <a:gd name="T38" fmla="*/ 195 w 762"/>
                <a:gd name="T39" fmla="*/ 320 h 865"/>
                <a:gd name="T40" fmla="*/ 175 w 762"/>
                <a:gd name="T41" fmla="*/ 431 h 865"/>
                <a:gd name="T42" fmla="*/ 197 w 762"/>
                <a:gd name="T43" fmla="*/ 547 h 865"/>
                <a:gd name="T44" fmla="*/ 253 w 762"/>
                <a:gd name="T45" fmla="*/ 631 h 865"/>
                <a:gd name="T46" fmla="*/ 339 w 762"/>
                <a:gd name="T47" fmla="*/ 681 h 865"/>
                <a:gd name="T48" fmla="*/ 442 w 762"/>
                <a:gd name="T49" fmla="*/ 697 h 865"/>
                <a:gd name="T50" fmla="*/ 550 w 762"/>
                <a:gd name="T51" fmla="*/ 681 h 865"/>
                <a:gd name="T52" fmla="*/ 642 w 762"/>
                <a:gd name="T53" fmla="*/ 620 h 865"/>
                <a:gd name="T54" fmla="*/ 761 w 762"/>
                <a:gd name="T55" fmla="*/ 736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62" h="865">
                  <a:moveTo>
                    <a:pt x="761" y="736"/>
                  </a:moveTo>
                  <a:lnTo>
                    <a:pt x="761" y="736"/>
                  </a:lnTo>
                  <a:cubicBezTo>
                    <a:pt x="714" y="781"/>
                    <a:pt x="664" y="814"/>
                    <a:pt x="614" y="833"/>
                  </a:cubicBezTo>
                  <a:cubicBezTo>
                    <a:pt x="561" y="856"/>
                    <a:pt x="503" y="864"/>
                    <a:pt x="442" y="864"/>
                  </a:cubicBezTo>
                  <a:cubicBezTo>
                    <a:pt x="383" y="864"/>
                    <a:pt x="325" y="856"/>
                    <a:pt x="272" y="836"/>
                  </a:cubicBezTo>
                  <a:cubicBezTo>
                    <a:pt x="217" y="820"/>
                    <a:pt x="170" y="792"/>
                    <a:pt x="131" y="756"/>
                  </a:cubicBezTo>
                  <a:cubicBezTo>
                    <a:pt x="89" y="720"/>
                    <a:pt x="58" y="675"/>
                    <a:pt x="34" y="620"/>
                  </a:cubicBezTo>
                  <a:cubicBezTo>
                    <a:pt x="11" y="567"/>
                    <a:pt x="0" y="503"/>
                    <a:pt x="0" y="431"/>
                  </a:cubicBezTo>
                  <a:cubicBezTo>
                    <a:pt x="0" y="361"/>
                    <a:pt x="11" y="297"/>
                    <a:pt x="34" y="245"/>
                  </a:cubicBezTo>
                  <a:cubicBezTo>
                    <a:pt x="58" y="189"/>
                    <a:pt x="89" y="145"/>
                    <a:pt x="131" y="109"/>
                  </a:cubicBezTo>
                  <a:cubicBezTo>
                    <a:pt x="170" y="72"/>
                    <a:pt x="217" y="45"/>
                    <a:pt x="270" y="28"/>
                  </a:cubicBezTo>
                  <a:cubicBezTo>
                    <a:pt x="325" y="9"/>
                    <a:pt x="381" y="0"/>
                    <a:pt x="442" y="0"/>
                  </a:cubicBezTo>
                  <a:cubicBezTo>
                    <a:pt x="500" y="0"/>
                    <a:pt x="556" y="9"/>
                    <a:pt x="603" y="28"/>
                  </a:cubicBezTo>
                  <a:cubicBezTo>
                    <a:pt x="653" y="47"/>
                    <a:pt x="700" y="78"/>
                    <a:pt x="747" y="122"/>
                  </a:cubicBezTo>
                  <a:cubicBezTo>
                    <a:pt x="633" y="236"/>
                    <a:pt x="633" y="236"/>
                    <a:pt x="633" y="236"/>
                  </a:cubicBezTo>
                  <a:cubicBezTo>
                    <a:pt x="608" y="211"/>
                    <a:pt x="578" y="192"/>
                    <a:pt x="545" y="181"/>
                  </a:cubicBezTo>
                  <a:cubicBezTo>
                    <a:pt x="511" y="170"/>
                    <a:pt x="478" y="164"/>
                    <a:pt x="445" y="164"/>
                  </a:cubicBezTo>
                  <a:cubicBezTo>
                    <a:pt x="406" y="164"/>
                    <a:pt x="372" y="170"/>
                    <a:pt x="339" y="181"/>
                  </a:cubicBezTo>
                  <a:cubicBezTo>
                    <a:pt x="306" y="195"/>
                    <a:pt x="278" y="214"/>
                    <a:pt x="253" y="236"/>
                  </a:cubicBezTo>
                  <a:cubicBezTo>
                    <a:pt x="228" y="259"/>
                    <a:pt x="209" y="289"/>
                    <a:pt x="195" y="320"/>
                  </a:cubicBezTo>
                  <a:cubicBezTo>
                    <a:pt x="181" y="353"/>
                    <a:pt x="175" y="392"/>
                    <a:pt x="175" y="431"/>
                  </a:cubicBezTo>
                  <a:cubicBezTo>
                    <a:pt x="175" y="475"/>
                    <a:pt x="181" y="514"/>
                    <a:pt x="197" y="547"/>
                  </a:cubicBezTo>
                  <a:cubicBezTo>
                    <a:pt x="211" y="578"/>
                    <a:pt x="231" y="606"/>
                    <a:pt x="253" y="631"/>
                  </a:cubicBezTo>
                  <a:cubicBezTo>
                    <a:pt x="278" y="653"/>
                    <a:pt x="309" y="670"/>
                    <a:pt x="339" y="681"/>
                  </a:cubicBezTo>
                  <a:cubicBezTo>
                    <a:pt x="372" y="692"/>
                    <a:pt x="406" y="697"/>
                    <a:pt x="442" y="697"/>
                  </a:cubicBezTo>
                  <a:cubicBezTo>
                    <a:pt x="478" y="697"/>
                    <a:pt x="514" y="692"/>
                    <a:pt x="550" y="681"/>
                  </a:cubicBezTo>
                  <a:cubicBezTo>
                    <a:pt x="583" y="670"/>
                    <a:pt x="614" y="647"/>
                    <a:pt x="642" y="620"/>
                  </a:cubicBezTo>
                  <a:lnTo>
                    <a:pt x="761" y="7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1" name="Freeform 18">
              <a:extLst>
                <a:ext uri="{FF2B5EF4-FFF2-40B4-BE49-F238E27FC236}">
                  <a16:creationId xmlns:a16="http://schemas.microsoft.com/office/drawing/2014/main" id="{923E9F78-DC24-3F43-9DC2-655AF0EC2C2B}"/>
                </a:ext>
              </a:extLst>
            </p:cNvPr>
            <p:cNvSpPr>
              <a:spLocks noChangeArrowheads="1"/>
            </p:cNvSpPr>
            <p:nvPr userDrawn="1"/>
          </p:nvSpPr>
          <p:spPr bwMode="auto">
            <a:xfrm>
              <a:off x="7747000" y="3141663"/>
              <a:ext cx="314325" cy="312737"/>
            </a:xfrm>
            <a:custGeom>
              <a:avLst/>
              <a:gdLst>
                <a:gd name="T0" fmla="*/ 864 w 873"/>
                <a:gd name="T1" fmla="*/ 498 h 868"/>
                <a:gd name="T2" fmla="*/ 864 w 873"/>
                <a:gd name="T3" fmla="*/ 498 h 868"/>
                <a:gd name="T4" fmla="*/ 181 w 873"/>
                <a:gd name="T5" fmla="*/ 498 h 868"/>
                <a:gd name="T6" fmla="*/ 267 w 873"/>
                <a:gd name="T7" fmla="*/ 650 h 868"/>
                <a:gd name="T8" fmla="*/ 456 w 873"/>
                <a:gd name="T9" fmla="*/ 706 h 868"/>
                <a:gd name="T10" fmla="*/ 592 w 873"/>
                <a:gd name="T11" fmla="*/ 684 h 868"/>
                <a:gd name="T12" fmla="*/ 700 w 873"/>
                <a:gd name="T13" fmla="*/ 617 h 868"/>
                <a:gd name="T14" fmla="*/ 817 w 873"/>
                <a:gd name="T15" fmla="*/ 725 h 868"/>
                <a:gd name="T16" fmla="*/ 739 w 873"/>
                <a:gd name="T17" fmla="*/ 786 h 868"/>
                <a:gd name="T18" fmla="*/ 650 w 873"/>
                <a:gd name="T19" fmla="*/ 831 h 868"/>
                <a:gd name="T20" fmla="*/ 553 w 873"/>
                <a:gd name="T21" fmla="*/ 859 h 868"/>
                <a:gd name="T22" fmla="*/ 453 w 873"/>
                <a:gd name="T23" fmla="*/ 867 h 868"/>
                <a:gd name="T24" fmla="*/ 267 w 873"/>
                <a:gd name="T25" fmla="*/ 836 h 868"/>
                <a:gd name="T26" fmla="*/ 122 w 873"/>
                <a:gd name="T27" fmla="*/ 748 h 868"/>
                <a:gd name="T28" fmla="*/ 31 w 873"/>
                <a:gd name="T29" fmla="*/ 609 h 868"/>
                <a:gd name="T30" fmla="*/ 0 w 873"/>
                <a:gd name="T31" fmla="*/ 431 h 868"/>
                <a:gd name="T32" fmla="*/ 31 w 873"/>
                <a:gd name="T33" fmla="*/ 256 h 868"/>
                <a:gd name="T34" fmla="*/ 122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4 w 873"/>
                <a:gd name="T53" fmla="*/ 353 h 868"/>
                <a:gd name="T54" fmla="*/ 619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1" y="498"/>
                    <a:pt x="181" y="498"/>
                    <a:pt x="181" y="498"/>
                  </a:cubicBezTo>
                  <a:cubicBezTo>
                    <a:pt x="189" y="562"/>
                    <a:pt x="219" y="611"/>
                    <a:pt x="267" y="650"/>
                  </a:cubicBezTo>
                  <a:cubicBezTo>
                    <a:pt x="317" y="686"/>
                    <a:pt x="381" y="706"/>
                    <a:pt x="456" y="706"/>
                  </a:cubicBezTo>
                  <a:cubicBezTo>
                    <a:pt x="500" y="706"/>
                    <a:pt x="544" y="698"/>
                    <a:pt x="592" y="684"/>
                  </a:cubicBezTo>
                  <a:cubicBezTo>
                    <a:pt x="639" y="667"/>
                    <a:pt x="675" y="645"/>
                    <a:pt x="700" y="617"/>
                  </a:cubicBezTo>
                  <a:cubicBezTo>
                    <a:pt x="817" y="725"/>
                    <a:pt x="817" y="725"/>
                    <a:pt x="817" y="725"/>
                  </a:cubicBezTo>
                  <a:cubicBezTo>
                    <a:pt x="794" y="750"/>
                    <a:pt x="769" y="770"/>
                    <a:pt x="739" y="786"/>
                  </a:cubicBezTo>
                  <a:cubicBezTo>
                    <a:pt x="711" y="806"/>
                    <a:pt x="681" y="820"/>
                    <a:pt x="650" y="831"/>
                  </a:cubicBezTo>
                  <a:cubicBezTo>
                    <a:pt x="619" y="845"/>
                    <a:pt x="586" y="853"/>
                    <a:pt x="553" y="859"/>
                  </a:cubicBezTo>
                  <a:cubicBezTo>
                    <a:pt x="519" y="864"/>
                    <a:pt x="486" y="867"/>
                    <a:pt x="453" y="867"/>
                  </a:cubicBezTo>
                  <a:cubicBezTo>
                    <a:pt x="383" y="867"/>
                    <a:pt x="322" y="856"/>
                    <a:pt x="267" y="836"/>
                  </a:cubicBezTo>
                  <a:cubicBezTo>
                    <a:pt x="208" y="814"/>
                    <a:pt x="161" y="786"/>
                    <a:pt x="122" y="748"/>
                  </a:cubicBezTo>
                  <a:cubicBezTo>
                    <a:pt x="83" y="709"/>
                    <a:pt x="53" y="664"/>
                    <a:pt x="31" y="609"/>
                  </a:cubicBezTo>
                  <a:cubicBezTo>
                    <a:pt x="11" y="556"/>
                    <a:pt x="0" y="495"/>
                    <a:pt x="0" y="431"/>
                  </a:cubicBezTo>
                  <a:cubicBezTo>
                    <a:pt x="0" y="367"/>
                    <a:pt x="11" y="309"/>
                    <a:pt x="31" y="256"/>
                  </a:cubicBezTo>
                  <a:cubicBezTo>
                    <a:pt x="53" y="203"/>
                    <a:pt x="83" y="159"/>
                    <a:pt x="122" y="120"/>
                  </a:cubicBezTo>
                  <a:cubicBezTo>
                    <a:pt x="161" y="84"/>
                    <a:pt x="208" y="53"/>
                    <a:pt x="261" y="31"/>
                  </a:cubicBezTo>
                  <a:cubicBezTo>
                    <a:pt x="314" y="12"/>
                    <a:pt x="375" y="0"/>
                    <a:pt x="442" y="0"/>
                  </a:cubicBezTo>
                  <a:cubicBezTo>
                    <a:pt x="508" y="0"/>
                    <a:pt x="572" y="12"/>
                    <a:pt x="628" y="31"/>
                  </a:cubicBezTo>
                  <a:cubicBezTo>
                    <a:pt x="681" y="53"/>
                    <a:pt x="728" y="84"/>
                    <a:pt x="767" y="125"/>
                  </a:cubicBezTo>
                  <a:cubicBezTo>
                    <a:pt x="806" y="164"/>
                    <a:pt x="833" y="217"/>
                    <a:pt x="850" y="278"/>
                  </a:cubicBezTo>
                  <a:cubicBezTo>
                    <a:pt x="867" y="342"/>
                    <a:pt x="872" y="414"/>
                    <a:pt x="864" y="498"/>
                  </a:cubicBezTo>
                  <a:lnTo>
                    <a:pt x="186" y="353"/>
                  </a:lnTo>
                  <a:lnTo>
                    <a:pt x="186" y="353"/>
                  </a:lnTo>
                  <a:cubicBezTo>
                    <a:pt x="694" y="353"/>
                    <a:pt x="694" y="353"/>
                    <a:pt x="694" y="353"/>
                  </a:cubicBezTo>
                  <a:cubicBezTo>
                    <a:pt x="689" y="287"/>
                    <a:pt x="664" y="236"/>
                    <a:pt x="619" y="203"/>
                  </a:cubicBezTo>
                  <a:cubicBezTo>
                    <a:pt x="575" y="170"/>
                    <a:pt x="519" y="153"/>
                    <a:pt x="447" y="153"/>
                  </a:cubicBezTo>
                  <a:cubicBezTo>
                    <a:pt x="381"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2" name="Freeform 19">
              <a:extLst>
                <a:ext uri="{FF2B5EF4-FFF2-40B4-BE49-F238E27FC236}">
                  <a16:creationId xmlns:a16="http://schemas.microsoft.com/office/drawing/2014/main" id="{48AA1122-1D63-FD44-9DBD-CC8788004DA8}"/>
                </a:ext>
              </a:extLst>
            </p:cNvPr>
            <p:cNvSpPr>
              <a:spLocks noChangeArrowheads="1"/>
            </p:cNvSpPr>
            <p:nvPr userDrawn="1"/>
          </p:nvSpPr>
          <p:spPr bwMode="auto">
            <a:xfrm>
              <a:off x="1828800" y="3743325"/>
              <a:ext cx="323850" cy="311150"/>
            </a:xfrm>
            <a:custGeom>
              <a:avLst/>
              <a:gdLst>
                <a:gd name="T0" fmla="*/ 722 w 901"/>
                <a:gd name="T1" fmla="*/ 147 h 865"/>
                <a:gd name="T2" fmla="*/ 722 w 901"/>
                <a:gd name="T3" fmla="*/ 147 h 865"/>
                <a:gd name="T4" fmla="*/ 728 w 901"/>
                <a:gd name="T5" fmla="*/ 17 h 865"/>
                <a:gd name="T6" fmla="*/ 900 w 901"/>
                <a:gd name="T7" fmla="*/ 17 h 865"/>
                <a:gd name="T8" fmla="*/ 900 w 901"/>
                <a:gd name="T9" fmla="*/ 842 h 865"/>
                <a:gd name="T10" fmla="*/ 731 w 901"/>
                <a:gd name="T11" fmla="*/ 842 h 865"/>
                <a:gd name="T12" fmla="*/ 722 w 901"/>
                <a:gd name="T13" fmla="*/ 709 h 865"/>
                <a:gd name="T14" fmla="*/ 669 w 901"/>
                <a:gd name="T15" fmla="*/ 778 h 865"/>
                <a:gd name="T16" fmla="*/ 597 w 901"/>
                <a:gd name="T17" fmla="*/ 825 h 865"/>
                <a:gd name="T18" fmla="*/ 514 w 901"/>
                <a:gd name="T19" fmla="*/ 856 h 865"/>
                <a:gd name="T20" fmla="*/ 433 w 901"/>
                <a:gd name="T21" fmla="*/ 864 h 865"/>
                <a:gd name="T22" fmla="*/ 261 w 901"/>
                <a:gd name="T23" fmla="*/ 836 h 865"/>
                <a:gd name="T24" fmla="*/ 125 w 901"/>
                <a:gd name="T25" fmla="*/ 753 h 865"/>
                <a:gd name="T26" fmla="*/ 33 w 901"/>
                <a:gd name="T27" fmla="*/ 617 h 865"/>
                <a:gd name="T28" fmla="*/ 0 w 901"/>
                <a:gd name="T29" fmla="*/ 428 h 865"/>
                <a:gd name="T30" fmla="*/ 36 w 901"/>
                <a:gd name="T31" fmla="*/ 245 h 865"/>
                <a:gd name="T32" fmla="*/ 128 w 901"/>
                <a:gd name="T33" fmla="*/ 111 h 865"/>
                <a:gd name="T34" fmla="*/ 267 w 901"/>
                <a:gd name="T35" fmla="*/ 28 h 865"/>
                <a:gd name="T36" fmla="*/ 436 w 901"/>
                <a:gd name="T37" fmla="*/ 0 h 865"/>
                <a:gd name="T38" fmla="*/ 606 w 901"/>
                <a:gd name="T39" fmla="*/ 39 h 865"/>
                <a:gd name="T40" fmla="*/ 722 w 901"/>
                <a:gd name="T41" fmla="*/ 147 h 865"/>
                <a:gd name="T42" fmla="*/ 450 w 901"/>
                <a:gd name="T43" fmla="*/ 156 h 865"/>
                <a:gd name="T44" fmla="*/ 450 w 901"/>
                <a:gd name="T45" fmla="*/ 156 h 865"/>
                <a:gd name="T46" fmla="*/ 344 w 901"/>
                <a:gd name="T47" fmla="*/ 175 h 865"/>
                <a:gd name="T48" fmla="*/ 258 w 901"/>
                <a:gd name="T49" fmla="*/ 231 h 865"/>
                <a:gd name="T50" fmla="*/ 197 w 901"/>
                <a:gd name="T51" fmla="*/ 317 h 865"/>
                <a:gd name="T52" fmla="*/ 178 w 901"/>
                <a:gd name="T53" fmla="*/ 428 h 865"/>
                <a:gd name="T54" fmla="*/ 197 w 901"/>
                <a:gd name="T55" fmla="*/ 545 h 865"/>
                <a:gd name="T56" fmla="*/ 258 w 901"/>
                <a:gd name="T57" fmla="*/ 631 h 865"/>
                <a:gd name="T58" fmla="*/ 344 w 901"/>
                <a:gd name="T59" fmla="*/ 684 h 865"/>
                <a:gd name="T60" fmla="*/ 450 w 901"/>
                <a:gd name="T61" fmla="*/ 703 h 865"/>
                <a:gd name="T62" fmla="*/ 600 w 901"/>
                <a:gd name="T63" fmla="*/ 664 h 865"/>
                <a:gd name="T64" fmla="*/ 692 w 901"/>
                <a:gd name="T65" fmla="*/ 561 h 865"/>
                <a:gd name="T66" fmla="*/ 722 w 901"/>
                <a:gd name="T67" fmla="*/ 431 h 865"/>
                <a:gd name="T68" fmla="*/ 692 w 901"/>
                <a:gd name="T69" fmla="*/ 298 h 865"/>
                <a:gd name="T70" fmla="*/ 600 w 901"/>
                <a:gd name="T71" fmla="*/ 198 h 865"/>
                <a:gd name="T72" fmla="*/ 450 w 901"/>
                <a:gd name="T73" fmla="*/ 156 h 865"/>
                <a:gd name="T74" fmla="*/ 722 w 901"/>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1" h="865">
                  <a:moveTo>
                    <a:pt x="722" y="147"/>
                  </a:moveTo>
                  <a:lnTo>
                    <a:pt x="722" y="147"/>
                  </a:lnTo>
                  <a:cubicBezTo>
                    <a:pt x="728" y="17"/>
                    <a:pt x="728" y="17"/>
                    <a:pt x="728" y="17"/>
                  </a:cubicBezTo>
                  <a:cubicBezTo>
                    <a:pt x="900" y="17"/>
                    <a:pt x="900" y="17"/>
                    <a:pt x="900" y="17"/>
                  </a:cubicBezTo>
                  <a:cubicBezTo>
                    <a:pt x="900" y="842"/>
                    <a:pt x="900" y="842"/>
                    <a:pt x="900" y="842"/>
                  </a:cubicBezTo>
                  <a:cubicBezTo>
                    <a:pt x="731" y="842"/>
                    <a:pt x="731" y="842"/>
                    <a:pt x="731" y="842"/>
                  </a:cubicBezTo>
                  <a:cubicBezTo>
                    <a:pt x="722" y="709"/>
                    <a:pt x="722" y="709"/>
                    <a:pt x="722" y="709"/>
                  </a:cubicBezTo>
                  <a:cubicBezTo>
                    <a:pt x="708" y="736"/>
                    <a:pt x="692" y="759"/>
                    <a:pt x="669" y="778"/>
                  </a:cubicBezTo>
                  <a:cubicBezTo>
                    <a:pt x="647" y="797"/>
                    <a:pt x="622" y="814"/>
                    <a:pt x="597" y="825"/>
                  </a:cubicBezTo>
                  <a:cubicBezTo>
                    <a:pt x="569" y="839"/>
                    <a:pt x="542" y="847"/>
                    <a:pt x="514" y="856"/>
                  </a:cubicBezTo>
                  <a:cubicBezTo>
                    <a:pt x="486" y="861"/>
                    <a:pt x="458" y="864"/>
                    <a:pt x="433" y="864"/>
                  </a:cubicBezTo>
                  <a:cubicBezTo>
                    <a:pt x="372" y="864"/>
                    <a:pt x="314" y="853"/>
                    <a:pt x="261" y="836"/>
                  </a:cubicBezTo>
                  <a:cubicBezTo>
                    <a:pt x="208" y="817"/>
                    <a:pt x="164" y="789"/>
                    <a:pt x="125" y="753"/>
                  </a:cubicBezTo>
                  <a:cubicBezTo>
                    <a:pt x="86" y="714"/>
                    <a:pt x="56" y="670"/>
                    <a:pt x="33" y="617"/>
                  </a:cubicBezTo>
                  <a:cubicBezTo>
                    <a:pt x="11" y="561"/>
                    <a:pt x="0" y="500"/>
                    <a:pt x="0" y="428"/>
                  </a:cubicBezTo>
                  <a:cubicBezTo>
                    <a:pt x="0" y="361"/>
                    <a:pt x="11" y="300"/>
                    <a:pt x="36" y="245"/>
                  </a:cubicBezTo>
                  <a:cubicBezTo>
                    <a:pt x="58" y="192"/>
                    <a:pt x="89" y="147"/>
                    <a:pt x="128" y="111"/>
                  </a:cubicBezTo>
                  <a:cubicBezTo>
                    <a:pt x="167" y="75"/>
                    <a:pt x="214" y="48"/>
                    <a:pt x="267" y="28"/>
                  </a:cubicBezTo>
                  <a:cubicBezTo>
                    <a:pt x="319" y="9"/>
                    <a:pt x="375" y="0"/>
                    <a:pt x="436" y="0"/>
                  </a:cubicBezTo>
                  <a:cubicBezTo>
                    <a:pt x="497" y="0"/>
                    <a:pt x="553" y="14"/>
                    <a:pt x="606" y="39"/>
                  </a:cubicBezTo>
                  <a:cubicBezTo>
                    <a:pt x="658" y="64"/>
                    <a:pt x="697" y="103"/>
                    <a:pt x="722" y="147"/>
                  </a:cubicBezTo>
                  <a:lnTo>
                    <a:pt x="450" y="156"/>
                  </a:lnTo>
                  <a:lnTo>
                    <a:pt x="450" y="156"/>
                  </a:lnTo>
                  <a:cubicBezTo>
                    <a:pt x="414" y="156"/>
                    <a:pt x="378" y="164"/>
                    <a:pt x="344" y="175"/>
                  </a:cubicBezTo>
                  <a:cubicBezTo>
                    <a:pt x="311" y="189"/>
                    <a:pt x="283" y="206"/>
                    <a:pt x="258" y="231"/>
                  </a:cubicBezTo>
                  <a:cubicBezTo>
                    <a:pt x="233" y="253"/>
                    <a:pt x="211" y="284"/>
                    <a:pt x="197" y="317"/>
                  </a:cubicBezTo>
                  <a:cubicBezTo>
                    <a:pt x="183" y="350"/>
                    <a:pt x="178" y="386"/>
                    <a:pt x="178" y="428"/>
                  </a:cubicBezTo>
                  <a:cubicBezTo>
                    <a:pt x="178" y="472"/>
                    <a:pt x="183" y="509"/>
                    <a:pt x="197" y="545"/>
                  </a:cubicBezTo>
                  <a:cubicBezTo>
                    <a:pt x="211" y="578"/>
                    <a:pt x="233" y="606"/>
                    <a:pt x="258" y="631"/>
                  </a:cubicBezTo>
                  <a:cubicBezTo>
                    <a:pt x="283" y="653"/>
                    <a:pt x="311" y="672"/>
                    <a:pt x="344" y="684"/>
                  </a:cubicBezTo>
                  <a:cubicBezTo>
                    <a:pt x="378" y="698"/>
                    <a:pt x="414" y="703"/>
                    <a:pt x="450" y="703"/>
                  </a:cubicBezTo>
                  <a:cubicBezTo>
                    <a:pt x="511" y="703"/>
                    <a:pt x="561" y="689"/>
                    <a:pt x="600" y="664"/>
                  </a:cubicBezTo>
                  <a:cubicBezTo>
                    <a:pt x="642" y="636"/>
                    <a:pt x="672" y="603"/>
                    <a:pt x="692" y="561"/>
                  </a:cubicBezTo>
                  <a:cubicBezTo>
                    <a:pt x="714" y="522"/>
                    <a:pt x="722" y="478"/>
                    <a:pt x="722" y="431"/>
                  </a:cubicBezTo>
                  <a:cubicBezTo>
                    <a:pt x="722" y="384"/>
                    <a:pt x="714" y="339"/>
                    <a:pt x="692" y="298"/>
                  </a:cubicBezTo>
                  <a:cubicBezTo>
                    <a:pt x="672" y="259"/>
                    <a:pt x="642" y="223"/>
                    <a:pt x="600" y="198"/>
                  </a:cubicBezTo>
                  <a:cubicBezTo>
                    <a:pt x="561" y="170"/>
                    <a:pt x="511"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3" name="Freeform 20">
              <a:extLst>
                <a:ext uri="{FF2B5EF4-FFF2-40B4-BE49-F238E27FC236}">
                  <a16:creationId xmlns:a16="http://schemas.microsoft.com/office/drawing/2014/main" id="{2E9B9610-9A08-0447-AD11-5AAA13296216}"/>
                </a:ext>
              </a:extLst>
            </p:cNvPr>
            <p:cNvSpPr>
              <a:spLocks noChangeArrowheads="1"/>
            </p:cNvSpPr>
            <p:nvPr userDrawn="1"/>
          </p:nvSpPr>
          <p:spPr bwMode="auto">
            <a:xfrm>
              <a:off x="2214563" y="3743325"/>
              <a:ext cx="266700" cy="312738"/>
            </a:xfrm>
            <a:custGeom>
              <a:avLst/>
              <a:gdLst>
                <a:gd name="T0" fmla="*/ 603 w 743"/>
                <a:gd name="T1" fmla="*/ 222 h 870"/>
                <a:gd name="T2" fmla="*/ 603 w 743"/>
                <a:gd name="T3" fmla="*/ 222 h 870"/>
                <a:gd name="T4" fmla="*/ 500 w 743"/>
                <a:gd name="T5" fmla="*/ 161 h 870"/>
                <a:gd name="T6" fmla="*/ 381 w 743"/>
                <a:gd name="T7" fmla="*/ 147 h 870"/>
                <a:gd name="T8" fmla="*/ 250 w 743"/>
                <a:gd name="T9" fmla="*/ 169 h 870"/>
                <a:gd name="T10" fmla="*/ 203 w 743"/>
                <a:gd name="T11" fmla="*/ 244 h 870"/>
                <a:gd name="T12" fmla="*/ 253 w 743"/>
                <a:gd name="T13" fmla="*/ 319 h 870"/>
                <a:gd name="T14" fmla="*/ 386 w 743"/>
                <a:gd name="T15" fmla="*/ 349 h 870"/>
                <a:gd name="T16" fmla="*/ 506 w 743"/>
                <a:gd name="T17" fmla="*/ 366 h 870"/>
                <a:gd name="T18" fmla="*/ 622 w 743"/>
                <a:gd name="T19" fmla="*/ 405 h 870"/>
                <a:gd name="T20" fmla="*/ 708 w 743"/>
                <a:gd name="T21" fmla="*/ 480 h 870"/>
                <a:gd name="T22" fmla="*/ 742 w 743"/>
                <a:gd name="T23" fmla="*/ 608 h 870"/>
                <a:gd name="T24" fmla="*/ 717 w 743"/>
                <a:gd name="T25" fmla="*/ 713 h 870"/>
                <a:gd name="T26" fmla="*/ 645 w 743"/>
                <a:gd name="T27" fmla="*/ 797 h 870"/>
                <a:gd name="T28" fmla="*/ 531 w 743"/>
                <a:gd name="T29" fmla="*/ 849 h 870"/>
                <a:gd name="T30" fmla="*/ 383 w 743"/>
                <a:gd name="T31" fmla="*/ 869 h 870"/>
                <a:gd name="T32" fmla="*/ 184 w 743"/>
                <a:gd name="T33" fmla="*/ 838 h 870"/>
                <a:gd name="T34" fmla="*/ 0 w 743"/>
                <a:gd name="T35" fmla="*/ 716 h 870"/>
                <a:gd name="T36" fmla="*/ 92 w 743"/>
                <a:gd name="T37" fmla="*/ 597 h 870"/>
                <a:gd name="T38" fmla="*/ 231 w 743"/>
                <a:gd name="T39" fmla="*/ 688 h 870"/>
                <a:gd name="T40" fmla="*/ 386 w 743"/>
                <a:gd name="T41" fmla="*/ 719 h 870"/>
                <a:gd name="T42" fmla="*/ 450 w 743"/>
                <a:gd name="T43" fmla="*/ 713 h 870"/>
                <a:gd name="T44" fmla="*/ 506 w 743"/>
                <a:gd name="T45" fmla="*/ 694 h 870"/>
                <a:gd name="T46" fmla="*/ 550 w 743"/>
                <a:gd name="T47" fmla="*/ 661 h 870"/>
                <a:gd name="T48" fmla="*/ 567 w 743"/>
                <a:gd name="T49" fmla="*/ 611 h 870"/>
                <a:gd name="T50" fmla="*/ 517 w 743"/>
                <a:gd name="T51" fmla="*/ 530 h 870"/>
                <a:gd name="T52" fmla="*/ 372 w 743"/>
                <a:gd name="T53" fmla="*/ 497 h 870"/>
                <a:gd name="T54" fmla="*/ 250 w 743"/>
                <a:gd name="T55" fmla="*/ 477 h 870"/>
                <a:gd name="T56" fmla="*/ 142 w 743"/>
                <a:gd name="T57" fmla="*/ 436 h 870"/>
                <a:gd name="T58" fmla="*/ 61 w 743"/>
                <a:gd name="T59" fmla="*/ 363 h 870"/>
                <a:gd name="T60" fmla="*/ 28 w 743"/>
                <a:gd name="T61" fmla="*/ 249 h 870"/>
                <a:gd name="T62" fmla="*/ 61 w 743"/>
                <a:gd name="T63" fmla="*/ 133 h 870"/>
                <a:gd name="T64" fmla="*/ 145 w 743"/>
                <a:gd name="T65" fmla="*/ 55 h 870"/>
                <a:gd name="T66" fmla="*/ 258 w 743"/>
                <a:gd name="T67" fmla="*/ 11 h 870"/>
                <a:gd name="T68" fmla="*/ 378 w 743"/>
                <a:gd name="T69" fmla="*/ 0 h 870"/>
                <a:gd name="T70" fmla="*/ 553 w 743"/>
                <a:gd name="T71" fmla="*/ 22 h 870"/>
                <a:gd name="T72" fmla="*/ 703 w 743"/>
                <a:gd name="T73" fmla="*/ 108 h 870"/>
                <a:gd name="T74" fmla="*/ 603 w 743"/>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3" h="870">
                  <a:moveTo>
                    <a:pt x="603" y="222"/>
                  </a:moveTo>
                  <a:lnTo>
                    <a:pt x="603" y="222"/>
                  </a:lnTo>
                  <a:cubicBezTo>
                    <a:pt x="572" y="191"/>
                    <a:pt x="536" y="172"/>
                    <a:pt x="500" y="161"/>
                  </a:cubicBezTo>
                  <a:cubicBezTo>
                    <a:pt x="464" y="149"/>
                    <a:pt x="425" y="147"/>
                    <a:pt x="381" y="147"/>
                  </a:cubicBezTo>
                  <a:cubicBezTo>
                    <a:pt x="328" y="144"/>
                    <a:pt x="284" y="152"/>
                    <a:pt x="250" y="169"/>
                  </a:cubicBezTo>
                  <a:cubicBezTo>
                    <a:pt x="220" y="188"/>
                    <a:pt x="203" y="211"/>
                    <a:pt x="203" y="244"/>
                  </a:cubicBezTo>
                  <a:cubicBezTo>
                    <a:pt x="203" y="280"/>
                    <a:pt x="220" y="302"/>
                    <a:pt x="253" y="319"/>
                  </a:cubicBezTo>
                  <a:cubicBezTo>
                    <a:pt x="286" y="333"/>
                    <a:pt x="331" y="344"/>
                    <a:pt x="386" y="349"/>
                  </a:cubicBezTo>
                  <a:cubicBezTo>
                    <a:pt x="425" y="352"/>
                    <a:pt x="464" y="358"/>
                    <a:pt x="506" y="366"/>
                  </a:cubicBezTo>
                  <a:cubicBezTo>
                    <a:pt x="550" y="372"/>
                    <a:pt x="586" y="386"/>
                    <a:pt x="622" y="405"/>
                  </a:cubicBezTo>
                  <a:cubicBezTo>
                    <a:pt x="658" y="422"/>
                    <a:pt x="686" y="447"/>
                    <a:pt x="708" y="480"/>
                  </a:cubicBezTo>
                  <a:cubicBezTo>
                    <a:pt x="731" y="513"/>
                    <a:pt x="742" y="555"/>
                    <a:pt x="742" y="608"/>
                  </a:cubicBezTo>
                  <a:cubicBezTo>
                    <a:pt x="742" y="647"/>
                    <a:pt x="733" y="683"/>
                    <a:pt x="717" y="713"/>
                  </a:cubicBezTo>
                  <a:cubicBezTo>
                    <a:pt x="700" y="747"/>
                    <a:pt x="675" y="774"/>
                    <a:pt x="645" y="797"/>
                  </a:cubicBezTo>
                  <a:cubicBezTo>
                    <a:pt x="614" y="819"/>
                    <a:pt x="575" y="838"/>
                    <a:pt x="531" y="849"/>
                  </a:cubicBezTo>
                  <a:cubicBezTo>
                    <a:pt x="486" y="863"/>
                    <a:pt x="439" y="869"/>
                    <a:pt x="383" y="869"/>
                  </a:cubicBezTo>
                  <a:cubicBezTo>
                    <a:pt x="317" y="869"/>
                    <a:pt x="247" y="858"/>
                    <a:pt x="184" y="838"/>
                  </a:cubicBezTo>
                  <a:cubicBezTo>
                    <a:pt x="117" y="819"/>
                    <a:pt x="56" y="777"/>
                    <a:pt x="0" y="716"/>
                  </a:cubicBezTo>
                  <a:cubicBezTo>
                    <a:pt x="92" y="597"/>
                    <a:pt x="92" y="597"/>
                    <a:pt x="92" y="597"/>
                  </a:cubicBezTo>
                  <a:cubicBezTo>
                    <a:pt x="131" y="638"/>
                    <a:pt x="178" y="669"/>
                    <a:pt x="231" y="688"/>
                  </a:cubicBezTo>
                  <a:cubicBezTo>
                    <a:pt x="286" y="708"/>
                    <a:pt x="336" y="719"/>
                    <a:pt x="386" y="719"/>
                  </a:cubicBezTo>
                  <a:cubicBezTo>
                    <a:pt x="408" y="719"/>
                    <a:pt x="428" y="716"/>
                    <a:pt x="450" y="713"/>
                  </a:cubicBezTo>
                  <a:cubicBezTo>
                    <a:pt x="470" y="708"/>
                    <a:pt x="489" y="702"/>
                    <a:pt x="506" y="694"/>
                  </a:cubicBezTo>
                  <a:cubicBezTo>
                    <a:pt x="522" y="686"/>
                    <a:pt x="539" y="674"/>
                    <a:pt x="550" y="661"/>
                  </a:cubicBezTo>
                  <a:cubicBezTo>
                    <a:pt x="561" y="647"/>
                    <a:pt x="567" y="630"/>
                    <a:pt x="567" y="611"/>
                  </a:cubicBezTo>
                  <a:cubicBezTo>
                    <a:pt x="567" y="574"/>
                    <a:pt x="550" y="547"/>
                    <a:pt x="517" y="530"/>
                  </a:cubicBezTo>
                  <a:cubicBezTo>
                    <a:pt x="483" y="513"/>
                    <a:pt x="433" y="502"/>
                    <a:pt x="372" y="497"/>
                  </a:cubicBezTo>
                  <a:cubicBezTo>
                    <a:pt x="331" y="494"/>
                    <a:pt x="292" y="486"/>
                    <a:pt x="250" y="477"/>
                  </a:cubicBezTo>
                  <a:cubicBezTo>
                    <a:pt x="211" y="469"/>
                    <a:pt x="175" y="455"/>
                    <a:pt x="142" y="436"/>
                  </a:cubicBezTo>
                  <a:cubicBezTo>
                    <a:pt x="109" y="416"/>
                    <a:pt x="81" y="394"/>
                    <a:pt x="61" y="363"/>
                  </a:cubicBezTo>
                  <a:cubicBezTo>
                    <a:pt x="39" y="333"/>
                    <a:pt x="28" y="294"/>
                    <a:pt x="28" y="249"/>
                  </a:cubicBezTo>
                  <a:cubicBezTo>
                    <a:pt x="28" y="202"/>
                    <a:pt x="39" y="166"/>
                    <a:pt x="61" y="133"/>
                  </a:cubicBezTo>
                  <a:cubicBezTo>
                    <a:pt x="84" y="102"/>
                    <a:pt x="111" y="74"/>
                    <a:pt x="145" y="55"/>
                  </a:cubicBezTo>
                  <a:cubicBezTo>
                    <a:pt x="178" y="36"/>
                    <a:pt x="217" y="22"/>
                    <a:pt x="258" y="11"/>
                  </a:cubicBezTo>
                  <a:cubicBezTo>
                    <a:pt x="297" y="2"/>
                    <a:pt x="339" y="0"/>
                    <a:pt x="378" y="0"/>
                  </a:cubicBezTo>
                  <a:cubicBezTo>
                    <a:pt x="445" y="0"/>
                    <a:pt x="503" y="8"/>
                    <a:pt x="553" y="22"/>
                  </a:cubicBezTo>
                  <a:cubicBezTo>
                    <a:pt x="606" y="38"/>
                    <a:pt x="656" y="66"/>
                    <a:pt x="703" y="108"/>
                  </a:cubicBezTo>
                  <a:lnTo>
                    <a:pt x="603"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4" name="Freeform 21">
              <a:extLst>
                <a:ext uri="{FF2B5EF4-FFF2-40B4-BE49-F238E27FC236}">
                  <a16:creationId xmlns:a16="http://schemas.microsoft.com/office/drawing/2014/main" id="{E70BD038-26E5-9A48-804A-252A946F509E}"/>
                </a:ext>
              </a:extLst>
            </p:cNvPr>
            <p:cNvSpPr>
              <a:spLocks noChangeArrowheads="1"/>
            </p:cNvSpPr>
            <p:nvPr userDrawn="1"/>
          </p:nvSpPr>
          <p:spPr bwMode="auto">
            <a:xfrm>
              <a:off x="2698750" y="3749675"/>
              <a:ext cx="63500" cy="298450"/>
            </a:xfrm>
            <a:custGeom>
              <a:avLst/>
              <a:gdLst>
                <a:gd name="T0" fmla="*/ 175 w 176"/>
                <a:gd name="T1" fmla="*/ 828 h 829"/>
                <a:gd name="T2" fmla="*/ 0 w 176"/>
                <a:gd name="T3" fmla="*/ 828 h 829"/>
                <a:gd name="T4" fmla="*/ 0 w 176"/>
                <a:gd name="T5" fmla="*/ 0 h 829"/>
                <a:gd name="T6" fmla="*/ 175 w 176"/>
                <a:gd name="T7" fmla="*/ 0 h 829"/>
                <a:gd name="T8" fmla="*/ 175 w 176"/>
                <a:gd name="T9" fmla="*/ 828 h 829"/>
              </a:gdLst>
              <a:ahLst/>
              <a:cxnLst>
                <a:cxn ang="0">
                  <a:pos x="T0" y="T1"/>
                </a:cxn>
                <a:cxn ang="0">
                  <a:pos x="T2" y="T3"/>
                </a:cxn>
                <a:cxn ang="0">
                  <a:pos x="T4" y="T5"/>
                </a:cxn>
                <a:cxn ang="0">
                  <a:pos x="T6" y="T7"/>
                </a:cxn>
                <a:cxn ang="0">
                  <a:pos x="T8" y="T9"/>
                </a:cxn>
              </a:cxnLst>
              <a:rect l="0" t="0" r="r" b="b"/>
              <a:pathLst>
                <a:path w="176" h="829">
                  <a:moveTo>
                    <a:pt x="175" y="828"/>
                  </a:moveTo>
                  <a:lnTo>
                    <a:pt x="0" y="828"/>
                  </a:lnTo>
                  <a:lnTo>
                    <a:pt x="0" y="0"/>
                  </a:lnTo>
                  <a:lnTo>
                    <a:pt x="175" y="0"/>
                  </a:lnTo>
                  <a:lnTo>
                    <a:pt x="175" y="82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5" name="Freeform 22">
              <a:extLst>
                <a:ext uri="{FF2B5EF4-FFF2-40B4-BE49-F238E27FC236}">
                  <a16:creationId xmlns:a16="http://schemas.microsoft.com/office/drawing/2014/main" id="{EC45D851-8B05-F549-BB5A-3E56A84A68CF}"/>
                </a:ext>
              </a:extLst>
            </p:cNvPr>
            <p:cNvSpPr>
              <a:spLocks noChangeArrowheads="1"/>
            </p:cNvSpPr>
            <p:nvPr userDrawn="1"/>
          </p:nvSpPr>
          <p:spPr bwMode="auto">
            <a:xfrm>
              <a:off x="2822575" y="3665538"/>
              <a:ext cx="223838" cy="385762"/>
            </a:xfrm>
            <a:custGeom>
              <a:avLst/>
              <a:gdLst>
                <a:gd name="T0" fmla="*/ 342 w 620"/>
                <a:gd name="T1" fmla="*/ 0 h 1073"/>
                <a:gd name="T2" fmla="*/ 342 w 620"/>
                <a:gd name="T3" fmla="*/ 0 h 1073"/>
                <a:gd name="T4" fmla="*/ 342 w 620"/>
                <a:gd name="T5" fmla="*/ 239 h 1073"/>
                <a:gd name="T6" fmla="*/ 586 w 620"/>
                <a:gd name="T7" fmla="*/ 239 h 1073"/>
                <a:gd name="T8" fmla="*/ 586 w 620"/>
                <a:gd name="T9" fmla="*/ 389 h 1073"/>
                <a:gd name="T10" fmla="*/ 339 w 620"/>
                <a:gd name="T11" fmla="*/ 389 h 1073"/>
                <a:gd name="T12" fmla="*/ 339 w 620"/>
                <a:gd name="T13" fmla="*/ 780 h 1073"/>
                <a:gd name="T14" fmla="*/ 369 w 620"/>
                <a:gd name="T15" fmla="*/ 880 h 1073"/>
                <a:gd name="T16" fmla="*/ 461 w 620"/>
                <a:gd name="T17" fmla="*/ 917 h 1073"/>
                <a:gd name="T18" fmla="*/ 514 w 620"/>
                <a:gd name="T19" fmla="*/ 908 h 1073"/>
                <a:gd name="T20" fmla="*/ 566 w 620"/>
                <a:gd name="T21" fmla="*/ 886 h 1073"/>
                <a:gd name="T22" fmla="*/ 619 w 620"/>
                <a:gd name="T23" fmla="*/ 1033 h 1073"/>
                <a:gd name="T24" fmla="*/ 533 w 620"/>
                <a:gd name="T25" fmla="*/ 1061 h 1073"/>
                <a:gd name="T26" fmla="*/ 450 w 620"/>
                <a:gd name="T27" fmla="*/ 1072 h 1073"/>
                <a:gd name="T28" fmla="*/ 236 w 620"/>
                <a:gd name="T29" fmla="*/ 1000 h 1073"/>
                <a:gd name="T30" fmla="*/ 164 w 620"/>
                <a:gd name="T31" fmla="*/ 780 h 1073"/>
                <a:gd name="T32" fmla="*/ 164 w 620"/>
                <a:gd name="T33" fmla="*/ 389 h 1073"/>
                <a:gd name="T34" fmla="*/ 0 w 620"/>
                <a:gd name="T35" fmla="*/ 389 h 1073"/>
                <a:gd name="T36" fmla="*/ 0 w 620"/>
                <a:gd name="T37" fmla="*/ 239 h 1073"/>
                <a:gd name="T38" fmla="*/ 164 w 620"/>
                <a:gd name="T39" fmla="*/ 239 h 1073"/>
                <a:gd name="T40" fmla="*/ 164 w 620"/>
                <a:gd name="T41" fmla="*/ 19 h 1073"/>
                <a:gd name="T42" fmla="*/ 342 w 620"/>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0" h="1073">
                  <a:moveTo>
                    <a:pt x="342" y="0"/>
                  </a:moveTo>
                  <a:lnTo>
                    <a:pt x="342" y="0"/>
                  </a:lnTo>
                  <a:cubicBezTo>
                    <a:pt x="342" y="239"/>
                    <a:pt x="342" y="239"/>
                    <a:pt x="342" y="239"/>
                  </a:cubicBezTo>
                  <a:cubicBezTo>
                    <a:pt x="586" y="239"/>
                    <a:pt x="586" y="239"/>
                    <a:pt x="586" y="239"/>
                  </a:cubicBezTo>
                  <a:cubicBezTo>
                    <a:pt x="586" y="389"/>
                    <a:pt x="586" y="389"/>
                    <a:pt x="586" y="389"/>
                  </a:cubicBezTo>
                  <a:cubicBezTo>
                    <a:pt x="339" y="389"/>
                    <a:pt x="339" y="389"/>
                    <a:pt x="339" y="389"/>
                  </a:cubicBezTo>
                  <a:cubicBezTo>
                    <a:pt x="339" y="780"/>
                    <a:pt x="339" y="780"/>
                    <a:pt x="339" y="780"/>
                  </a:cubicBezTo>
                  <a:cubicBezTo>
                    <a:pt x="339" y="825"/>
                    <a:pt x="350" y="858"/>
                    <a:pt x="369" y="880"/>
                  </a:cubicBezTo>
                  <a:cubicBezTo>
                    <a:pt x="389" y="905"/>
                    <a:pt x="419" y="917"/>
                    <a:pt x="461" y="917"/>
                  </a:cubicBezTo>
                  <a:cubicBezTo>
                    <a:pt x="478" y="917"/>
                    <a:pt x="494" y="914"/>
                    <a:pt x="514" y="908"/>
                  </a:cubicBezTo>
                  <a:cubicBezTo>
                    <a:pt x="533" y="903"/>
                    <a:pt x="550" y="897"/>
                    <a:pt x="566" y="886"/>
                  </a:cubicBezTo>
                  <a:cubicBezTo>
                    <a:pt x="619" y="1033"/>
                    <a:pt x="619" y="1033"/>
                    <a:pt x="619" y="1033"/>
                  </a:cubicBezTo>
                  <a:cubicBezTo>
                    <a:pt x="589" y="1047"/>
                    <a:pt x="561" y="1055"/>
                    <a:pt x="533" y="1061"/>
                  </a:cubicBezTo>
                  <a:cubicBezTo>
                    <a:pt x="508" y="1069"/>
                    <a:pt x="480" y="1072"/>
                    <a:pt x="450" y="1072"/>
                  </a:cubicBezTo>
                  <a:cubicBezTo>
                    <a:pt x="358" y="1072"/>
                    <a:pt x="286" y="1050"/>
                    <a:pt x="236" y="1000"/>
                  </a:cubicBezTo>
                  <a:cubicBezTo>
                    <a:pt x="189" y="953"/>
                    <a:pt x="164" y="878"/>
                    <a:pt x="164" y="780"/>
                  </a:cubicBezTo>
                  <a:cubicBezTo>
                    <a:pt x="164" y="389"/>
                    <a:pt x="164" y="389"/>
                    <a:pt x="164" y="389"/>
                  </a:cubicBezTo>
                  <a:cubicBezTo>
                    <a:pt x="0" y="389"/>
                    <a:pt x="0" y="389"/>
                    <a:pt x="0" y="389"/>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6" name="Freeform 23">
              <a:extLst>
                <a:ext uri="{FF2B5EF4-FFF2-40B4-BE49-F238E27FC236}">
                  <a16:creationId xmlns:a16="http://schemas.microsoft.com/office/drawing/2014/main" id="{AA995A18-2D95-0E43-B94A-3DA3DCDB513C}"/>
                </a:ext>
              </a:extLst>
            </p:cNvPr>
            <p:cNvSpPr>
              <a:spLocks noChangeArrowheads="1"/>
            </p:cNvSpPr>
            <p:nvPr userDrawn="1"/>
          </p:nvSpPr>
          <p:spPr bwMode="auto">
            <a:xfrm>
              <a:off x="3208338" y="3749675"/>
              <a:ext cx="492125" cy="298450"/>
            </a:xfrm>
            <a:custGeom>
              <a:avLst/>
              <a:gdLst>
                <a:gd name="T0" fmla="*/ 761 w 1368"/>
                <a:gd name="T1" fmla="*/ 0 h 829"/>
                <a:gd name="T2" fmla="*/ 961 w 1368"/>
                <a:gd name="T3" fmla="*/ 647 h 829"/>
                <a:gd name="T4" fmla="*/ 1169 w 1368"/>
                <a:gd name="T5" fmla="*/ 0 h 829"/>
                <a:gd name="T6" fmla="*/ 1367 w 1368"/>
                <a:gd name="T7" fmla="*/ 0 h 829"/>
                <a:gd name="T8" fmla="*/ 1072 w 1368"/>
                <a:gd name="T9" fmla="*/ 828 h 829"/>
                <a:gd name="T10" fmla="*/ 867 w 1368"/>
                <a:gd name="T11" fmla="*/ 828 h 829"/>
                <a:gd name="T12" fmla="*/ 767 w 1368"/>
                <a:gd name="T13" fmla="*/ 555 h 829"/>
                <a:gd name="T14" fmla="*/ 686 w 1368"/>
                <a:gd name="T15" fmla="*/ 267 h 829"/>
                <a:gd name="T16" fmla="*/ 603 w 1368"/>
                <a:gd name="T17" fmla="*/ 555 h 829"/>
                <a:gd name="T18" fmla="*/ 503 w 1368"/>
                <a:gd name="T19" fmla="*/ 828 h 829"/>
                <a:gd name="T20" fmla="*/ 297 w 1368"/>
                <a:gd name="T21" fmla="*/ 828 h 829"/>
                <a:gd name="T22" fmla="*/ 0 w 1368"/>
                <a:gd name="T23" fmla="*/ 0 h 829"/>
                <a:gd name="T24" fmla="*/ 200 w 1368"/>
                <a:gd name="T25" fmla="*/ 0 h 829"/>
                <a:gd name="T26" fmla="*/ 408 w 1368"/>
                <a:gd name="T27" fmla="*/ 647 h 829"/>
                <a:gd name="T28" fmla="*/ 608 w 1368"/>
                <a:gd name="T29" fmla="*/ 0 h 829"/>
                <a:gd name="T30" fmla="*/ 761 w 1368"/>
                <a:gd name="T31" fmla="*/ 0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8" h="829">
                  <a:moveTo>
                    <a:pt x="761" y="0"/>
                  </a:moveTo>
                  <a:lnTo>
                    <a:pt x="961" y="647"/>
                  </a:lnTo>
                  <a:lnTo>
                    <a:pt x="1169" y="0"/>
                  </a:lnTo>
                  <a:lnTo>
                    <a:pt x="1367" y="0"/>
                  </a:lnTo>
                  <a:lnTo>
                    <a:pt x="1072" y="828"/>
                  </a:lnTo>
                  <a:lnTo>
                    <a:pt x="867" y="828"/>
                  </a:lnTo>
                  <a:lnTo>
                    <a:pt x="767" y="555"/>
                  </a:lnTo>
                  <a:lnTo>
                    <a:pt x="686" y="267"/>
                  </a:lnTo>
                  <a:lnTo>
                    <a:pt x="603" y="555"/>
                  </a:lnTo>
                  <a:lnTo>
                    <a:pt x="503" y="828"/>
                  </a:lnTo>
                  <a:lnTo>
                    <a:pt x="297" y="828"/>
                  </a:lnTo>
                  <a:lnTo>
                    <a:pt x="0" y="0"/>
                  </a:lnTo>
                  <a:lnTo>
                    <a:pt x="200" y="0"/>
                  </a:lnTo>
                  <a:lnTo>
                    <a:pt x="408" y="647"/>
                  </a:lnTo>
                  <a:lnTo>
                    <a:pt x="608" y="0"/>
                  </a:lnTo>
                  <a:lnTo>
                    <a:pt x="761"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7" name="Freeform 24">
              <a:extLst>
                <a:ext uri="{FF2B5EF4-FFF2-40B4-BE49-F238E27FC236}">
                  <a16:creationId xmlns:a16="http://schemas.microsoft.com/office/drawing/2014/main" id="{70EEA587-2306-EB49-8FE3-42EBD34E90A9}"/>
                </a:ext>
              </a:extLst>
            </p:cNvPr>
            <p:cNvSpPr>
              <a:spLocks noChangeArrowheads="1"/>
            </p:cNvSpPr>
            <p:nvPr userDrawn="1"/>
          </p:nvSpPr>
          <p:spPr bwMode="auto">
            <a:xfrm>
              <a:off x="37322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3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8" y="147"/>
                    <a:pt x="127" y="111"/>
                  </a:cubicBezTo>
                  <a:cubicBezTo>
                    <a:pt x="166" y="75"/>
                    <a:pt x="211" y="48"/>
                    <a:pt x="263"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38" y="636"/>
                    <a:pt x="669" y="603"/>
                    <a:pt x="691" y="561"/>
                  </a:cubicBezTo>
                  <a:cubicBezTo>
                    <a:pt x="711" y="522"/>
                    <a:pt x="722" y="478"/>
                    <a:pt x="722" y="431"/>
                  </a:cubicBezTo>
                  <a:cubicBezTo>
                    <a:pt x="722" y="384"/>
                    <a:pt x="711" y="339"/>
                    <a:pt x="691" y="298"/>
                  </a:cubicBezTo>
                  <a:cubicBezTo>
                    <a:pt x="669" y="259"/>
                    <a:pt x="638"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8" name="Freeform 25">
              <a:extLst>
                <a:ext uri="{FF2B5EF4-FFF2-40B4-BE49-F238E27FC236}">
                  <a16:creationId xmlns:a16="http://schemas.microsoft.com/office/drawing/2014/main" id="{72CD9F3A-AD63-334C-8F13-F68D61A86EBC}"/>
                </a:ext>
              </a:extLst>
            </p:cNvPr>
            <p:cNvSpPr>
              <a:spLocks noChangeArrowheads="1"/>
            </p:cNvSpPr>
            <p:nvPr userDrawn="1"/>
          </p:nvSpPr>
          <p:spPr bwMode="auto">
            <a:xfrm>
              <a:off x="4116388" y="3743325"/>
              <a:ext cx="268287" cy="312738"/>
            </a:xfrm>
            <a:custGeom>
              <a:avLst/>
              <a:gdLst>
                <a:gd name="T0" fmla="*/ 605 w 745"/>
                <a:gd name="T1" fmla="*/ 222 h 870"/>
                <a:gd name="T2" fmla="*/ 605 w 745"/>
                <a:gd name="T3" fmla="*/ 222 h 870"/>
                <a:gd name="T4" fmla="*/ 500 w 745"/>
                <a:gd name="T5" fmla="*/ 161 h 870"/>
                <a:gd name="T6" fmla="*/ 383 w 745"/>
                <a:gd name="T7" fmla="*/ 147 h 870"/>
                <a:gd name="T8" fmla="*/ 253 w 745"/>
                <a:gd name="T9" fmla="*/ 169 h 870"/>
                <a:gd name="T10" fmla="*/ 203 w 745"/>
                <a:gd name="T11" fmla="*/ 244 h 870"/>
                <a:gd name="T12" fmla="*/ 256 w 745"/>
                <a:gd name="T13" fmla="*/ 319 h 870"/>
                <a:gd name="T14" fmla="*/ 386 w 745"/>
                <a:gd name="T15" fmla="*/ 349 h 870"/>
                <a:gd name="T16" fmla="*/ 508 w 745"/>
                <a:gd name="T17" fmla="*/ 366 h 870"/>
                <a:gd name="T18" fmla="*/ 625 w 745"/>
                <a:gd name="T19" fmla="*/ 405 h 870"/>
                <a:gd name="T20" fmla="*/ 711 w 745"/>
                <a:gd name="T21" fmla="*/ 480 h 870"/>
                <a:gd name="T22" fmla="*/ 744 w 745"/>
                <a:gd name="T23" fmla="*/ 608 h 870"/>
                <a:gd name="T24" fmla="*/ 717 w 745"/>
                <a:gd name="T25" fmla="*/ 713 h 870"/>
                <a:gd name="T26" fmla="*/ 644 w 745"/>
                <a:gd name="T27" fmla="*/ 797 h 870"/>
                <a:gd name="T28" fmla="*/ 533 w 745"/>
                <a:gd name="T29" fmla="*/ 849 h 870"/>
                <a:gd name="T30" fmla="*/ 386 w 745"/>
                <a:gd name="T31" fmla="*/ 869 h 870"/>
                <a:gd name="T32" fmla="*/ 183 w 745"/>
                <a:gd name="T33" fmla="*/ 838 h 870"/>
                <a:gd name="T34" fmla="*/ 0 w 745"/>
                <a:gd name="T35" fmla="*/ 716 h 870"/>
                <a:gd name="T36" fmla="*/ 92 w 745"/>
                <a:gd name="T37" fmla="*/ 597 h 870"/>
                <a:gd name="T38" fmla="*/ 233 w 745"/>
                <a:gd name="T39" fmla="*/ 688 h 870"/>
                <a:gd name="T40" fmla="*/ 389 w 745"/>
                <a:gd name="T41" fmla="*/ 719 h 870"/>
                <a:gd name="T42" fmla="*/ 450 w 745"/>
                <a:gd name="T43" fmla="*/ 713 h 870"/>
                <a:gd name="T44" fmla="*/ 508 w 745"/>
                <a:gd name="T45" fmla="*/ 694 h 870"/>
                <a:gd name="T46" fmla="*/ 550 w 745"/>
                <a:gd name="T47" fmla="*/ 661 h 870"/>
                <a:gd name="T48" fmla="*/ 567 w 745"/>
                <a:gd name="T49" fmla="*/ 611 h 870"/>
                <a:gd name="T50" fmla="*/ 519 w 745"/>
                <a:gd name="T51" fmla="*/ 530 h 870"/>
                <a:gd name="T52" fmla="*/ 372 w 745"/>
                <a:gd name="T53" fmla="*/ 497 h 870"/>
                <a:gd name="T54" fmla="*/ 253 w 745"/>
                <a:gd name="T55" fmla="*/ 477 h 870"/>
                <a:gd name="T56" fmla="*/ 142 w 745"/>
                <a:gd name="T57" fmla="*/ 436 h 870"/>
                <a:gd name="T58" fmla="*/ 61 w 745"/>
                <a:gd name="T59" fmla="*/ 363 h 870"/>
                <a:gd name="T60" fmla="*/ 30 w 745"/>
                <a:gd name="T61" fmla="*/ 249 h 870"/>
                <a:gd name="T62" fmla="*/ 61 w 745"/>
                <a:gd name="T63" fmla="*/ 133 h 870"/>
                <a:gd name="T64" fmla="*/ 147 w 745"/>
                <a:gd name="T65" fmla="*/ 55 h 870"/>
                <a:gd name="T66" fmla="*/ 258 w 745"/>
                <a:gd name="T67" fmla="*/ 11 h 870"/>
                <a:gd name="T68" fmla="*/ 381 w 745"/>
                <a:gd name="T69" fmla="*/ 0 h 870"/>
                <a:gd name="T70" fmla="*/ 556 w 745"/>
                <a:gd name="T71" fmla="*/ 22 h 870"/>
                <a:gd name="T72" fmla="*/ 705 w 745"/>
                <a:gd name="T73" fmla="*/ 108 h 870"/>
                <a:gd name="T74" fmla="*/ 605 w 745"/>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5" h="870">
                  <a:moveTo>
                    <a:pt x="605" y="222"/>
                  </a:moveTo>
                  <a:lnTo>
                    <a:pt x="605" y="222"/>
                  </a:lnTo>
                  <a:cubicBezTo>
                    <a:pt x="572" y="191"/>
                    <a:pt x="536" y="172"/>
                    <a:pt x="500" y="161"/>
                  </a:cubicBezTo>
                  <a:cubicBezTo>
                    <a:pt x="464" y="149"/>
                    <a:pt x="425" y="147"/>
                    <a:pt x="383" y="147"/>
                  </a:cubicBezTo>
                  <a:cubicBezTo>
                    <a:pt x="328" y="144"/>
                    <a:pt x="286" y="152"/>
                    <a:pt x="253" y="169"/>
                  </a:cubicBezTo>
                  <a:cubicBezTo>
                    <a:pt x="219" y="188"/>
                    <a:pt x="203" y="211"/>
                    <a:pt x="203" y="244"/>
                  </a:cubicBezTo>
                  <a:cubicBezTo>
                    <a:pt x="206" y="280"/>
                    <a:pt x="222" y="302"/>
                    <a:pt x="256" y="319"/>
                  </a:cubicBezTo>
                  <a:cubicBezTo>
                    <a:pt x="289" y="333"/>
                    <a:pt x="333" y="344"/>
                    <a:pt x="386" y="349"/>
                  </a:cubicBezTo>
                  <a:cubicBezTo>
                    <a:pt x="425" y="352"/>
                    <a:pt x="467" y="358"/>
                    <a:pt x="508" y="366"/>
                  </a:cubicBezTo>
                  <a:cubicBezTo>
                    <a:pt x="550" y="372"/>
                    <a:pt x="589" y="386"/>
                    <a:pt x="625" y="405"/>
                  </a:cubicBezTo>
                  <a:cubicBezTo>
                    <a:pt x="658" y="422"/>
                    <a:pt x="689" y="447"/>
                    <a:pt x="711" y="480"/>
                  </a:cubicBezTo>
                  <a:cubicBezTo>
                    <a:pt x="733" y="513"/>
                    <a:pt x="744" y="555"/>
                    <a:pt x="744" y="608"/>
                  </a:cubicBezTo>
                  <a:cubicBezTo>
                    <a:pt x="744" y="647"/>
                    <a:pt x="736" y="683"/>
                    <a:pt x="717" y="713"/>
                  </a:cubicBezTo>
                  <a:cubicBezTo>
                    <a:pt x="700" y="747"/>
                    <a:pt x="678" y="774"/>
                    <a:pt x="644" y="797"/>
                  </a:cubicBezTo>
                  <a:cubicBezTo>
                    <a:pt x="614" y="819"/>
                    <a:pt x="578" y="838"/>
                    <a:pt x="533" y="849"/>
                  </a:cubicBezTo>
                  <a:cubicBezTo>
                    <a:pt x="489" y="863"/>
                    <a:pt x="439" y="869"/>
                    <a:pt x="386" y="869"/>
                  </a:cubicBezTo>
                  <a:cubicBezTo>
                    <a:pt x="317" y="869"/>
                    <a:pt x="250" y="858"/>
                    <a:pt x="183" y="838"/>
                  </a:cubicBezTo>
                  <a:cubicBezTo>
                    <a:pt x="117" y="819"/>
                    <a:pt x="56" y="777"/>
                    <a:pt x="0" y="716"/>
                  </a:cubicBezTo>
                  <a:cubicBezTo>
                    <a:pt x="92" y="597"/>
                    <a:pt x="92" y="597"/>
                    <a:pt x="92" y="597"/>
                  </a:cubicBezTo>
                  <a:cubicBezTo>
                    <a:pt x="133" y="638"/>
                    <a:pt x="181" y="669"/>
                    <a:pt x="233" y="688"/>
                  </a:cubicBezTo>
                  <a:cubicBezTo>
                    <a:pt x="286" y="708"/>
                    <a:pt x="339" y="719"/>
                    <a:pt x="389" y="719"/>
                  </a:cubicBezTo>
                  <a:cubicBezTo>
                    <a:pt x="408" y="719"/>
                    <a:pt x="430" y="716"/>
                    <a:pt x="450" y="713"/>
                  </a:cubicBezTo>
                  <a:cubicBezTo>
                    <a:pt x="472" y="708"/>
                    <a:pt x="492" y="702"/>
                    <a:pt x="508" y="694"/>
                  </a:cubicBezTo>
                  <a:cubicBezTo>
                    <a:pt x="525" y="686"/>
                    <a:pt x="539" y="674"/>
                    <a:pt x="550" y="661"/>
                  </a:cubicBezTo>
                  <a:cubicBezTo>
                    <a:pt x="561" y="647"/>
                    <a:pt x="567" y="630"/>
                    <a:pt x="567" y="611"/>
                  </a:cubicBezTo>
                  <a:cubicBezTo>
                    <a:pt x="569" y="574"/>
                    <a:pt x="553" y="547"/>
                    <a:pt x="519" y="530"/>
                  </a:cubicBezTo>
                  <a:cubicBezTo>
                    <a:pt x="483" y="513"/>
                    <a:pt x="436" y="502"/>
                    <a:pt x="372" y="497"/>
                  </a:cubicBezTo>
                  <a:cubicBezTo>
                    <a:pt x="333" y="494"/>
                    <a:pt x="292" y="486"/>
                    <a:pt x="253" y="477"/>
                  </a:cubicBezTo>
                  <a:cubicBezTo>
                    <a:pt x="211" y="469"/>
                    <a:pt x="175" y="455"/>
                    <a:pt x="142" y="436"/>
                  </a:cubicBezTo>
                  <a:cubicBezTo>
                    <a:pt x="108" y="416"/>
                    <a:pt x="83" y="394"/>
                    <a:pt x="61" y="363"/>
                  </a:cubicBezTo>
                  <a:cubicBezTo>
                    <a:pt x="42" y="333"/>
                    <a:pt x="30" y="294"/>
                    <a:pt x="30" y="249"/>
                  </a:cubicBezTo>
                  <a:cubicBezTo>
                    <a:pt x="30" y="202"/>
                    <a:pt x="42" y="166"/>
                    <a:pt x="61" y="133"/>
                  </a:cubicBezTo>
                  <a:cubicBezTo>
                    <a:pt x="83" y="102"/>
                    <a:pt x="111" y="74"/>
                    <a:pt x="147" y="55"/>
                  </a:cubicBezTo>
                  <a:cubicBezTo>
                    <a:pt x="181" y="36"/>
                    <a:pt x="217" y="22"/>
                    <a:pt x="258" y="11"/>
                  </a:cubicBezTo>
                  <a:cubicBezTo>
                    <a:pt x="300" y="2"/>
                    <a:pt x="339" y="0"/>
                    <a:pt x="381" y="0"/>
                  </a:cubicBezTo>
                  <a:cubicBezTo>
                    <a:pt x="444" y="0"/>
                    <a:pt x="503" y="8"/>
                    <a:pt x="556" y="22"/>
                  </a:cubicBezTo>
                  <a:cubicBezTo>
                    <a:pt x="605" y="38"/>
                    <a:pt x="656" y="66"/>
                    <a:pt x="705" y="108"/>
                  </a:cubicBezTo>
                  <a:lnTo>
                    <a:pt x="605"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9" name="Freeform 26">
              <a:extLst>
                <a:ext uri="{FF2B5EF4-FFF2-40B4-BE49-F238E27FC236}">
                  <a16:creationId xmlns:a16="http://schemas.microsoft.com/office/drawing/2014/main" id="{4AA9266C-9A95-AC43-A5B1-6FB5289A6E70}"/>
                </a:ext>
              </a:extLst>
            </p:cNvPr>
            <p:cNvSpPr>
              <a:spLocks noChangeArrowheads="1"/>
            </p:cNvSpPr>
            <p:nvPr userDrawn="1"/>
          </p:nvSpPr>
          <p:spPr bwMode="auto">
            <a:xfrm>
              <a:off x="4600575" y="3744913"/>
              <a:ext cx="476250" cy="301625"/>
            </a:xfrm>
            <a:custGeom>
              <a:avLst/>
              <a:gdLst>
                <a:gd name="T0" fmla="*/ 575 w 1322"/>
                <a:gd name="T1" fmla="*/ 839 h 840"/>
                <a:gd name="T2" fmla="*/ 575 w 1322"/>
                <a:gd name="T3" fmla="*/ 839 h 840"/>
                <a:gd name="T4" fmla="*/ 575 w 1322"/>
                <a:gd name="T5" fmla="*/ 386 h 840"/>
                <a:gd name="T6" fmla="*/ 564 w 1322"/>
                <a:gd name="T7" fmla="*/ 300 h 840"/>
                <a:gd name="T8" fmla="*/ 525 w 1322"/>
                <a:gd name="T9" fmla="*/ 228 h 840"/>
                <a:gd name="T10" fmla="*/ 461 w 1322"/>
                <a:gd name="T11" fmla="*/ 178 h 840"/>
                <a:gd name="T12" fmla="*/ 381 w 1322"/>
                <a:gd name="T13" fmla="*/ 161 h 840"/>
                <a:gd name="T14" fmla="*/ 295 w 1322"/>
                <a:gd name="T15" fmla="*/ 178 h 840"/>
                <a:gd name="T16" fmla="*/ 231 w 1322"/>
                <a:gd name="T17" fmla="*/ 228 h 840"/>
                <a:gd name="T18" fmla="*/ 192 w 1322"/>
                <a:gd name="T19" fmla="*/ 300 h 840"/>
                <a:gd name="T20" fmla="*/ 175 w 1322"/>
                <a:gd name="T21" fmla="*/ 386 h 840"/>
                <a:gd name="T22" fmla="*/ 175 w 1322"/>
                <a:gd name="T23" fmla="*/ 839 h 840"/>
                <a:gd name="T24" fmla="*/ 0 w 1322"/>
                <a:gd name="T25" fmla="*/ 839 h 840"/>
                <a:gd name="T26" fmla="*/ 0 w 1322"/>
                <a:gd name="T27" fmla="*/ 14 h 840"/>
                <a:gd name="T28" fmla="*/ 164 w 1322"/>
                <a:gd name="T29" fmla="*/ 14 h 840"/>
                <a:gd name="T30" fmla="*/ 175 w 1322"/>
                <a:gd name="T31" fmla="*/ 125 h 840"/>
                <a:gd name="T32" fmla="*/ 278 w 1322"/>
                <a:gd name="T33" fmla="*/ 28 h 840"/>
                <a:gd name="T34" fmla="*/ 411 w 1322"/>
                <a:gd name="T35" fmla="*/ 0 h 840"/>
                <a:gd name="T36" fmla="*/ 492 w 1322"/>
                <a:gd name="T37" fmla="*/ 8 h 840"/>
                <a:gd name="T38" fmla="*/ 567 w 1322"/>
                <a:gd name="T39" fmla="*/ 36 h 840"/>
                <a:gd name="T40" fmla="*/ 631 w 1322"/>
                <a:gd name="T41" fmla="*/ 89 h 840"/>
                <a:gd name="T42" fmla="*/ 675 w 1322"/>
                <a:gd name="T43" fmla="*/ 167 h 840"/>
                <a:gd name="T44" fmla="*/ 803 w 1322"/>
                <a:gd name="T45" fmla="*/ 39 h 840"/>
                <a:gd name="T46" fmla="*/ 964 w 1322"/>
                <a:gd name="T47" fmla="*/ 3 h 840"/>
                <a:gd name="T48" fmla="*/ 1230 w 1322"/>
                <a:gd name="T49" fmla="*/ 103 h 840"/>
                <a:gd name="T50" fmla="*/ 1321 w 1322"/>
                <a:gd name="T51" fmla="*/ 383 h 840"/>
                <a:gd name="T52" fmla="*/ 1321 w 1322"/>
                <a:gd name="T53" fmla="*/ 839 h 840"/>
                <a:gd name="T54" fmla="*/ 1145 w 1322"/>
                <a:gd name="T55" fmla="*/ 839 h 840"/>
                <a:gd name="T56" fmla="*/ 1145 w 1322"/>
                <a:gd name="T57" fmla="*/ 381 h 840"/>
                <a:gd name="T58" fmla="*/ 1134 w 1322"/>
                <a:gd name="T59" fmla="*/ 297 h 840"/>
                <a:gd name="T60" fmla="*/ 1097 w 1322"/>
                <a:gd name="T61" fmla="*/ 225 h 840"/>
                <a:gd name="T62" fmla="*/ 1039 w 1322"/>
                <a:gd name="T63" fmla="*/ 178 h 840"/>
                <a:gd name="T64" fmla="*/ 959 w 1322"/>
                <a:gd name="T65" fmla="*/ 161 h 840"/>
                <a:gd name="T66" fmla="*/ 872 w 1322"/>
                <a:gd name="T67" fmla="*/ 181 h 840"/>
                <a:gd name="T68" fmla="*/ 809 w 1322"/>
                <a:gd name="T69" fmla="*/ 228 h 840"/>
                <a:gd name="T70" fmla="*/ 767 w 1322"/>
                <a:gd name="T71" fmla="*/ 300 h 840"/>
                <a:gd name="T72" fmla="*/ 753 w 1322"/>
                <a:gd name="T73" fmla="*/ 386 h 840"/>
                <a:gd name="T74" fmla="*/ 753 w 1322"/>
                <a:gd name="T75" fmla="*/ 839 h 840"/>
                <a:gd name="T76" fmla="*/ 575 w 1322"/>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2" h="840">
                  <a:moveTo>
                    <a:pt x="575" y="839"/>
                  </a:moveTo>
                  <a:lnTo>
                    <a:pt x="575" y="839"/>
                  </a:lnTo>
                  <a:cubicBezTo>
                    <a:pt x="575" y="386"/>
                    <a:pt x="575" y="386"/>
                    <a:pt x="575" y="386"/>
                  </a:cubicBezTo>
                  <a:cubicBezTo>
                    <a:pt x="575" y="356"/>
                    <a:pt x="572" y="325"/>
                    <a:pt x="564" y="300"/>
                  </a:cubicBezTo>
                  <a:cubicBezTo>
                    <a:pt x="556" y="272"/>
                    <a:pt x="542" y="247"/>
                    <a:pt x="525" y="228"/>
                  </a:cubicBezTo>
                  <a:cubicBezTo>
                    <a:pt x="509" y="206"/>
                    <a:pt x="486" y="189"/>
                    <a:pt x="461" y="178"/>
                  </a:cubicBezTo>
                  <a:cubicBezTo>
                    <a:pt x="436" y="167"/>
                    <a:pt x="411" y="161"/>
                    <a:pt x="381" y="161"/>
                  </a:cubicBezTo>
                  <a:cubicBezTo>
                    <a:pt x="347" y="161"/>
                    <a:pt x="320" y="167"/>
                    <a:pt x="295" y="178"/>
                  </a:cubicBezTo>
                  <a:cubicBezTo>
                    <a:pt x="270" y="189"/>
                    <a:pt x="250" y="206"/>
                    <a:pt x="231" y="228"/>
                  </a:cubicBezTo>
                  <a:cubicBezTo>
                    <a:pt x="214" y="247"/>
                    <a:pt x="200" y="272"/>
                    <a:pt x="192" y="300"/>
                  </a:cubicBezTo>
                  <a:cubicBezTo>
                    <a:pt x="181" y="325"/>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200" y="78"/>
                    <a:pt x="234" y="47"/>
                    <a:pt x="278" y="28"/>
                  </a:cubicBezTo>
                  <a:cubicBezTo>
                    <a:pt x="323" y="8"/>
                    <a:pt x="367" y="0"/>
                    <a:pt x="411" y="0"/>
                  </a:cubicBezTo>
                  <a:cubicBezTo>
                    <a:pt x="439" y="0"/>
                    <a:pt x="467" y="3"/>
                    <a:pt x="492" y="8"/>
                  </a:cubicBezTo>
                  <a:cubicBezTo>
                    <a:pt x="520" y="14"/>
                    <a:pt x="542" y="22"/>
                    <a:pt x="567" y="36"/>
                  </a:cubicBezTo>
                  <a:cubicBezTo>
                    <a:pt x="589" y="50"/>
                    <a:pt x="611" y="67"/>
                    <a:pt x="631" y="89"/>
                  </a:cubicBezTo>
                  <a:cubicBezTo>
                    <a:pt x="647" y="111"/>
                    <a:pt x="664" y="136"/>
                    <a:pt x="675" y="167"/>
                  </a:cubicBezTo>
                  <a:cubicBezTo>
                    <a:pt x="711" y="106"/>
                    <a:pt x="753" y="61"/>
                    <a:pt x="803" y="39"/>
                  </a:cubicBezTo>
                  <a:cubicBezTo>
                    <a:pt x="853" y="14"/>
                    <a:pt x="906" y="3"/>
                    <a:pt x="964" y="3"/>
                  </a:cubicBezTo>
                  <a:cubicBezTo>
                    <a:pt x="1084" y="3"/>
                    <a:pt x="1172" y="36"/>
                    <a:pt x="1230" y="103"/>
                  </a:cubicBezTo>
                  <a:cubicBezTo>
                    <a:pt x="1291" y="169"/>
                    <a:pt x="1321" y="264"/>
                    <a:pt x="1321" y="383"/>
                  </a:cubicBezTo>
                  <a:cubicBezTo>
                    <a:pt x="1321" y="839"/>
                    <a:pt x="1321" y="839"/>
                    <a:pt x="1321" y="839"/>
                  </a:cubicBezTo>
                  <a:cubicBezTo>
                    <a:pt x="1145" y="839"/>
                    <a:pt x="1145" y="839"/>
                    <a:pt x="1145" y="839"/>
                  </a:cubicBezTo>
                  <a:cubicBezTo>
                    <a:pt x="1145" y="381"/>
                    <a:pt x="1145" y="381"/>
                    <a:pt x="1145" y="381"/>
                  </a:cubicBezTo>
                  <a:cubicBezTo>
                    <a:pt x="1145" y="353"/>
                    <a:pt x="1139" y="322"/>
                    <a:pt x="1134" y="297"/>
                  </a:cubicBezTo>
                  <a:cubicBezTo>
                    <a:pt x="1125" y="269"/>
                    <a:pt x="1114" y="247"/>
                    <a:pt x="1097" y="225"/>
                  </a:cubicBezTo>
                  <a:cubicBezTo>
                    <a:pt x="1081" y="206"/>
                    <a:pt x="1061" y="189"/>
                    <a:pt x="1039" y="178"/>
                  </a:cubicBezTo>
                  <a:cubicBezTo>
                    <a:pt x="1017" y="167"/>
                    <a:pt x="989" y="161"/>
                    <a:pt x="959" y="161"/>
                  </a:cubicBezTo>
                  <a:cubicBezTo>
                    <a:pt x="928" y="161"/>
                    <a:pt x="900" y="169"/>
                    <a:pt x="872" y="181"/>
                  </a:cubicBezTo>
                  <a:cubicBezTo>
                    <a:pt x="847" y="192"/>
                    <a:pt x="825" y="208"/>
                    <a:pt x="809" y="228"/>
                  </a:cubicBezTo>
                  <a:cubicBezTo>
                    <a:pt x="792" y="247"/>
                    <a:pt x="778" y="272"/>
                    <a:pt x="767" y="300"/>
                  </a:cubicBezTo>
                  <a:cubicBezTo>
                    <a:pt x="759" y="325"/>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0" name="Freeform 27">
              <a:extLst>
                <a:ext uri="{FF2B5EF4-FFF2-40B4-BE49-F238E27FC236}">
                  <a16:creationId xmlns:a16="http://schemas.microsoft.com/office/drawing/2014/main" id="{6745A430-6FAE-ED4D-A55A-AD8B18569B1C}"/>
                </a:ext>
              </a:extLst>
            </p:cNvPr>
            <p:cNvSpPr>
              <a:spLocks noChangeArrowheads="1"/>
            </p:cNvSpPr>
            <p:nvPr userDrawn="1"/>
          </p:nvSpPr>
          <p:spPr bwMode="auto">
            <a:xfrm>
              <a:off x="5138738" y="3743325"/>
              <a:ext cx="315912"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2 w 876"/>
                <a:gd name="T11" fmla="*/ 680 h 864"/>
                <a:gd name="T12" fmla="*/ 703 w 876"/>
                <a:gd name="T13" fmla="*/ 616 h 864"/>
                <a:gd name="T14" fmla="*/ 817 w 876"/>
                <a:gd name="T15" fmla="*/ 724 h 864"/>
                <a:gd name="T16" fmla="*/ 742 w 876"/>
                <a:gd name="T17" fmla="*/ 786 h 864"/>
                <a:gd name="T18" fmla="*/ 653 w 876"/>
                <a:gd name="T19" fmla="*/ 830 h 864"/>
                <a:gd name="T20" fmla="*/ 553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3 w 876"/>
                <a:gd name="T35" fmla="*/ 119 h 864"/>
                <a:gd name="T36" fmla="*/ 261 w 876"/>
                <a:gd name="T37" fmla="*/ 30 h 864"/>
                <a:gd name="T38" fmla="*/ 442 w 876"/>
                <a:gd name="T39" fmla="*/ 0 h 864"/>
                <a:gd name="T40" fmla="*/ 628 w 876"/>
                <a:gd name="T41" fmla="*/ 30 h 864"/>
                <a:gd name="T42" fmla="*/ 767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2 w 876"/>
                <a:gd name="T55" fmla="*/ 202 h 864"/>
                <a:gd name="T56" fmla="*/ 448 w 876"/>
                <a:gd name="T57" fmla="*/ 152 h 864"/>
                <a:gd name="T58" fmla="*/ 278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17" y="686"/>
                    <a:pt x="381" y="705"/>
                    <a:pt x="459" y="705"/>
                  </a:cubicBezTo>
                  <a:cubicBezTo>
                    <a:pt x="500" y="705"/>
                    <a:pt x="548" y="697"/>
                    <a:pt x="592" y="680"/>
                  </a:cubicBezTo>
                  <a:cubicBezTo>
                    <a:pt x="639" y="666"/>
                    <a:pt x="675" y="644"/>
                    <a:pt x="703" y="616"/>
                  </a:cubicBezTo>
                  <a:cubicBezTo>
                    <a:pt x="817" y="724"/>
                    <a:pt x="817" y="724"/>
                    <a:pt x="817" y="724"/>
                  </a:cubicBezTo>
                  <a:cubicBezTo>
                    <a:pt x="795" y="747"/>
                    <a:pt x="770" y="769"/>
                    <a:pt x="742" y="786"/>
                  </a:cubicBezTo>
                  <a:cubicBezTo>
                    <a:pt x="714" y="802"/>
                    <a:pt x="684" y="819"/>
                    <a:pt x="653" y="830"/>
                  </a:cubicBezTo>
                  <a:cubicBezTo>
                    <a:pt x="620" y="841"/>
                    <a:pt x="589" y="849"/>
                    <a:pt x="553" y="855"/>
                  </a:cubicBezTo>
                  <a:cubicBezTo>
                    <a:pt x="520" y="861"/>
                    <a:pt x="486" y="863"/>
                    <a:pt x="456" y="863"/>
                  </a:cubicBezTo>
                  <a:cubicBezTo>
                    <a:pt x="386" y="863"/>
                    <a:pt x="323" y="855"/>
                    <a:pt x="267" y="833"/>
                  </a:cubicBezTo>
                  <a:cubicBezTo>
                    <a:pt x="211" y="813"/>
                    <a:pt x="164" y="783"/>
                    <a:pt x="125" y="747"/>
                  </a:cubicBezTo>
                  <a:cubicBezTo>
                    <a:pt x="86" y="708"/>
                    <a:pt x="56" y="661"/>
                    <a:pt x="34" y="608"/>
                  </a:cubicBezTo>
                  <a:cubicBezTo>
                    <a:pt x="11" y="552"/>
                    <a:pt x="0" y="494"/>
                    <a:pt x="0" y="427"/>
                  </a:cubicBezTo>
                  <a:cubicBezTo>
                    <a:pt x="0" y="366"/>
                    <a:pt x="11" y="308"/>
                    <a:pt x="34" y="255"/>
                  </a:cubicBezTo>
                  <a:cubicBezTo>
                    <a:pt x="56" y="202"/>
                    <a:pt x="84" y="158"/>
                    <a:pt x="123" y="119"/>
                  </a:cubicBezTo>
                  <a:cubicBezTo>
                    <a:pt x="161" y="80"/>
                    <a:pt x="209" y="52"/>
                    <a:pt x="261" y="30"/>
                  </a:cubicBezTo>
                  <a:cubicBezTo>
                    <a:pt x="317" y="8"/>
                    <a:pt x="378" y="0"/>
                    <a:pt x="442" y="0"/>
                  </a:cubicBezTo>
                  <a:cubicBezTo>
                    <a:pt x="511" y="0"/>
                    <a:pt x="573" y="8"/>
                    <a:pt x="628" y="30"/>
                  </a:cubicBezTo>
                  <a:cubicBezTo>
                    <a:pt x="684" y="50"/>
                    <a:pt x="731" y="80"/>
                    <a:pt x="767" y="122"/>
                  </a:cubicBezTo>
                  <a:cubicBezTo>
                    <a:pt x="806" y="163"/>
                    <a:pt x="834" y="216"/>
                    <a:pt x="853" y="277"/>
                  </a:cubicBezTo>
                  <a:cubicBezTo>
                    <a:pt x="870" y="341"/>
                    <a:pt x="875" y="413"/>
                    <a:pt x="867" y="497"/>
                  </a:cubicBezTo>
                  <a:lnTo>
                    <a:pt x="186" y="352"/>
                  </a:lnTo>
                  <a:lnTo>
                    <a:pt x="186" y="352"/>
                  </a:lnTo>
                  <a:cubicBezTo>
                    <a:pt x="698" y="352"/>
                    <a:pt x="698" y="352"/>
                    <a:pt x="698" y="352"/>
                  </a:cubicBezTo>
                  <a:cubicBezTo>
                    <a:pt x="692" y="286"/>
                    <a:pt x="667" y="236"/>
                    <a:pt x="622" y="202"/>
                  </a:cubicBezTo>
                  <a:cubicBezTo>
                    <a:pt x="578" y="169"/>
                    <a:pt x="520" y="152"/>
                    <a:pt x="448" y="152"/>
                  </a:cubicBezTo>
                  <a:cubicBezTo>
                    <a:pt x="384" y="152"/>
                    <a:pt x="328" y="169"/>
                    <a:pt x="278"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1" name="Freeform 28">
              <a:extLst>
                <a:ext uri="{FF2B5EF4-FFF2-40B4-BE49-F238E27FC236}">
                  <a16:creationId xmlns:a16="http://schemas.microsoft.com/office/drawing/2014/main" id="{E3E2DFF6-D44B-5F42-95C1-7E783E653E68}"/>
                </a:ext>
              </a:extLst>
            </p:cNvPr>
            <p:cNvSpPr>
              <a:spLocks noChangeArrowheads="1"/>
            </p:cNvSpPr>
            <p:nvPr userDrawn="1"/>
          </p:nvSpPr>
          <p:spPr bwMode="auto">
            <a:xfrm>
              <a:off x="54975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4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9" y="147"/>
                    <a:pt x="127" y="111"/>
                  </a:cubicBezTo>
                  <a:cubicBezTo>
                    <a:pt x="166" y="75"/>
                    <a:pt x="211" y="48"/>
                    <a:pt x="264"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41" y="636"/>
                    <a:pt x="669" y="603"/>
                    <a:pt x="691" y="561"/>
                  </a:cubicBezTo>
                  <a:cubicBezTo>
                    <a:pt x="711" y="522"/>
                    <a:pt x="722" y="478"/>
                    <a:pt x="722" y="431"/>
                  </a:cubicBezTo>
                  <a:cubicBezTo>
                    <a:pt x="722" y="384"/>
                    <a:pt x="711" y="339"/>
                    <a:pt x="691" y="298"/>
                  </a:cubicBezTo>
                  <a:cubicBezTo>
                    <a:pt x="669" y="259"/>
                    <a:pt x="641"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2" name="Freeform 29">
              <a:extLst>
                <a:ext uri="{FF2B5EF4-FFF2-40B4-BE49-F238E27FC236}">
                  <a16:creationId xmlns:a16="http://schemas.microsoft.com/office/drawing/2014/main" id="{F1F0A8F6-9229-D949-BA1A-AC62C4C5F933}"/>
                </a:ext>
              </a:extLst>
            </p:cNvPr>
            <p:cNvSpPr>
              <a:spLocks noChangeArrowheads="1"/>
            </p:cNvSpPr>
            <p:nvPr userDrawn="1"/>
          </p:nvSpPr>
          <p:spPr bwMode="auto">
            <a:xfrm>
              <a:off x="5905500" y="3746500"/>
              <a:ext cx="293688" cy="301625"/>
            </a:xfrm>
            <a:custGeom>
              <a:avLst/>
              <a:gdLst>
                <a:gd name="T0" fmla="*/ 639 w 817"/>
                <a:gd name="T1" fmla="*/ 836 h 837"/>
                <a:gd name="T2" fmla="*/ 639 w 817"/>
                <a:gd name="T3" fmla="*/ 836 h 837"/>
                <a:gd name="T4" fmla="*/ 639 w 817"/>
                <a:gd name="T5" fmla="*/ 397 h 837"/>
                <a:gd name="T6" fmla="*/ 580 w 817"/>
                <a:gd name="T7" fmla="*/ 225 h 837"/>
                <a:gd name="T8" fmla="*/ 411 w 817"/>
                <a:gd name="T9" fmla="*/ 158 h 837"/>
                <a:gd name="T10" fmla="*/ 316 w 817"/>
                <a:gd name="T11" fmla="*/ 178 h 837"/>
                <a:gd name="T12" fmla="*/ 241 w 817"/>
                <a:gd name="T13" fmla="*/ 230 h 837"/>
                <a:gd name="T14" fmla="*/ 194 w 817"/>
                <a:gd name="T15" fmla="*/ 311 h 837"/>
                <a:gd name="T16" fmla="*/ 177 w 817"/>
                <a:gd name="T17" fmla="*/ 405 h 837"/>
                <a:gd name="T18" fmla="*/ 177 w 817"/>
                <a:gd name="T19" fmla="*/ 836 h 837"/>
                <a:gd name="T20" fmla="*/ 0 w 817"/>
                <a:gd name="T21" fmla="*/ 836 h 837"/>
                <a:gd name="T22" fmla="*/ 0 w 817"/>
                <a:gd name="T23" fmla="*/ 11 h 837"/>
                <a:gd name="T24" fmla="*/ 161 w 817"/>
                <a:gd name="T25" fmla="*/ 11 h 837"/>
                <a:gd name="T26" fmla="*/ 172 w 817"/>
                <a:gd name="T27" fmla="*/ 130 h 837"/>
                <a:gd name="T28" fmla="*/ 455 w 817"/>
                <a:gd name="T29" fmla="*/ 0 h 837"/>
                <a:gd name="T30" fmla="*/ 597 w 817"/>
                <a:gd name="T31" fmla="*/ 25 h 837"/>
                <a:gd name="T32" fmla="*/ 711 w 817"/>
                <a:gd name="T33" fmla="*/ 100 h 837"/>
                <a:gd name="T34" fmla="*/ 789 w 817"/>
                <a:gd name="T35" fmla="*/ 225 h 837"/>
                <a:gd name="T36" fmla="*/ 816 w 817"/>
                <a:gd name="T37" fmla="*/ 394 h 837"/>
                <a:gd name="T38" fmla="*/ 816 w 817"/>
                <a:gd name="T39" fmla="*/ 836 h 837"/>
                <a:gd name="T40" fmla="*/ 639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9" y="836"/>
                  </a:moveTo>
                  <a:lnTo>
                    <a:pt x="639" y="836"/>
                  </a:lnTo>
                  <a:cubicBezTo>
                    <a:pt x="639" y="397"/>
                    <a:pt x="639" y="397"/>
                    <a:pt x="639" y="397"/>
                  </a:cubicBezTo>
                  <a:cubicBezTo>
                    <a:pt x="639" y="325"/>
                    <a:pt x="619" y="266"/>
                    <a:pt x="580" y="225"/>
                  </a:cubicBezTo>
                  <a:cubicBezTo>
                    <a:pt x="541" y="180"/>
                    <a:pt x="486" y="158"/>
                    <a:pt x="411" y="158"/>
                  </a:cubicBezTo>
                  <a:cubicBezTo>
                    <a:pt x="377" y="158"/>
                    <a:pt x="344" y="166"/>
                    <a:pt x="316" y="178"/>
                  </a:cubicBezTo>
                  <a:cubicBezTo>
                    <a:pt x="286" y="192"/>
                    <a:pt x="261" y="208"/>
                    <a:pt x="241" y="230"/>
                  </a:cubicBezTo>
                  <a:cubicBezTo>
                    <a:pt x="222" y="255"/>
                    <a:pt x="205" y="280"/>
                    <a:pt x="194" y="311"/>
                  </a:cubicBezTo>
                  <a:cubicBezTo>
                    <a:pt x="183" y="341"/>
                    <a:pt x="177" y="372"/>
                    <a:pt x="177" y="405"/>
                  </a:cubicBezTo>
                  <a:cubicBezTo>
                    <a:pt x="177" y="836"/>
                    <a:pt x="177" y="836"/>
                    <a:pt x="177" y="836"/>
                  </a:cubicBezTo>
                  <a:cubicBezTo>
                    <a:pt x="0" y="836"/>
                    <a:pt x="0" y="836"/>
                    <a:pt x="0" y="836"/>
                  </a:cubicBezTo>
                  <a:cubicBezTo>
                    <a:pt x="0" y="11"/>
                    <a:pt x="0" y="11"/>
                    <a:pt x="0" y="11"/>
                  </a:cubicBezTo>
                  <a:cubicBezTo>
                    <a:pt x="161" y="11"/>
                    <a:pt x="161" y="11"/>
                    <a:pt x="161" y="11"/>
                  </a:cubicBezTo>
                  <a:cubicBezTo>
                    <a:pt x="172" y="130"/>
                    <a:pt x="172" y="130"/>
                    <a:pt x="172" y="130"/>
                  </a:cubicBezTo>
                  <a:cubicBezTo>
                    <a:pt x="250" y="42"/>
                    <a:pt x="344" y="0"/>
                    <a:pt x="455" y="0"/>
                  </a:cubicBezTo>
                  <a:cubicBezTo>
                    <a:pt x="505" y="0"/>
                    <a:pt x="552" y="8"/>
                    <a:pt x="597" y="25"/>
                  </a:cubicBezTo>
                  <a:cubicBezTo>
                    <a:pt x="641" y="42"/>
                    <a:pt x="680" y="66"/>
                    <a:pt x="711" y="100"/>
                  </a:cubicBezTo>
                  <a:cubicBezTo>
                    <a:pt x="744" y="133"/>
                    <a:pt x="769" y="175"/>
                    <a:pt x="789" y="225"/>
                  </a:cubicBezTo>
                  <a:cubicBezTo>
                    <a:pt x="808" y="275"/>
                    <a:pt x="816" y="330"/>
                    <a:pt x="816" y="394"/>
                  </a:cubicBezTo>
                  <a:cubicBezTo>
                    <a:pt x="816" y="836"/>
                    <a:pt x="816" y="836"/>
                    <a:pt x="816" y="836"/>
                  </a:cubicBezTo>
                  <a:lnTo>
                    <a:pt x="639"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3" name="Freeform 30">
              <a:extLst>
                <a:ext uri="{FF2B5EF4-FFF2-40B4-BE49-F238E27FC236}">
                  <a16:creationId xmlns:a16="http://schemas.microsoft.com/office/drawing/2014/main" id="{B16A197B-0E17-EF43-80AA-BFBCB40AC761}"/>
                </a:ext>
              </a:extLst>
            </p:cNvPr>
            <p:cNvSpPr>
              <a:spLocks noChangeArrowheads="1"/>
            </p:cNvSpPr>
            <p:nvPr userDrawn="1"/>
          </p:nvSpPr>
          <p:spPr bwMode="auto">
            <a:xfrm>
              <a:off x="6251575"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4" name="Freeform 31">
              <a:extLst>
                <a:ext uri="{FF2B5EF4-FFF2-40B4-BE49-F238E27FC236}">
                  <a16:creationId xmlns:a16="http://schemas.microsoft.com/office/drawing/2014/main" id="{575F5FA7-2A68-E247-8A62-204B7962F005}"/>
                </a:ext>
              </a:extLst>
            </p:cNvPr>
            <p:cNvSpPr>
              <a:spLocks noChangeArrowheads="1"/>
            </p:cNvSpPr>
            <p:nvPr userDrawn="1"/>
          </p:nvSpPr>
          <p:spPr bwMode="auto">
            <a:xfrm>
              <a:off x="6643688"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5" name="Freeform 32">
              <a:extLst>
                <a:ext uri="{FF2B5EF4-FFF2-40B4-BE49-F238E27FC236}">
                  <a16:creationId xmlns:a16="http://schemas.microsoft.com/office/drawing/2014/main" id="{34C098E7-184C-504A-8792-AF18A8E97AEC}"/>
                </a:ext>
              </a:extLst>
            </p:cNvPr>
            <p:cNvSpPr>
              <a:spLocks noChangeArrowheads="1"/>
            </p:cNvSpPr>
            <p:nvPr userDrawn="1"/>
          </p:nvSpPr>
          <p:spPr bwMode="auto">
            <a:xfrm>
              <a:off x="6897688" y="3743325"/>
              <a:ext cx="314325" cy="309563"/>
            </a:xfrm>
            <a:custGeom>
              <a:avLst/>
              <a:gdLst>
                <a:gd name="T0" fmla="*/ 436 w 873"/>
                <a:gd name="T1" fmla="*/ 0 h 860"/>
                <a:gd name="T2" fmla="*/ 436 w 873"/>
                <a:gd name="T3" fmla="*/ 0 h 860"/>
                <a:gd name="T4" fmla="*/ 611 w 873"/>
                <a:gd name="T5" fmla="*/ 34 h 860"/>
                <a:gd name="T6" fmla="*/ 750 w 873"/>
                <a:gd name="T7" fmla="*/ 125 h 860"/>
                <a:gd name="T8" fmla="*/ 842 w 873"/>
                <a:gd name="T9" fmla="*/ 261 h 860"/>
                <a:gd name="T10" fmla="*/ 872 w 873"/>
                <a:gd name="T11" fmla="*/ 431 h 860"/>
                <a:gd name="T12" fmla="*/ 842 w 873"/>
                <a:gd name="T13" fmla="*/ 600 h 860"/>
                <a:gd name="T14" fmla="*/ 753 w 873"/>
                <a:gd name="T15" fmla="*/ 736 h 860"/>
                <a:gd name="T16" fmla="*/ 614 w 873"/>
                <a:gd name="T17" fmla="*/ 825 h 860"/>
                <a:gd name="T18" fmla="*/ 436 w 873"/>
                <a:gd name="T19" fmla="*/ 859 h 860"/>
                <a:gd name="T20" fmla="*/ 256 w 873"/>
                <a:gd name="T21" fmla="*/ 825 h 860"/>
                <a:gd name="T22" fmla="*/ 119 w 873"/>
                <a:gd name="T23" fmla="*/ 736 h 860"/>
                <a:gd name="T24" fmla="*/ 31 w 873"/>
                <a:gd name="T25" fmla="*/ 600 h 860"/>
                <a:gd name="T26" fmla="*/ 0 w 873"/>
                <a:gd name="T27" fmla="*/ 431 h 860"/>
                <a:gd name="T28" fmla="*/ 31 w 873"/>
                <a:gd name="T29" fmla="*/ 261 h 860"/>
                <a:gd name="T30" fmla="*/ 119 w 873"/>
                <a:gd name="T31" fmla="*/ 125 h 860"/>
                <a:gd name="T32" fmla="*/ 258 w 873"/>
                <a:gd name="T33" fmla="*/ 34 h 860"/>
                <a:gd name="T34" fmla="*/ 436 w 873"/>
                <a:gd name="T35" fmla="*/ 0 h 860"/>
                <a:gd name="T36" fmla="*/ 436 w 873"/>
                <a:gd name="T37" fmla="*/ 161 h 860"/>
                <a:gd name="T38" fmla="*/ 436 w 873"/>
                <a:gd name="T39" fmla="*/ 161 h 860"/>
                <a:gd name="T40" fmla="*/ 328 w 873"/>
                <a:gd name="T41" fmla="*/ 184 h 860"/>
                <a:gd name="T42" fmla="*/ 247 w 873"/>
                <a:gd name="T43" fmla="*/ 242 h 860"/>
                <a:gd name="T44" fmla="*/ 194 w 873"/>
                <a:gd name="T45" fmla="*/ 328 h 860"/>
                <a:gd name="T46" fmla="*/ 178 w 873"/>
                <a:gd name="T47" fmla="*/ 431 h 860"/>
                <a:gd name="T48" fmla="*/ 194 w 873"/>
                <a:gd name="T49" fmla="*/ 536 h 860"/>
                <a:gd name="T50" fmla="*/ 247 w 873"/>
                <a:gd name="T51" fmla="*/ 620 h 860"/>
                <a:gd name="T52" fmla="*/ 328 w 873"/>
                <a:gd name="T53" fmla="*/ 678 h 860"/>
                <a:gd name="T54" fmla="*/ 436 w 873"/>
                <a:gd name="T55" fmla="*/ 698 h 860"/>
                <a:gd name="T56" fmla="*/ 544 w 873"/>
                <a:gd name="T57" fmla="*/ 678 h 860"/>
                <a:gd name="T58" fmla="*/ 625 w 873"/>
                <a:gd name="T59" fmla="*/ 620 h 860"/>
                <a:gd name="T60" fmla="*/ 678 w 873"/>
                <a:gd name="T61" fmla="*/ 536 h 860"/>
                <a:gd name="T62" fmla="*/ 694 w 873"/>
                <a:gd name="T63" fmla="*/ 431 h 860"/>
                <a:gd name="T64" fmla="*/ 675 w 873"/>
                <a:gd name="T65" fmla="*/ 328 h 860"/>
                <a:gd name="T66" fmla="*/ 622 w 873"/>
                <a:gd name="T67" fmla="*/ 242 h 860"/>
                <a:gd name="T68" fmla="*/ 542 w 873"/>
                <a:gd name="T69" fmla="*/ 184 h 860"/>
                <a:gd name="T70" fmla="*/ 436 w 873"/>
                <a:gd name="T71" fmla="*/ 161 h 860"/>
                <a:gd name="T72" fmla="*/ 436 w 873"/>
                <a:gd name="T73"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60">
                  <a:moveTo>
                    <a:pt x="436" y="0"/>
                  </a:moveTo>
                  <a:lnTo>
                    <a:pt x="436" y="0"/>
                  </a:lnTo>
                  <a:cubicBezTo>
                    <a:pt x="500" y="0"/>
                    <a:pt x="558" y="11"/>
                    <a:pt x="611" y="34"/>
                  </a:cubicBezTo>
                  <a:cubicBezTo>
                    <a:pt x="667" y="59"/>
                    <a:pt x="711" y="86"/>
                    <a:pt x="750" y="125"/>
                  </a:cubicBezTo>
                  <a:cubicBezTo>
                    <a:pt x="789" y="164"/>
                    <a:pt x="819" y="209"/>
                    <a:pt x="842" y="261"/>
                  </a:cubicBezTo>
                  <a:cubicBezTo>
                    <a:pt x="861" y="314"/>
                    <a:pt x="872" y="370"/>
                    <a:pt x="872" y="431"/>
                  </a:cubicBezTo>
                  <a:cubicBezTo>
                    <a:pt x="872" y="492"/>
                    <a:pt x="861" y="547"/>
                    <a:pt x="842" y="600"/>
                  </a:cubicBezTo>
                  <a:cubicBezTo>
                    <a:pt x="819" y="653"/>
                    <a:pt x="792" y="698"/>
                    <a:pt x="753" y="736"/>
                  </a:cubicBezTo>
                  <a:cubicBezTo>
                    <a:pt x="714" y="775"/>
                    <a:pt x="669" y="806"/>
                    <a:pt x="614" y="825"/>
                  </a:cubicBezTo>
                  <a:cubicBezTo>
                    <a:pt x="561" y="847"/>
                    <a:pt x="500" y="859"/>
                    <a:pt x="436" y="859"/>
                  </a:cubicBezTo>
                  <a:cubicBezTo>
                    <a:pt x="369" y="859"/>
                    <a:pt x="308" y="847"/>
                    <a:pt x="256" y="825"/>
                  </a:cubicBezTo>
                  <a:cubicBezTo>
                    <a:pt x="203" y="806"/>
                    <a:pt x="156" y="775"/>
                    <a:pt x="119" y="736"/>
                  </a:cubicBezTo>
                  <a:cubicBezTo>
                    <a:pt x="80" y="698"/>
                    <a:pt x="53" y="653"/>
                    <a:pt x="31" y="600"/>
                  </a:cubicBezTo>
                  <a:cubicBezTo>
                    <a:pt x="11" y="547"/>
                    <a:pt x="0" y="492"/>
                    <a:pt x="0" y="431"/>
                  </a:cubicBezTo>
                  <a:cubicBezTo>
                    <a:pt x="0" y="370"/>
                    <a:pt x="11" y="314"/>
                    <a:pt x="31" y="261"/>
                  </a:cubicBezTo>
                  <a:cubicBezTo>
                    <a:pt x="53" y="209"/>
                    <a:pt x="80" y="164"/>
                    <a:pt x="119" y="125"/>
                  </a:cubicBezTo>
                  <a:cubicBezTo>
                    <a:pt x="158" y="86"/>
                    <a:pt x="203" y="59"/>
                    <a:pt x="258" y="34"/>
                  </a:cubicBezTo>
                  <a:cubicBezTo>
                    <a:pt x="311" y="11"/>
                    <a:pt x="369" y="0"/>
                    <a:pt x="436" y="0"/>
                  </a:cubicBezTo>
                  <a:lnTo>
                    <a:pt x="436" y="161"/>
                  </a:lnTo>
                  <a:lnTo>
                    <a:pt x="436" y="161"/>
                  </a:lnTo>
                  <a:cubicBezTo>
                    <a:pt x="394" y="161"/>
                    <a:pt x="358" y="170"/>
                    <a:pt x="328" y="184"/>
                  </a:cubicBezTo>
                  <a:cubicBezTo>
                    <a:pt x="294" y="198"/>
                    <a:pt x="269" y="217"/>
                    <a:pt x="247" y="242"/>
                  </a:cubicBezTo>
                  <a:cubicBezTo>
                    <a:pt x="225" y="267"/>
                    <a:pt x="206" y="298"/>
                    <a:pt x="194" y="328"/>
                  </a:cubicBezTo>
                  <a:cubicBezTo>
                    <a:pt x="183" y="361"/>
                    <a:pt x="178" y="395"/>
                    <a:pt x="178" y="431"/>
                  </a:cubicBezTo>
                  <a:cubicBezTo>
                    <a:pt x="178" y="470"/>
                    <a:pt x="183" y="503"/>
                    <a:pt x="194" y="536"/>
                  </a:cubicBezTo>
                  <a:cubicBezTo>
                    <a:pt x="206" y="567"/>
                    <a:pt x="225" y="595"/>
                    <a:pt x="247" y="620"/>
                  </a:cubicBezTo>
                  <a:cubicBezTo>
                    <a:pt x="269" y="645"/>
                    <a:pt x="294" y="664"/>
                    <a:pt x="328" y="678"/>
                  </a:cubicBezTo>
                  <a:cubicBezTo>
                    <a:pt x="358" y="692"/>
                    <a:pt x="394" y="698"/>
                    <a:pt x="436" y="698"/>
                  </a:cubicBezTo>
                  <a:cubicBezTo>
                    <a:pt x="475" y="698"/>
                    <a:pt x="511" y="692"/>
                    <a:pt x="544" y="678"/>
                  </a:cubicBezTo>
                  <a:cubicBezTo>
                    <a:pt x="575" y="664"/>
                    <a:pt x="603" y="645"/>
                    <a:pt x="625" y="620"/>
                  </a:cubicBezTo>
                  <a:cubicBezTo>
                    <a:pt x="647" y="595"/>
                    <a:pt x="664" y="567"/>
                    <a:pt x="678" y="536"/>
                  </a:cubicBezTo>
                  <a:cubicBezTo>
                    <a:pt x="689" y="503"/>
                    <a:pt x="694" y="470"/>
                    <a:pt x="694" y="431"/>
                  </a:cubicBezTo>
                  <a:cubicBezTo>
                    <a:pt x="694" y="395"/>
                    <a:pt x="689" y="361"/>
                    <a:pt x="675" y="328"/>
                  </a:cubicBezTo>
                  <a:cubicBezTo>
                    <a:pt x="664" y="298"/>
                    <a:pt x="644" y="267"/>
                    <a:pt x="622" y="242"/>
                  </a:cubicBezTo>
                  <a:cubicBezTo>
                    <a:pt x="600" y="217"/>
                    <a:pt x="572" y="198"/>
                    <a:pt x="542" y="184"/>
                  </a:cubicBezTo>
                  <a:cubicBezTo>
                    <a:pt x="508" y="170"/>
                    <a:pt x="472" y="161"/>
                    <a:pt x="436" y="161"/>
                  </a:cubicBezTo>
                  <a:lnTo>
                    <a:pt x="43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6" name="Freeform 33">
              <a:extLst>
                <a:ext uri="{FF2B5EF4-FFF2-40B4-BE49-F238E27FC236}">
                  <a16:creationId xmlns:a16="http://schemas.microsoft.com/office/drawing/2014/main" id="{B6A67FDD-10A8-4D43-9C49-154E07D6EE85}"/>
                </a:ext>
              </a:extLst>
            </p:cNvPr>
            <p:cNvSpPr>
              <a:spLocks noChangeArrowheads="1"/>
            </p:cNvSpPr>
            <p:nvPr userDrawn="1"/>
          </p:nvSpPr>
          <p:spPr bwMode="auto">
            <a:xfrm>
              <a:off x="7431088" y="3627438"/>
              <a:ext cx="323850" cy="427037"/>
            </a:xfrm>
            <a:custGeom>
              <a:avLst/>
              <a:gdLst>
                <a:gd name="T0" fmla="*/ 175 w 898"/>
                <a:gd name="T1" fmla="*/ 0 h 1185"/>
                <a:gd name="T2" fmla="*/ 175 w 898"/>
                <a:gd name="T3" fmla="*/ 0 h 1185"/>
                <a:gd name="T4" fmla="*/ 175 w 898"/>
                <a:gd name="T5" fmla="*/ 472 h 1185"/>
                <a:gd name="T6" fmla="*/ 231 w 898"/>
                <a:gd name="T7" fmla="*/ 409 h 1185"/>
                <a:gd name="T8" fmla="*/ 306 w 898"/>
                <a:gd name="T9" fmla="*/ 361 h 1185"/>
                <a:gd name="T10" fmla="*/ 389 w 898"/>
                <a:gd name="T11" fmla="*/ 334 h 1185"/>
                <a:gd name="T12" fmla="*/ 472 w 898"/>
                <a:gd name="T13" fmla="*/ 325 h 1185"/>
                <a:gd name="T14" fmla="*/ 639 w 898"/>
                <a:gd name="T15" fmla="*/ 353 h 1185"/>
                <a:gd name="T16" fmla="*/ 775 w 898"/>
                <a:gd name="T17" fmla="*/ 434 h 1185"/>
                <a:gd name="T18" fmla="*/ 867 w 898"/>
                <a:gd name="T19" fmla="*/ 570 h 1185"/>
                <a:gd name="T20" fmla="*/ 897 w 898"/>
                <a:gd name="T21" fmla="*/ 753 h 1185"/>
                <a:gd name="T22" fmla="*/ 864 w 898"/>
                <a:gd name="T23" fmla="*/ 936 h 1185"/>
                <a:gd name="T24" fmla="*/ 775 w 898"/>
                <a:gd name="T25" fmla="*/ 1072 h 1185"/>
                <a:gd name="T26" fmla="*/ 639 w 898"/>
                <a:gd name="T27" fmla="*/ 1156 h 1185"/>
                <a:gd name="T28" fmla="*/ 467 w 898"/>
                <a:gd name="T29" fmla="*/ 1184 h 1185"/>
                <a:gd name="T30" fmla="*/ 303 w 898"/>
                <a:gd name="T31" fmla="*/ 1150 h 1185"/>
                <a:gd name="T32" fmla="*/ 175 w 898"/>
                <a:gd name="T33" fmla="*/ 1036 h 1185"/>
                <a:gd name="T34" fmla="*/ 167 w 898"/>
                <a:gd name="T35" fmla="*/ 1167 h 1185"/>
                <a:gd name="T36" fmla="*/ 0 w 898"/>
                <a:gd name="T37" fmla="*/ 1167 h 1185"/>
                <a:gd name="T38" fmla="*/ 0 w 898"/>
                <a:gd name="T39" fmla="*/ 0 h 1185"/>
                <a:gd name="T40" fmla="*/ 175 w 898"/>
                <a:gd name="T41" fmla="*/ 0 h 1185"/>
                <a:gd name="T42" fmla="*/ 456 w 898"/>
                <a:gd name="T43" fmla="*/ 486 h 1185"/>
                <a:gd name="T44" fmla="*/ 456 w 898"/>
                <a:gd name="T45" fmla="*/ 486 h 1185"/>
                <a:gd name="T46" fmla="*/ 353 w 898"/>
                <a:gd name="T47" fmla="*/ 506 h 1185"/>
                <a:gd name="T48" fmla="*/ 267 w 898"/>
                <a:gd name="T49" fmla="*/ 559 h 1185"/>
                <a:gd name="T50" fmla="*/ 208 w 898"/>
                <a:gd name="T51" fmla="*/ 645 h 1185"/>
                <a:gd name="T52" fmla="*/ 186 w 898"/>
                <a:gd name="T53" fmla="*/ 753 h 1185"/>
                <a:gd name="T54" fmla="*/ 208 w 898"/>
                <a:gd name="T55" fmla="*/ 864 h 1185"/>
                <a:gd name="T56" fmla="*/ 267 w 898"/>
                <a:gd name="T57" fmla="*/ 950 h 1185"/>
                <a:gd name="T58" fmla="*/ 350 w 898"/>
                <a:gd name="T59" fmla="*/ 1003 h 1185"/>
                <a:gd name="T60" fmla="*/ 456 w 898"/>
                <a:gd name="T61" fmla="*/ 1023 h 1185"/>
                <a:gd name="T62" fmla="*/ 558 w 898"/>
                <a:gd name="T63" fmla="*/ 1006 h 1185"/>
                <a:gd name="T64" fmla="*/ 645 w 898"/>
                <a:gd name="T65" fmla="*/ 950 h 1185"/>
                <a:gd name="T66" fmla="*/ 700 w 898"/>
                <a:gd name="T67" fmla="*/ 867 h 1185"/>
                <a:gd name="T68" fmla="*/ 722 w 898"/>
                <a:gd name="T69" fmla="*/ 753 h 1185"/>
                <a:gd name="T70" fmla="*/ 700 w 898"/>
                <a:gd name="T71" fmla="*/ 639 h 1185"/>
                <a:gd name="T72" fmla="*/ 645 w 898"/>
                <a:gd name="T73" fmla="*/ 556 h 1185"/>
                <a:gd name="T74" fmla="*/ 558 w 898"/>
                <a:gd name="T75" fmla="*/ 503 h 1185"/>
                <a:gd name="T76" fmla="*/ 456 w 898"/>
                <a:gd name="T77" fmla="*/ 48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8" h="1185">
                  <a:moveTo>
                    <a:pt x="175" y="0"/>
                  </a:moveTo>
                  <a:lnTo>
                    <a:pt x="175" y="0"/>
                  </a:lnTo>
                  <a:cubicBezTo>
                    <a:pt x="175" y="472"/>
                    <a:pt x="175" y="472"/>
                    <a:pt x="175" y="472"/>
                  </a:cubicBezTo>
                  <a:cubicBezTo>
                    <a:pt x="189" y="448"/>
                    <a:pt x="208" y="425"/>
                    <a:pt x="231" y="409"/>
                  </a:cubicBezTo>
                  <a:cubicBezTo>
                    <a:pt x="253" y="389"/>
                    <a:pt x="278" y="373"/>
                    <a:pt x="306" y="361"/>
                  </a:cubicBezTo>
                  <a:cubicBezTo>
                    <a:pt x="334" y="350"/>
                    <a:pt x="361" y="339"/>
                    <a:pt x="389" y="334"/>
                  </a:cubicBezTo>
                  <a:cubicBezTo>
                    <a:pt x="417" y="328"/>
                    <a:pt x="445" y="325"/>
                    <a:pt x="472" y="325"/>
                  </a:cubicBezTo>
                  <a:cubicBezTo>
                    <a:pt x="531" y="325"/>
                    <a:pt x="589" y="334"/>
                    <a:pt x="639" y="353"/>
                  </a:cubicBezTo>
                  <a:cubicBezTo>
                    <a:pt x="692" y="370"/>
                    <a:pt x="739" y="397"/>
                    <a:pt x="775" y="434"/>
                  </a:cubicBezTo>
                  <a:cubicBezTo>
                    <a:pt x="814" y="470"/>
                    <a:pt x="845" y="514"/>
                    <a:pt x="867" y="570"/>
                  </a:cubicBezTo>
                  <a:cubicBezTo>
                    <a:pt x="886" y="623"/>
                    <a:pt x="897" y="684"/>
                    <a:pt x="897" y="753"/>
                  </a:cubicBezTo>
                  <a:cubicBezTo>
                    <a:pt x="897" y="823"/>
                    <a:pt x="886" y="884"/>
                    <a:pt x="864" y="936"/>
                  </a:cubicBezTo>
                  <a:cubicBezTo>
                    <a:pt x="842" y="989"/>
                    <a:pt x="811" y="1036"/>
                    <a:pt x="775" y="1072"/>
                  </a:cubicBezTo>
                  <a:cubicBezTo>
                    <a:pt x="736" y="1109"/>
                    <a:pt x="692" y="1136"/>
                    <a:pt x="639" y="1156"/>
                  </a:cubicBezTo>
                  <a:cubicBezTo>
                    <a:pt x="586" y="1175"/>
                    <a:pt x="531" y="1184"/>
                    <a:pt x="467" y="1184"/>
                  </a:cubicBezTo>
                  <a:cubicBezTo>
                    <a:pt x="411" y="1184"/>
                    <a:pt x="356" y="1172"/>
                    <a:pt x="303" y="1150"/>
                  </a:cubicBezTo>
                  <a:cubicBezTo>
                    <a:pt x="253" y="1128"/>
                    <a:pt x="208" y="1089"/>
                    <a:pt x="175" y="1036"/>
                  </a:cubicBezTo>
                  <a:cubicBezTo>
                    <a:pt x="167" y="1167"/>
                    <a:pt x="167" y="1167"/>
                    <a:pt x="167" y="1167"/>
                  </a:cubicBezTo>
                  <a:cubicBezTo>
                    <a:pt x="0" y="1167"/>
                    <a:pt x="0" y="1167"/>
                    <a:pt x="0" y="1167"/>
                  </a:cubicBezTo>
                  <a:cubicBezTo>
                    <a:pt x="0" y="0"/>
                    <a:pt x="0" y="0"/>
                    <a:pt x="0" y="0"/>
                  </a:cubicBezTo>
                  <a:lnTo>
                    <a:pt x="175" y="0"/>
                  </a:lnTo>
                  <a:close/>
                  <a:moveTo>
                    <a:pt x="456" y="486"/>
                  </a:moveTo>
                  <a:lnTo>
                    <a:pt x="456" y="486"/>
                  </a:lnTo>
                  <a:cubicBezTo>
                    <a:pt x="420" y="486"/>
                    <a:pt x="383" y="492"/>
                    <a:pt x="353" y="506"/>
                  </a:cubicBezTo>
                  <a:cubicBezTo>
                    <a:pt x="320" y="517"/>
                    <a:pt x="289" y="536"/>
                    <a:pt x="267" y="559"/>
                  </a:cubicBezTo>
                  <a:cubicBezTo>
                    <a:pt x="242" y="584"/>
                    <a:pt x="222" y="611"/>
                    <a:pt x="208" y="645"/>
                  </a:cubicBezTo>
                  <a:cubicBezTo>
                    <a:pt x="195" y="678"/>
                    <a:pt x="186" y="714"/>
                    <a:pt x="186" y="753"/>
                  </a:cubicBezTo>
                  <a:cubicBezTo>
                    <a:pt x="186" y="795"/>
                    <a:pt x="195" y="831"/>
                    <a:pt x="208" y="864"/>
                  </a:cubicBezTo>
                  <a:cubicBezTo>
                    <a:pt x="222" y="897"/>
                    <a:pt x="242" y="925"/>
                    <a:pt x="267" y="950"/>
                  </a:cubicBezTo>
                  <a:cubicBezTo>
                    <a:pt x="289" y="972"/>
                    <a:pt x="320" y="992"/>
                    <a:pt x="350" y="1003"/>
                  </a:cubicBezTo>
                  <a:cubicBezTo>
                    <a:pt x="383" y="1017"/>
                    <a:pt x="420" y="1023"/>
                    <a:pt x="456" y="1023"/>
                  </a:cubicBezTo>
                  <a:cubicBezTo>
                    <a:pt x="492" y="1023"/>
                    <a:pt x="528" y="1017"/>
                    <a:pt x="558" y="1006"/>
                  </a:cubicBezTo>
                  <a:cubicBezTo>
                    <a:pt x="592" y="992"/>
                    <a:pt x="620" y="975"/>
                    <a:pt x="645" y="950"/>
                  </a:cubicBezTo>
                  <a:cubicBezTo>
                    <a:pt x="667" y="928"/>
                    <a:pt x="686" y="900"/>
                    <a:pt x="700" y="867"/>
                  </a:cubicBezTo>
                  <a:cubicBezTo>
                    <a:pt x="714" y="834"/>
                    <a:pt x="722" y="795"/>
                    <a:pt x="722" y="753"/>
                  </a:cubicBezTo>
                  <a:cubicBezTo>
                    <a:pt x="722" y="711"/>
                    <a:pt x="714" y="672"/>
                    <a:pt x="700" y="639"/>
                  </a:cubicBezTo>
                  <a:cubicBezTo>
                    <a:pt x="686" y="609"/>
                    <a:pt x="667" y="581"/>
                    <a:pt x="645" y="556"/>
                  </a:cubicBezTo>
                  <a:cubicBezTo>
                    <a:pt x="620" y="534"/>
                    <a:pt x="592" y="517"/>
                    <a:pt x="558" y="503"/>
                  </a:cubicBezTo>
                  <a:cubicBezTo>
                    <a:pt x="528" y="492"/>
                    <a:pt x="492" y="486"/>
                    <a:pt x="456" y="486"/>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7" name="Freeform 34">
              <a:extLst>
                <a:ext uri="{FF2B5EF4-FFF2-40B4-BE49-F238E27FC236}">
                  <a16:creationId xmlns:a16="http://schemas.microsoft.com/office/drawing/2014/main" id="{176176EE-7085-B647-A980-50C6B722CB76}"/>
                </a:ext>
              </a:extLst>
            </p:cNvPr>
            <p:cNvSpPr>
              <a:spLocks noChangeArrowheads="1"/>
            </p:cNvSpPr>
            <p:nvPr userDrawn="1"/>
          </p:nvSpPr>
          <p:spPr bwMode="auto">
            <a:xfrm>
              <a:off x="7804150" y="3743325"/>
              <a:ext cx="315913"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5 w 876"/>
                <a:gd name="T11" fmla="*/ 680 h 864"/>
                <a:gd name="T12" fmla="*/ 703 w 876"/>
                <a:gd name="T13" fmla="*/ 616 h 864"/>
                <a:gd name="T14" fmla="*/ 817 w 876"/>
                <a:gd name="T15" fmla="*/ 724 h 864"/>
                <a:gd name="T16" fmla="*/ 742 w 876"/>
                <a:gd name="T17" fmla="*/ 786 h 864"/>
                <a:gd name="T18" fmla="*/ 653 w 876"/>
                <a:gd name="T19" fmla="*/ 830 h 864"/>
                <a:gd name="T20" fmla="*/ 556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5 w 876"/>
                <a:gd name="T35" fmla="*/ 119 h 864"/>
                <a:gd name="T36" fmla="*/ 264 w 876"/>
                <a:gd name="T37" fmla="*/ 30 h 864"/>
                <a:gd name="T38" fmla="*/ 445 w 876"/>
                <a:gd name="T39" fmla="*/ 0 h 864"/>
                <a:gd name="T40" fmla="*/ 628 w 876"/>
                <a:gd name="T41" fmla="*/ 30 h 864"/>
                <a:gd name="T42" fmla="*/ 770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3 w 876"/>
                <a:gd name="T55" fmla="*/ 202 h 864"/>
                <a:gd name="T56" fmla="*/ 450 w 876"/>
                <a:gd name="T57" fmla="*/ 152 h 864"/>
                <a:gd name="T58" fmla="*/ 281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20" y="686"/>
                    <a:pt x="381" y="705"/>
                    <a:pt x="459" y="705"/>
                  </a:cubicBezTo>
                  <a:cubicBezTo>
                    <a:pt x="503" y="705"/>
                    <a:pt x="548" y="697"/>
                    <a:pt x="595" y="680"/>
                  </a:cubicBezTo>
                  <a:cubicBezTo>
                    <a:pt x="642" y="666"/>
                    <a:pt x="678" y="644"/>
                    <a:pt x="703" y="616"/>
                  </a:cubicBezTo>
                  <a:cubicBezTo>
                    <a:pt x="817" y="724"/>
                    <a:pt x="817" y="724"/>
                    <a:pt x="817" y="724"/>
                  </a:cubicBezTo>
                  <a:cubicBezTo>
                    <a:pt x="798" y="747"/>
                    <a:pt x="770" y="769"/>
                    <a:pt x="742" y="786"/>
                  </a:cubicBezTo>
                  <a:cubicBezTo>
                    <a:pt x="714" y="802"/>
                    <a:pt x="684" y="819"/>
                    <a:pt x="653" y="830"/>
                  </a:cubicBezTo>
                  <a:cubicBezTo>
                    <a:pt x="623" y="841"/>
                    <a:pt x="589" y="849"/>
                    <a:pt x="556" y="855"/>
                  </a:cubicBezTo>
                  <a:cubicBezTo>
                    <a:pt x="520" y="861"/>
                    <a:pt x="486" y="863"/>
                    <a:pt x="456" y="863"/>
                  </a:cubicBezTo>
                  <a:cubicBezTo>
                    <a:pt x="386" y="863"/>
                    <a:pt x="323" y="855"/>
                    <a:pt x="267" y="833"/>
                  </a:cubicBezTo>
                  <a:cubicBezTo>
                    <a:pt x="212" y="813"/>
                    <a:pt x="164" y="783"/>
                    <a:pt x="125" y="747"/>
                  </a:cubicBezTo>
                  <a:cubicBezTo>
                    <a:pt x="86" y="708"/>
                    <a:pt x="56" y="661"/>
                    <a:pt x="34" y="608"/>
                  </a:cubicBezTo>
                  <a:cubicBezTo>
                    <a:pt x="12" y="552"/>
                    <a:pt x="0" y="494"/>
                    <a:pt x="0" y="427"/>
                  </a:cubicBezTo>
                  <a:cubicBezTo>
                    <a:pt x="0" y="366"/>
                    <a:pt x="12" y="308"/>
                    <a:pt x="34" y="255"/>
                  </a:cubicBezTo>
                  <a:cubicBezTo>
                    <a:pt x="56" y="202"/>
                    <a:pt x="86" y="158"/>
                    <a:pt x="125" y="119"/>
                  </a:cubicBezTo>
                  <a:cubicBezTo>
                    <a:pt x="164" y="80"/>
                    <a:pt x="209" y="52"/>
                    <a:pt x="264" y="30"/>
                  </a:cubicBezTo>
                  <a:cubicBezTo>
                    <a:pt x="317" y="8"/>
                    <a:pt x="378" y="0"/>
                    <a:pt x="445" y="0"/>
                  </a:cubicBezTo>
                  <a:cubicBezTo>
                    <a:pt x="511" y="0"/>
                    <a:pt x="573" y="8"/>
                    <a:pt x="628" y="30"/>
                  </a:cubicBezTo>
                  <a:cubicBezTo>
                    <a:pt x="684" y="50"/>
                    <a:pt x="731" y="80"/>
                    <a:pt x="770" y="122"/>
                  </a:cubicBezTo>
                  <a:cubicBezTo>
                    <a:pt x="809" y="163"/>
                    <a:pt x="836" y="216"/>
                    <a:pt x="853" y="277"/>
                  </a:cubicBezTo>
                  <a:cubicBezTo>
                    <a:pt x="870" y="341"/>
                    <a:pt x="875" y="413"/>
                    <a:pt x="867" y="497"/>
                  </a:cubicBezTo>
                  <a:lnTo>
                    <a:pt x="186" y="352"/>
                  </a:lnTo>
                  <a:lnTo>
                    <a:pt x="186" y="352"/>
                  </a:lnTo>
                  <a:cubicBezTo>
                    <a:pt x="698" y="352"/>
                    <a:pt x="698" y="352"/>
                    <a:pt x="698" y="352"/>
                  </a:cubicBezTo>
                  <a:cubicBezTo>
                    <a:pt x="692" y="286"/>
                    <a:pt x="667" y="236"/>
                    <a:pt x="623" y="202"/>
                  </a:cubicBezTo>
                  <a:cubicBezTo>
                    <a:pt x="578" y="169"/>
                    <a:pt x="520" y="152"/>
                    <a:pt x="450" y="152"/>
                  </a:cubicBezTo>
                  <a:cubicBezTo>
                    <a:pt x="384" y="152"/>
                    <a:pt x="328" y="169"/>
                    <a:pt x="281"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9" name="Freeform 36">
              <a:extLst>
                <a:ext uri="{FF2B5EF4-FFF2-40B4-BE49-F238E27FC236}">
                  <a16:creationId xmlns:a16="http://schemas.microsoft.com/office/drawing/2014/main" id="{1D65CA47-B9DB-0E42-A6A7-78C35913AE91}"/>
                </a:ext>
              </a:extLst>
            </p:cNvPr>
            <p:cNvSpPr>
              <a:spLocks noChangeArrowheads="1"/>
            </p:cNvSpPr>
            <p:nvPr userDrawn="1"/>
          </p:nvSpPr>
          <p:spPr bwMode="auto">
            <a:xfrm>
              <a:off x="6570663" y="3024188"/>
              <a:ext cx="77787" cy="76200"/>
            </a:xfrm>
            <a:custGeom>
              <a:avLst/>
              <a:gdLst>
                <a:gd name="T0" fmla="*/ 0 w 218"/>
                <a:gd name="T1" fmla="*/ 106 h 213"/>
                <a:gd name="T2" fmla="*/ 0 w 218"/>
                <a:gd name="T3" fmla="*/ 106 h 213"/>
                <a:gd name="T4" fmla="*/ 33 w 218"/>
                <a:gd name="T5" fmla="*/ 25 h 213"/>
                <a:gd name="T6" fmla="*/ 108 w 218"/>
                <a:gd name="T7" fmla="*/ 0 h 213"/>
                <a:gd name="T8" fmla="*/ 183 w 218"/>
                <a:gd name="T9" fmla="*/ 25 h 213"/>
                <a:gd name="T10" fmla="*/ 217 w 218"/>
                <a:gd name="T11" fmla="*/ 106 h 213"/>
                <a:gd name="T12" fmla="*/ 183 w 218"/>
                <a:gd name="T13" fmla="*/ 184 h 213"/>
                <a:gd name="T14" fmla="*/ 108 w 218"/>
                <a:gd name="T15" fmla="*/ 212 h 213"/>
                <a:gd name="T16" fmla="*/ 33 w 218"/>
                <a:gd name="T17" fmla="*/ 184 h 213"/>
                <a:gd name="T18" fmla="*/ 0 w 218"/>
                <a:gd name="T19" fmla="*/ 10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3">
                  <a:moveTo>
                    <a:pt x="0" y="106"/>
                  </a:moveTo>
                  <a:lnTo>
                    <a:pt x="0" y="106"/>
                  </a:lnTo>
                  <a:cubicBezTo>
                    <a:pt x="0" y="70"/>
                    <a:pt x="11" y="42"/>
                    <a:pt x="33" y="25"/>
                  </a:cubicBezTo>
                  <a:cubicBezTo>
                    <a:pt x="56" y="9"/>
                    <a:pt x="80" y="0"/>
                    <a:pt x="108" y="0"/>
                  </a:cubicBezTo>
                  <a:cubicBezTo>
                    <a:pt x="136" y="0"/>
                    <a:pt x="161" y="9"/>
                    <a:pt x="183" y="25"/>
                  </a:cubicBezTo>
                  <a:cubicBezTo>
                    <a:pt x="206" y="42"/>
                    <a:pt x="217" y="70"/>
                    <a:pt x="217" y="106"/>
                  </a:cubicBezTo>
                  <a:cubicBezTo>
                    <a:pt x="217" y="139"/>
                    <a:pt x="206" y="167"/>
                    <a:pt x="183" y="184"/>
                  </a:cubicBezTo>
                  <a:cubicBezTo>
                    <a:pt x="161" y="203"/>
                    <a:pt x="136" y="212"/>
                    <a:pt x="108" y="212"/>
                  </a:cubicBezTo>
                  <a:cubicBezTo>
                    <a:pt x="80" y="212"/>
                    <a:pt x="56" y="203"/>
                    <a:pt x="33" y="184"/>
                  </a:cubicBezTo>
                  <a:cubicBezTo>
                    <a:pt x="11" y="167"/>
                    <a:pt x="0" y="139"/>
                    <a:pt x="0" y="106"/>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0" name="Freeform 37">
              <a:extLst>
                <a:ext uri="{FF2B5EF4-FFF2-40B4-BE49-F238E27FC236}">
                  <a16:creationId xmlns:a16="http://schemas.microsoft.com/office/drawing/2014/main" id="{8BD4A525-070F-7441-85C2-C1097D7DCD5F}"/>
                </a:ext>
              </a:extLst>
            </p:cNvPr>
            <p:cNvSpPr>
              <a:spLocks noChangeArrowheads="1"/>
            </p:cNvSpPr>
            <p:nvPr userDrawn="1"/>
          </p:nvSpPr>
          <p:spPr bwMode="auto">
            <a:xfrm>
              <a:off x="2690813" y="3625850"/>
              <a:ext cx="79375" cy="77788"/>
            </a:xfrm>
            <a:custGeom>
              <a:avLst/>
              <a:gdLst>
                <a:gd name="T0" fmla="*/ 0 w 221"/>
                <a:gd name="T1" fmla="*/ 105 h 215"/>
                <a:gd name="T2" fmla="*/ 0 w 221"/>
                <a:gd name="T3" fmla="*/ 105 h 215"/>
                <a:gd name="T4" fmla="*/ 34 w 221"/>
                <a:gd name="T5" fmla="*/ 28 h 215"/>
                <a:gd name="T6" fmla="*/ 111 w 221"/>
                <a:gd name="T7" fmla="*/ 0 h 215"/>
                <a:gd name="T8" fmla="*/ 186 w 221"/>
                <a:gd name="T9" fmla="*/ 28 h 215"/>
                <a:gd name="T10" fmla="*/ 220 w 221"/>
                <a:gd name="T11" fmla="*/ 105 h 215"/>
                <a:gd name="T12" fmla="*/ 186 w 221"/>
                <a:gd name="T13" fmla="*/ 186 h 215"/>
                <a:gd name="T14" fmla="*/ 111 w 221"/>
                <a:gd name="T15" fmla="*/ 214 h 215"/>
                <a:gd name="T16" fmla="*/ 34 w 221"/>
                <a:gd name="T17" fmla="*/ 186 h 215"/>
                <a:gd name="T18" fmla="*/ 0 w 221"/>
                <a:gd name="T19" fmla="*/ 10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215">
                  <a:moveTo>
                    <a:pt x="0" y="105"/>
                  </a:moveTo>
                  <a:lnTo>
                    <a:pt x="0" y="105"/>
                  </a:lnTo>
                  <a:cubicBezTo>
                    <a:pt x="0" y="69"/>
                    <a:pt x="11" y="44"/>
                    <a:pt x="34" y="28"/>
                  </a:cubicBezTo>
                  <a:cubicBezTo>
                    <a:pt x="59" y="8"/>
                    <a:pt x="84" y="0"/>
                    <a:pt x="111" y="0"/>
                  </a:cubicBezTo>
                  <a:cubicBezTo>
                    <a:pt x="136" y="0"/>
                    <a:pt x="161" y="8"/>
                    <a:pt x="186" y="28"/>
                  </a:cubicBezTo>
                  <a:cubicBezTo>
                    <a:pt x="209" y="44"/>
                    <a:pt x="220" y="69"/>
                    <a:pt x="220" y="105"/>
                  </a:cubicBezTo>
                  <a:cubicBezTo>
                    <a:pt x="220" y="141"/>
                    <a:pt x="209" y="169"/>
                    <a:pt x="186" y="186"/>
                  </a:cubicBezTo>
                  <a:cubicBezTo>
                    <a:pt x="161" y="202"/>
                    <a:pt x="136" y="214"/>
                    <a:pt x="111" y="214"/>
                  </a:cubicBezTo>
                  <a:cubicBezTo>
                    <a:pt x="84" y="214"/>
                    <a:pt x="59" y="202"/>
                    <a:pt x="34" y="186"/>
                  </a:cubicBezTo>
                  <a:cubicBezTo>
                    <a:pt x="11" y="169"/>
                    <a:pt x="0" y="141"/>
                    <a:pt x="0" y="105"/>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
        <p:nvSpPr>
          <p:cNvPr id="7" name="Picture Placeholder 6">
            <a:extLst>
              <a:ext uri="{FF2B5EF4-FFF2-40B4-BE49-F238E27FC236}">
                <a16:creationId xmlns:a16="http://schemas.microsoft.com/office/drawing/2014/main" id="{868A49DF-FC25-2C4E-949A-9101A5224E03}"/>
              </a:ext>
            </a:extLst>
          </p:cNvPr>
          <p:cNvSpPr>
            <a:spLocks noGrp="1"/>
          </p:cNvSpPr>
          <p:nvPr>
            <p:ph type="pic" sz="quarter" idx="11"/>
          </p:nvPr>
        </p:nvSpPr>
        <p:spPr>
          <a:xfrm>
            <a:off x="1932586" y="-151868"/>
            <a:ext cx="3768114" cy="3589150"/>
          </a:xfrm>
          <a:custGeom>
            <a:avLst/>
            <a:gdLst>
              <a:gd name="connsiteX0" fmla="*/ 0 w 3852324"/>
              <a:gd name="connsiteY0" fmla="*/ 0 h 3998792"/>
              <a:gd name="connsiteX1" fmla="*/ 3210257 w 3852324"/>
              <a:gd name="connsiteY1" fmla="*/ 0 h 3998792"/>
              <a:gd name="connsiteX2" fmla="*/ 3852324 w 3852324"/>
              <a:gd name="connsiteY2" fmla="*/ 642067 h 3998792"/>
              <a:gd name="connsiteX3" fmla="*/ 3852324 w 3852324"/>
              <a:gd name="connsiteY3" fmla="*/ 3998792 h 3998792"/>
              <a:gd name="connsiteX4" fmla="*/ 3852324 w 3852324"/>
              <a:gd name="connsiteY4" fmla="*/ 3998792 h 3998792"/>
              <a:gd name="connsiteX5" fmla="*/ 642067 w 3852324"/>
              <a:gd name="connsiteY5" fmla="*/ 3998792 h 3998792"/>
              <a:gd name="connsiteX6" fmla="*/ 0 w 3852324"/>
              <a:gd name="connsiteY6" fmla="*/ 3356725 h 3998792"/>
              <a:gd name="connsiteX7" fmla="*/ 0 w 3852324"/>
              <a:gd name="connsiteY7" fmla="*/ 0 h 3998792"/>
              <a:gd name="connsiteX0" fmla="*/ 0 w 3852324"/>
              <a:gd name="connsiteY0" fmla="*/ 185195 h 4183987"/>
              <a:gd name="connsiteX1" fmla="*/ 1913893 w 3852324"/>
              <a:gd name="connsiteY1" fmla="*/ 0 h 4183987"/>
              <a:gd name="connsiteX2" fmla="*/ 3852324 w 3852324"/>
              <a:gd name="connsiteY2" fmla="*/ 827262 h 4183987"/>
              <a:gd name="connsiteX3" fmla="*/ 3852324 w 3852324"/>
              <a:gd name="connsiteY3" fmla="*/ 4183987 h 4183987"/>
              <a:gd name="connsiteX4" fmla="*/ 3852324 w 3852324"/>
              <a:gd name="connsiteY4" fmla="*/ 4183987 h 4183987"/>
              <a:gd name="connsiteX5" fmla="*/ 642067 w 3852324"/>
              <a:gd name="connsiteY5" fmla="*/ 4183987 h 4183987"/>
              <a:gd name="connsiteX6" fmla="*/ 0 w 3852324"/>
              <a:gd name="connsiteY6" fmla="*/ 3541920 h 4183987"/>
              <a:gd name="connsiteX7" fmla="*/ 0 w 3852324"/>
              <a:gd name="connsiteY7" fmla="*/ 185195 h 4183987"/>
              <a:gd name="connsiteX0" fmla="*/ 0 w 4662552"/>
              <a:gd name="connsiteY0" fmla="*/ 185195 h 4183987"/>
              <a:gd name="connsiteX1" fmla="*/ 1913893 w 4662552"/>
              <a:gd name="connsiteY1" fmla="*/ 0 h 4183987"/>
              <a:gd name="connsiteX2" fmla="*/ 4662552 w 4662552"/>
              <a:gd name="connsiteY2" fmla="*/ 5460 h 4183987"/>
              <a:gd name="connsiteX3" fmla="*/ 3852324 w 4662552"/>
              <a:gd name="connsiteY3" fmla="*/ 4183987 h 4183987"/>
              <a:gd name="connsiteX4" fmla="*/ 3852324 w 4662552"/>
              <a:gd name="connsiteY4" fmla="*/ 4183987 h 4183987"/>
              <a:gd name="connsiteX5" fmla="*/ 642067 w 4662552"/>
              <a:gd name="connsiteY5" fmla="*/ 4183987 h 4183987"/>
              <a:gd name="connsiteX6" fmla="*/ 0 w 4662552"/>
              <a:gd name="connsiteY6" fmla="*/ 3541920 h 4183987"/>
              <a:gd name="connsiteX7" fmla="*/ 0 w 4662552"/>
              <a:gd name="connsiteY7" fmla="*/ 185195 h 4183987"/>
              <a:gd name="connsiteX0" fmla="*/ 0 w 4679914"/>
              <a:gd name="connsiteY0" fmla="*/ 185195 h 4183987"/>
              <a:gd name="connsiteX1" fmla="*/ 1913893 w 4679914"/>
              <a:gd name="connsiteY1" fmla="*/ 0 h 4183987"/>
              <a:gd name="connsiteX2" fmla="*/ 4662552 w 4679914"/>
              <a:gd name="connsiteY2" fmla="*/ 5460 h 4183987"/>
              <a:gd name="connsiteX3" fmla="*/ 3852324 w 4679914"/>
              <a:gd name="connsiteY3" fmla="*/ 4183987 h 4183987"/>
              <a:gd name="connsiteX4" fmla="*/ 4679914 w 4679914"/>
              <a:gd name="connsiteY4" fmla="*/ 2615618 h 4183987"/>
              <a:gd name="connsiteX5" fmla="*/ 642067 w 4679914"/>
              <a:gd name="connsiteY5" fmla="*/ 4183987 h 4183987"/>
              <a:gd name="connsiteX6" fmla="*/ 0 w 4679914"/>
              <a:gd name="connsiteY6" fmla="*/ 3541920 h 4183987"/>
              <a:gd name="connsiteX7" fmla="*/ 0 w 4679914"/>
              <a:gd name="connsiteY7" fmla="*/ 185195 h 4183987"/>
              <a:gd name="connsiteX0" fmla="*/ 0 w 4662552"/>
              <a:gd name="connsiteY0" fmla="*/ 185195 h 4183987"/>
              <a:gd name="connsiteX1" fmla="*/ 1913893 w 4662552"/>
              <a:gd name="connsiteY1" fmla="*/ 0 h 4183987"/>
              <a:gd name="connsiteX2" fmla="*/ 4662552 w 4662552"/>
              <a:gd name="connsiteY2" fmla="*/ 5460 h 4183987"/>
              <a:gd name="connsiteX3" fmla="*/ 3852324 w 4662552"/>
              <a:gd name="connsiteY3" fmla="*/ 4183987 h 4183987"/>
              <a:gd name="connsiteX4" fmla="*/ 4292162 w 4662552"/>
              <a:gd name="connsiteY4" fmla="*/ 3298524 h 4183987"/>
              <a:gd name="connsiteX5" fmla="*/ 642067 w 4662552"/>
              <a:gd name="connsiteY5" fmla="*/ 4183987 h 4183987"/>
              <a:gd name="connsiteX6" fmla="*/ 0 w 4662552"/>
              <a:gd name="connsiteY6" fmla="*/ 3541920 h 4183987"/>
              <a:gd name="connsiteX7" fmla="*/ 0 w 4662552"/>
              <a:gd name="connsiteY7" fmla="*/ 185195 h 4183987"/>
              <a:gd name="connsiteX0" fmla="*/ 0 w 4668339"/>
              <a:gd name="connsiteY0" fmla="*/ 185195 h 4183987"/>
              <a:gd name="connsiteX1" fmla="*/ 1913893 w 4668339"/>
              <a:gd name="connsiteY1" fmla="*/ 0 h 4183987"/>
              <a:gd name="connsiteX2" fmla="*/ 4662552 w 4668339"/>
              <a:gd name="connsiteY2" fmla="*/ 5460 h 4183987"/>
              <a:gd name="connsiteX3" fmla="*/ 4668339 w 4668339"/>
              <a:gd name="connsiteY3" fmla="*/ 2598255 h 4183987"/>
              <a:gd name="connsiteX4" fmla="*/ 4292162 w 4668339"/>
              <a:gd name="connsiteY4" fmla="*/ 3298524 h 4183987"/>
              <a:gd name="connsiteX5" fmla="*/ 642067 w 4668339"/>
              <a:gd name="connsiteY5" fmla="*/ 4183987 h 4183987"/>
              <a:gd name="connsiteX6" fmla="*/ 0 w 4668339"/>
              <a:gd name="connsiteY6" fmla="*/ 3541920 h 4183987"/>
              <a:gd name="connsiteX7" fmla="*/ 0 w 4668339"/>
              <a:gd name="connsiteY7" fmla="*/ 185195 h 4183987"/>
              <a:gd name="connsiteX0" fmla="*/ 0 w 4673552"/>
              <a:gd name="connsiteY0" fmla="*/ 185195 h 4183987"/>
              <a:gd name="connsiteX1" fmla="*/ 1913893 w 4673552"/>
              <a:gd name="connsiteY1" fmla="*/ 0 h 4183987"/>
              <a:gd name="connsiteX2" fmla="*/ 4662552 w 4673552"/>
              <a:gd name="connsiteY2" fmla="*/ 5460 h 4183987"/>
              <a:gd name="connsiteX3" fmla="*/ 4668339 w 4673552"/>
              <a:gd name="connsiteY3" fmla="*/ 2598255 h 4183987"/>
              <a:gd name="connsiteX4" fmla="*/ 4292162 w 4673552"/>
              <a:gd name="connsiteY4" fmla="*/ 3298524 h 4183987"/>
              <a:gd name="connsiteX5" fmla="*/ 642067 w 4673552"/>
              <a:gd name="connsiteY5" fmla="*/ 4183987 h 4183987"/>
              <a:gd name="connsiteX6" fmla="*/ 0 w 4673552"/>
              <a:gd name="connsiteY6" fmla="*/ 3541920 h 4183987"/>
              <a:gd name="connsiteX7" fmla="*/ 0 w 4673552"/>
              <a:gd name="connsiteY7" fmla="*/ 185195 h 4183987"/>
              <a:gd name="connsiteX0" fmla="*/ 0 w 4882702"/>
              <a:gd name="connsiteY0" fmla="*/ 185195 h 4183987"/>
              <a:gd name="connsiteX1" fmla="*/ 1913893 w 4882702"/>
              <a:gd name="connsiteY1" fmla="*/ 0 h 4183987"/>
              <a:gd name="connsiteX2" fmla="*/ 4662552 w 4882702"/>
              <a:gd name="connsiteY2" fmla="*/ 5460 h 4183987"/>
              <a:gd name="connsiteX3" fmla="*/ 4668339 w 4882702"/>
              <a:gd name="connsiteY3" fmla="*/ 2598255 h 4183987"/>
              <a:gd name="connsiteX4" fmla="*/ 4292162 w 4882702"/>
              <a:gd name="connsiteY4" fmla="*/ 3298524 h 4183987"/>
              <a:gd name="connsiteX5" fmla="*/ 642067 w 4882702"/>
              <a:gd name="connsiteY5" fmla="*/ 4183987 h 4183987"/>
              <a:gd name="connsiteX6" fmla="*/ 0 w 4882702"/>
              <a:gd name="connsiteY6" fmla="*/ 3541920 h 4183987"/>
              <a:gd name="connsiteX7" fmla="*/ 0 w 4882702"/>
              <a:gd name="connsiteY7" fmla="*/ 185195 h 4183987"/>
              <a:gd name="connsiteX0" fmla="*/ 0 w 4867446"/>
              <a:gd name="connsiteY0" fmla="*/ 185195 h 4183987"/>
              <a:gd name="connsiteX1" fmla="*/ 1913893 w 4867446"/>
              <a:gd name="connsiteY1" fmla="*/ 0 h 4183987"/>
              <a:gd name="connsiteX2" fmla="*/ 4662552 w 4867446"/>
              <a:gd name="connsiteY2" fmla="*/ 5460 h 4183987"/>
              <a:gd name="connsiteX3" fmla="*/ 4668339 w 4867446"/>
              <a:gd name="connsiteY3" fmla="*/ 2598255 h 4183987"/>
              <a:gd name="connsiteX4" fmla="*/ 4292162 w 4867446"/>
              <a:gd name="connsiteY4" fmla="*/ 3298524 h 4183987"/>
              <a:gd name="connsiteX5" fmla="*/ 642067 w 4867446"/>
              <a:gd name="connsiteY5" fmla="*/ 4183987 h 4183987"/>
              <a:gd name="connsiteX6" fmla="*/ 0 w 4867446"/>
              <a:gd name="connsiteY6" fmla="*/ 3541920 h 4183987"/>
              <a:gd name="connsiteX7" fmla="*/ 0 w 4867446"/>
              <a:gd name="connsiteY7" fmla="*/ 185195 h 4183987"/>
              <a:gd name="connsiteX0" fmla="*/ 0 w 4867446"/>
              <a:gd name="connsiteY0" fmla="*/ 185195 h 4183987"/>
              <a:gd name="connsiteX1" fmla="*/ 1913893 w 4867446"/>
              <a:gd name="connsiteY1" fmla="*/ 0 h 4183987"/>
              <a:gd name="connsiteX2" fmla="*/ 4662552 w 4867446"/>
              <a:gd name="connsiteY2" fmla="*/ 5460 h 4183987"/>
              <a:gd name="connsiteX3" fmla="*/ 4668339 w 4867446"/>
              <a:gd name="connsiteY3" fmla="*/ 2598255 h 4183987"/>
              <a:gd name="connsiteX4" fmla="*/ 3435635 w 4867446"/>
              <a:gd name="connsiteY4" fmla="*/ 2609830 h 4183987"/>
              <a:gd name="connsiteX5" fmla="*/ 642067 w 4867446"/>
              <a:gd name="connsiteY5" fmla="*/ 4183987 h 4183987"/>
              <a:gd name="connsiteX6" fmla="*/ 0 w 4867446"/>
              <a:gd name="connsiteY6" fmla="*/ 3541920 h 4183987"/>
              <a:gd name="connsiteX7" fmla="*/ 0 w 4867446"/>
              <a:gd name="connsiteY7" fmla="*/ 185195 h 4183987"/>
              <a:gd name="connsiteX0" fmla="*/ 0 w 4867446"/>
              <a:gd name="connsiteY0" fmla="*/ 185195 h 3541920"/>
              <a:gd name="connsiteX1" fmla="*/ 1913893 w 4867446"/>
              <a:gd name="connsiteY1" fmla="*/ 0 h 3541920"/>
              <a:gd name="connsiteX2" fmla="*/ 4662552 w 4867446"/>
              <a:gd name="connsiteY2" fmla="*/ 5460 h 3541920"/>
              <a:gd name="connsiteX3" fmla="*/ 4668339 w 4867446"/>
              <a:gd name="connsiteY3" fmla="*/ 2598255 h 3541920"/>
              <a:gd name="connsiteX4" fmla="*/ 3435635 w 4867446"/>
              <a:gd name="connsiteY4" fmla="*/ 2609830 h 3541920"/>
              <a:gd name="connsiteX5" fmla="*/ 3431565 w 4867446"/>
              <a:gd name="connsiteY5" fmla="*/ 1151420 h 3541920"/>
              <a:gd name="connsiteX6" fmla="*/ 0 w 4867446"/>
              <a:gd name="connsiteY6" fmla="*/ 3541920 h 3541920"/>
              <a:gd name="connsiteX7" fmla="*/ 0 w 4867446"/>
              <a:gd name="connsiteY7" fmla="*/ 185195 h 3541920"/>
              <a:gd name="connsiteX0" fmla="*/ 0 w 4867446"/>
              <a:gd name="connsiteY0" fmla="*/ 185195 h 2795063"/>
              <a:gd name="connsiteX1" fmla="*/ 1913893 w 4867446"/>
              <a:gd name="connsiteY1" fmla="*/ 0 h 2795063"/>
              <a:gd name="connsiteX2" fmla="*/ 4662552 w 4867446"/>
              <a:gd name="connsiteY2" fmla="*/ 5460 h 2795063"/>
              <a:gd name="connsiteX3" fmla="*/ 4668339 w 4867446"/>
              <a:gd name="connsiteY3" fmla="*/ 2598255 h 2795063"/>
              <a:gd name="connsiteX4" fmla="*/ 3435635 w 4867446"/>
              <a:gd name="connsiteY4" fmla="*/ 2609830 h 2795063"/>
              <a:gd name="connsiteX5" fmla="*/ 3431565 w 4867446"/>
              <a:gd name="connsiteY5" fmla="*/ 1151420 h 2795063"/>
              <a:gd name="connsiteX6" fmla="*/ 1921398 w 4867446"/>
              <a:gd name="connsiteY6" fmla="*/ 1145961 h 2795063"/>
              <a:gd name="connsiteX7" fmla="*/ 0 w 4867446"/>
              <a:gd name="connsiteY7" fmla="*/ 185195 h 2795063"/>
              <a:gd name="connsiteX0" fmla="*/ 0 w 4867446"/>
              <a:gd name="connsiteY0" fmla="*/ 185195 h 2795063"/>
              <a:gd name="connsiteX1" fmla="*/ 1913893 w 4867446"/>
              <a:gd name="connsiteY1" fmla="*/ 0 h 2795063"/>
              <a:gd name="connsiteX2" fmla="*/ 4662552 w 4867446"/>
              <a:gd name="connsiteY2" fmla="*/ 5460 h 2795063"/>
              <a:gd name="connsiteX3" fmla="*/ 4668339 w 4867446"/>
              <a:gd name="connsiteY3" fmla="*/ 2598255 h 2795063"/>
              <a:gd name="connsiteX4" fmla="*/ 3435635 w 4867446"/>
              <a:gd name="connsiteY4" fmla="*/ 2609830 h 2795063"/>
              <a:gd name="connsiteX5" fmla="*/ 3431565 w 4867446"/>
              <a:gd name="connsiteY5" fmla="*/ 1151420 h 2795063"/>
              <a:gd name="connsiteX6" fmla="*/ 1904036 w 4867446"/>
              <a:gd name="connsiteY6" fmla="*/ 1145961 h 2795063"/>
              <a:gd name="connsiteX7" fmla="*/ 0 w 4867446"/>
              <a:gd name="connsiteY7" fmla="*/ 185195 h 2795063"/>
              <a:gd name="connsiteX0" fmla="*/ 0 w 2963410"/>
              <a:gd name="connsiteY0" fmla="*/ 1145961 h 2795063"/>
              <a:gd name="connsiteX1" fmla="*/ 9857 w 2963410"/>
              <a:gd name="connsiteY1" fmla="*/ 0 h 2795063"/>
              <a:gd name="connsiteX2" fmla="*/ 2758516 w 2963410"/>
              <a:gd name="connsiteY2" fmla="*/ 5460 h 2795063"/>
              <a:gd name="connsiteX3" fmla="*/ 2764303 w 2963410"/>
              <a:gd name="connsiteY3" fmla="*/ 2598255 h 2795063"/>
              <a:gd name="connsiteX4" fmla="*/ 1531599 w 2963410"/>
              <a:gd name="connsiteY4" fmla="*/ 2609830 h 2795063"/>
              <a:gd name="connsiteX5" fmla="*/ 1527529 w 2963410"/>
              <a:gd name="connsiteY5" fmla="*/ 1151420 h 2795063"/>
              <a:gd name="connsiteX6" fmla="*/ 0 w 2963410"/>
              <a:gd name="connsiteY6" fmla="*/ 1145961 h 2795063"/>
              <a:gd name="connsiteX0" fmla="*/ 0 w 2963410"/>
              <a:gd name="connsiteY0" fmla="*/ 1145961 h 2795063"/>
              <a:gd name="connsiteX1" fmla="*/ 9857 w 2963410"/>
              <a:gd name="connsiteY1" fmla="*/ 0 h 2795063"/>
              <a:gd name="connsiteX2" fmla="*/ 2758516 w 2963410"/>
              <a:gd name="connsiteY2" fmla="*/ 5460 h 2795063"/>
              <a:gd name="connsiteX3" fmla="*/ 2764303 w 2963410"/>
              <a:gd name="connsiteY3" fmla="*/ 2598255 h 2795063"/>
              <a:gd name="connsiteX4" fmla="*/ 1531599 w 2963410"/>
              <a:gd name="connsiteY4" fmla="*/ 2609830 h 2795063"/>
              <a:gd name="connsiteX5" fmla="*/ 1527529 w 2963410"/>
              <a:gd name="connsiteY5" fmla="*/ 1151420 h 2795063"/>
              <a:gd name="connsiteX6" fmla="*/ 0 w 2963410"/>
              <a:gd name="connsiteY6" fmla="*/ 1145961 h 2795063"/>
              <a:gd name="connsiteX0" fmla="*/ 0 w 2963410"/>
              <a:gd name="connsiteY0" fmla="*/ 1145961 h 2795063"/>
              <a:gd name="connsiteX1" fmla="*/ 9857 w 2963410"/>
              <a:gd name="connsiteY1" fmla="*/ 0 h 2795063"/>
              <a:gd name="connsiteX2" fmla="*/ 2758516 w 2963410"/>
              <a:gd name="connsiteY2" fmla="*/ 5460 h 2795063"/>
              <a:gd name="connsiteX3" fmla="*/ 2764303 w 2963410"/>
              <a:gd name="connsiteY3" fmla="*/ 2598255 h 2795063"/>
              <a:gd name="connsiteX4" fmla="*/ 1531599 w 2963410"/>
              <a:gd name="connsiteY4" fmla="*/ 2609830 h 2795063"/>
              <a:gd name="connsiteX5" fmla="*/ 1527529 w 2963410"/>
              <a:gd name="connsiteY5" fmla="*/ 1151420 h 2795063"/>
              <a:gd name="connsiteX6" fmla="*/ 0 w 2963410"/>
              <a:gd name="connsiteY6" fmla="*/ 1145961 h 2795063"/>
              <a:gd name="connsiteX0" fmla="*/ 0 w 2963410"/>
              <a:gd name="connsiteY0" fmla="*/ 1145961 h 2795063"/>
              <a:gd name="connsiteX1" fmla="*/ 9857 w 2963410"/>
              <a:gd name="connsiteY1" fmla="*/ 0 h 2795063"/>
              <a:gd name="connsiteX2" fmla="*/ 2758516 w 2963410"/>
              <a:gd name="connsiteY2" fmla="*/ 5460 h 2795063"/>
              <a:gd name="connsiteX3" fmla="*/ 2764303 w 2963410"/>
              <a:gd name="connsiteY3" fmla="*/ 2598255 h 2795063"/>
              <a:gd name="connsiteX4" fmla="*/ 1531599 w 2963410"/>
              <a:gd name="connsiteY4" fmla="*/ 2609830 h 2795063"/>
              <a:gd name="connsiteX5" fmla="*/ 1527529 w 2963410"/>
              <a:gd name="connsiteY5" fmla="*/ 1151420 h 2795063"/>
              <a:gd name="connsiteX6" fmla="*/ 0 w 2963410"/>
              <a:gd name="connsiteY6" fmla="*/ 1145961 h 2795063"/>
              <a:gd name="connsiteX0" fmla="*/ 15878 w 2953888"/>
              <a:gd name="connsiteY0" fmla="*/ 1152311 h 2795063"/>
              <a:gd name="connsiteX1" fmla="*/ 335 w 2953888"/>
              <a:gd name="connsiteY1" fmla="*/ 0 h 2795063"/>
              <a:gd name="connsiteX2" fmla="*/ 2748994 w 2953888"/>
              <a:gd name="connsiteY2" fmla="*/ 5460 h 2795063"/>
              <a:gd name="connsiteX3" fmla="*/ 2754781 w 2953888"/>
              <a:gd name="connsiteY3" fmla="*/ 2598255 h 2795063"/>
              <a:gd name="connsiteX4" fmla="*/ 1522077 w 2953888"/>
              <a:gd name="connsiteY4" fmla="*/ 2609830 h 2795063"/>
              <a:gd name="connsiteX5" fmla="*/ 1518007 w 2953888"/>
              <a:gd name="connsiteY5" fmla="*/ 1151420 h 2795063"/>
              <a:gd name="connsiteX6" fmla="*/ 15878 w 2953888"/>
              <a:gd name="connsiteY6" fmla="*/ 1152311 h 2795063"/>
              <a:gd name="connsiteX0" fmla="*/ 15878 w 2953888"/>
              <a:gd name="connsiteY0" fmla="*/ 1152311 h 2806926"/>
              <a:gd name="connsiteX1" fmla="*/ 335 w 2953888"/>
              <a:gd name="connsiteY1" fmla="*/ 0 h 2806926"/>
              <a:gd name="connsiteX2" fmla="*/ 2748994 w 2953888"/>
              <a:gd name="connsiteY2" fmla="*/ 5460 h 2806926"/>
              <a:gd name="connsiteX3" fmla="*/ 2754781 w 2953888"/>
              <a:gd name="connsiteY3" fmla="*/ 2598255 h 2806926"/>
              <a:gd name="connsiteX4" fmla="*/ 1512552 w 2953888"/>
              <a:gd name="connsiteY4" fmla="*/ 2673330 h 2806926"/>
              <a:gd name="connsiteX5" fmla="*/ 1518007 w 2953888"/>
              <a:gd name="connsiteY5" fmla="*/ 1151420 h 2806926"/>
              <a:gd name="connsiteX6" fmla="*/ 15878 w 2953888"/>
              <a:gd name="connsiteY6" fmla="*/ 1152311 h 2806926"/>
              <a:gd name="connsiteX0" fmla="*/ 15878 w 2953888"/>
              <a:gd name="connsiteY0" fmla="*/ 1152311 h 2797896"/>
              <a:gd name="connsiteX1" fmla="*/ 335 w 2953888"/>
              <a:gd name="connsiteY1" fmla="*/ 0 h 2797896"/>
              <a:gd name="connsiteX2" fmla="*/ 2748994 w 2953888"/>
              <a:gd name="connsiteY2" fmla="*/ 5460 h 2797896"/>
              <a:gd name="connsiteX3" fmla="*/ 2754781 w 2953888"/>
              <a:gd name="connsiteY3" fmla="*/ 2598255 h 2797896"/>
              <a:gd name="connsiteX4" fmla="*/ 1525252 w 2953888"/>
              <a:gd name="connsiteY4" fmla="*/ 2625705 h 2797896"/>
              <a:gd name="connsiteX5" fmla="*/ 1518007 w 2953888"/>
              <a:gd name="connsiteY5" fmla="*/ 1151420 h 2797896"/>
              <a:gd name="connsiteX6" fmla="*/ 15878 w 2953888"/>
              <a:gd name="connsiteY6" fmla="*/ 1152311 h 2797896"/>
              <a:gd name="connsiteX0" fmla="*/ 15878 w 2975918"/>
              <a:gd name="connsiteY0" fmla="*/ 1152311 h 2890798"/>
              <a:gd name="connsiteX1" fmla="*/ 335 w 2975918"/>
              <a:gd name="connsiteY1" fmla="*/ 0 h 2890798"/>
              <a:gd name="connsiteX2" fmla="*/ 2748994 w 2975918"/>
              <a:gd name="connsiteY2" fmla="*/ 5460 h 2890798"/>
              <a:gd name="connsiteX3" fmla="*/ 2830981 w 2975918"/>
              <a:gd name="connsiteY3" fmla="*/ 2709380 h 2890798"/>
              <a:gd name="connsiteX4" fmla="*/ 1525252 w 2975918"/>
              <a:gd name="connsiteY4" fmla="*/ 2625705 h 2890798"/>
              <a:gd name="connsiteX5" fmla="*/ 1518007 w 2975918"/>
              <a:gd name="connsiteY5" fmla="*/ 1151420 h 2890798"/>
              <a:gd name="connsiteX6" fmla="*/ 15878 w 2975918"/>
              <a:gd name="connsiteY6" fmla="*/ 1152311 h 2890798"/>
              <a:gd name="connsiteX0" fmla="*/ 15878 w 2954722"/>
              <a:gd name="connsiteY0" fmla="*/ 1152311 h 2813557"/>
              <a:gd name="connsiteX1" fmla="*/ 335 w 2954722"/>
              <a:gd name="connsiteY1" fmla="*/ 0 h 2813557"/>
              <a:gd name="connsiteX2" fmla="*/ 2748994 w 2954722"/>
              <a:gd name="connsiteY2" fmla="*/ 5460 h 2813557"/>
              <a:gd name="connsiteX3" fmla="*/ 2757956 w 2954722"/>
              <a:gd name="connsiteY3" fmla="*/ 2617305 h 2813557"/>
              <a:gd name="connsiteX4" fmla="*/ 1525252 w 2954722"/>
              <a:gd name="connsiteY4" fmla="*/ 2625705 h 2813557"/>
              <a:gd name="connsiteX5" fmla="*/ 1518007 w 2954722"/>
              <a:gd name="connsiteY5" fmla="*/ 1151420 h 2813557"/>
              <a:gd name="connsiteX6" fmla="*/ 15878 w 2954722"/>
              <a:gd name="connsiteY6" fmla="*/ 1152311 h 2813557"/>
              <a:gd name="connsiteX0" fmla="*/ 15878 w 3070830"/>
              <a:gd name="connsiteY0" fmla="*/ 1152311 h 2813557"/>
              <a:gd name="connsiteX1" fmla="*/ 335 w 3070830"/>
              <a:gd name="connsiteY1" fmla="*/ 0 h 2813557"/>
              <a:gd name="connsiteX2" fmla="*/ 2898219 w 3070830"/>
              <a:gd name="connsiteY2" fmla="*/ 59435 h 2813557"/>
              <a:gd name="connsiteX3" fmla="*/ 2757956 w 3070830"/>
              <a:gd name="connsiteY3" fmla="*/ 2617305 h 2813557"/>
              <a:gd name="connsiteX4" fmla="*/ 1525252 w 3070830"/>
              <a:gd name="connsiteY4" fmla="*/ 2625705 h 2813557"/>
              <a:gd name="connsiteX5" fmla="*/ 1518007 w 3070830"/>
              <a:gd name="connsiteY5" fmla="*/ 1151420 h 2813557"/>
              <a:gd name="connsiteX6" fmla="*/ 15878 w 3070830"/>
              <a:gd name="connsiteY6" fmla="*/ 1152311 h 2813557"/>
              <a:gd name="connsiteX0" fmla="*/ 15878 w 2957063"/>
              <a:gd name="connsiteY0" fmla="*/ 1152311 h 2813557"/>
              <a:gd name="connsiteX1" fmla="*/ 335 w 2957063"/>
              <a:gd name="connsiteY1" fmla="*/ 0 h 2813557"/>
              <a:gd name="connsiteX2" fmla="*/ 2752169 w 2957063"/>
              <a:gd name="connsiteY2" fmla="*/ 5460 h 2813557"/>
              <a:gd name="connsiteX3" fmla="*/ 2757956 w 2957063"/>
              <a:gd name="connsiteY3" fmla="*/ 2617305 h 2813557"/>
              <a:gd name="connsiteX4" fmla="*/ 1525252 w 2957063"/>
              <a:gd name="connsiteY4" fmla="*/ 2625705 h 2813557"/>
              <a:gd name="connsiteX5" fmla="*/ 1518007 w 2957063"/>
              <a:gd name="connsiteY5" fmla="*/ 1151420 h 2813557"/>
              <a:gd name="connsiteX6" fmla="*/ 15878 w 2957063"/>
              <a:gd name="connsiteY6" fmla="*/ 1152311 h 2813557"/>
              <a:gd name="connsiteX0" fmla="*/ 0 w 2941185"/>
              <a:gd name="connsiteY0" fmla="*/ 1146851 h 2808097"/>
              <a:gd name="connsiteX1" fmla="*/ 70182 w 2941185"/>
              <a:gd name="connsiteY1" fmla="*/ 92965 h 2808097"/>
              <a:gd name="connsiteX2" fmla="*/ 2736291 w 2941185"/>
              <a:gd name="connsiteY2" fmla="*/ 0 h 2808097"/>
              <a:gd name="connsiteX3" fmla="*/ 2742078 w 2941185"/>
              <a:gd name="connsiteY3" fmla="*/ 2611845 h 2808097"/>
              <a:gd name="connsiteX4" fmla="*/ 1509374 w 2941185"/>
              <a:gd name="connsiteY4" fmla="*/ 2620245 h 2808097"/>
              <a:gd name="connsiteX5" fmla="*/ 1502129 w 2941185"/>
              <a:gd name="connsiteY5" fmla="*/ 1145960 h 2808097"/>
              <a:gd name="connsiteX6" fmla="*/ 0 w 2941185"/>
              <a:gd name="connsiteY6" fmla="*/ 1146851 h 2808097"/>
              <a:gd name="connsiteX0" fmla="*/ 656 w 2941841"/>
              <a:gd name="connsiteY0" fmla="*/ 1146851 h 2808097"/>
              <a:gd name="connsiteX1" fmla="*/ 988 w 2941841"/>
              <a:gd name="connsiteY1" fmla="*/ 890 h 2808097"/>
              <a:gd name="connsiteX2" fmla="*/ 2736947 w 2941841"/>
              <a:gd name="connsiteY2" fmla="*/ 0 h 2808097"/>
              <a:gd name="connsiteX3" fmla="*/ 2742734 w 2941841"/>
              <a:gd name="connsiteY3" fmla="*/ 2611845 h 2808097"/>
              <a:gd name="connsiteX4" fmla="*/ 1510030 w 2941841"/>
              <a:gd name="connsiteY4" fmla="*/ 2620245 h 2808097"/>
              <a:gd name="connsiteX5" fmla="*/ 1502785 w 2941841"/>
              <a:gd name="connsiteY5" fmla="*/ 1145960 h 2808097"/>
              <a:gd name="connsiteX6" fmla="*/ 656 w 2941841"/>
              <a:gd name="connsiteY6" fmla="*/ 1146851 h 2808097"/>
              <a:gd name="connsiteX0" fmla="*/ 656 w 2941841"/>
              <a:gd name="connsiteY0" fmla="*/ 1146851 h 2808097"/>
              <a:gd name="connsiteX1" fmla="*/ 988 w 2941841"/>
              <a:gd name="connsiteY1" fmla="*/ 890 h 2808097"/>
              <a:gd name="connsiteX2" fmla="*/ 2736947 w 2941841"/>
              <a:gd name="connsiteY2" fmla="*/ 0 h 2808097"/>
              <a:gd name="connsiteX3" fmla="*/ 2742734 w 2941841"/>
              <a:gd name="connsiteY3" fmla="*/ 2611845 h 2808097"/>
              <a:gd name="connsiteX4" fmla="*/ 1510030 w 2941841"/>
              <a:gd name="connsiteY4" fmla="*/ 2620245 h 2808097"/>
              <a:gd name="connsiteX5" fmla="*/ 1502785 w 2941841"/>
              <a:gd name="connsiteY5" fmla="*/ 1145960 h 2808097"/>
              <a:gd name="connsiteX6" fmla="*/ 656 w 2941841"/>
              <a:gd name="connsiteY6" fmla="*/ 1146851 h 2808097"/>
              <a:gd name="connsiteX0" fmla="*/ 1179 w 2942364"/>
              <a:gd name="connsiteY0" fmla="*/ 1146851 h 2808097"/>
              <a:gd name="connsiteX1" fmla="*/ 1511 w 2942364"/>
              <a:gd name="connsiteY1" fmla="*/ 890 h 2808097"/>
              <a:gd name="connsiteX2" fmla="*/ 2737470 w 2942364"/>
              <a:gd name="connsiteY2" fmla="*/ 0 h 2808097"/>
              <a:gd name="connsiteX3" fmla="*/ 2743257 w 2942364"/>
              <a:gd name="connsiteY3" fmla="*/ 2611845 h 2808097"/>
              <a:gd name="connsiteX4" fmla="*/ 1510553 w 2942364"/>
              <a:gd name="connsiteY4" fmla="*/ 2620245 h 2808097"/>
              <a:gd name="connsiteX5" fmla="*/ 1503308 w 2942364"/>
              <a:gd name="connsiteY5" fmla="*/ 1145960 h 2808097"/>
              <a:gd name="connsiteX6" fmla="*/ 1179 w 2942364"/>
              <a:gd name="connsiteY6" fmla="*/ 1146851 h 2808097"/>
              <a:gd name="connsiteX0" fmla="*/ 1179 w 2942364"/>
              <a:gd name="connsiteY0" fmla="*/ 1146851 h 2808097"/>
              <a:gd name="connsiteX1" fmla="*/ 1511 w 2942364"/>
              <a:gd name="connsiteY1" fmla="*/ 890 h 2808097"/>
              <a:gd name="connsiteX2" fmla="*/ 2737470 w 2942364"/>
              <a:gd name="connsiteY2" fmla="*/ 0 h 2808097"/>
              <a:gd name="connsiteX3" fmla="*/ 2743257 w 2942364"/>
              <a:gd name="connsiteY3" fmla="*/ 2611845 h 2808097"/>
              <a:gd name="connsiteX4" fmla="*/ 1510553 w 2942364"/>
              <a:gd name="connsiteY4" fmla="*/ 2620245 h 2808097"/>
              <a:gd name="connsiteX5" fmla="*/ 1503308 w 2942364"/>
              <a:gd name="connsiteY5" fmla="*/ 1145960 h 2808097"/>
              <a:gd name="connsiteX6" fmla="*/ 1179 w 2942364"/>
              <a:gd name="connsiteY6" fmla="*/ 1146851 h 2808097"/>
              <a:gd name="connsiteX0" fmla="*/ 1179 w 2942364"/>
              <a:gd name="connsiteY0" fmla="*/ 1146851 h 2808097"/>
              <a:gd name="connsiteX1" fmla="*/ 1511 w 2942364"/>
              <a:gd name="connsiteY1" fmla="*/ 890 h 2808097"/>
              <a:gd name="connsiteX2" fmla="*/ 2737470 w 2942364"/>
              <a:gd name="connsiteY2" fmla="*/ 0 h 2808097"/>
              <a:gd name="connsiteX3" fmla="*/ 2743257 w 2942364"/>
              <a:gd name="connsiteY3" fmla="*/ 2611845 h 2808097"/>
              <a:gd name="connsiteX4" fmla="*/ 1510553 w 2942364"/>
              <a:gd name="connsiteY4" fmla="*/ 2620245 h 2808097"/>
              <a:gd name="connsiteX5" fmla="*/ 1503308 w 2942364"/>
              <a:gd name="connsiteY5" fmla="*/ 1145960 h 2808097"/>
              <a:gd name="connsiteX6" fmla="*/ 1179 w 2942364"/>
              <a:gd name="connsiteY6" fmla="*/ 1146851 h 2808097"/>
              <a:gd name="connsiteX0" fmla="*/ 1179 w 2942364"/>
              <a:gd name="connsiteY0" fmla="*/ 1146851 h 3094930"/>
              <a:gd name="connsiteX1" fmla="*/ 1511 w 2942364"/>
              <a:gd name="connsiteY1" fmla="*/ 890 h 3094930"/>
              <a:gd name="connsiteX2" fmla="*/ 2737470 w 2942364"/>
              <a:gd name="connsiteY2" fmla="*/ 0 h 3094930"/>
              <a:gd name="connsiteX3" fmla="*/ 2743257 w 2942364"/>
              <a:gd name="connsiteY3" fmla="*/ 2611845 h 3094930"/>
              <a:gd name="connsiteX4" fmla="*/ 1510553 w 2942364"/>
              <a:gd name="connsiteY4" fmla="*/ 2620245 h 3094930"/>
              <a:gd name="connsiteX5" fmla="*/ 1503308 w 2942364"/>
              <a:gd name="connsiteY5" fmla="*/ 1145960 h 3094930"/>
              <a:gd name="connsiteX6" fmla="*/ 1179 w 2942364"/>
              <a:gd name="connsiteY6" fmla="*/ 1146851 h 3094930"/>
              <a:gd name="connsiteX0" fmla="*/ 1179 w 2942364"/>
              <a:gd name="connsiteY0" fmla="*/ 1146851 h 3094930"/>
              <a:gd name="connsiteX1" fmla="*/ 1511 w 2942364"/>
              <a:gd name="connsiteY1" fmla="*/ 890 h 3094930"/>
              <a:gd name="connsiteX2" fmla="*/ 2737470 w 2942364"/>
              <a:gd name="connsiteY2" fmla="*/ 0 h 3094930"/>
              <a:gd name="connsiteX3" fmla="*/ 2743257 w 2942364"/>
              <a:gd name="connsiteY3" fmla="*/ 2611845 h 3094930"/>
              <a:gd name="connsiteX4" fmla="*/ 1510553 w 2942364"/>
              <a:gd name="connsiteY4" fmla="*/ 2620245 h 3094930"/>
              <a:gd name="connsiteX5" fmla="*/ 1503308 w 2942364"/>
              <a:gd name="connsiteY5" fmla="*/ 1145960 h 3094930"/>
              <a:gd name="connsiteX6" fmla="*/ 1179 w 2942364"/>
              <a:gd name="connsiteY6" fmla="*/ 1146851 h 3094930"/>
              <a:gd name="connsiteX0" fmla="*/ 1179 w 2956684"/>
              <a:gd name="connsiteY0" fmla="*/ 1146851 h 3094930"/>
              <a:gd name="connsiteX1" fmla="*/ 1511 w 2956684"/>
              <a:gd name="connsiteY1" fmla="*/ 890 h 3094930"/>
              <a:gd name="connsiteX2" fmla="*/ 2737470 w 2956684"/>
              <a:gd name="connsiteY2" fmla="*/ 0 h 3094930"/>
              <a:gd name="connsiteX3" fmla="*/ 2743257 w 2956684"/>
              <a:gd name="connsiteY3" fmla="*/ 2611845 h 3094930"/>
              <a:gd name="connsiteX4" fmla="*/ 1510553 w 2956684"/>
              <a:gd name="connsiteY4" fmla="*/ 2620245 h 3094930"/>
              <a:gd name="connsiteX5" fmla="*/ 1503308 w 2956684"/>
              <a:gd name="connsiteY5" fmla="*/ 1145960 h 3094930"/>
              <a:gd name="connsiteX6" fmla="*/ 1179 w 2956684"/>
              <a:gd name="connsiteY6" fmla="*/ 1146851 h 3094930"/>
              <a:gd name="connsiteX0" fmla="*/ 1179 w 2941423"/>
              <a:gd name="connsiteY0" fmla="*/ 1146851 h 3094930"/>
              <a:gd name="connsiteX1" fmla="*/ 1511 w 2941423"/>
              <a:gd name="connsiteY1" fmla="*/ 890 h 3094930"/>
              <a:gd name="connsiteX2" fmla="*/ 2737470 w 2941423"/>
              <a:gd name="connsiteY2" fmla="*/ 0 h 3094930"/>
              <a:gd name="connsiteX3" fmla="*/ 2743257 w 2941423"/>
              <a:gd name="connsiteY3" fmla="*/ 2611845 h 3094930"/>
              <a:gd name="connsiteX4" fmla="*/ 1510553 w 2941423"/>
              <a:gd name="connsiteY4" fmla="*/ 2620245 h 3094930"/>
              <a:gd name="connsiteX5" fmla="*/ 1503308 w 2941423"/>
              <a:gd name="connsiteY5" fmla="*/ 1145960 h 3094930"/>
              <a:gd name="connsiteX6" fmla="*/ 1179 w 2941423"/>
              <a:gd name="connsiteY6" fmla="*/ 1146851 h 3094930"/>
              <a:gd name="connsiteX0" fmla="*/ 1179 w 2941423"/>
              <a:gd name="connsiteY0" fmla="*/ 1146851 h 3094930"/>
              <a:gd name="connsiteX1" fmla="*/ 1511 w 2941423"/>
              <a:gd name="connsiteY1" fmla="*/ 890 h 3094930"/>
              <a:gd name="connsiteX2" fmla="*/ 2737470 w 2941423"/>
              <a:gd name="connsiteY2" fmla="*/ 0 h 3094930"/>
              <a:gd name="connsiteX3" fmla="*/ 2743257 w 2941423"/>
              <a:gd name="connsiteY3" fmla="*/ 2611845 h 3094930"/>
              <a:gd name="connsiteX4" fmla="*/ 1510553 w 2941423"/>
              <a:gd name="connsiteY4" fmla="*/ 2620245 h 3094930"/>
              <a:gd name="connsiteX5" fmla="*/ 1503308 w 2941423"/>
              <a:gd name="connsiteY5" fmla="*/ 1145960 h 3094930"/>
              <a:gd name="connsiteX6" fmla="*/ 1179 w 2941423"/>
              <a:gd name="connsiteY6" fmla="*/ 1146851 h 3094930"/>
              <a:gd name="connsiteX0" fmla="*/ 1179 w 2941423"/>
              <a:gd name="connsiteY0" fmla="*/ 1146851 h 2939223"/>
              <a:gd name="connsiteX1" fmla="*/ 1511 w 2941423"/>
              <a:gd name="connsiteY1" fmla="*/ 890 h 2939223"/>
              <a:gd name="connsiteX2" fmla="*/ 2737470 w 2941423"/>
              <a:gd name="connsiteY2" fmla="*/ 0 h 2939223"/>
              <a:gd name="connsiteX3" fmla="*/ 2743257 w 2941423"/>
              <a:gd name="connsiteY3" fmla="*/ 2611845 h 2939223"/>
              <a:gd name="connsiteX4" fmla="*/ 1510553 w 2941423"/>
              <a:gd name="connsiteY4" fmla="*/ 2620245 h 2939223"/>
              <a:gd name="connsiteX5" fmla="*/ 1503308 w 2941423"/>
              <a:gd name="connsiteY5" fmla="*/ 1145960 h 2939223"/>
              <a:gd name="connsiteX6" fmla="*/ 1179 w 2941423"/>
              <a:gd name="connsiteY6" fmla="*/ 1146851 h 2939223"/>
              <a:gd name="connsiteX0" fmla="*/ 1179 w 2941423"/>
              <a:gd name="connsiteY0" fmla="*/ 1146851 h 2620245"/>
              <a:gd name="connsiteX1" fmla="*/ 1511 w 2941423"/>
              <a:gd name="connsiteY1" fmla="*/ 890 h 2620245"/>
              <a:gd name="connsiteX2" fmla="*/ 2737470 w 2941423"/>
              <a:gd name="connsiteY2" fmla="*/ 0 h 2620245"/>
              <a:gd name="connsiteX3" fmla="*/ 2743257 w 2941423"/>
              <a:gd name="connsiteY3" fmla="*/ 2611845 h 2620245"/>
              <a:gd name="connsiteX4" fmla="*/ 1510553 w 2941423"/>
              <a:gd name="connsiteY4" fmla="*/ 2620245 h 2620245"/>
              <a:gd name="connsiteX5" fmla="*/ 1503308 w 2941423"/>
              <a:gd name="connsiteY5" fmla="*/ 1145960 h 2620245"/>
              <a:gd name="connsiteX6" fmla="*/ 1179 w 2941423"/>
              <a:gd name="connsiteY6" fmla="*/ 1146851 h 2620245"/>
              <a:gd name="connsiteX0" fmla="*/ 1179 w 2941423"/>
              <a:gd name="connsiteY0" fmla="*/ 1146851 h 2611845"/>
              <a:gd name="connsiteX1" fmla="*/ 1511 w 2941423"/>
              <a:gd name="connsiteY1" fmla="*/ 890 h 2611845"/>
              <a:gd name="connsiteX2" fmla="*/ 2737470 w 2941423"/>
              <a:gd name="connsiteY2" fmla="*/ 0 h 2611845"/>
              <a:gd name="connsiteX3" fmla="*/ 2743257 w 2941423"/>
              <a:gd name="connsiteY3" fmla="*/ 2611845 h 2611845"/>
              <a:gd name="connsiteX4" fmla="*/ 1510553 w 2941423"/>
              <a:gd name="connsiteY4" fmla="*/ 2610720 h 2611845"/>
              <a:gd name="connsiteX5" fmla="*/ 1503308 w 2941423"/>
              <a:gd name="connsiteY5" fmla="*/ 1145960 h 2611845"/>
              <a:gd name="connsiteX6" fmla="*/ 1179 w 2941423"/>
              <a:gd name="connsiteY6" fmla="*/ 1146851 h 2611845"/>
              <a:gd name="connsiteX0" fmla="*/ 1179 w 2743257"/>
              <a:gd name="connsiteY0" fmla="*/ 1146851 h 2611845"/>
              <a:gd name="connsiteX1" fmla="*/ 1511 w 2743257"/>
              <a:gd name="connsiteY1" fmla="*/ 890 h 2611845"/>
              <a:gd name="connsiteX2" fmla="*/ 2737470 w 2743257"/>
              <a:gd name="connsiteY2" fmla="*/ 0 h 2611845"/>
              <a:gd name="connsiteX3" fmla="*/ 2743257 w 2743257"/>
              <a:gd name="connsiteY3" fmla="*/ 2611845 h 2611845"/>
              <a:gd name="connsiteX4" fmla="*/ 1510553 w 2743257"/>
              <a:gd name="connsiteY4" fmla="*/ 2610720 h 2611845"/>
              <a:gd name="connsiteX5" fmla="*/ 1503308 w 2743257"/>
              <a:gd name="connsiteY5" fmla="*/ 1145960 h 2611845"/>
              <a:gd name="connsiteX6" fmla="*/ 1179 w 2743257"/>
              <a:gd name="connsiteY6" fmla="*/ 1146851 h 2611845"/>
              <a:gd name="connsiteX0" fmla="*/ 0 w 2742078"/>
              <a:gd name="connsiteY0" fmla="*/ 1146851 h 2611845"/>
              <a:gd name="connsiteX1" fmla="*/ 332 w 2742078"/>
              <a:gd name="connsiteY1" fmla="*/ 890 h 2611845"/>
              <a:gd name="connsiteX2" fmla="*/ 2736291 w 2742078"/>
              <a:gd name="connsiteY2" fmla="*/ 0 h 2611845"/>
              <a:gd name="connsiteX3" fmla="*/ 2742078 w 2742078"/>
              <a:gd name="connsiteY3" fmla="*/ 2611845 h 2611845"/>
              <a:gd name="connsiteX4" fmla="*/ 1509374 w 2742078"/>
              <a:gd name="connsiteY4" fmla="*/ 2610720 h 2611845"/>
              <a:gd name="connsiteX5" fmla="*/ 1502129 w 2742078"/>
              <a:gd name="connsiteY5" fmla="*/ 1145960 h 2611845"/>
              <a:gd name="connsiteX6" fmla="*/ 0 w 2742078"/>
              <a:gd name="connsiteY6" fmla="*/ 1146851 h 2611845"/>
              <a:gd name="connsiteX0" fmla="*/ 0 w 2742078"/>
              <a:gd name="connsiteY0" fmla="*/ 1146851 h 2611845"/>
              <a:gd name="connsiteX1" fmla="*/ 332 w 2742078"/>
              <a:gd name="connsiteY1" fmla="*/ 890 h 2611845"/>
              <a:gd name="connsiteX2" fmla="*/ 2736291 w 2742078"/>
              <a:gd name="connsiteY2" fmla="*/ 0 h 2611845"/>
              <a:gd name="connsiteX3" fmla="*/ 2742078 w 2742078"/>
              <a:gd name="connsiteY3" fmla="*/ 2611845 h 2611845"/>
              <a:gd name="connsiteX4" fmla="*/ 1509374 w 2742078"/>
              <a:gd name="connsiteY4" fmla="*/ 2610720 h 2611845"/>
              <a:gd name="connsiteX5" fmla="*/ 1502129 w 2742078"/>
              <a:gd name="connsiteY5" fmla="*/ 1145960 h 2611845"/>
              <a:gd name="connsiteX6" fmla="*/ 0 w 2742078"/>
              <a:gd name="connsiteY6" fmla="*/ 1146851 h 2611845"/>
              <a:gd name="connsiteX0" fmla="*/ 0 w 2742078"/>
              <a:gd name="connsiteY0" fmla="*/ 1146851 h 2611845"/>
              <a:gd name="connsiteX1" fmla="*/ 332 w 2742078"/>
              <a:gd name="connsiteY1" fmla="*/ 890 h 2611845"/>
              <a:gd name="connsiteX2" fmla="*/ 2736291 w 2742078"/>
              <a:gd name="connsiteY2" fmla="*/ 0 h 2611845"/>
              <a:gd name="connsiteX3" fmla="*/ 2742078 w 2742078"/>
              <a:gd name="connsiteY3" fmla="*/ 2611845 h 2611845"/>
              <a:gd name="connsiteX4" fmla="*/ 1509374 w 2742078"/>
              <a:gd name="connsiteY4" fmla="*/ 2610720 h 2611845"/>
              <a:gd name="connsiteX5" fmla="*/ 1479904 w 2742078"/>
              <a:gd name="connsiteY5" fmla="*/ 1209460 h 2611845"/>
              <a:gd name="connsiteX6" fmla="*/ 0 w 2742078"/>
              <a:gd name="connsiteY6" fmla="*/ 1146851 h 2611845"/>
              <a:gd name="connsiteX0" fmla="*/ 0 w 2742078"/>
              <a:gd name="connsiteY0" fmla="*/ 1146851 h 2611845"/>
              <a:gd name="connsiteX1" fmla="*/ 332 w 2742078"/>
              <a:gd name="connsiteY1" fmla="*/ 890 h 2611845"/>
              <a:gd name="connsiteX2" fmla="*/ 2736291 w 2742078"/>
              <a:gd name="connsiteY2" fmla="*/ 0 h 2611845"/>
              <a:gd name="connsiteX3" fmla="*/ 2742078 w 2742078"/>
              <a:gd name="connsiteY3" fmla="*/ 2611845 h 2611845"/>
              <a:gd name="connsiteX4" fmla="*/ 1509374 w 2742078"/>
              <a:gd name="connsiteY4" fmla="*/ 2610720 h 2611845"/>
              <a:gd name="connsiteX5" fmla="*/ 1508479 w 2742078"/>
              <a:gd name="connsiteY5" fmla="*/ 1142785 h 2611845"/>
              <a:gd name="connsiteX6" fmla="*/ 0 w 2742078"/>
              <a:gd name="connsiteY6" fmla="*/ 1146851 h 2611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2078" h="2611845">
                <a:moveTo>
                  <a:pt x="0" y="1146851"/>
                </a:moveTo>
                <a:cubicBezTo>
                  <a:pt x="166" y="751670"/>
                  <a:pt x="221" y="417802"/>
                  <a:pt x="332" y="890"/>
                </a:cubicBezTo>
                <a:lnTo>
                  <a:pt x="2736291" y="0"/>
                </a:lnTo>
                <a:cubicBezTo>
                  <a:pt x="2739224" y="1387659"/>
                  <a:pt x="2739184" y="1305922"/>
                  <a:pt x="2742078" y="2611845"/>
                </a:cubicBezTo>
                <a:lnTo>
                  <a:pt x="1509374" y="2610720"/>
                </a:lnTo>
                <a:cubicBezTo>
                  <a:pt x="1508017" y="2124583"/>
                  <a:pt x="1513011" y="1968647"/>
                  <a:pt x="1508479" y="1142785"/>
                </a:cubicBezTo>
                <a:lnTo>
                  <a:pt x="0" y="1146851"/>
                </a:lnTo>
                <a:close/>
              </a:path>
            </a:pathLst>
          </a:custGeom>
          <a:solidFill>
            <a:schemeClr val="accent2"/>
          </a:solidFill>
        </p:spPr>
        <p:txBody>
          <a:bodyPr/>
          <a:lstStyle>
            <a:lvl1pPr>
              <a:defRPr sz="1000">
                <a:solidFill>
                  <a:schemeClr val="tx2"/>
                </a:solidFill>
              </a:defRPr>
            </a:lvl1pPr>
          </a:lstStyle>
          <a:p>
            <a:endParaRPr lang="en-US" noProof="0"/>
          </a:p>
        </p:txBody>
      </p:sp>
      <p:sp>
        <p:nvSpPr>
          <p:cNvPr id="71" name="Text Placeholder 19">
            <a:extLst>
              <a:ext uri="{FF2B5EF4-FFF2-40B4-BE49-F238E27FC236}">
                <a16:creationId xmlns:a16="http://schemas.microsoft.com/office/drawing/2014/main" id="{9CE7F073-4B4F-DE4A-B3A0-AF386249A910}"/>
              </a:ext>
            </a:extLst>
          </p:cNvPr>
          <p:cNvSpPr>
            <a:spLocks noGrp="1"/>
          </p:cNvSpPr>
          <p:nvPr>
            <p:ph type="body" sz="quarter" idx="10" hasCustomPrompt="1"/>
          </p:nvPr>
        </p:nvSpPr>
        <p:spPr>
          <a:xfrm>
            <a:off x="1" y="4335275"/>
            <a:ext cx="3455988" cy="397064"/>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grpSp>
        <p:nvGrpSpPr>
          <p:cNvPr id="81" name="Group 80">
            <a:extLst>
              <a:ext uri="{FF2B5EF4-FFF2-40B4-BE49-F238E27FC236}">
                <a16:creationId xmlns:a16="http://schemas.microsoft.com/office/drawing/2014/main" id="{E18B78F3-49A8-A444-AAAD-F0EE22BA5C6B}"/>
              </a:ext>
            </a:extLst>
          </p:cNvPr>
          <p:cNvGrpSpPr/>
          <p:nvPr userDrawn="1"/>
        </p:nvGrpSpPr>
        <p:grpSpPr>
          <a:xfrm>
            <a:off x="7391345" y="411163"/>
            <a:ext cx="1336166" cy="539307"/>
            <a:chOff x="2286000" y="2193925"/>
            <a:chExt cx="6835775" cy="2759075"/>
          </a:xfrm>
        </p:grpSpPr>
        <p:sp>
          <p:nvSpPr>
            <p:cNvPr id="82" name="Freeform 1">
              <a:extLst>
                <a:ext uri="{FF2B5EF4-FFF2-40B4-BE49-F238E27FC236}">
                  <a16:creationId xmlns:a16="http://schemas.microsoft.com/office/drawing/2014/main" id="{D22AEE53-A9CD-2C40-96FA-C73F55677DAC}"/>
                </a:ext>
              </a:extLst>
            </p:cNvPr>
            <p:cNvSpPr>
              <a:spLocks noChangeArrowheads="1"/>
            </p:cNvSpPr>
            <p:nvPr/>
          </p:nvSpPr>
          <p:spPr bwMode="auto">
            <a:xfrm>
              <a:off x="8378825" y="2471738"/>
              <a:ext cx="742950" cy="706437"/>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3" name="Freeform 2">
              <a:extLst>
                <a:ext uri="{FF2B5EF4-FFF2-40B4-BE49-F238E27FC236}">
                  <a16:creationId xmlns:a16="http://schemas.microsoft.com/office/drawing/2014/main" id="{975FC6AC-2AD0-684C-AECC-29F62BFBE947}"/>
                </a:ext>
              </a:extLst>
            </p:cNvPr>
            <p:cNvSpPr>
              <a:spLocks noChangeArrowheads="1"/>
            </p:cNvSpPr>
            <p:nvPr/>
          </p:nvSpPr>
          <p:spPr bwMode="auto">
            <a:xfrm>
              <a:off x="5299075" y="2781300"/>
              <a:ext cx="333375" cy="1349375"/>
            </a:xfrm>
            <a:custGeom>
              <a:avLst/>
              <a:gdLst>
                <a:gd name="T0" fmla="*/ 0 w 927"/>
                <a:gd name="T1" fmla="*/ 3749 h 3750"/>
                <a:gd name="T2" fmla="*/ 926 w 927"/>
                <a:gd name="T3" fmla="*/ 3749 h 3750"/>
                <a:gd name="T4" fmla="*/ 926 w 927"/>
                <a:gd name="T5" fmla="*/ 0 h 3750"/>
                <a:gd name="T6" fmla="*/ 0 w 927"/>
                <a:gd name="T7" fmla="*/ 0 h 3750"/>
                <a:gd name="T8" fmla="*/ 0 w 927"/>
                <a:gd name="T9" fmla="*/ 3749 h 3750"/>
              </a:gdLst>
              <a:ahLst/>
              <a:cxnLst>
                <a:cxn ang="0">
                  <a:pos x="T0" y="T1"/>
                </a:cxn>
                <a:cxn ang="0">
                  <a:pos x="T2" y="T3"/>
                </a:cxn>
                <a:cxn ang="0">
                  <a:pos x="T4" y="T5"/>
                </a:cxn>
                <a:cxn ang="0">
                  <a:pos x="T6" y="T7"/>
                </a:cxn>
                <a:cxn ang="0">
                  <a:pos x="T8" y="T9"/>
                </a:cxn>
              </a:cxnLst>
              <a:rect l="0" t="0" r="r" b="b"/>
              <a:pathLst>
                <a:path w="927" h="3750">
                  <a:moveTo>
                    <a:pt x="0" y="3749"/>
                  </a:moveTo>
                  <a:lnTo>
                    <a:pt x="926" y="3749"/>
                  </a:lnTo>
                  <a:lnTo>
                    <a:pt x="926" y="0"/>
                  </a:lnTo>
                  <a:lnTo>
                    <a:pt x="0" y="0"/>
                  </a:lnTo>
                  <a:lnTo>
                    <a:pt x="0" y="3749"/>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4" name="Freeform 3">
              <a:extLst>
                <a:ext uri="{FF2B5EF4-FFF2-40B4-BE49-F238E27FC236}">
                  <a16:creationId xmlns:a16="http://schemas.microsoft.com/office/drawing/2014/main" id="{E81B1E39-65D9-8A47-A0A8-444D80FCC4EB}"/>
                </a:ext>
              </a:extLst>
            </p:cNvPr>
            <p:cNvSpPr>
              <a:spLocks noChangeArrowheads="1"/>
            </p:cNvSpPr>
            <p:nvPr/>
          </p:nvSpPr>
          <p:spPr bwMode="auto">
            <a:xfrm>
              <a:off x="3781425" y="2193925"/>
              <a:ext cx="1206500" cy="1973263"/>
            </a:xfrm>
            <a:custGeom>
              <a:avLst/>
              <a:gdLst>
                <a:gd name="T0" fmla="*/ 2426 w 3353"/>
                <a:gd name="T1" fmla="*/ 1631 h 5480"/>
                <a:gd name="T2" fmla="*/ 2426 w 3353"/>
                <a:gd name="T3" fmla="*/ 1631 h 5480"/>
                <a:gd name="T4" fmla="*/ 2459 w 3353"/>
                <a:gd name="T5" fmla="*/ 1940 h 5480"/>
                <a:gd name="T6" fmla="*/ 1290 w 3353"/>
                <a:gd name="T7" fmla="*/ 1532 h 5480"/>
                <a:gd name="T8" fmla="*/ 0 w 3353"/>
                <a:gd name="T9" fmla="*/ 1995 h 5480"/>
                <a:gd name="T10" fmla="*/ 463 w 3353"/>
                <a:gd name="T11" fmla="*/ 2833 h 5480"/>
                <a:gd name="T12" fmla="*/ 1323 w 3353"/>
                <a:gd name="T13" fmla="*/ 2403 h 5480"/>
                <a:gd name="T14" fmla="*/ 2393 w 3353"/>
                <a:gd name="T15" fmla="*/ 3506 h 5480"/>
                <a:gd name="T16" fmla="*/ 1323 w 3353"/>
                <a:gd name="T17" fmla="*/ 4619 h 5480"/>
                <a:gd name="T18" fmla="*/ 485 w 3353"/>
                <a:gd name="T19" fmla="*/ 4178 h 5480"/>
                <a:gd name="T20" fmla="*/ 0 w 3353"/>
                <a:gd name="T21" fmla="*/ 5049 h 5480"/>
                <a:gd name="T22" fmla="*/ 1290 w 3353"/>
                <a:gd name="T23" fmla="*/ 5479 h 5480"/>
                <a:gd name="T24" fmla="*/ 2459 w 3353"/>
                <a:gd name="T25" fmla="*/ 5071 h 5480"/>
                <a:gd name="T26" fmla="*/ 2492 w 3353"/>
                <a:gd name="T27" fmla="*/ 5380 h 5480"/>
                <a:gd name="T28" fmla="*/ 3352 w 3353"/>
                <a:gd name="T29" fmla="*/ 5380 h 5480"/>
                <a:gd name="T30" fmla="*/ 3352 w 3353"/>
                <a:gd name="T31" fmla="*/ 0 h 5480"/>
                <a:gd name="T32" fmla="*/ 2426 w 3353"/>
                <a:gd name="T33" fmla="*/ 0 h 5480"/>
                <a:gd name="T34" fmla="*/ 2426 w 3353"/>
                <a:gd name="T35" fmla="*/ 1631 h 5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53" h="5480">
                  <a:moveTo>
                    <a:pt x="2426" y="1631"/>
                  </a:moveTo>
                  <a:lnTo>
                    <a:pt x="2426" y="1631"/>
                  </a:lnTo>
                  <a:cubicBezTo>
                    <a:pt x="2426" y="1819"/>
                    <a:pt x="2459" y="1940"/>
                    <a:pt x="2459" y="1940"/>
                  </a:cubicBezTo>
                  <a:cubicBezTo>
                    <a:pt x="2150" y="1720"/>
                    <a:pt x="1786" y="1532"/>
                    <a:pt x="1290" y="1532"/>
                  </a:cubicBezTo>
                  <a:cubicBezTo>
                    <a:pt x="794" y="1532"/>
                    <a:pt x="364" y="1720"/>
                    <a:pt x="0" y="1995"/>
                  </a:cubicBezTo>
                  <a:cubicBezTo>
                    <a:pt x="210" y="2249"/>
                    <a:pt x="364" y="2524"/>
                    <a:pt x="463" y="2833"/>
                  </a:cubicBezTo>
                  <a:cubicBezTo>
                    <a:pt x="673" y="2557"/>
                    <a:pt x="948" y="2403"/>
                    <a:pt x="1323" y="2403"/>
                  </a:cubicBezTo>
                  <a:cubicBezTo>
                    <a:pt x="1963" y="2403"/>
                    <a:pt x="2393" y="2833"/>
                    <a:pt x="2393" y="3506"/>
                  </a:cubicBezTo>
                  <a:cubicBezTo>
                    <a:pt x="2393" y="4211"/>
                    <a:pt x="1941" y="4619"/>
                    <a:pt x="1323" y="4619"/>
                  </a:cubicBezTo>
                  <a:cubicBezTo>
                    <a:pt x="982" y="4619"/>
                    <a:pt x="673" y="4465"/>
                    <a:pt x="485" y="4178"/>
                  </a:cubicBezTo>
                  <a:cubicBezTo>
                    <a:pt x="397" y="4520"/>
                    <a:pt x="210" y="4795"/>
                    <a:pt x="0" y="5049"/>
                  </a:cubicBezTo>
                  <a:cubicBezTo>
                    <a:pt x="364" y="5325"/>
                    <a:pt x="794" y="5479"/>
                    <a:pt x="1290" y="5479"/>
                  </a:cubicBezTo>
                  <a:cubicBezTo>
                    <a:pt x="1753" y="5479"/>
                    <a:pt x="2183" y="5292"/>
                    <a:pt x="2459" y="5071"/>
                  </a:cubicBezTo>
                  <a:cubicBezTo>
                    <a:pt x="2492" y="5380"/>
                    <a:pt x="2492" y="5380"/>
                    <a:pt x="2492" y="5380"/>
                  </a:cubicBezTo>
                  <a:cubicBezTo>
                    <a:pt x="3352" y="5380"/>
                    <a:pt x="3352" y="5380"/>
                    <a:pt x="3352" y="5380"/>
                  </a:cubicBezTo>
                  <a:cubicBezTo>
                    <a:pt x="3352" y="0"/>
                    <a:pt x="3352" y="0"/>
                    <a:pt x="3352" y="0"/>
                  </a:cubicBezTo>
                  <a:cubicBezTo>
                    <a:pt x="2426" y="0"/>
                    <a:pt x="2426" y="0"/>
                    <a:pt x="2426" y="0"/>
                  </a:cubicBezTo>
                  <a:lnTo>
                    <a:pt x="2426" y="1631"/>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5" name="Freeform 4">
              <a:extLst>
                <a:ext uri="{FF2B5EF4-FFF2-40B4-BE49-F238E27FC236}">
                  <a16:creationId xmlns:a16="http://schemas.microsoft.com/office/drawing/2014/main" id="{080F2756-1BAC-004A-9411-2A9EFF5519C5}"/>
                </a:ext>
              </a:extLst>
            </p:cNvPr>
            <p:cNvSpPr>
              <a:spLocks noChangeArrowheads="1"/>
            </p:cNvSpPr>
            <p:nvPr/>
          </p:nvSpPr>
          <p:spPr bwMode="auto">
            <a:xfrm>
              <a:off x="2286000" y="2746375"/>
              <a:ext cx="1441450" cy="1420813"/>
            </a:xfrm>
            <a:custGeom>
              <a:avLst/>
              <a:gdLst>
                <a:gd name="T0" fmla="*/ 1995 w 4003"/>
                <a:gd name="T1" fmla="*/ 0 h 3948"/>
                <a:gd name="T2" fmla="*/ 1995 w 4003"/>
                <a:gd name="T3" fmla="*/ 0 h 3948"/>
                <a:gd name="T4" fmla="*/ 0 w 4003"/>
                <a:gd name="T5" fmla="*/ 1974 h 3948"/>
                <a:gd name="T6" fmla="*/ 1995 w 4003"/>
                <a:gd name="T7" fmla="*/ 3947 h 3948"/>
                <a:gd name="T8" fmla="*/ 4002 w 4003"/>
                <a:gd name="T9" fmla="*/ 1974 h 3948"/>
                <a:gd name="T10" fmla="*/ 1995 w 4003"/>
                <a:gd name="T11" fmla="*/ 0 h 3948"/>
                <a:gd name="T12" fmla="*/ 1995 w 4003"/>
                <a:gd name="T13" fmla="*/ 3087 h 3948"/>
                <a:gd name="T14" fmla="*/ 1995 w 4003"/>
                <a:gd name="T15" fmla="*/ 3087 h 3948"/>
                <a:gd name="T16" fmla="*/ 926 w 4003"/>
                <a:gd name="T17" fmla="*/ 1974 h 3948"/>
                <a:gd name="T18" fmla="*/ 1995 w 4003"/>
                <a:gd name="T19" fmla="*/ 871 h 3948"/>
                <a:gd name="T20" fmla="*/ 3076 w 4003"/>
                <a:gd name="T21" fmla="*/ 1974 h 3948"/>
                <a:gd name="T22" fmla="*/ 1995 w 4003"/>
                <a:gd name="T23" fmla="*/ 3087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3" h="3948">
                  <a:moveTo>
                    <a:pt x="1995" y="0"/>
                  </a:moveTo>
                  <a:lnTo>
                    <a:pt x="1995" y="0"/>
                  </a:lnTo>
                  <a:cubicBezTo>
                    <a:pt x="860" y="0"/>
                    <a:pt x="0" y="893"/>
                    <a:pt x="0" y="1974"/>
                  </a:cubicBezTo>
                  <a:cubicBezTo>
                    <a:pt x="0" y="3109"/>
                    <a:pt x="860" y="3947"/>
                    <a:pt x="1995" y="3947"/>
                  </a:cubicBezTo>
                  <a:cubicBezTo>
                    <a:pt x="3142" y="3947"/>
                    <a:pt x="4002" y="3109"/>
                    <a:pt x="4002" y="1974"/>
                  </a:cubicBezTo>
                  <a:cubicBezTo>
                    <a:pt x="4002" y="893"/>
                    <a:pt x="3142" y="0"/>
                    <a:pt x="1995" y="0"/>
                  </a:cubicBezTo>
                  <a:close/>
                  <a:moveTo>
                    <a:pt x="1995" y="3087"/>
                  </a:moveTo>
                  <a:lnTo>
                    <a:pt x="1995" y="3087"/>
                  </a:lnTo>
                  <a:cubicBezTo>
                    <a:pt x="1389" y="3087"/>
                    <a:pt x="926" y="2624"/>
                    <a:pt x="926" y="1974"/>
                  </a:cubicBezTo>
                  <a:cubicBezTo>
                    <a:pt x="926" y="1356"/>
                    <a:pt x="1356" y="871"/>
                    <a:pt x="1995" y="871"/>
                  </a:cubicBezTo>
                  <a:cubicBezTo>
                    <a:pt x="2646" y="871"/>
                    <a:pt x="3076" y="1356"/>
                    <a:pt x="3076" y="1974"/>
                  </a:cubicBezTo>
                  <a:cubicBezTo>
                    <a:pt x="3076" y="2624"/>
                    <a:pt x="2613" y="3087"/>
                    <a:pt x="1995" y="3087"/>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6" name="Freeform 5">
              <a:extLst>
                <a:ext uri="{FF2B5EF4-FFF2-40B4-BE49-F238E27FC236}">
                  <a16:creationId xmlns:a16="http://schemas.microsoft.com/office/drawing/2014/main" id="{5E0F6CC5-4D63-A342-8D0F-4125A57F74E9}"/>
                </a:ext>
              </a:extLst>
            </p:cNvPr>
            <p:cNvSpPr>
              <a:spLocks noChangeArrowheads="1"/>
            </p:cNvSpPr>
            <p:nvPr/>
          </p:nvSpPr>
          <p:spPr bwMode="auto">
            <a:xfrm>
              <a:off x="5862638" y="2627313"/>
              <a:ext cx="1420812" cy="2325687"/>
            </a:xfrm>
            <a:custGeom>
              <a:avLst/>
              <a:gdLst>
                <a:gd name="T0" fmla="*/ 3914 w 3948"/>
                <a:gd name="T1" fmla="*/ 2216 h 6462"/>
                <a:gd name="T2" fmla="*/ 3914 w 3948"/>
                <a:gd name="T3" fmla="*/ 2216 h 6462"/>
                <a:gd name="T4" fmla="*/ 3517 w 3948"/>
                <a:gd name="T5" fmla="*/ 1048 h 6462"/>
                <a:gd name="T6" fmla="*/ 3947 w 3948"/>
                <a:gd name="T7" fmla="*/ 519 h 6462"/>
                <a:gd name="T8" fmla="*/ 3263 w 3948"/>
                <a:gd name="T9" fmla="*/ 0 h 6462"/>
                <a:gd name="T10" fmla="*/ 2800 w 3948"/>
                <a:gd name="T11" fmla="*/ 519 h 6462"/>
                <a:gd name="T12" fmla="*/ 1940 w 3948"/>
                <a:gd name="T13" fmla="*/ 331 h 6462"/>
                <a:gd name="T14" fmla="*/ 0 w 3948"/>
                <a:gd name="T15" fmla="*/ 2305 h 6462"/>
                <a:gd name="T16" fmla="*/ 1510 w 3948"/>
                <a:gd name="T17" fmla="*/ 4057 h 6462"/>
                <a:gd name="T18" fmla="*/ 2954 w 3948"/>
                <a:gd name="T19" fmla="*/ 4895 h 6462"/>
                <a:gd name="T20" fmla="*/ 2061 w 3948"/>
                <a:gd name="T21" fmla="*/ 5568 h 6462"/>
                <a:gd name="T22" fmla="*/ 1080 w 3948"/>
                <a:gd name="T23" fmla="*/ 4829 h 6462"/>
                <a:gd name="T24" fmla="*/ 1080 w 3948"/>
                <a:gd name="T25" fmla="*/ 4741 h 6462"/>
                <a:gd name="T26" fmla="*/ 132 w 3948"/>
                <a:gd name="T27" fmla="*/ 4741 h 6462"/>
                <a:gd name="T28" fmla="*/ 132 w 3948"/>
                <a:gd name="T29" fmla="*/ 4829 h 6462"/>
                <a:gd name="T30" fmla="*/ 2039 w 3948"/>
                <a:gd name="T31" fmla="*/ 6461 h 6462"/>
                <a:gd name="T32" fmla="*/ 3914 w 3948"/>
                <a:gd name="T33" fmla="*/ 4951 h 6462"/>
                <a:gd name="T34" fmla="*/ 3021 w 3948"/>
                <a:gd name="T35" fmla="*/ 3694 h 6462"/>
                <a:gd name="T36" fmla="*/ 3914 w 3948"/>
                <a:gd name="T37" fmla="*/ 2216 h 6462"/>
                <a:gd name="T38" fmla="*/ 1940 w 3948"/>
                <a:gd name="T39" fmla="*/ 3286 h 6462"/>
                <a:gd name="T40" fmla="*/ 1940 w 3948"/>
                <a:gd name="T41" fmla="*/ 3286 h 6462"/>
                <a:gd name="T42" fmla="*/ 959 w 3948"/>
                <a:gd name="T43" fmla="*/ 2238 h 6462"/>
                <a:gd name="T44" fmla="*/ 1940 w 3948"/>
                <a:gd name="T45" fmla="*/ 1202 h 6462"/>
                <a:gd name="T46" fmla="*/ 2954 w 3948"/>
                <a:gd name="T47" fmla="*/ 2238 h 6462"/>
                <a:gd name="T48" fmla="*/ 1940 w 3948"/>
                <a:gd name="T49" fmla="*/ 3286 h 6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8" h="6462">
                  <a:moveTo>
                    <a:pt x="3914" y="2216"/>
                  </a:moveTo>
                  <a:lnTo>
                    <a:pt x="3914" y="2216"/>
                  </a:lnTo>
                  <a:cubicBezTo>
                    <a:pt x="3914" y="1786"/>
                    <a:pt x="3759" y="1356"/>
                    <a:pt x="3517" y="1048"/>
                  </a:cubicBezTo>
                  <a:cubicBezTo>
                    <a:pt x="3947" y="519"/>
                    <a:pt x="3947" y="519"/>
                    <a:pt x="3947" y="519"/>
                  </a:cubicBezTo>
                  <a:cubicBezTo>
                    <a:pt x="3263" y="0"/>
                    <a:pt x="3263" y="0"/>
                    <a:pt x="3263" y="0"/>
                  </a:cubicBezTo>
                  <a:cubicBezTo>
                    <a:pt x="2800" y="519"/>
                    <a:pt x="2800" y="519"/>
                    <a:pt x="2800" y="519"/>
                  </a:cubicBezTo>
                  <a:cubicBezTo>
                    <a:pt x="2558" y="397"/>
                    <a:pt x="2282" y="331"/>
                    <a:pt x="1940" y="331"/>
                  </a:cubicBezTo>
                  <a:cubicBezTo>
                    <a:pt x="805" y="331"/>
                    <a:pt x="0" y="1202"/>
                    <a:pt x="0" y="2305"/>
                  </a:cubicBezTo>
                  <a:cubicBezTo>
                    <a:pt x="0" y="3286"/>
                    <a:pt x="595" y="3903"/>
                    <a:pt x="1510" y="4057"/>
                  </a:cubicBezTo>
                  <a:cubicBezTo>
                    <a:pt x="2128" y="4179"/>
                    <a:pt x="2954" y="4157"/>
                    <a:pt x="2954" y="4895"/>
                  </a:cubicBezTo>
                  <a:cubicBezTo>
                    <a:pt x="2954" y="5292"/>
                    <a:pt x="2679" y="5568"/>
                    <a:pt x="2061" y="5568"/>
                  </a:cubicBezTo>
                  <a:cubicBezTo>
                    <a:pt x="1422" y="5568"/>
                    <a:pt x="1080" y="5193"/>
                    <a:pt x="1080" y="4829"/>
                  </a:cubicBezTo>
                  <a:cubicBezTo>
                    <a:pt x="1080" y="4796"/>
                    <a:pt x="1080" y="4763"/>
                    <a:pt x="1080" y="4741"/>
                  </a:cubicBezTo>
                  <a:cubicBezTo>
                    <a:pt x="132" y="4741"/>
                    <a:pt x="132" y="4741"/>
                    <a:pt x="132" y="4741"/>
                  </a:cubicBezTo>
                  <a:cubicBezTo>
                    <a:pt x="132" y="4763"/>
                    <a:pt x="132" y="4796"/>
                    <a:pt x="132" y="4829"/>
                  </a:cubicBezTo>
                  <a:cubicBezTo>
                    <a:pt x="132" y="5689"/>
                    <a:pt x="871" y="6461"/>
                    <a:pt x="2039" y="6461"/>
                  </a:cubicBezTo>
                  <a:cubicBezTo>
                    <a:pt x="3329" y="6461"/>
                    <a:pt x="3914" y="5689"/>
                    <a:pt x="3914" y="4951"/>
                  </a:cubicBezTo>
                  <a:cubicBezTo>
                    <a:pt x="3914" y="4245"/>
                    <a:pt x="3539" y="3870"/>
                    <a:pt x="3021" y="3694"/>
                  </a:cubicBezTo>
                  <a:cubicBezTo>
                    <a:pt x="3539" y="3440"/>
                    <a:pt x="3914" y="2889"/>
                    <a:pt x="3914" y="2216"/>
                  </a:cubicBezTo>
                  <a:close/>
                  <a:moveTo>
                    <a:pt x="1940" y="3286"/>
                  </a:moveTo>
                  <a:lnTo>
                    <a:pt x="1940" y="3286"/>
                  </a:lnTo>
                  <a:cubicBezTo>
                    <a:pt x="1356" y="3286"/>
                    <a:pt x="959" y="2889"/>
                    <a:pt x="959" y="2238"/>
                  </a:cubicBezTo>
                  <a:cubicBezTo>
                    <a:pt x="959" y="1632"/>
                    <a:pt x="1334" y="1202"/>
                    <a:pt x="1940" y="1202"/>
                  </a:cubicBezTo>
                  <a:cubicBezTo>
                    <a:pt x="2591" y="1202"/>
                    <a:pt x="2954" y="1632"/>
                    <a:pt x="2954" y="2238"/>
                  </a:cubicBezTo>
                  <a:cubicBezTo>
                    <a:pt x="2954" y="2889"/>
                    <a:pt x="2624" y="3286"/>
                    <a:pt x="1940" y="3286"/>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7" name="Freeform 6">
              <a:extLst>
                <a:ext uri="{FF2B5EF4-FFF2-40B4-BE49-F238E27FC236}">
                  <a16:creationId xmlns:a16="http://schemas.microsoft.com/office/drawing/2014/main" id="{C5D46946-65FF-1340-B2BB-BAD564D89E09}"/>
                </a:ext>
              </a:extLst>
            </p:cNvPr>
            <p:cNvSpPr>
              <a:spLocks noChangeArrowheads="1"/>
            </p:cNvSpPr>
            <p:nvPr/>
          </p:nvSpPr>
          <p:spPr bwMode="auto">
            <a:xfrm>
              <a:off x="5299075" y="2193925"/>
              <a:ext cx="333375" cy="322263"/>
            </a:xfrm>
            <a:custGeom>
              <a:avLst/>
              <a:gdLst>
                <a:gd name="T0" fmla="*/ 0 w 927"/>
                <a:gd name="T1" fmla="*/ 893 h 894"/>
                <a:gd name="T2" fmla="*/ 926 w 927"/>
                <a:gd name="T3" fmla="*/ 893 h 894"/>
                <a:gd name="T4" fmla="*/ 926 w 927"/>
                <a:gd name="T5" fmla="*/ 0 h 894"/>
                <a:gd name="T6" fmla="*/ 0 w 927"/>
                <a:gd name="T7" fmla="*/ 0 h 894"/>
                <a:gd name="T8" fmla="*/ 0 w 927"/>
                <a:gd name="T9" fmla="*/ 893 h 894"/>
              </a:gdLst>
              <a:ahLst/>
              <a:cxnLst>
                <a:cxn ang="0">
                  <a:pos x="T0" y="T1"/>
                </a:cxn>
                <a:cxn ang="0">
                  <a:pos x="T2" y="T3"/>
                </a:cxn>
                <a:cxn ang="0">
                  <a:pos x="T4" y="T5"/>
                </a:cxn>
                <a:cxn ang="0">
                  <a:pos x="T6" y="T7"/>
                </a:cxn>
                <a:cxn ang="0">
                  <a:pos x="T8" y="T9"/>
                </a:cxn>
              </a:cxnLst>
              <a:rect l="0" t="0" r="r" b="b"/>
              <a:pathLst>
                <a:path w="927" h="894">
                  <a:moveTo>
                    <a:pt x="0" y="893"/>
                  </a:moveTo>
                  <a:lnTo>
                    <a:pt x="926" y="893"/>
                  </a:lnTo>
                  <a:lnTo>
                    <a:pt x="926" y="0"/>
                  </a:lnTo>
                  <a:lnTo>
                    <a:pt x="0" y="0"/>
                  </a:lnTo>
                  <a:lnTo>
                    <a:pt x="0" y="893"/>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8" name="Freeform 7">
              <a:extLst>
                <a:ext uri="{FF2B5EF4-FFF2-40B4-BE49-F238E27FC236}">
                  <a16:creationId xmlns:a16="http://schemas.microsoft.com/office/drawing/2014/main" id="{31B0DB00-FB4F-6341-8D3A-04775C3A0135}"/>
                </a:ext>
              </a:extLst>
            </p:cNvPr>
            <p:cNvSpPr>
              <a:spLocks noChangeArrowheads="1"/>
            </p:cNvSpPr>
            <p:nvPr/>
          </p:nvSpPr>
          <p:spPr bwMode="auto">
            <a:xfrm>
              <a:off x="7458075" y="2746375"/>
              <a:ext cx="1452563" cy="1420813"/>
            </a:xfrm>
            <a:custGeom>
              <a:avLst/>
              <a:gdLst>
                <a:gd name="T0" fmla="*/ 3076 w 4036"/>
                <a:gd name="T1" fmla="*/ 1764 h 3948"/>
                <a:gd name="T2" fmla="*/ 3076 w 4036"/>
                <a:gd name="T3" fmla="*/ 1764 h 3948"/>
                <a:gd name="T4" fmla="*/ 3076 w 4036"/>
                <a:gd name="T5" fmla="*/ 1974 h 3948"/>
                <a:gd name="T6" fmla="*/ 2007 w 4036"/>
                <a:gd name="T7" fmla="*/ 3087 h 3948"/>
                <a:gd name="T8" fmla="*/ 959 w 4036"/>
                <a:gd name="T9" fmla="*/ 1974 h 3948"/>
                <a:gd name="T10" fmla="*/ 2007 w 4036"/>
                <a:gd name="T11" fmla="*/ 871 h 3948"/>
                <a:gd name="T12" fmla="*/ 2062 w 4036"/>
                <a:gd name="T13" fmla="*/ 871 h 3948"/>
                <a:gd name="T14" fmla="*/ 2062 w 4036"/>
                <a:gd name="T15" fmla="*/ 0 h 3948"/>
                <a:gd name="T16" fmla="*/ 2007 w 4036"/>
                <a:gd name="T17" fmla="*/ 0 h 3948"/>
                <a:gd name="T18" fmla="*/ 0 w 4036"/>
                <a:gd name="T19" fmla="*/ 1974 h 3948"/>
                <a:gd name="T20" fmla="*/ 2007 w 4036"/>
                <a:gd name="T21" fmla="*/ 3947 h 3948"/>
                <a:gd name="T22" fmla="*/ 4035 w 4036"/>
                <a:gd name="T23" fmla="*/ 1974 h 3948"/>
                <a:gd name="T24" fmla="*/ 4002 w 4036"/>
                <a:gd name="T25" fmla="*/ 1764 h 3948"/>
                <a:gd name="T26" fmla="*/ 3076 w 4036"/>
                <a:gd name="T27" fmla="*/ 1764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6" h="3948">
                  <a:moveTo>
                    <a:pt x="3076" y="1764"/>
                  </a:moveTo>
                  <a:lnTo>
                    <a:pt x="3076" y="1764"/>
                  </a:lnTo>
                  <a:cubicBezTo>
                    <a:pt x="3076" y="1852"/>
                    <a:pt x="3076" y="1907"/>
                    <a:pt x="3076" y="1974"/>
                  </a:cubicBezTo>
                  <a:cubicBezTo>
                    <a:pt x="3076" y="2624"/>
                    <a:pt x="2624" y="3087"/>
                    <a:pt x="2007" y="3087"/>
                  </a:cubicBezTo>
                  <a:cubicBezTo>
                    <a:pt x="1422" y="3087"/>
                    <a:pt x="959" y="2624"/>
                    <a:pt x="959" y="1974"/>
                  </a:cubicBezTo>
                  <a:cubicBezTo>
                    <a:pt x="959" y="1356"/>
                    <a:pt x="1389" y="871"/>
                    <a:pt x="2007" y="871"/>
                  </a:cubicBezTo>
                  <a:cubicBezTo>
                    <a:pt x="2040" y="871"/>
                    <a:pt x="2040" y="871"/>
                    <a:pt x="2062" y="871"/>
                  </a:cubicBezTo>
                  <a:cubicBezTo>
                    <a:pt x="2062" y="0"/>
                    <a:pt x="2062" y="0"/>
                    <a:pt x="2062" y="0"/>
                  </a:cubicBezTo>
                  <a:cubicBezTo>
                    <a:pt x="2040" y="0"/>
                    <a:pt x="2040" y="0"/>
                    <a:pt x="2007" y="0"/>
                  </a:cubicBezTo>
                  <a:cubicBezTo>
                    <a:pt x="871" y="0"/>
                    <a:pt x="0" y="893"/>
                    <a:pt x="0" y="1974"/>
                  </a:cubicBezTo>
                  <a:cubicBezTo>
                    <a:pt x="0" y="3109"/>
                    <a:pt x="871" y="3947"/>
                    <a:pt x="2007" y="3947"/>
                  </a:cubicBezTo>
                  <a:cubicBezTo>
                    <a:pt x="3175" y="3947"/>
                    <a:pt x="4035" y="3109"/>
                    <a:pt x="4035" y="1974"/>
                  </a:cubicBezTo>
                  <a:cubicBezTo>
                    <a:pt x="4035" y="1907"/>
                    <a:pt x="4035" y="1852"/>
                    <a:pt x="4002" y="1764"/>
                  </a:cubicBezTo>
                  <a:lnTo>
                    <a:pt x="3076" y="176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Tree>
    <p:extLst>
      <p:ext uri="{BB962C8B-B14F-4D97-AF65-F5344CB8AC3E}">
        <p14:creationId xmlns:p14="http://schemas.microsoft.com/office/powerpoint/2010/main" val="27269289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digo-Cover_Arrow-dark">
    <p:bg>
      <p:bgRef idx="1001">
        <a:schemeClr val="bg2"/>
      </p:bgRef>
    </p:bg>
    <p:spTree>
      <p:nvGrpSpPr>
        <p:cNvPr id="1" name=""/>
        <p:cNvGrpSpPr/>
        <p:nvPr/>
      </p:nvGrpSpPr>
      <p:grpSpPr>
        <a:xfrm>
          <a:off x="0" y="0"/>
          <a:ext cx="0" cy="0"/>
          <a:chOff x="0" y="0"/>
          <a:chExt cx="0" cy="0"/>
        </a:xfrm>
      </p:grpSpPr>
      <p:sp>
        <p:nvSpPr>
          <p:cNvPr id="97" name="Freeform 2">
            <a:extLst>
              <a:ext uri="{FF2B5EF4-FFF2-40B4-BE49-F238E27FC236}">
                <a16:creationId xmlns:a16="http://schemas.microsoft.com/office/drawing/2014/main" id="{A1CA5E70-6561-A64B-B6C7-30F3B4780210}"/>
              </a:ext>
            </a:extLst>
          </p:cNvPr>
          <p:cNvSpPr>
            <a:spLocks noChangeArrowheads="1"/>
          </p:cNvSpPr>
          <p:nvPr userDrawn="1"/>
        </p:nvSpPr>
        <p:spPr bwMode="auto">
          <a:xfrm>
            <a:off x="-2739395" y="1239528"/>
            <a:ext cx="7355301" cy="7201375"/>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chemeClr val="tx1"/>
          </a:solidFill>
          <a:ln>
            <a:noFill/>
          </a:ln>
          <a:effectLst/>
        </p:spPr>
        <p:txBody>
          <a:bodyPr wrap="none" anchor="ctr"/>
          <a:lstStyle/>
          <a:p>
            <a:endParaRPr lang="en-US" noProof="0"/>
          </a:p>
        </p:txBody>
      </p:sp>
      <p:grpSp>
        <p:nvGrpSpPr>
          <p:cNvPr id="55" name="Group 54">
            <a:extLst>
              <a:ext uri="{FF2B5EF4-FFF2-40B4-BE49-F238E27FC236}">
                <a16:creationId xmlns:a16="http://schemas.microsoft.com/office/drawing/2014/main" id="{25B40363-92CB-7948-BB33-C6A2603EE666}"/>
              </a:ext>
            </a:extLst>
          </p:cNvPr>
          <p:cNvGrpSpPr/>
          <p:nvPr userDrawn="1"/>
        </p:nvGrpSpPr>
        <p:grpSpPr>
          <a:xfrm>
            <a:off x="7019217" y="4447762"/>
            <a:ext cx="1692983" cy="279387"/>
            <a:chOff x="1828800" y="3017838"/>
            <a:chExt cx="6291263" cy="1038225"/>
          </a:xfrm>
          <a:solidFill>
            <a:schemeClr val="tx1"/>
          </a:solidFill>
        </p:grpSpPr>
        <p:sp>
          <p:nvSpPr>
            <p:cNvPr id="56" name="Freeform 1">
              <a:extLst>
                <a:ext uri="{FF2B5EF4-FFF2-40B4-BE49-F238E27FC236}">
                  <a16:creationId xmlns:a16="http://schemas.microsoft.com/office/drawing/2014/main" id="{E359CF9F-07DA-A14C-B013-BEB5FDF298AD}"/>
                </a:ext>
              </a:extLst>
            </p:cNvPr>
            <p:cNvSpPr>
              <a:spLocks noChangeArrowheads="1"/>
            </p:cNvSpPr>
            <p:nvPr userDrawn="1"/>
          </p:nvSpPr>
          <p:spPr bwMode="auto">
            <a:xfrm>
              <a:off x="1831975" y="3017838"/>
              <a:ext cx="388938" cy="438150"/>
            </a:xfrm>
            <a:custGeom>
              <a:avLst/>
              <a:gdLst>
                <a:gd name="T0" fmla="*/ 1081 w 1082"/>
                <a:gd name="T1" fmla="*/ 1042 h 1215"/>
                <a:gd name="T2" fmla="*/ 1081 w 1082"/>
                <a:gd name="T3" fmla="*/ 1042 h 1215"/>
                <a:gd name="T4" fmla="*/ 873 w 1082"/>
                <a:gd name="T5" fmla="*/ 1172 h 1215"/>
                <a:gd name="T6" fmla="*/ 631 w 1082"/>
                <a:gd name="T7" fmla="*/ 1214 h 1215"/>
                <a:gd name="T8" fmla="*/ 350 w 1082"/>
                <a:gd name="T9" fmla="*/ 1164 h 1215"/>
                <a:gd name="T10" fmla="*/ 153 w 1082"/>
                <a:gd name="T11" fmla="*/ 1028 h 1215"/>
                <a:gd name="T12" fmla="*/ 39 w 1082"/>
                <a:gd name="T13" fmla="*/ 836 h 1215"/>
                <a:gd name="T14" fmla="*/ 0 w 1082"/>
                <a:gd name="T15" fmla="*/ 614 h 1215"/>
                <a:gd name="T16" fmla="*/ 39 w 1082"/>
                <a:gd name="T17" fmla="*/ 389 h 1215"/>
                <a:gd name="T18" fmla="*/ 156 w 1082"/>
                <a:gd name="T19" fmla="*/ 192 h 1215"/>
                <a:gd name="T20" fmla="*/ 353 w 1082"/>
                <a:gd name="T21" fmla="*/ 53 h 1215"/>
                <a:gd name="T22" fmla="*/ 631 w 1082"/>
                <a:gd name="T23" fmla="*/ 0 h 1215"/>
                <a:gd name="T24" fmla="*/ 864 w 1082"/>
                <a:gd name="T25" fmla="*/ 44 h 1215"/>
                <a:gd name="T26" fmla="*/ 1070 w 1082"/>
                <a:gd name="T27" fmla="*/ 178 h 1215"/>
                <a:gd name="T28" fmla="*/ 942 w 1082"/>
                <a:gd name="T29" fmla="*/ 297 h 1215"/>
                <a:gd name="T30" fmla="*/ 795 w 1082"/>
                <a:gd name="T31" fmla="*/ 206 h 1215"/>
                <a:gd name="T32" fmla="*/ 631 w 1082"/>
                <a:gd name="T33" fmla="*/ 178 h 1215"/>
                <a:gd name="T34" fmla="*/ 434 w 1082"/>
                <a:gd name="T35" fmla="*/ 214 h 1215"/>
                <a:gd name="T36" fmla="*/ 298 w 1082"/>
                <a:gd name="T37" fmla="*/ 314 h 1215"/>
                <a:gd name="T38" fmla="*/ 217 w 1082"/>
                <a:gd name="T39" fmla="*/ 453 h 1215"/>
                <a:gd name="T40" fmla="*/ 192 w 1082"/>
                <a:gd name="T41" fmla="*/ 614 h 1215"/>
                <a:gd name="T42" fmla="*/ 217 w 1082"/>
                <a:gd name="T43" fmla="*/ 769 h 1215"/>
                <a:gd name="T44" fmla="*/ 295 w 1082"/>
                <a:gd name="T45" fmla="*/ 906 h 1215"/>
                <a:gd name="T46" fmla="*/ 434 w 1082"/>
                <a:gd name="T47" fmla="*/ 1003 h 1215"/>
                <a:gd name="T48" fmla="*/ 631 w 1082"/>
                <a:gd name="T49" fmla="*/ 1039 h 1215"/>
                <a:gd name="T50" fmla="*/ 800 w 1082"/>
                <a:gd name="T51" fmla="*/ 1008 h 1215"/>
                <a:gd name="T52" fmla="*/ 950 w 1082"/>
                <a:gd name="T53" fmla="*/ 911 h 1215"/>
                <a:gd name="T54" fmla="*/ 1081 w 1082"/>
                <a:gd name="T55" fmla="*/ 1042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2" h="1215">
                  <a:moveTo>
                    <a:pt x="1081" y="1042"/>
                  </a:moveTo>
                  <a:lnTo>
                    <a:pt x="1081" y="1042"/>
                  </a:lnTo>
                  <a:cubicBezTo>
                    <a:pt x="1020" y="1100"/>
                    <a:pt x="950" y="1144"/>
                    <a:pt x="873" y="1172"/>
                  </a:cubicBezTo>
                  <a:cubicBezTo>
                    <a:pt x="798" y="1200"/>
                    <a:pt x="717" y="1214"/>
                    <a:pt x="631" y="1214"/>
                  </a:cubicBezTo>
                  <a:cubicBezTo>
                    <a:pt x="523" y="1214"/>
                    <a:pt x="431" y="1197"/>
                    <a:pt x="350" y="1164"/>
                  </a:cubicBezTo>
                  <a:cubicBezTo>
                    <a:pt x="273" y="1130"/>
                    <a:pt x="206" y="1086"/>
                    <a:pt x="153" y="1028"/>
                  </a:cubicBezTo>
                  <a:cubicBezTo>
                    <a:pt x="103" y="972"/>
                    <a:pt x="64" y="908"/>
                    <a:pt x="39" y="836"/>
                  </a:cubicBezTo>
                  <a:cubicBezTo>
                    <a:pt x="14" y="764"/>
                    <a:pt x="0" y="692"/>
                    <a:pt x="0" y="614"/>
                  </a:cubicBezTo>
                  <a:cubicBezTo>
                    <a:pt x="0" y="536"/>
                    <a:pt x="14" y="461"/>
                    <a:pt x="39" y="389"/>
                  </a:cubicBezTo>
                  <a:cubicBezTo>
                    <a:pt x="67" y="314"/>
                    <a:pt x="103" y="250"/>
                    <a:pt x="156" y="192"/>
                  </a:cubicBezTo>
                  <a:cubicBezTo>
                    <a:pt x="209" y="133"/>
                    <a:pt x="273" y="89"/>
                    <a:pt x="353" y="53"/>
                  </a:cubicBezTo>
                  <a:cubicBezTo>
                    <a:pt x="431" y="17"/>
                    <a:pt x="525" y="0"/>
                    <a:pt x="631" y="0"/>
                  </a:cubicBezTo>
                  <a:cubicBezTo>
                    <a:pt x="711" y="0"/>
                    <a:pt x="789" y="14"/>
                    <a:pt x="864" y="44"/>
                  </a:cubicBezTo>
                  <a:cubicBezTo>
                    <a:pt x="939" y="72"/>
                    <a:pt x="1009" y="117"/>
                    <a:pt x="1070" y="178"/>
                  </a:cubicBezTo>
                  <a:cubicBezTo>
                    <a:pt x="942" y="297"/>
                    <a:pt x="942" y="297"/>
                    <a:pt x="942" y="297"/>
                  </a:cubicBezTo>
                  <a:cubicBezTo>
                    <a:pt x="898" y="256"/>
                    <a:pt x="850" y="225"/>
                    <a:pt x="795" y="206"/>
                  </a:cubicBezTo>
                  <a:cubicBezTo>
                    <a:pt x="742" y="186"/>
                    <a:pt x="686" y="178"/>
                    <a:pt x="631" y="178"/>
                  </a:cubicBezTo>
                  <a:cubicBezTo>
                    <a:pt x="556" y="178"/>
                    <a:pt x="489" y="189"/>
                    <a:pt x="434" y="214"/>
                  </a:cubicBezTo>
                  <a:cubicBezTo>
                    <a:pt x="378" y="239"/>
                    <a:pt x="334" y="272"/>
                    <a:pt x="298" y="314"/>
                  </a:cubicBezTo>
                  <a:cubicBezTo>
                    <a:pt x="261" y="356"/>
                    <a:pt x="234" y="400"/>
                    <a:pt x="217" y="453"/>
                  </a:cubicBezTo>
                  <a:cubicBezTo>
                    <a:pt x="200" y="506"/>
                    <a:pt x="192" y="558"/>
                    <a:pt x="192" y="614"/>
                  </a:cubicBezTo>
                  <a:cubicBezTo>
                    <a:pt x="192" y="667"/>
                    <a:pt x="200" y="719"/>
                    <a:pt x="217" y="769"/>
                  </a:cubicBezTo>
                  <a:cubicBezTo>
                    <a:pt x="234" y="822"/>
                    <a:pt x="261" y="867"/>
                    <a:pt x="295" y="906"/>
                  </a:cubicBezTo>
                  <a:cubicBezTo>
                    <a:pt x="331" y="947"/>
                    <a:pt x="378" y="978"/>
                    <a:pt x="434" y="1003"/>
                  </a:cubicBezTo>
                  <a:cubicBezTo>
                    <a:pt x="489" y="1028"/>
                    <a:pt x="553" y="1039"/>
                    <a:pt x="631" y="1039"/>
                  </a:cubicBezTo>
                  <a:cubicBezTo>
                    <a:pt x="686" y="1039"/>
                    <a:pt x="745" y="1028"/>
                    <a:pt x="800" y="1008"/>
                  </a:cubicBezTo>
                  <a:cubicBezTo>
                    <a:pt x="859" y="986"/>
                    <a:pt x="906" y="953"/>
                    <a:pt x="950" y="911"/>
                  </a:cubicBezTo>
                  <a:lnTo>
                    <a:pt x="1081" y="104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7" name="Freeform 2">
              <a:extLst>
                <a:ext uri="{FF2B5EF4-FFF2-40B4-BE49-F238E27FC236}">
                  <a16:creationId xmlns:a16="http://schemas.microsoft.com/office/drawing/2014/main" id="{16D4A348-4574-7143-B088-D84D17A82C8A}"/>
                </a:ext>
              </a:extLst>
            </p:cNvPr>
            <p:cNvSpPr>
              <a:spLocks noChangeArrowheads="1"/>
            </p:cNvSpPr>
            <p:nvPr userDrawn="1"/>
          </p:nvSpPr>
          <p:spPr bwMode="auto">
            <a:xfrm>
              <a:off x="2268538" y="3149600"/>
              <a:ext cx="293687" cy="301625"/>
            </a:xfrm>
            <a:custGeom>
              <a:avLst/>
              <a:gdLst>
                <a:gd name="T0" fmla="*/ 175 w 815"/>
                <a:gd name="T1" fmla="*/ 0 h 837"/>
                <a:gd name="T2" fmla="*/ 175 w 815"/>
                <a:gd name="T3" fmla="*/ 0 h 837"/>
                <a:gd name="T4" fmla="*/ 175 w 815"/>
                <a:gd name="T5" fmla="*/ 439 h 837"/>
                <a:gd name="T6" fmla="*/ 233 w 815"/>
                <a:gd name="T7" fmla="*/ 611 h 837"/>
                <a:gd name="T8" fmla="*/ 406 w 815"/>
                <a:gd name="T9" fmla="*/ 675 h 837"/>
                <a:gd name="T10" fmla="*/ 500 w 815"/>
                <a:gd name="T11" fmla="*/ 658 h 837"/>
                <a:gd name="T12" fmla="*/ 572 w 815"/>
                <a:gd name="T13" fmla="*/ 602 h 837"/>
                <a:gd name="T14" fmla="*/ 622 w 815"/>
                <a:gd name="T15" fmla="*/ 525 h 837"/>
                <a:gd name="T16" fmla="*/ 639 w 815"/>
                <a:gd name="T17" fmla="*/ 427 h 837"/>
                <a:gd name="T18" fmla="*/ 639 w 815"/>
                <a:gd name="T19" fmla="*/ 0 h 837"/>
                <a:gd name="T20" fmla="*/ 814 w 815"/>
                <a:gd name="T21" fmla="*/ 0 h 837"/>
                <a:gd name="T22" fmla="*/ 814 w 815"/>
                <a:gd name="T23" fmla="*/ 825 h 837"/>
                <a:gd name="T24" fmla="*/ 656 w 815"/>
                <a:gd name="T25" fmla="*/ 825 h 837"/>
                <a:gd name="T26" fmla="*/ 645 w 815"/>
                <a:gd name="T27" fmla="*/ 702 h 837"/>
                <a:gd name="T28" fmla="*/ 514 w 815"/>
                <a:gd name="T29" fmla="*/ 805 h 837"/>
                <a:gd name="T30" fmla="*/ 356 w 815"/>
                <a:gd name="T31" fmla="*/ 836 h 837"/>
                <a:gd name="T32" fmla="*/ 211 w 815"/>
                <a:gd name="T33" fmla="*/ 811 h 837"/>
                <a:gd name="T34" fmla="*/ 100 w 815"/>
                <a:gd name="T35" fmla="*/ 733 h 837"/>
                <a:gd name="T36" fmla="*/ 25 w 815"/>
                <a:gd name="T37" fmla="*/ 608 h 837"/>
                <a:gd name="T38" fmla="*/ 0 w 815"/>
                <a:gd name="T39" fmla="*/ 441 h 837"/>
                <a:gd name="T40" fmla="*/ 0 w 815"/>
                <a:gd name="T41" fmla="*/ 0 h 837"/>
                <a:gd name="T42" fmla="*/ 175 w 815"/>
                <a:gd name="T43" fmla="*/ 0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5" h="837">
                  <a:moveTo>
                    <a:pt x="175" y="0"/>
                  </a:moveTo>
                  <a:lnTo>
                    <a:pt x="175" y="0"/>
                  </a:lnTo>
                  <a:cubicBezTo>
                    <a:pt x="175" y="439"/>
                    <a:pt x="175" y="439"/>
                    <a:pt x="175" y="439"/>
                  </a:cubicBezTo>
                  <a:cubicBezTo>
                    <a:pt x="175" y="508"/>
                    <a:pt x="195" y="566"/>
                    <a:pt x="233" y="611"/>
                  </a:cubicBezTo>
                  <a:cubicBezTo>
                    <a:pt x="275" y="655"/>
                    <a:pt x="331" y="675"/>
                    <a:pt x="406" y="675"/>
                  </a:cubicBezTo>
                  <a:cubicBezTo>
                    <a:pt x="439" y="675"/>
                    <a:pt x="470" y="669"/>
                    <a:pt x="500" y="658"/>
                  </a:cubicBezTo>
                  <a:cubicBezTo>
                    <a:pt x="528" y="644"/>
                    <a:pt x="553" y="627"/>
                    <a:pt x="572" y="602"/>
                  </a:cubicBezTo>
                  <a:cubicBezTo>
                    <a:pt x="595" y="580"/>
                    <a:pt x="611" y="555"/>
                    <a:pt x="622" y="525"/>
                  </a:cubicBezTo>
                  <a:cubicBezTo>
                    <a:pt x="633" y="494"/>
                    <a:pt x="639" y="461"/>
                    <a:pt x="639" y="427"/>
                  </a:cubicBezTo>
                  <a:cubicBezTo>
                    <a:pt x="639" y="0"/>
                    <a:pt x="639" y="0"/>
                    <a:pt x="639" y="0"/>
                  </a:cubicBezTo>
                  <a:cubicBezTo>
                    <a:pt x="814" y="0"/>
                    <a:pt x="814" y="0"/>
                    <a:pt x="814" y="0"/>
                  </a:cubicBezTo>
                  <a:cubicBezTo>
                    <a:pt x="814" y="825"/>
                    <a:pt x="814" y="825"/>
                    <a:pt x="814" y="825"/>
                  </a:cubicBezTo>
                  <a:cubicBezTo>
                    <a:pt x="656" y="825"/>
                    <a:pt x="656" y="825"/>
                    <a:pt x="656" y="825"/>
                  </a:cubicBezTo>
                  <a:cubicBezTo>
                    <a:pt x="645" y="702"/>
                    <a:pt x="645" y="702"/>
                    <a:pt x="645" y="702"/>
                  </a:cubicBezTo>
                  <a:cubicBezTo>
                    <a:pt x="603" y="750"/>
                    <a:pt x="561" y="783"/>
                    <a:pt x="514" y="805"/>
                  </a:cubicBezTo>
                  <a:cubicBezTo>
                    <a:pt x="467" y="825"/>
                    <a:pt x="414" y="836"/>
                    <a:pt x="356" y="836"/>
                  </a:cubicBezTo>
                  <a:cubicBezTo>
                    <a:pt x="303" y="836"/>
                    <a:pt x="256" y="827"/>
                    <a:pt x="211" y="811"/>
                  </a:cubicBezTo>
                  <a:cubicBezTo>
                    <a:pt x="170" y="791"/>
                    <a:pt x="131" y="766"/>
                    <a:pt x="100" y="733"/>
                  </a:cubicBezTo>
                  <a:cubicBezTo>
                    <a:pt x="70" y="700"/>
                    <a:pt x="45" y="658"/>
                    <a:pt x="25" y="608"/>
                  </a:cubicBezTo>
                  <a:cubicBezTo>
                    <a:pt x="8" y="561"/>
                    <a:pt x="0" y="505"/>
                    <a:pt x="0" y="441"/>
                  </a:cubicBezTo>
                  <a:cubicBezTo>
                    <a:pt x="0" y="0"/>
                    <a:pt x="0" y="0"/>
                    <a:pt x="0" y="0"/>
                  </a:cubicBezTo>
                  <a:lnTo>
                    <a:pt x="17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8" name="Freeform 3">
              <a:extLst>
                <a:ext uri="{FF2B5EF4-FFF2-40B4-BE49-F238E27FC236}">
                  <a16:creationId xmlns:a16="http://schemas.microsoft.com/office/drawing/2014/main" id="{72C02C22-A92E-6C43-A59E-5117D2C7729F}"/>
                </a:ext>
              </a:extLst>
            </p:cNvPr>
            <p:cNvSpPr>
              <a:spLocks noChangeArrowheads="1"/>
            </p:cNvSpPr>
            <p:nvPr userDrawn="1"/>
          </p:nvSpPr>
          <p:spPr bwMode="auto">
            <a:xfrm>
              <a:off x="2624138" y="3141663"/>
              <a:ext cx="268287" cy="314325"/>
            </a:xfrm>
            <a:custGeom>
              <a:avLst/>
              <a:gdLst>
                <a:gd name="T0" fmla="*/ 606 w 746"/>
                <a:gd name="T1" fmla="*/ 225 h 871"/>
                <a:gd name="T2" fmla="*/ 606 w 746"/>
                <a:gd name="T3" fmla="*/ 225 h 871"/>
                <a:gd name="T4" fmla="*/ 500 w 746"/>
                <a:gd name="T5" fmla="*/ 164 h 871"/>
                <a:gd name="T6" fmla="*/ 383 w 746"/>
                <a:gd name="T7" fmla="*/ 148 h 871"/>
                <a:gd name="T8" fmla="*/ 253 w 746"/>
                <a:gd name="T9" fmla="*/ 173 h 871"/>
                <a:gd name="T10" fmla="*/ 203 w 746"/>
                <a:gd name="T11" fmla="*/ 245 h 871"/>
                <a:gd name="T12" fmla="*/ 256 w 746"/>
                <a:gd name="T13" fmla="*/ 320 h 871"/>
                <a:gd name="T14" fmla="*/ 386 w 746"/>
                <a:gd name="T15" fmla="*/ 350 h 871"/>
                <a:gd name="T16" fmla="*/ 508 w 746"/>
                <a:gd name="T17" fmla="*/ 367 h 871"/>
                <a:gd name="T18" fmla="*/ 625 w 746"/>
                <a:gd name="T19" fmla="*/ 406 h 871"/>
                <a:gd name="T20" fmla="*/ 711 w 746"/>
                <a:gd name="T21" fmla="*/ 481 h 871"/>
                <a:gd name="T22" fmla="*/ 745 w 746"/>
                <a:gd name="T23" fmla="*/ 611 h 871"/>
                <a:gd name="T24" fmla="*/ 717 w 746"/>
                <a:gd name="T25" fmla="*/ 717 h 871"/>
                <a:gd name="T26" fmla="*/ 645 w 746"/>
                <a:gd name="T27" fmla="*/ 798 h 871"/>
                <a:gd name="T28" fmla="*/ 533 w 746"/>
                <a:gd name="T29" fmla="*/ 853 h 871"/>
                <a:gd name="T30" fmla="*/ 383 w 746"/>
                <a:gd name="T31" fmla="*/ 870 h 871"/>
                <a:gd name="T32" fmla="*/ 183 w 746"/>
                <a:gd name="T33" fmla="*/ 842 h 871"/>
                <a:gd name="T34" fmla="*/ 0 w 746"/>
                <a:gd name="T35" fmla="*/ 720 h 871"/>
                <a:gd name="T36" fmla="*/ 92 w 746"/>
                <a:gd name="T37" fmla="*/ 598 h 871"/>
                <a:gd name="T38" fmla="*/ 233 w 746"/>
                <a:gd name="T39" fmla="*/ 689 h 871"/>
                <a:gd name="T40" fmla="*/ 389 w 746"/>
                <a:gd name="T41" fmla="*/ 720 h 871"/>
                <a:gd name="T42" fmla="*/ 450 w 746"/>
                <a:gd name="T43" fmla="*/ 714 h 871"/>
                <a:gd name="T44" fmla="*/ 508 w 746"/>
                <a:gd name="T45" fmla="*/ 698 h 871"/>
                <a:gd name="T46" fmla="*/ 550 w 746"/>
                <a:gd name="T47" fmla="*/ 662 h 871"/>
                <a:gd name="T48" fmla="*/ 567 w 746"/>
                <a:gd name="T49" fmla="*/ 614 h 871"/>
                <a:gd name="T50" fmla="*/ 517 w 746"/>
                <a:gd name="T51" fmla="*/ 531 h 871"/>
                <a:gd name="T52" fmla="*/ 372 w 746"/>
                <a:gd name="T53" fmla="*/ 498 h 871"/>
                <a:gd name="T54" fmla="*/ 253 w 746"/>
                <a:gd name="T55" fmla="*/ 478 h 871"/>
                <a:gd name="T56" fmla="*/ 142 w 746"/>
                <a:gd name="T57" fmla="*/ 436 h 871"/>
                <a:gd name="T58" fmla="*/ 61 w 746"/>
                <a:gd name="T59" fmla="*/ 364 h 871"/>
                <a:gd name="T60" fmla="*/ 31 w 746"/>
                <a:gd name="T61" fmla="*/ 250 h 871"/>
                <a:gd name="T62" fmla="*/ 61 w 746"/>
                <a:gd name="T63" fmla="*/ 134 h 871"/>
                <a:gd name="T64" fmla="*/ 145 w 746"/>
                <a:gd name="T65" fmla="*/ 56 h 871"/>
                <a:gd name="T66" fmla="*/ 259 w 746"/>
                <a:gd name="T67" fmla="*/ 14 h 871"/>
                <a:gd name="T68" fmla="*/ 381 w 746"/>
                <a:gd name="T69" fmla="*/ 0 h 871"/>
                <a:gd name="T70" fmla="*/ 556 w 746"/>
                <a:gd name="T71" fmla="*/ 25 h 871"/>
                <a:gd name="T72" fmla="*/ 703 w 746"/>
                <a:gd name="T73" fmla="*/ 112 h 871"/>
                <a:gd name="T74" fmla="*/ 606 w 746"/>
                <a:gd name="T75" fmla="*/ 225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6" h="871">
                  <a:moveTo>
                    <a:pt x="606" y="225"/>
                  </a:moveTo>
                  <a:lnTo>
                    <a:pt x="606" y="225"/>
                  </a:lnTo>
                  <a:cubicBezTo>
                    <a:pt x="572" y="195"/>
                    <a:pt x="536" y="173"/>
                    <a:pt x="500" y="164"/>
                  </a:cubicBezTo>
                  <a:cubicBezTo>
                    <a:pt x="464" y="153"/>
                    <a:pt x="425" y="148"/>
                    <a:pt x="383" y="148"/>
                  </a:cubicBezTo>
                  <a:cubicBezTo>
                    <a:pt x="328" y="148"/>
                    <a:pt x="286" y="153"/>
                    <a:pt x="253" y="173"/>
                  </a:cubicBezTo>
                  <a:cubicBezTo>
                    <a:pt x="220" y="189"/>
                    <a:pt x="203" y="214"/>
                    <a:pt x="203" y="245"/>
                  </a:cubicBezTo>
                  <a:cubicBezTo>
                    <a:pt x="206" y="281"/>
                    <a:pt x="222" y="306"/>
                    <a:pt x="256" y="320"/>
                  </a:cubicBezTo>
                  <a:cubicBezTo>
                    <a:pt x="289" y="336"/>
                    <a:pt x="331" y="345"/>
                    <a:pt x="386" y="350"/>
                  </a:cubicBezTo>
                  <a:cubicBezTo>
                    <a:pt x="425" y="356"/>
                    <a:pt x="467" y="359"/>
                    <a:pt x="508" y="367"/>
                  </a:cubicBezTo>
                  <a:cubicBezTo>
                    <a:pt x="550" y="375"/>
                    <a:pt x="589" y="387"/>
                    <a:pt x="625" y="406"/>
                  </a:cubicBezTo>
                  <a:cubicBezTo>
                    <a:pt x="658" y="425"/>
                    <a:pt x="689" y="450"/>
                    <a:pt x="711" y="481"/>
                  </a:cubicBezTo>
                  <a:cubicBezTo>
                    <a:pt x="733" y="514"/>
                    <a:pt x="745" y="556"/>
                    <a:pt x="745" y="611"/>
                  </a:cubicBezTo>
                  <a:cubicBezTo>
                    <a:pt x="745" y="650"/>
                    <a:pt x="736" y="684"/>
                    <a:pt x="717" y="717"/>
                  </a:cubicBezTo>
                  <a:cubicBezTo>
                    <a:pt x="700" y="748"/>
                    <a:pt x="675" y="775"/>
                    <a:pt x="645" y="798"/>
                  </a:cubicBezTo>
                  <a:cubicBezTo>
                    <a:pt x="614" y="823"/>
                    <a:pt x="575" y="839"/>
                    <a:pt x="533" y="853"/>
                  </a:cubicBezTo>
                  <a:cubicBezTo>
                    <a:pt x="489" y="864"/>
                    <a:pt x="439" y="870"/>
                    <a:pt x="383" y="870"/>
                  </a:cubicBezTo>
                  <a:cubicBezTo>
                    <a:pt x="317" y="870"/>
                    <a:pt x="250" y="862"/>
                    <a:pt x="183" y="842"/>
                  </a:cubicBezTo>
                  <a:cubicBezTo>
                    <a:pt x="117" y="820"/>
                    <a:pt x="56" y="781"/>
                    <a:pt x="0" y="720"/>
                  </a:cubicBezTo>
                  <a:cubicBezTo>
                    <a:pt x="92" y="598"/>
                    <a:pt x="92" y="598"/>
                    <a:pt x="92" y="598"/>
                  </a:cubicBezTo>
                  <a:cubicBezTo>
                    <a:pt x="133" y="639"/>
                    <a:pt x="181" y="673"/>
                    <a:pt x="233" y="689"/>
                  </a:cubicBezTo>
                  <a:cubicBezTo>
                    <a:pt x="286" y="709"/>
                    <a:pt x="339" y="720"/>
                    <a:pt x="389" y="720"/>
                  </a:cubicBezTo>
                  <a:cubicBezTo>
                    <a:pt x="408" y="720"/>
                    <a:pt x="431" y="720"/>
                    <a:pt x="450" y="714"/>
                  </a:cubicBezTo>
                  <a:cubicBezTo>
                    <a:pt x="472" y="711"/>
                    <a:pt x="492" y="706"/>
                    <a:pt x="508" y="698"/>
                  </a:cubicBezTo>
                  <a:cubicBezTo>
                    <a:pt x="525" y="686"/>
                    <a:pt x="539" y="675"/>
                    <a:pt x="550" y="662"/>
                  </a:cubicBezTo>
                  <a:cubicBezTo>
                    <a:pt x="561" y="648"/>
                    <a:pt x="567" y="631"/>
                    <a:pt x="567" y="614"/>
                  </a:cubicBezTo>
                  <a:cubicBezTo>
                    <a:pt x="570" y="575"/>
                    <a:pt x="553" y="548"/>
                    <a:pt x="517" y="531"/>
                  </a:cubicBezTo>
                  <a:cubicBezTo>
                    <a:pt x="483" y="514"/>
                    <a:pt x="436" y="503"/>
                    <a:pt x="372" y="498"/>
                  </a:cubicBezTo>
                  <a:cubicBezTo>
                    <a:pt x="333" y="495"/>
                    <a:pt x="292" y="489"/>
                    <a:pt x="253" y="478"/>
                  </a:cubicBezTo>
                  <a:cubicBezTo>
                    <a:pt x="211" y="470"/>
                    <a:pt x="175" y="456"/>
                    <a:pt x="142" y="436"/>
                  </a:cubicBezTo>
                  <a:cubicBezTo>
                    <a:pt x="108" y="420"/>
                    <a:pt x="84" y="395"/>
                    <a:pt x="61" y="364"/>
                  </a:cubicBezTo>
                  <a:cubicBezTo>
                    <a:pt x="39" y="334"/>
                    <a:pt x="31" y="298"/>
                    <a:pt x="31" y="250"/>
                  </a:cubicBezTo>
                  <a:cubicBezTo>
                    <a:pt x="31" y="206"/>
                    <a:pt x="42" y="167"/>
                    <a:pt x="61" y="134"/>
                  </a:cubicBezTo>
                  <a:cubicBezTo>
                    <a:pt x="84" y="103"/>
                    <a:pt x="111" y="78"/>
                    <a:pt x="145" y="56"/>
                  </a:cubicBezTo>
                  <a:cubicBezTo>
                    <a:pt x="181" y="37"/>
                    <a:pt x="217" y="23"/>
                    <a:pt x="259" y="14"/>
                  </a:cubicBezTo>
                  <a:cubicBezTo>
                    <a:pt x="300" y="6"/>
                    <a:pt x="339" y="0"/>
                    <a:pt x="381" y="0"/>
                  </a:cubicBezTo>
                  <a:cubicBezTo>
                    <a:pt x="445" y="0"/>
                    <a:pt x="503" y="9"/>
                    <a:pt x="556" y="25"/>
                  </a:cubicBezTo>
                  <a:cubicBezTo>
                    <a:pt x="606" y="42"/>
                    <a:pt x="656" y="70"/>
                    <a:pt x="703" y="112"/>
                  </a:cubicBezTo>
                  <a:lnTo>
                    <a:pt x="606" y="22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9" name="Freeform 4">
              <a:extLst>
                <a:ext uri="{FF2B5EF4-FFF2-40B4-BE49-F238E27FC236}">
                  <a16:creationId xmlns:a16="http://schemas.microsoft.com/office/drawing/2014/main" id="{A2476855-E5FA-3743-A47B-CAA96759C72F}"/>
                </a:ext>
              </a:extLst>
            </p:cNvPr>
            <p:cNvSpPr>
              <a:spLocks noChangeArrowheads="1"/>
            </p:cNvSpPr>
            <p:nvPr userDrawn="1"/>
          </p:nvSpPr>
          <p:spPr bwMode="auto">
            <a:xfrm>
              <a:off x="2928938" y="3063875"/>
              <a:ext cx="223837" cy="387350"/>
            </a:xfrm>
            <a:custGeom>
              <a:avLst/>
              <a:gdLst>
                <a:gd name="T0" fmla="*/ 342 w 621"/>
                <a:gd name="T1" fmla="*/ 0 h 1076"/>
                <a:gd name="T2" fmla="*/ 342 w 621"/>
                <a:gd name="T3" fmla="*/ 0 h 1076"/>
                <a:gd name="T4" fmla="*/ 342 w 621"/>
                <a:gd name="T5" fmla="*/ 239 h 1076"/>
                <a:gd name="T6" fmla="*/ 586 w 621"/>
                <a:gd name="T7" fmla="*/ 239 h 1076"/>
                <a:gd name="T8" fmla="*/ 586 w 621"/>
                <a:gd name="T9" fmla="*/ 391 h 1076"/>
                <a:gd name="T10" fmla="*/ 339 w 621"/>
                <a:gd name="T11" fmla="*/ 391 h 1076"/>
                <a:gd name="T12" fmla="*/ 339 w 621"/>
                <a:gd name="T13" fmla="*/ 780 h 1076"/>
                <a:gd name="T14" fmla="*/ 369 w 621"/>
                <a:gd name="T15" fmla="*/ 880 h 1076"/>
                <a:gd name="T16" fmla="*/ 461 w 621"/>
                <a:gd name="T17" fmla="*/ 916 h 1076"/>
                <a:gd name="T18" fmla="*/ 514 w 621"/>
                <a:gd name="T19" fmla="*/ 908 h 1076"/>
                <a:gd name="T20" fmla="*/ 567 w 621"/>
                <a:gd name="T21" fmla="*/ 889 h 1076"/>
                <a:gd name="T22" fmla="*/ 620 w 621"/>
                <a:gd name="T23" fmla="*/ 1036 h 1076"/>
                <a:gd name="T24" fmla="*/ 533 w 621"/>
                <a:gd name="T25" fmla="*/ 1064 h 1076"/>
                <a:gd name="T26" fmla="*/ 450 w 621"/>
                <a:gd name="T27" fmla="*/ 1072 h 1076"/>
                <a:gd name="T28" fmla="*/ 236 w 621"/>
                <a:gd name="T29" fmla="*/ 1002 h 1076"/>
                <a:gd name="T30" fmla="*/ 164 w 621"/>
                <a:gd name="T31" fmla="*/ 783 h 1076"/>
                <a:gd name="T32" fmla="*/ 164 w 621"/>
                <a:gd name="T33" fmla="*/ 391 h 1076"/>
                <a:gd name="T34" fmla="*/ 0 w 621"/>
                <a:gd name="T35" fmla="*/ 391 h 1076"/>
                <a:gd name="T36" fmla="*/ 0 w 621"/>
                <a:gd name="T37" fmla="*/ 239 h 1076"/>
                <a:gd name="T38" fmla="*/ 164 w 621"/>
                <a:gd name="T39" fmla="*/ 239 h 1076"/>
                <a:gd name="T40" fmla="*/ 164 w 621"/>
                <a:gd name="T41" fmla="*/ 19 h 1076"/>
                <a:gd name="T42" fmla="*/ 342 w 621"/>
                <a:gd name="T43" fmla="*/ 0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1" h="1076">
                  <a:moveTo>
                    <a:pt x="342" y="0"/>
                  </a:moveTo>
                  <a:lnTo>
                    <a:pt x="342" y="0"/>
                  </a:lnTo>
                  <a:cubicBezTo>
                    <a:pt x="342" y="239"/>
                    <a:pt x="342" y="239"/>
                    <a:pt x="342" y="239"/>
                  </a:cubicBezTo>
                  <a:cubicBezTo>
                    <a:pt x="586" y="239"/>
                    <a:pt x="586" y="239"/>
                    <a:pt x="586" y="239"/>
                  </a:cubicBezTo>
                  <a:cubicBezTo>
                    <a:pt x="586" y="391"/>
                    <a:pt x="586" y="391"/>
                    <a:pt x="586" y="391"/>
                  </a:cubicBezTo>
                  <a:cubicBezTo>
                    <a:pt x="339" y="391"/>
                    <a:pt x="339" y="391"/>
                    <a:pt x="339" y="391"/>
                  </a:cubicBezTo>
                  <a:cubicBezTo>
                    <a:pt x="339" y="780"/>
                    <a:pt x="339" y="780"/>
                    <a:pt x="339" y="780"/>
                  </a:cubicBezTo>
                  <a:cubicBezTo>
                    <a:pt x="339" y="825"/>
                    <a:pt x="350" y="858"/>
                    <a:pt x="369" y="880"/>
                  </a:cubicBezTo>
                  <a:cubicBezTo>
                    <a:pt x="389" y="905"/>
                    <a:pt x="420" y="916"/>
                    <a:pt x="461" y="916"/>
                  </a:cubicBezTo>
                  <a:cubicBezTo>
                    <a:pt x="478" y="916"/>
                    <a:pt x="494" y="914"/>
                    <a:pt x="514" y="908"/>
                  </a:cubicBezTo>
                  <a:cubicBezTo>
                    <a:pt x="533" y="905"/>
                    <a:pt x="550" y="897"/>
                    <a:pt x="567" y="889"/>
                  </a:cubicBezTo>
                  <a:cubicBezTo>
                    <a:pt x="620" y="1036"/>
                    <a:pt x="620" y="1036"/>
                    <a:pt x="620" y="1036"/>
                  </a:cubicBezTo>
                  <a:cubicBezTo>
                    <a:pt x="589" y="1047"/>
                    <a:pt x="561" y="1058"/>
                    <a:pt x="533" y="1064"/>
                  </a:cubicBezTo>
                  <a:cubicBezTo>
                    <a:pt x="508" y="1069"/>
                    <a:pt x="481" y="1072"/>
                    <a:pt x="450" y="1072"/>
                  </a:cubicBezTo>
                  <a:cubicBezTo>
                    <a:pt x="358" y="1075"/>
                    <a:pt x="286" y="1050"/>
                    <a:pt x="236" y="1002"/>
                  </a:cubicBezTo>
                  <a:cubicBezTo>
                    <a:pt x="189" y="952"/>
                    <a:pt x="164" y="880"/>
                    <a:pt x="164" y="783"/>
                  </a:cubicBezTo>
                  <a:cubicBezTo>
                    <a:pt x="164" y="391"/>
                    <a:pt x="164" y="391"/>
                    <a:pt x="164" y="391"/>
                  </a:cubicBezTo>
                  <a:cubicBezTo>
                    <a:pt x="0" y="391"/>
                    <a:pt x="0" y="391"/>
                    <a:pt x="0" y="391"/>
                  </a:cubicBezTo>
                  <a:cubicBezTo>
                    <a:pt x="0" y="239"/>
                    <a:pt x="0" y="239"/>
                    <a:pt x="0" y="239"/>
                  </a:cubicBezTo>
                  <a:cubicBezTo>
                    <a:pt x="164" y="239"/>
                    <a:pt x="164" y="239"/>
                    <a:pt x="164" y="239"/>
                  </a:cubicBezTo>
                  <a:cubicBezTo>
                    <a:pt x="164" y="19"/>
                    <a:pt x="164" y="19"/>
                    <a:pt x="164" y="19"/>
                  </a:cubicBezTo>
                  <a:lnTo>
                    <a:pt x="34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0" name="Freeform 5">
              <a:extLst>
                <a:ext uri="{FF2B5EF4-FFF2-40B4-BE49-F238E27FC236}">
                  <a16:creationId xmlns:a16="http://schemas.microsoft.com/office/drawing/2014/main" id="{B4AA53F8-FEBE-8D46-8D67-2877A270F938}"/>
                </a:ext>
              </a:extLst>
            </p:cNvPr>
            <p:cNvSpPr>
              <a:spLocks noChangeArrowheads="1"/>
            </p:cNvSpPr>
            <p:nvPr userDrawn="1"/>
          </p:nvSpPr>
          <p:spPr bwMode="auto">
            <a:xfrm>
              <a:off x="3186113" y="3143250"/>
              <a:ext cx="314325" cy="307975"/>
            </a:xfrm>
            <a:custGeom>
              <a:avLst/>
              <a:gdLst>
                <a:gd name="T0" fmla="*/ 433 w 873"/>
                <a:gd name="T1" fmla="*/ 0 h 857"/>
                <a:gd name="T2" fmla="*/ 433 w 873"/>
                <a:gd name="T3" fmla="*/ 0 h 857"/>
                <a:gd name="T4" fmla="*/ 611 w 873"/>
                <a:gd name="T5" fmla="*/ 33 h 857"/>
                <a:gd name="T6" fmla="*/ 750 w 873"/>
                <a:gd name="T7" fmla="*/ 125 h 857"/>
                <a:gd name="T8" fmla="*/ 839 w 873"/>
                <a:gd name="T9" fmla="*/ 261 h 857"/>
                <a:gd name="T10" fmla="*/ 872 w 873"/>
                <a:gd name="T11" fmla="*/ 428 h 857"/>
                <a:gd name="T12" fmla="*/ 839 w 873"/>
                <a:gd name="T13" fmla="*/ 597 h 857"/>
                <a:gd name="T14" fmla="*/ 753 w 873"/>
                <a:gd name="T15" fmla="*/ 733 h 857"/>
                <a:gd name="T16" fmla="*/ 614 w 873"/>
                <a:gd name="T17" fmla="*/ 825 h 857"/>
                <a:gd name="T18" fmla="*/ 433 w 873"/>
                <a:gd name="T19" fmla="*/ 856 h 857"/>
                <a:gd name="T20" fmla="*/ 256 w 873"/>
                <a:gd name="T21" fmla="*/ 825 h 857"/>
                <a:gd name="T22" fmla="*/ 117 w 873"/>
                <a:gd name="T23" fmla="*/ 733 h 857"/>
                <a:gd name="T24" fmla="*/ 31 w 873"/>
                <a:gd name="T25" fmla="*/ 597 h 857"/>
                <a:gd name="T26" fmla="*/ 0 w 873"/>
                <a:gd name="T27" fmla="*/ 428 h 857"/>
                <a:gd name="T28" fmla="*/ 31 w 873"/>
                <a:gd name="T29" fmla="*/ 261 h 857"/>
                <a:gd name="T30" fmla="*/ 120 w 873"/>
                <a:gd name="T31" fmla="*/ 125 h 857"/>
                <a:gd name="T32" fmla="*/ 256 w 873"/>
                <a:gd name="T33" fmla="*/ 33 h 857"/>
                <a:gd name="T34" fmla="*/ 433 w 873"/>
                <a:gd name="T35" fmla="*/ 0 h 857"/>
                <a:gd name="T36" fmla="*/ 433 w 873"/>
                <a:gd name="T37" fmla="*/ 161 h 857"/>
                <a:gd name="T38" fmla="*/ 433 w 873"/>
                <a:gd name="T39" fmla="*/ 161 h 857"/>
                <a:gd name="T40" fmla="*/ 325 w 873"/>
                <a:gd name="T41" fmla="*/ 181 h 857"/>
                <a:gd name="T42" fmla="*/ 245 w 873"/>
                <a:gd name="T43" fmla="*/ 242 h 857"/>
                <a:gd name="T44" fmla="*/ 195 w 873"/>
                <a:gd name="T45" fmla="*/ 328 h 857"/>
                <a:gd name="T46" fmla="*/ 175 w 873"/>
                <a:gd name="T47" fmla="*/ 430 h 857"/>
                <a:gd name="T48" fmla="*/ 195 w 873"/>
                <a:gd name="T49" fmla="*/ 533 h 857"/>
                <a:gd name="T50" fmla="*/ 245 w 873"/>
                <a:gd name="T51" fmla="*/ 617 h 857"/>
                <a:gd name="T52" fmla="*/ 325 w 873"/>
                <a:gd name="T53" fmla="*/ 675 h 857"/>
                <a:gd name="T54" fmla="*/ 433 w 873"/>
                <a:gd name="T55" fmla="*/ 697 h 857"/>
                <a:gd name="T56" fmla="*/ 542 w 873"/>
                <a:gd name="T57" fmla="*/ 675 h 857"/>
                <a:gd name="T58" fmla="*/ 625 w 873"/>
                <a:gd name="T59" fmla="*/ 617 h 857"/>
                <a:gd name="T60" fmla="*/ 675 w 873"/>
                <a:gd name="T61" fmla="*/ 533 h 857"/>
                <a:gd name="T62" fmla="*/ 694 w 873"/>
                <a:gd name="T63" fmla="*/ 430 h 857"/>
                <a:gd name="T64" fmla="*/ 675 w 873"/>
                <a:gd name="T65" fmla="*/ 328 h 857"/>
                <a:gd name="T66" fmla="*/ 622 w 873"/>
                <a:gd name="T67" fmla="*/ 242 h 857"/>
                <a:gd name="T68" fmla="*/ 539 w 873"/>
                <a:gd name="T69" fmla="*/ 181 h 857"/>
                <a:gd name="T70" fmla="*/ 433 w 873"/>
                <a:gd name="T71" fmla="*/ 161 h 857"/>
                <a:gd name="T72" fmla="*/ 433 w 873"/>
                <a:gd name="T73"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57">
                  <a:moveTo>
                    <a:pt x="433" y="0"/>
                  </a:moveTo>
                  <a:lnTo>
                    <a:pt x="433" y="0"/>
                  </a:lnTo>
                  <a:cubicBezTo>
                    <a:pt x="500" y="0"/>
                    <a:pt x="558" y="11"/>
                    <a:pt x="611" y="33"/>
                  </a:cubicBezTo>
                  <a:cubicBezTo>
                    <a:pt x="664" y="56"/>
                    <a:pt x="711" y="86"/>
                    <a:pt x="750" y="125"/>
                  </a:cubicBezTo>
                  <a:cubicBezTo>
                    <a:pt x="789" y="161"/>
                    <a:pt x="820" y="208"/>
                    <a:pt x="839" y="261"/>
                  </a:cubicBezTo>
                  <a:cubicBezTo>
                    <a:pt x="861" y="314"/>
                    <a:pt x="872" y="369"/>
                    <a:pt x="872" y="428"/>
                  </a:cubicBezTo>
                  <a:cubicBezTo>
                    <a:pt x="872" y="489"/>
                    <a:pt x="861" y="547"/>
                    <a:pt x="839" y="597"/>
                  </a:cubicBezTo>
                  <a:cubicBezTo>
                    <a:pt x="820" y="650"/>
                    <a:pt x="792" y="694"/>
                    <a:pt x="753" y="733"/>
                  </a:cubicBezTo>
                  <a:cubicBezTo>
                    <a:pt x="714" y="772"/>
                    <a:pt x="667" y="803"/>
                    <a:pt x="614" y="825"/>
                  </a:cubicBezTo>
                  <a:cubicBezTo>
                    <a:pt x="561" y="847"/>
                    <a:pt x="500" y="856"/>
                    <a:pt x="433" y="856"/>
                  </a:cubicBezTo>
                  <a:cubicBezTo>
                    <a:pt x="367" y="856"/>
                    <a:pt x="308" y="847"/>
                    <a:pt x="256" y="825"/>
                  </a:cubicBezTo>
                  <a:cubicBezTo>
                    <a:pt x="200" y="803"/>
                    <a:pt x="156" y="772"/>
                    <a:pt x="117" y="733"/>
                  </a:cubicBezTo>
                  <a:cubicBezTo>
                    <a:pt x="81" y="694"/>
                    <a:pt x="50" y="650"/>
                    <a:pt x="31" y="597"/>
                  </a:cubicBezTo>
                  <a:cubicBezTo>
                    <a:pt x="11" y="547"/>
                    <a:pt x="0" y="489"/>
                    <a:pt x="0" y="428"/>
                  </a:cubicBezTo>
                  <a:cubicBezTo>
                    <a:pt x="0" y="369"/>
                    <a:pt x="11" y="314"/>
                    <a:pt x="31" y="261"/>
                  </a:cubicBezTo>
                  <a:cubicBezTo>
                    <a:pt x="50" y="208"/>
                    <a:pt x="81" y="161"/>
                    <a:pt x="120" y="125"/>
                  </a:cubicBezTo>
                  <a:cubicBezTo>
                    <a:pt x="156" y="86"/>
                    <a:pt x="203" y="56"/>
                    <a:pt x="256" y="33"/>
                  </a:cubicBezTo>
                  <a:cubicBezTo>
                    <a:pt x="308" y="11"/>
                    <a:pt x="370" y="0"/>
                    <a:pt x="433" y="0"/>
                  </a:cubicBezTo>
                  <a:lnTo>
                    <a:pt x="433" y="161"/>
                  </a:lnTo>
                  <a:lnTo>
                    <a:pt x="433" y="161"/>
                  </a:lnTo>
                  <a:cubicBezTo>
                    <a:pt x="394" y="161"/>
                    <a:pt x="358" y="167"/>
                    <a:pt x="325" y="181"/>
                  </a:cubicBezTo>
                  <a:cubicBezTo>
                    <a:pt x="295" y="197"/>
                    <a:pt x="267" y="217"/>
                    <a:pt x="245" y="242"/>
                  </a:cubicBezTo>
                  <a:cubicBezTo>
                    <a:pt x="222" y="267"/>
                    <a:pt x="206" y="294"/>
                    <a:pt x="195" y="328"/>
                  </a:cubicBezTo>
                  <a:cubicBezTo>
                    <a:pt x="181" y="358"/>
                    <a:pt x="175" y="394"/>
                    <a:pt x="175" y="430"/>
                  </a:cubicBezTo>
                  <a:cubicBezTo>
                    <a:pt x="175" y="467"/>
                    <a:pt x="181" y="500"/>
                    <a:pt x="195" y="533"/>
                  </a:cubicBezTo>
                  <a:cubicBezTo>
                    <a:pt x="206" y="567"/>
                    <a:pt x="222" y="594"/>
                    <a:pt x="245" y="617"/>
                  </a:cubicBezTo>
                  <a:cubicBezTo>
                    <a:pt x="267" y="642"/>
                    <a:pt x="295" y="661"/>
                    <a:pt x="325" y="675"/>
                  </a:cubicBezTo>
                  <a:cubicBezTo>
                    <a:pt x="358" y="689"/>
                    <a:pt x="394" y="697"/>
                    <a:pt x="433" y="697"/>
                  </a:cubicBezTo>
                  <a:cubicBezTo>
                    <a:pt x="475" y="697"/>
                    <a:pt x="511" y="689"/>
                    <a:pt x="542" y="675"/>
                  </a:cubicBezTo>
                  <a:cubicBezTo>
                    <a:pt x="575" y="661"/>
                    <a:pt x="603" y="642"/>
                    <a:pt x="625" y="617"/>
                  </a:cubicBezTo>
                  <a:cubicBezTo>
                    <a:pt x="647" y="594"/>
                    <a:pt x="664" y="567"/>
                    <a:pt x="675" y="533"/>
                  </a:cubicBezTo>
                  <a:cubicBezTo>
                    <a:pt x="686" y="500"/>
                    <a:pt x="694" y="467"/>
                    <a:pt x="694" y="430"/>
                  </a:cubicBezTo>
                  <a:cubicBezTo>
                    <a:pt x="694" y="394"/>
                    <a:pt x="686" y="358"/>
                    <a:pt x="675" y="328"/>
                  </a:cubicBezTo>
                  <a:cubicBezTo>
                    <a:pt x="661" y="294"/>
                    <a:pt x="645" y="267"/>
                    <a:pt x="622" y="242"/>
                  </a:cubicBezTo>
                  <a:cubicBezTo>
                    <a:pt x="600" y="217"/>
                    <a:pt x="572" y="197"/>
                    <a:pt x="539" y="181"/>
                  </a:cubicBezTo>
                  <a:cubicBezTo>
                    <a:pt x="508" y="167"/>
                    <a:pt x="472" y="161"/>
                    <a:pt x="433" y="161"/>
                  </a:cubicBezTo>
                  <a:lnTo>
                    <a:pt x="4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1" name="Freeform 6">
              <a:extLst>
                <a:ext uri="{FF2B5EF4-FFF2-40B4-BE49-F238E27FC236}">
                  <a16:creationId xmlns:a16="http://schemas.microsoft.com/office/drawing/2014/main" id="{51070FE7-71BC-6B45-BDDE-48F0B544F7ED}"/>
                </a:ext>
              </a:extLst>
            </p:cNvPr>
            <p:cNvSpPr>
              <a:spLocks noChangeArrowheads="1"/>
            </p:cNvSpPr>
            <p:nvPr userDrawn="1"/>
          </p:nvSpPr>
          <p:spPr bwMode="auto">
            <a:xfrm>
              <a:off x="3567113" y="3143250"/>
              <a:ext cx="476250" cy="301625"/>
            </a:xfrm>
            <a:custGeom>
              <a:avLst/>
              <a:gdLst>
                <a:gd name="T0" fmla="*/ 575 w 1321"/>
                <a:gd name="T1" fmla="*/ 839 h 840"/>
                <a:gd name="T2" fmla="*/ 575 w 1321"/>
                <a:gd name="T3" fmla="*/ 839 h 840"/>
                <a:gd name="T4" fmla="*/ 575 w 1321"/>
                <a:gd name="T5" fmla="*/ 386 h 840"/>
                <a:gd name="T6" fmla="*/ 561 w 1321"/>
                <a:gd name="T7" fmla="*/ 300 h 840"/>
                <a:gd name="T8" fmla="*/ 523 w 1321"/>
                <a:gd name="T9" fmla="*/ 228 h 840"/>
                <a:gd name="T10" fmla="*/ 461 w 1321"/>
                <a:gd name="T11" fmla="*/ 181 h 840"/>
                <a:gd name="T12" fmla="*/ 378 w 1321"/>
                <a:gd name="T13" fmla="*/ 161 h 840"/>
                <a:gd name="T14" fmla="*/ 295 w 1321"/>
                <a:gd name="T15" fmla="*/ 181 h 840"/>
                <a:gd name="T16" fmla="*/ 231 w 1321"/>
                <a:gd name="T17" fmla="*/ 228 h 840"/>
                <a:gd name="T18" fmla="*/ 189 w 1321"/>
                <a:gd name="T19" fmla="*/ 300 h 840"/>
                <a:gd name="T20" fmla="*/ 175 w 1321"/>
                <a:gd name="T21" fmla="*/ 386 h 840"/>
                <a:gd name="T22" fmla="*/ 175 w 1321"/>
                <a:gd name="T23" fmla="*/ 839 h 840"/>
                <a:gd name="T24" fmla="*/ 0 w 1321"/>
                <a:gd name="T25" fmla="*/ 839 h 840"/>
                <a:gd name="T26" fmla="*/ 0 w 1321"/>
                <a:gd name="T27" fmla="*/ 14 h 840"/>
                <a:gd name="T28" fmla="*/ 164 w 1321"/>
                <a:gd name="T29" fmla="*/ 14 h 840"/>
                <a:gd name="T30" fmla="*/ 175 w 1321"/>
                <a:gd name="T31" fmla="*/ 125 h 840"/>
                <a:gd name="T32" fmla="*/ 278 w 1321"/>
                <a:gd name="T33" fmla="*/ 28 h 840"/>
                <a:gd name="T34" fmla="*/ 411 w 1321"/>
                <a:gd name="T35" fmla="*/ 0 h 840"/>
                <a:gd name="T36" fmla="*/ 492 w 1321"/>
                <a:gd name="T37" fmla="*/ 8 h 840"/>
                <a:gd name="T38" fmla="*/ 564 w 1321"/>
                <a:gd name="T39" fmla="*/ 39 h 840"/>
                <a:gd name="T40" fmla="*/ 628 w 1321"/>
                <a:gd name="T41" fmla="*/ 89 h 840"/>
                <a:gd name="T42" fmla="*/ 675 w 1321"/>
                <a:gd name="T43" fmla="*/ 167 h 840"/>
                <a:gd name="T44" fmla="*/ 800 w 1321"/>
                <a:gd name="T45" fmla="*/ 39 h 840"/>
                <a:gd name="T46" fmla="*/ 964 w 1321"/>
                <a:gd name="T47" fmla="*/ 3 h 840"/>
                <a:gd name="T48" fmla="*/ 1231 w 1321"/>
                <a:gd name="T49" fmla="*/ 103 h 840"/>
                <a:gd name="T50" fmla="*/ 1320 w 1321"/>
                <a:gd name="T51" fmla="*/ 383 h 840"/>
                <a:gd name="T52" fmla="*/ 1320 w 1321"/>
                <a:gd name="T53" fmla="*/ 839 h 840"/>
                <a:gd name="T54" fmla="*/ 1142 w 1321"/>
                <a:gd name="T55" fmla="*/ 839 h 840"/>
                <a:gd name="T56" fmla="*/ 1142 w 1321"/>
                <a:gd name="T57" fmla="*/ 383 h 840"/>
                <a:gd name="T58" fmla="*/ 1131 w 1321"/>
                <a:gd name="T59" fmla="*/ 297 h 840"/>
                <a:gd name="T60" fmla="*/ 1095 w 1321"/>
                <a:gd name="T61" fmla="*/ 228 h 840"/>
                <a:gd name="T62" fmla="*/ 1039 w 1321"/>
                <a:gd name="T63" fmla="*/ 181 h 840"/>
                <a:gd name="T64" fmla="*/ 956 w 1321"/>
                <a:gd name="T65" fmla="*/ 164 h 840"/>
                <a:gd name="T66" fmla="*/ 873 w 1321"/>
                <a:gd name="T67" fmla="*/ 181 h 840"/>
                <a:gd name="T68" fmla="*/ 809 w 1321"/>
                <a:gd name="T69" fmla="*/ 228 h 840"/>
                <a:gd name="T70" fmla="*/ 767 w 1321"/>
                <a:gd name="T71" fmla="*/ 300 h 840"/>
                <a:gd name="T72" fmla="*/ 753 w 1321"/>
                <a:gd name="T73" fmla="*/ 386 h 840"/>
                <a:gd name="T74" fmla="*/ 753 w 1321"/>
                <a:gd name="T75" fmla="*/ 839 h 840"/>
                <a:gd name="T76" fmla="*/ 575 w 1321"/>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1" h="840">
                  <a:moveTo>
                    <a:pt x="575" y="839"/>
                  </a:moveTo>
                  <a:lnTo>
                    <a:pt x="575" y="839"/>
                  </a:lnTo>
                  <a:cubicBezTo>
                    <a:pt x="575" y="386"/>
                    <a:pt x="575" y="386"/>
                    <a:pt x="575" y="386"/>
                  </a:cubicBezTo>
                  <a:cubicBezTo>
                    <a:pt x="575" y="356"/>
                    <a:pt x="570" y="328"/>
                    <a:pt x="561" y="300"/>
                  </a:cubicBezTo>
                  <a:cubicBezTo>
                    <a:pt x="553" y="272"/>
                    <a:pt x="539" y="247"/>
                    <a:pt x="523" y="228"/>
                  </a:cubicBezTo>
                  <a:cubicBezTo>
                    <a:pt x="506" y="208"/>
                    <a:pt x="486" y="192"/>
                    <a:pt x="461" y="181"/>
                  </a:cubicBezTo>
                  <a:cubicBezTo>
                    <a:pt x="436" y="167"/>
                    <a:pt x="409" y="161"/>
                    <a:pt x="378" y="161"/>
                  </a:cubicBezTo>
                  <a:cubicBezTo>
                    <a:pt x="348" y="161"/>
                    <a:pt x="320" y="167"/>
                    <a:pt x="295" y="181"/>
                  </a:cubicBezTo>
                  <a:cubicBezTo>
                    <a:pt x="270" y="192"/>
                    <a:pt x="248" y="208"/>
                    <a:pt x="231" y="228"/>
                  </a:cubicBezTo>
                  <a:cubicBezTo>
                    <a:pt x="211" y="247"/>
                    <a:pt x="200" y="272"/>
                    <a:pt x="189" y="300"/>
                  </a:cubicBezTo>
                  <a:cubicBezTo>
                    <a:pt x="181" y="328"/>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198" y="78"/>
                    <a:pt x="234" y="47"/>
                    <a:pt x="278" y="28"/>
                  </a:cubicBezTo>
                  <a:cubicBezTo>
                    <a:pt x="323" y="11"/>
                    <a:pt x="367" y="0"/>
                    <a:pt x="411" y="0"/>
                  </a:cubicBezTo>
                  <a:cubicBezTo>
                    <a:pt x="439" y="0"/>
                    <a:pt x="464" y="3"/>
                    <a:pt x="492" y="8"/>
                  </a:cubicBezTo>
                  <a:cubicBezTo>
                    <a:pt x="517" y="14"/>
                    <a:pt x="542" y="25"/>
                    <a:pt x="564" y="39"/>
                  </a:cubicBezTo>
                  <a:cubicBezTo>
                    <a:pt x="589" y="50"/>
                    <a:pt x="609" y="69"/>
                    <a:pt x="628" y="89"/>
                  </a:cubicBezTo>
                  <a:cubicBezTo>
                    <a:pt x="647" y="111"/>
                    <a:pt x="661" y="136"/>
                    <a:pt x="675" y="167"/>
                  </a:cubicBezTo>
                  <a:cubicBezTo>
                    <a:pt x="709" y="106"/>
                    <a:pt x="750" y="64"/>
                    <a:pt x="800" y="39"/>
                  </a:cubicBezTo>
                  <a:cubicBezTo>
                    <a:pt x="850" y="14"/>
                    <a:pt x="906" y="3"/>
                    <a:pt x="964" y="3"/>
                  </a:cubicBezTo>
                  <a:cubicBezTo>
                    <a:pt x="1081" y="3"/>
                    <a:pt x="1170" y="36"/>
                    <a:pt x="1231" y="103"/>
                  </a:cubicBezTo>
                  <a:cubicBezTo>
                    <a:pt x="1289" y="172"/>
                    <a:pt x="1320" y="264"/>
                    <a:pt x="1320" y="383"/>
                  </a:cubicBezTo>
                  <a:cubicBezTo>
                    <a:pt x="1320" y="839"/>
                    <a:pt x="1320" y="839"/>
                    <a:pt x="1320" y="839"/>
                  </a:cubicBezTo>
                  <a:cubicBezTo>
                    <a:pt x="1142" y="839"/>
                    <a:pt x="1142" y="839"/>
                    <a:pt x="1142" y="839"/>
                  </a:cubicBezTo>
                  <a:cubicBezTo>
                    <a:pt x="1142" y="383"/>
                    <a:pt x="1142" y="383"/>
                    <a:pt x="1142" y="383"/>
                  </a:cubicBezTo>
                  <a:cubicBezTo>
                    <a:pt x="1142" y="353"/>
                    <a:pt x="1139" y="325"/>
                    <a:pt x="1131" y="297"/>
                  </a:cubicBezTo>
                  <a:cubicBezTo>
                    <a:pt x="1122" y="269"/>
                    <a:pt x="1111" y="247"/>
                    <a:pt x="1095" y="228"/>
                  </a:cubicBezTo>
                  <a:cubicBezTo>
                    <a:pt x="1081" y="206"/>
                    <a:pt x="1061" y="192"/>
                    <a:pt x="1039" y="181"/>
                  </a:cubicBezTo>
                  <a:cubicBezTo>
                    <a:pt x="1014" y="169"/>
                    <a:pt x="986" y="164"/>
                    <a:pt x="956" y="164"/>
                  </a:cubicBezTo>
                  <a:cubicBezTo>
                    <a:pt x="925" y="164"/>
                    <a:pt x="897" y="169"/>
                    <a:pt x="873" y="181"/>
                  </a:cubicBezTo>
                  <a:cubicBezTo>
                    <a:pt x="847" y="192"/>
                    <a:pt x="825" y="208"/>
                    <a:pt x="809" y="228"/>
                  </a:cubicBezTo>
                  <a:cubicBezTo>
                    <a:pt x="789" y="250"/>
                    <a:pt x="775" y="272"/>
                    <a:pt x="767" y="300"/>
                  </a:cubicBezTo>
                  <a:cubicBezTo>
                    <a:pt x="756" y="328"/>
                    <a:pt x="753" y="356"/>
                    <a:pt x="753" y="386"/>
                  </a:cubicBezTo>
                  <a:cubicBezTo>
                    <a:pt x="753" y="839"/>
                    <a:pt x="753" y="839"/>
                    <a:pt x="753" y="839"/>
                  </a:cubicBezTo>
                  <a:lnTo>
                    <a:pt x="575" y="83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2" name="Freeform 7">
              <a:extLst>
                <a:ext uri="{FF2B5EF4-FFF2-40B4-BE49-F238E27FC236}">
                  <a16:creationId xmlns:a16="http://schemas.microsoft.com/office/drawing/2014/main" id="{B95AA7AB-4A1C-D042-8168-AD58D00AB477}"/>
                </a:ext>
              </a:extLst>
            </p:cNvPr>
            <p:cNvSpPr>
              <a:spLocks noChangeArrowheads="1"/>
            </p:cNvSpPr>
            <p:nvPr userDrawn="1"/>
          </p:nvSpPr>
          <p:spPr bwMode="auto">
            <a:xfrm>
              <a:off x="4105275" y="3141663"/>
              <a:ext cx="314325" cy="312737"/>
            </a:xfrm>
            <a:custGeom>
              <a:avLst/>
              <a:gdLst>
                <a:gd name="T0" fmla="*/ 864 w 874"/>
                <a:gd name="T1" fmla="*/ 498 h 868"/>
                <a:gd name="T2" fmla="*/ 864 w 874"/>
                <a:gd name="T3" fmla="*/ 498 h 868"/>
                <a:gd name="T4" fmla="*/ 181 w 874"/>
                <a:gd name="T5" fmla="*/ 498 h 868"/>
                <a:gd name="T6" fmla="*/ 267 w 874"/>
                <a:gd name="T7" fmla="*/ 650 h 868"/>
                <a:gd name="T8" fmla="*/ 456 w 874"/>
                <a:gd name="T9" fmla="*/ 706 h 868"/>
                <a:gd name="T10" fmla="*/ 592 w 874"/>
                <a:gd name="T11" fmla="*/ 684 h 868"/>
                <a:gd name="T12" fmla="*/ 700 w 874"/>
                <a:gd name="T13" fmla="*/ 617 h 868"/>
                <a:gd name="T14" fmla="*/ 814 w 874"/>
                <a:gd name="T15" fmla="*/ 725 h 868"/>
                <a:gd name="T16" fmla="*/ 739 w 874"/>
                <a:gd name="T17" fmla="*/ 786 h 868"/>
                <a:gd name="T18" fmla="*/ 650 w 874"/>
                <a:gd name="T19" fmla="*/ 831 h 868"/>
                <a:gd name="T20" fmla="*/ 553 w 874"/>
                <a:gd name="T21" fmla="*/ 859 h 868"/>
                <a:gd name="T22" fmla="*/ 453 w 874"/>
                <a:gd name="T23" fmla="*/ 867 h 868"/>
                <a:gd name="T24" fmla="*/ 267 w 874"/>
                <a:gd name="T25" fmla="*/ 836 h 868"/>
                <a:gd name="T26" fmla="*/ 123 w 874"/>
                <a:gd name="T27" fmla="*/ 748 h 868"/>
                <a:gd name="T28" fmla="*/ 31 w 874"/>
                <a:gd name="T29" fmla="*/ 609 h 868"/>
                <a:gd name="T30" fmla="*/ 0 w 874"/>
                <a:gd name="T31" fmla="*/ 431 h 868"/>
                <a:gd name="T32" fmla="*/ 31 w 874"/>
                <a:gd name="T33" fmla="*/ 256 h 868"/>
                <a:gd name="T34" fmla="*/ 123 w 874"/>
                <a:gd name="T35" fmla="*/ 120 h 868"/>
                <a:gd name="T36" fmla="*/ 261 w 874"/>
                <a:gd name="T37" fmla="*/ 31 h 868"/>
                <a:gd name="T38" fmla="*/ 442 w 874"/>
                <a:gd name="T39" fmla="*/ 0 h 868"/>
                <a:gd name="T40" fmla="*/ 628 w 874"/>
                <a:gd name="T41" fmla="*/ 31 h 868"/>
                <a:gd name="T42" fmla="*/ 767 w 874"/>
                <a:gd name="T43" fmla="*/ 125 h 868"/>
                <a:gd name="T44" fmla="*/ 850 w 874"/>
                <a:gd name="T45" fmla="*/ 278 h 868"/>
                <a:gd name="T46" fmla="*/ 864 w 874"/>
                <a:gd name="T47" fmla="*/ 498 h 868"/>
                <a:gd name="T48" fmla="*/ 187 w 874"/>
                <a:gd name="T49" fmla="*/ 353 h 868"/>
                <a:gd name="T50" fmla="*/ 187 w 874"/>
                <a:gd name="T51" fmla="*/ 353 h 868"/>
                <a:gd name="T52" fmla="*/ 695 w 874"/>
                <a:gd name="T53" fmla="*/ 353 h 868"/>
                <a:gd name="T54" fmla="*/ 620 w 874"/>
                <a:gd name="T55" fmla="*/ 203 h 868"/>
                <a:gd name="T56" fmla="*/ 448 w 874"/>
                <a:gd name="T57" fmla="*/ 153 h 868"/>
                <a:gd name="T58" fmla="*/ 278 w 874"/>
                <a:gd name="T59" fmla="*/ 203 h 868"/>
                <a:gd name="T60" fmla="*/ 187 w 874"/>
                <a:gd name="T61" fmla="*/ 353 h 868"/>
                <a:gd name="T62" fmla="*/ 864 w 874"/>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4" h="868">
                  <a:moveTo>
                    <a:pt x="864" y="498"/>
                  </a:moveTo>
                  <a:lnTo>
                    <a:pt x="864" y="498"/>
                  </a:lnTo>
                  <a:cubicBezTo>
                    <a:pt x="181" y="498"/>
                    <a:pt x="181" y="498"/>
                    <a:pt x="181" y="498"/>
                  </a:cubicBezTo>
                  <a:cubicBezTo>
                    <a:pt x="189" y="562"/>
                    <a:pt x="217" y="611"/>
                    <a:pt x="267" y="650"/>
                  </a:cubicBezTo>
                  <a:cubicBezTo>
                    <a:pt x="317" y="686"/>
                    <a:pt x="378" y="706"/>
                    <a:pt x="456" y="706"/>
                  </a:cubicBezTo>
                  <a:cubicBezTo>
                    <a:pt x="500" y="706"/>
                    <a:pt x="545" y="698"/>
                    <a:pt x="592" y="684"/>
                  </a:cubicBezTo>
                  <a:cubicBezTo>
                    <a:pt x="639" y="667"/>
                    <a:pt x="675" y="645"/>
                    <a:pt x="700" y="617"/>
                  </a:cubicBezTo>
                  <a:cubicBezTo>
                    <a:pt x="814" y="725"/>
                    <a:pt x="814" y="725"/>
                    <a:pt x="814" y="725"/>
                  </a:cubicBezTo>
                  <a:cubicBezTo>
                    <a:pt x="795" y="750"/>
                    <a:pt x="770" y="770"/>
                    <a:pt x="739" y="786"/>
                  </a:cubicBezTo>
                  <a:cubicBezTo>
                    <a:pt x="711" y="806"/>
                    <a:pt x="681" y="820"/>
                    <a:pt x="650" y="831"/>
                  </a:cubicBezTo>
                  <a:cubicBezTo>
                    <a:pt x="620" y="845"/>
                    <a:pt x="587" y="853"/>
                    <a:pt x="553" y="859"/>
                  </a:cubicBezTo>
                  <a:cubicBezTo>
                    <a:pt x="517" y="864"/>
                    <a:pt x="487" y="867"/>
                    <a:pt x="453" y="867"/>
                  </a:cubicBezTo>
                  <a:cubicBezTo>
                    <a:pt x="384" y="867"/>
                    <a:pt x="323" y="856"/>
                    <a:pt x="267" y="836"/>
                  </a:cubicBezTo>
                  <a:cubicBezTo>
                    <a:pt x="209" y="814"/>
                    <a:pt x="161" y="786"/>
                    <a:pt x="123" y="748"/>
                  </a:cubicBezTo>
                  <a:cubicBezTo>
                    <a:pt x="84" y="709"/>
                    <a:pt x="53" y="664"/>
                    <a:pt x="31" y="609"/>
                  </a:cubicBezTo>
                  <a:cubicBezTo>
                    <a:pt x="12" y="556"/>
                    <a:pt x="0" y="495"/>
                    <a:pt x="0" y="431"/>
                  </a:cubicBezTo>
                  <a:cubicBezTo>
                    <a:pt x="0" y="367"/>
                    <a:pt x="12" y="309"/>
                    <a:pt x="31" y="256"/>
                  </a:cubicBezTo>
                  <a:cubicBezTo>
                    <a:pt x="53" y="203"/>
                    <a:pt x="84" y="159"/>
                    <a:pt x="123" y="120"/>
                  </a:cubicBezTo>
                  <a:cubicBezTo>
                    <a:pt x="161" y="84"/>
                    <a:pt x="209" y="53"/>
                    <a:pt x="261" y="31"/>
                  </a:cubicBezTo>
                  <a:cubicBezTo>
                    <a:pt x="314" y="12"/>
                    <a:pt x="375" y="0"/>
                    <a:pt x="442" y="0"/>
                  </a:cubicBezTo>
                  <a:cubicBezTo>
                    <a:pt x="509" y="0"/>
                    <a:pt x="573" y="12"/>
                    <a:pt x="628" y="31"/>
                  </a:cubicBezTo>
                  <a:cubicBezTo>
                    <a:pt x="681" y="53"/>
                    <a:pt x="728" y="84"/>
                    <a:pt x="767" y="125"/>
                  </a:cubicBezTo>
                  <a:cubicBezTo>
                    <a:pt x="806" y="164"/>
                    <a:pt x="834" y="217"/>
                    <a:pt x="850" y="278"/>
                  </a:cubicBezTo>
                  <a:cubicBezTo>
                    <a:pt x="867" y="342"/>
                    <a:pt x="873" y="414"/>
                    <a:pt x="864" y="498"/>
                  </a:cubicBezTo>
                  <a:lnTo>
                    <a:pt x="187" y="353"/>
                  </a:lnTo>
                  <a:lnTo>
                    <a:pt x="187" y="353"/>
                  </a:lnTo>
                  <a:cubicBezTo>
                    <a:pt x="695" y="353"/>
                    <a:pt x="695" y="353"/>
                    <a:pt x="695" y="353"/>
                  </a:cubicBezTo>
                  <a:cubicBezTo>
                    <a:pt x="689" y="287"/>
                    <a:pt x="664" y="236"/>
                    <a:pt x="620" y="203"/>
                  </a:cubicBezTo>
                  <a:cubicBezTo>
                    <a:pt x="575" y="170"/>
                    <a:pt x="517" y="153"/>
                    <a:pt x="448" y="153"/>
                  </a:cubicBezTo>
                  <a:cubicBezTo>
                    <a:pt x="381" y="153"/>
                    <a:pt x="325" y="170"/>
                    <a:pt x="278" y="203"/>
                  </a:cubicBezTo>
                  <a:cubicBezTo>
                    <a:pt x="231" y="236"/>
                    <a:pt x="200" y="287"/>
                    <a:pt x="187" y="353"/>
                  </a:cubicBezTo>
                  <a:lnTo>
                    <a:pt x="864"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3" name="Freeform 8">
              <a:extLst>
                <a:ext uri="{FF2B5EF4-FFF2-40B4-BE49-F238E27FC236}">
                  <a16:creationId xmlns:a16="http://schemas.microsoft.com/office/drawing/2014/main" id="{203B30D4-3326-734C-8C93-2B36CCC7568B}"/>
                </a:ext>
              </a:extLst>
            </p:cNvPr>
            <p:cNvSpPr>
              <a:spLocks noChangeArrowheads="1"/>
            </p:cNvSpPr>
            <p:nvPr userDrawn="1"/>
          </p:nvSpPr>
          <p:spPr bwMode="auto">
            <a:xfrm>
              <a:off x="4481513" y="3141663"/>
              <a:ext cx="227012" cy="303212"/>
            </a:xfrm>
            <a:custGeom>
              <a:avLst/>
              <a:gdLst>
                <a:gd name="T0" fmla="*/ 164 w 631"/>
                <a:gd name="T1" fmla="*/ 20 h 843"/>
                <a:gd name="T2" fmla="*/ 164 w 631"/>
                <a:gd name="T3" fmla="*/ 20 h 843"/>
                <a:gd name="T4" fmla="*/ 175 w 631"/>
                <a:gd name="T5" fmla="*/ 128 h 843"/>
                <a:gd name="T6" fmla="*/ 289 w 631"/>
                <a:gd name="T7" fmla="*/ 25 h 843"/>
                <a:gd name="T8" fmla="*/ 422 w 631"/>
                <a:gd name="T9" fmla="*/ 0 h 843"/>
                <a:gd name="T10" fmla="*/ 539 w 631"/>
                <a:gd name="T11" fmla="*/ 20 h 843"/>
                <a:gd name="T12" fmla="*/ 630 w 631"/>
                <a:gd name="T13" fmla="*/ 70 h 843"/>
                <a:gd name="T14" fmla="*/ 550 w 631"/>
                <a:gd name="T15" fmla="*/ 222 h 843"/>
                <a:gd name="T16" fmla="*/ 486 w 631"/>
                <a:gd name="T17" fmla="*/ 184 h 843"/>
                <a:gd name="T18" fmla="*/ 402 w 631"/>
                <a:gd name="T19" fmla="*/ 172 h 843"/>
                <a:gd name="T20" fmla="*/ 316 w 631"/>
                <a:gd name="T21" fmla="*/ 186 h 843"/>
                <a:gd name="T22" fmla="*/ 244 w 631"/>
                <a:gd name="T23" fmla="*/ 228 h 843"/>
                <a:gd name="T24" fmla="*/ 194 w 631"/>
                <a:gd name="T25" fmla="*/ 297 h 843"/>
                <a:gd name="T26" fmla="*/ 175 w 631"/>
                <a:gd name="T27" fmla="*/ 397 h 843"/>
                <a:gd name="T28" fmla="*/ 175 w 631"/>
                <a:gd name="T29" fmla="*/ 842 h 843"/>
                <a:gd name="T30" fmla="*/ 0 w 631"/>
                <a:gd name="T31" fmla="*/ 842 h 843"/>
                <a:gd name="T32" fmla="*/ 0 w 631"/>
                <a:gd name="T33" fmla="*/ 20 h 843"/>
                <a:gd name="T34" fmla="*/ 164 w 631"/>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1" h="843">
                  <a:moveTo>
                    <a:pt x="164" y="20"/>
                  </a:moveTo>
                  <a:lnTo>
                    <a:pt x="164" y="20"/>
                  </a:lnTo>
                  <a:cubicBezTo>
                    <a:pt x="175" y="128"/>
                    <a:pt x="175" y="128"/>
                    <a:pt x="175" y="128"/>
                  </a:cubicBezTo>
                  <a:cubicBezTo>
                    <a:pt x="205" y="75"/>
                    <a:pt x="244" y="42"/>
                    <a:pt x="289" y="25"/>
                  </a:cubicBezTo>
                  <a:cubicBezTo>
                    <a:pt x="333" y="9"/>
                    <a:pt x="378" y="0"/>
                    <a:pt x="422" y="0"/>
                  </a:cubicBezTo>
                  <a:cubicBezTo>
                    <a:pt x="464" y="0"/>
                    <a:pt x="502" y="9"/>
                    <a:pt x="539" y="20"/>
                  </a:cubicBezTo>
                  <a:cubicBezTo>
                    <a:pt x="577" y="34"/>
                    <a:pt x="608" y="50"/>
                    <a:pt x="630" y="70"/>
                  </a:cubicBezTo>
                  <a:cubicBezTo>
                    <a:pt x="550" y="222"/>
                    <a:pt x="550" y="222"/>
                    <a:pt x="550" y="222"/>
                  </a:cubicBezTo>
                  <a:cubicBezTo>
                    <a:pt x="530" y="206"/>
                    <a:pt x="508" y="192"/>
                    <a:pt x="486" y="184"/>
                  </a:cubicBezTo>
                  <a:cubicBezTo>
                    <a:pt x="464" y="175"/>
                    <a:pt x="436" y="172"/>
                    <a:pt x="402" y="172"/>
                  </a:cubicBezTo>
                  <a:cubicBezTo>
                    <a:pt x="372" y="172"/>
                    <a:pt x="341" y="175"/>
                    <a:pt x="316" y="186"/>
                  </a:cubicBezTo>
                  <a:cubicBezTo>
                    <a:pt x="289" y="195"/>
                    <a:pt x="264" y="209"/>
                    <a:pt x="244" y="228"/>
                  </a:cubicBezTo>
                  <a:cubicBezTo>
                    <a:pt x="222" y="245"/>
                    <a:pt x="205" y="270"/>
                    <a:pt x="194" y="297"/>
                  </a:cubicBezTo>
                  <a:cubicBezTo>
                    <a:pt x="180" y="325"/>
                    <a:pt x="175" y="359"/>
                    <a:pt x="175" y="397"/>
                  </a:cubicBezTo>
                  <a:cubicBezTo>
                    <a:pt x="175" y="842"/>
                    <a:pt x="175" y="842"/>
                    <a:pt x="175" y="842"/>
                  </a:cubicBezTo>
                  <a:cubicBezTo>
                    <a:pt x="0" y="842"/>
                    <a:pt x="0" y="842"/>
                    <a:pt x="0" y="842"/>
                  </a:cubicBezTo>
                  <a:cubicBezTo>
                    <a:pt x="0" y="20"/>
                    <a:pt x="0" y="20"/>
                    <a:pt x="0" y="20"/>
                  </a:cubicBezTo>
                  <a:lnTo>
                    <a:pt x="164" y="2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4" name="Freeform 9">
              <a:extLst>
                <a:ext uri="{FF2B5EF4-FFF2-40B4-BE49-F238E27FC236}">
                  <a16:creationId xmlns:a16="http://schemas.microsoft.com/office/drawing/2014/main" id="{BC6973FE-BE8B-0141-901D-11EC647C707A}"/>
                </a:ext>
              </a:extLst>
            </p:cNvPr>
            <p:cNvSpPr>
              <a:spLocks noChangeArrowheads="1"/>
            </p:cNvSpPr>
            <p:nvPr userDrawn="1"/>
          </p:nvSpPr>
          <p:spPr bwMode="auto">
            <a:xfrm>
              <a:off x="4872038" y="3141663"/>
              <a:ext cx="314325" cy="312737"/>
            </a:xfrm>
            <a:custGeom>
              <a:avLst/>
              <a:gdLst>
                <a:gd name="T0" fmla="*/ 863 w 872"/>
                <a:gd name="T1" fmla="*/ 498 h 868"/>
                <a:gd name="T2" fmla="*/ 863 w 872"/>
                <a:gd name="T3" fmla="*/ 498 h 868"/>
                <a:gd name="T4" fmla="*/ 183 w 872"/>
                <a:gd name="T5" fmla="*/ 498 h 868"/>
                <a:gd name="T6" fmla="*/ 266 w 872"/>
                <a:gd name="T7" fmla="*/ 650 h 868"/>
                <a:gd name="T8" fmla="*/ 458 w 872"/>
                <a:gd name="T9" fmla="*/ 706 h 868"/>
                <a:gd name="T10" fmla="*/ 590 w 872"/>
                <a:gd name="T11" fmla="*/ 684 h 868"/>
                <a:gd name="T12" fmla="*/ 699 w 872"/>
                <a:gd name="T13" fmla="*/ 617 h 868"/>
                <a:gd name="T14" fmla="*/ 815 w 872"/>
                <a:gd name="T15" fmla="*/ 725 h 868"/>
                <a:gd name="T16" fmla="*/ 740 w 872"/>
                <a:gd name="T17" fmla="*/ 786 h 868"/>
                <a:gd name="T18" fmla="*/ 649 w 872"/>
                <a:gd name="T19" fmla="*/ 831 h 868"/>
                <a:gd name="T20" fmla="*/ 551 w 872"/>
                <a:gd name="T21" fmla="*/ 859 h 868"/>
                <a:gd name="T22" fmla="*/ 452 w 872"/>
                <a:gd name="T23" fmla="*/ 867 h 868"/>
                <a:gd name="T24" fmla="*/ 266 w 872"/>
                <a:gd name="T25" fmla="*/ 836 h 868"/>
                <a:gd name="T26" fmla="*/ 122 w 872"/>
                <a:gd name="T27" fmla="*/ 748 h 868"/>
                <a:gd name="T28" fmla="*/ 30 w 872"/>
                <a:gd name="T29" fmla="*/ 609 h 868"/>
                <a:gd name="T30" fmla="*/ 0 w 872"/>
                <a:gd name="T31" fmla="*/ 431 h 868"/>
                <a:gd name="T32" fmla="*/ 30 w 872"/>
                <a:gd name="T33" fmla="*/ 256 h 868"/>
                <a:gd name="T34" fmla="*/ 122 w 872"/>
                <a:gd name="T35" fmla="*/ 120 h 868"/>
                <a:gd name="T36" fmla="*/ 261 w 872"/>
                <a:gd name="T37" fmla="*/ 31 h 868"/>
                <a:gd name="T38" fmla="*/ 441 w 872"/>
                <a:gd name="T39" fmla="*/ 0 h 868"/>
                <a:gd name="T40" fmla="*/ 626 w 872"/>
                <a:gd name="T41" fmla="*/ 31 h 868"/>
                <a:gd name="T42" fmla="*/ 765 w 872"/>
                <a:gd name="T43" fmla="*/ 125 h 868"/>
                <a:gd name="T44" fmla="*/ 849 w 872"/>
                <a:gd name="T45" fmla="*/ 278 h 868"/>
                <a:gd name="T46" fmla="*/ 863 w 872"/>
                <a:gd name="T47" fmla="*/ 498 h 868"/>
                <a:gd name="T48" fmla="*/ 186 w 872"/>
                <a:gd name="T49" fmla="*/ 353 h 868"/>
                <a:gd name="T50" fmla="*/ 186 w 872"/>
                <a:gd name="T51" fmla="*/ 353 h 868"/>
                <a:gd name="T52" fmla="*/ 696 w 872"/>
                <a:gd name="T53" fmla="*/ 353 h 868"/>
                <a:gd name="T54" fmla="*/ 621 w 872"/>
                <a:gd name="T55" fmla="*/ 203 h 868"/>
                <a:gd name="T56" fmla="*/ 447 w 872"/>
                <a:gd name="T57" fmla="*/ 153 h 868"/>
                <a:gd name="T58" fmla="*/ 278 w 872"/>
                <a:gd name="T59" fmla="*/ 203 h 868"/>
                <a:gd name="T60" fmla="*/ 186 w 872"/>
                <a:gd name="T61" fmla="*/ 353 h 868"/>
                <a:gd name="T62" fmla="*/ 863 w 872"/>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2" h="868">
                  <a:moveTo>
                    <a:pt x="863" y="498"/>
                  </a:moveTo>
                  <a:lnTo>
                    <a:pt x="863" y="498"/>
                  </a:lnTo>
                  <a:cubicBezTo>
                    <a:pt x="183" y="498"/>
                    <a:pt x="183" y="498"/>
                    <a:pt x="183" y="498"/>
                  </a:cubicBezTo>
                  <a:cubicBezTo>
                    <a:pt x="189" y="562"/>
                    <a:pt x="219" y="611"/>
                    <a:pt x="266" y="650"/>
                  </a:cubicBezTo>
                  <a:cubicBezTo>
                    <a:pt x="316" y="686"/>
                    <a:pt x="380" y="706"/>
                    <a:pt x="458" y="706"/>
                  </a:cubicBezTo>
                  <a:cubicBezTo>
                    <a:pt x="499" y="706"/>
                    <a:pt x="543" y="698"/>
                    <a:pt x="590" y="684"/>
                  </a:cubicBezTo>
                  <a:cubicBezTo>
                    <a:pt x="638" y="667"/>
                    <a:pt x="674" y="645"/>
                    <a:pt x="699" y="617"/>
                  </a:cubicBezTo>
                  <a:cubicBezTo>
                    <a:pt x="815" y="725"/>
                    <a:pt x="815" y="725"/>
                    <a:pt x="815" y="725"/>
                  </a:cubicBezTo>
                  <a:cubicBezTo>
                    <a:pt x="793" y="750"/>
                    <a:pt x="768" y="770"/>
                    <a:pt x="740" y="786"/>
                  </a:cubicBezTo>
                  <a:cubicBezTo>
                    <a:pt x="710" y="806"/>
                    <a:pt x="682" y="820"/>
                    <a:pt x="649" y="831"/>
                  </a:cubicBezTo>
                  <a:cubicBezTo>
                    <a:pt x="618" y="845"/>
                    <a:pt x="585" y="853"/>
                    <a:pt x="551" y="859"/>
                  </a:cubicBezTo>
                  <a:cubicBezTo>
                    <a:pt x="518" y="864"/>
                    <a:pt x="485" y="867"/>
                    <a:pt x="452" y="867"/>
                  </a:cubicBezTo>
                  <a:cubicBezTo>
                    <a:pt x="383" y="867"/>
                    <a:pt x="322" y="856"/>
                    <a:pt x="266" y="836"/>
                  </a:cubicBezTo>
                  <a:cubicBezTo>
                    <a:pt x="211" y="814"/>
                    <a:pt x="161" y="786"/>
                    <a:pt x="122" y="748"/>
                  </a:cubicBezTo>
                  <a:cubicBezTo>
                    <a:pt x="83" y="709"/>
                    <a:pt x="53" y="664"/>
                    <a:pt x="30" y="609"/>
                  </a:cubicBezTo>
                  <a:cubicBezTo>
                    <a:pt x="11" y="556"/>
                    <a:pt x="0" y="495"/>
                    <a:pt x="0" y="431"/>
                  </a:cubicBezTo>
                  <a:cubicBezTo>
                    <a:pt x="0" y="367"/>
                    <a:pt x="11" y="309"/>
                    <a:pt x="30" y="256"/>
                  </a:cubicBezTo>
                  <a:cubicBezTo>
                    <a:pt x="53" y="203"/>
                    <a:pt x="83" y="159"/>
                    <a:pt x="122" y="120"/>
                  </a:cubicBezTo>
                  <a:cubicBezTo>
                    <a:pt x="161" y="84"/>
                    <a:pt x="208" y="53"/>
                    <a:pt x="261" y="31"/>
                  </a:cubicBezTo>
                  <a:cubicBezTo>
                    <a:pt x="316" y="12"/>
                    <a:pt x="375" y="0"/>
                    <a:pt x="441" y="0"/>
                  </a:cubicBezTo>
                  <a:cubicBezTo>
                    <a:pt x="510" y="0"/>
                    <a:pt x="571" y="12"/>
                    <a:pt x="626" y="31"/>
                  </a:cubicBezTo>
                  <a:cubicBezTo>
                    <a:pt x="682" y="53"/>
                    <a:pt x="726" y="84"/>
                    <a:pt x="765" y="125"/>
                  </a:cubicBezTo>
                  <a:cubicBezTo>
                    <a:pt x="804" y="164"/>
                    <a:pt x="832" y="217"/>
                    <a:pt x="849" y="278"/>
                  </a:cubicBezTo>
                  <a:cubicBezTo>
                    <a:pt x="868" y="342"/>
                    <a:pt x="871" y="414"/>
                    <a:pt x="863" y="498"/>
                  </a:cubicBezTo>
                  <a:lnTo>
                    <a:pt x="186" y="353"/>
                  </a:lnTo>
                  <a:lnTo>
                    <a:pt x="186" y="353"/>
                  </a:lnTo>
                  <a:cubicBezTo>
                    <a:pt x="696" y="353"/>
                    <a:pt x="696" y="353"/>
                    <a:pt x="696" y="353"/>
                  </a:cubicBezTo>
                  <a:cubicBezTo>
                    <a:pt x="690" y="287"/>
                    <a:pt x="663" y="236"/>
                    <a:pt x="621" y="203"/>
                  </a:cubicBezTo>
                  <a:cubicBezTo>
                    <a:pt x="577" y="170"/>
                    <a:pt x="518" y="153"/>
                    <a:pt x="447" y="153"/>
                  </a:cubicBezTo>
                  <a:cubicBezTo>
                    <a:pt x="380" y="153"/>
                    <a:pt x="325" y="170"/>
                    <a:pt x="278" y="203"/>
                  </a:cubicBezTo>
                  <a:cubicBezTo>
                    <a:pt x="230" y="236"/>
                    <a:pt x="200" y="287"/>
                    <a:pt x="186" y="353"/>
                  </a:cubicBezTo>
                  <a:lnTo>
                    <a:pt x="863"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5" name="Freeform 10">
              <a:extLst>
                <a:ext uri="{FF2B5EF4-FFF2-40B4-BE49-F238E27FC236}">
                  <a16:creationId xmlns:a16="http://schemas.microsoft.com/office/drawing/2014/main" id="{5FB00806-452F-264A-B970-9189A4F9E809}"/>
                </a:ext>
              </a:extLst>
            </p:cNvPr>
            <p:cNvSpPr>
              <a:spLocks noChangeArrowheads="1"/>
            </p:cNvSpPr>
            <p:nvPr userDrawn="1"/>
          </p:nvSpPr>
          <p:spPr bwMode="auto">
            <a:xfrm>
              <a:off x="5205413" y="3149600"/>
              <a:ext cx="301625" cy="296863"/>
            </a:xfrm>
            <a:custGeom>
              <a:avLst/>
              <a:gdLst>
                <a:gd name="T0" fmla="*/ 606 w 837"/>
                <a:gd name="T1" fmla="*/ 0 h 823"/>
                <a:gd name="T2" fmla="*/ 820 w 837"/>
                <a:gd name="T3" fmla="*/ 0 h 823"/>
                <a:gd name="T4" fmla="*/ 820 w 837"/>
                <a:gd name="T5" fmla="*/ 5 h 823"/>
                <a:gd name="T6" fmla="*/ 536 w 837"/>
                <a:gd name="T7" fmla="*/ 402 h 823"/>
                <a:gd name="T8" fmla="*/ 836 w 837"/>
                <a:gd name="T9" fmla="*/ 819 h 823"/>
                <a:gd name="T10" fmla="*/ 836 w 837"/>
                <a:gd name="T11" fmla="*/ 822 h 823"/>
                <a:gd name="T12" fmla="*/ 625 w 837"/>
                <a:gd name="T13" fmla="*/ 822 h 823"/>
                <a:gd name="T14" fmla="*/ 420 w 837"/>
                <a:gd name="T15" fmla="*/ 525 h 823"/>
                <a:gd name="T16" fmla="*/ 212 w 837"/>
                <a:gd name="T17" fmla="*/ 822 h 823"/>
                <a:gd name="T18" fmla="*/ 0 w 837"/>
                <a:gd name="T19" fmla="*/ 822 h 823"/>
                <a:gd name="T20" fmla="*/ 0 w 837"/>
                <a:gd name="T21" fmla="*/ 819 h 823"/>
                <a:gd name="T22" fmla="*/ 303 w 837"/>
                <a:gd name="T23" fmla="*/ 402 h 823"/>
                <a:gd name="T24" fmla="*/ 20 w 837"/>
                <a:gd name="T25" fmla="*/ 5 h 823"/>
                <a:gd name="T26" fmla="*/ 20 w 837"/>
                <a:gd name="T27" fmla="*/ 0 h 823"/>
                <a:gd name="T28" fmla="*/ 231 w 837"/>
                <a:gd name="T29" fmla="*/ 0 h 823"/>
                <a:gd name="T30" fmla="*/ 420 w 837"/>
                <a:gd name="T31" fmla="*/ 294 h 823"/>
                <a:gd name="T32" fmla="*/ 606 w 837"/>
                <a:gd name="T33"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7" h="823">
                  <a:moveTo>
                    <a:pt x="606" y="0"/>
                  </a:moveTo>
                  <a:lnTo>
                    <a:pt x="820" y="0"/>
                  </a:lnTo>
                  <a:lnTo>
                    <a:pt x="820" y="5"/>
                  </a:lnTo>
                  <a:lnTo>
                    <a:pt x="536" y="402"/>
                  </a:lnTo>
                  <a:lnTo>
                    <a:pt x="836" y="819"/>
                  </a:lnTo>
                  <a:lnTo>
                    <a:pt x="836" y="822"/>
                  </a:lnTo>
                  <a:lnTo>
                    <a:pt x="625" y="822"/>
                  </a:lnTo>
                  <a:lnTo>
                    <a:pt x="420" y="525"/>
                  </a:lnTo>
                  <a:lnTo>
                    <a:pt x="212" y="822"/>
                  </a:lnTo>
                  <a:lnTo>
                    <a:pt x="0" y="822"/>
                  </a:lnTo>
                  <a:lnTo>
                    <a:pt x="0" y="819"/>
                  </a:lnTo>
                  <a:lnTo>
                    <a:pt x="303" y="402"/>
                  </a:lnTo>
                  <a:lnTo>
                    <a:pt x="20" y="5"/>
                  </a:lnTo>
                  <a:lnTo>
                    <a:pt x="20" y="0"/>
                  </a:lnTo>
                  <a:lnTo>
                    <a:pt x="231" y="0"/>
                  </a:lnTo>
                  <a:lnTo>
                    <a:pt x="420" y="294"/>
                  </a:lnTo>
                  <a:lnTo>
                    <a:pt x="60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6" name="Freeform 11">
              <a:extLst>
                <a:ext uri="{FF2B5EF4-FFF2-40B4-BE49-F238E27FC236}">
                  <a16:creationId xmlns:a16="http://schemas.microsoft.com/office/drawing/2014/main" id="{1FA4FCD4-93A8-3246-B706-58B493FEB2BA}"/>
                </a:ext>
              </a:extLst>
            </p:cNvPr>
            <p:cNvSpPr>
              <a:spLocks noChangeArrowheads="1"/>
            </p:cNvSpPr>
            <p:nvPr userDrawn="1"/>
          </p:nvSpPr>
          <p:spPr bwMode="auto">
            <a:xfrm>
              <a:off x="5557838" y="3143250"/>
              <a:ext cx="323850" cy="439738"/>
            </a:xfrm>
            <a:custGeom>
              <a:avLst/>
              <a:gdLst>
                <a:gd name="T0" fmla="*/ 0 w 898"/>
                <a:gd name="T1" fmla="*/ 1221 h 1222"/>
                <a:gd name="T2" fmla="*/ 0 w 898"/>
                <a:gd name="T3" fmla="*/ 1221 h 1222"/>
                <a:gd name="T4" fmla="*/ 0 w 898"/>
                <a:gd name="T5" fmla="*/ 17 h 1222"/>
                <a:gd name="T6" fmla="*/ 164 w 898"/>
                <a:gd name="T7" fmla="*/ 17 h 1222"/>
                <a:gd name="T8" fmla="*/ 175 w 898"/>
                <a:gd name="T9" fmla="*/ 150 h 1222"/>
                <a:gd name="T10" fmla="*/ 306 w 898"/>
                <a:gd name="T11" fmla="*/ 36 h 1222"/>
                <a:gd name="T12" fmla="*/ 472 w 898"/>
                <a:gd name="T13" fmla="*/ 0 h 1222"/>
                <a:gd name="T14" fmla="*/ 645 w 898"/>
                <a:gd name="T15" fmla="*/ 33 h 1222"/>
                <a:gd name="T16" fmla="*/ 781 w 898"/>
                <a:gd name="T17" fmla="*/ 122 h 1222"/>
                <a:gd name="T18" fmla="*/ 867 w 898"/>
                <a:gd name="T19" fmla="*/ 256 h 1222"/>
                <a:gd name="T20" fmla="*/ 897 w 898"/>
                <a:gd name="T21" fmla="*/ 428 h 1222"/>
                <a:gd name="T22" fmla="*/ 867 w 898"/>
                <a:gd name="T23" fmla="*/ 600 h 1222"/>
                <a:gd name="T24" fmla="*/ 783 w 898"/>
                <a:gd name="T25" fmla="*/ 736 h 1222"/>
                <a:gd name="T26" fmla="*/ 650 w 898"/>
                <a:gd name="T27" fmla="*/ 828 h 1222"/>
                <a:gd name="T28" fmla="*/ 472 w 898"/>
                <a:gd name="T29" fmla="*/ 858 h 1222"/>
                <a:gd name="T30" fmla="*/ 392 w 898"/>
                <a:gd name="T31" fmla="*/ 850 h 1222"/>
                <a:gd name="T32" fmla="*/ 308 w 898"/>
                <a:gd name="T33" fmla="*/ 828 h 1222"/>
                <a:gd name="T34" fmla="*/ 233 w 898"/>
                <a:gd name="T35" fmla="*/ 786 h 1222"/>
                <a:gd name="T36" fmla="*/ 175 w 898"/>
                <a:gd name="T37" fmla="*/ 719 h 1222"/>
                <a:gd name="T38" fmla="*/ 175 w 898"/>
                <a:gd name="T39" fmla="*/ 1221 h 1222"/>
                <a:gd name="T40" fmla="*/ 0 w 898"/>
                <a:gd name="T41" fmla="*/ 1221 h 1222"/>
                <a:gd name="T42" fmla="*/ 456 w 898"/>
                <a:gd name="T43" fmla="*/ 692 h 1222"/>
                <a:gd name="T44" fmla="*/ 456 w 898"/>
                <a:gd name="T45" fmla="*/ 692 h 1222"/>
                <a:gd name="T46" fmla="*/ 561 w 898"/>
                <a:gd name="T47" fmla="*/ 672 h 1222"/>
                <a:gd name="T48" fmla="*/ 647 w 898"/>
                <a:gd name="T49" fmla="*/ 617 h 1222"/>
                <a:gd name="T50" fmla="*/ 703 w 898"/>
                <a:gd name="T51" fmla="*/ 536 h 1222"/>
                <a:gd name="T52" fmla="*/ 722 w 898"/>
                <a:gd name="T53" fmla="*/ 428 h 1222"/>
                <a:gd name="T54" fmla="*/ 650 w 898"/>
                <a:gd name="T55" fmla="*/ 239 h 1222"/>
                <a:gd name="T56" fmla="*/ 456 w 898"/>
                <a:gd name="T57" fmla="*/ 167 h 1222"/>
                <a:gd name="T58" fmla="*/ 345 w 898"/>
                <a:gd name="T59" fmla="*/ 186 h 1222"/>
                <a:gd name="T60" fmla="*/ 261 w 898"/>
                <a:gd name="T61" fmla="*/ 242 h 1222"/>
                <a:gd name="T62" fmla="*/ 208 w 898"/>
                <a:gd name="T63" fmla="*/ 325 h 1222"/>
                <a:gd name="T64" fmla="*/ 192 w 898"/>
                <a:gd name="T65" fmla="*/ 428 h 1222"/>
                <a:gd name="T66" fmla="*/ 211 w 898"/>
                <a:gd name="T67" fmla="*/ 530 h 1222"/>
                <a:gd name="T68" fmla="*/ 264 w 898"/>
                <a:gd name="T69" fmla="*/ 617 h 1222"/>
                <a:gd name="T70" fmla="*/ 347 w 898"/>
                <a:gd name="T71" fmla="*/ 672 h 1222"/>
                <a:gd name="T72" fmla="*/ 456 w 898"/>
                <a:gd name="T73" fmla="*/ 69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8" h="1222">
                  <a:moveTo>
                    <a:pt x="0" y="1221"/>
                  </a:moveTo>
                  <a:lnTo>
                    <a:pt x="0" y="1221"/>
                  </a:lnTo>
                  <a:cubicBezTo>
                    <a:pt x="0" y="17"/>
                    <a:pt x="0" y="17"/>
                    <a:pt x="0" y="17"/>
                  </a:cubicBezTo>
                  <a:cubicBezTo>
                    <a:pt x="164" y="17"/>
                    <a:pt x="164" y="17"/>
                    <a:pt x="164" y="17"/>
                  </a:cubicBezTo>
                  <a:cubicBezTo>
                    <a:pt x="175" y="150"/>
                    <a:pt x="175" y="150"/>
                    <a:pt x="175" y="150"/>
                  </a:cubicBezTo>
                  <a:cubicBezTo>
                    <a:pt x="208" y="100"/>
                    <a:pt x="253" y="61"/>
                    <a:pt x="306" y="36"/>
                  </a:cubicBezTo>
                  <a:cubicBezTo>
                    <a:pt x="361" y="11"/>
                    <a:pt x="417" y="0"/>
                    <a:pt x="472" y="0"/>
                  </a:cubicBezTo>
                  <a:cubicBezTo>
                    <a:pt x="536" y="0"/>
                    <a:pt x="592" y="11"/>
                    <a:pt x="645" y="33"/>
                  </a:cubicBezTo>
                  <a:cubicBezTo>
                    <a:pt x="697" y="53"/>
                    <a:pt x="742" y="83"/>
                    <a:pt x="781" y="122"/>
                  </a:cubicBezTo>
                  <a:cubicBezTo>
                    <a:pt x="817" y="158"/>
                    <a:pt x="847" y="206"/>
                    <a:pt x="867" y="256"/>
                  </a:cubicBezTo>
                  <a:cubicBezTo>
                    <a:pt x="886" y="308"/>
                    <a:pt x="897" y="367"/>
                    <a:pt x="897" y="428"/>
                  </a:cubicBezTo>
                  <a:cubicBezTo>
                    <a:pt x="897" y="492"/>
                    <a:pt x="886" y="550"/>
                    <a:pt x="867" y="600"/>
                  </a:cubicBezTo>
                  <a:cubicBezTo>
                    <a:pt x="847" y="653"/>
                    <a:pt x="820" y="700"/>
                    <a:pt x="783" y="736"/>
                  </a:cubicBezTo>
                  <a:cubicBezTo>
                    <a:pt x="747" y="775"/>
                    <a:pt x="703" y="805"/>
                    <a:pt x="650" y="828"/>
                  </a:cubicBezTo>
                  <a:cubicBezTo>
                    <a:pt x="597" y="847"/>
                    <a:pt x="536" y="858"/>
                    <a:pt x="472" y="858"/>
                  </a:cubicBezTo>
                  <a:cubicBezTo>
                    <a:pt x="447" y="858"/>
                    <a:pt x="420" y="856"/>
                    <a:pt x="392" y="850"/>
                  </a:cubicBezTo>
                  <a:cubicBezTo>
                    <a:pt x="364" y="847"/>
                    <a:pt x="336" y="839"/>
                    <a:pt x="308" y="828"/>
                  </a:cubicBezTo>
                  <a:cubicBezTo>
                    <a:pt x="283" y="817"/>
                    <a:pt x="258" y="803"/>
                    <a:pt x="233" y="786"/>
                  </a:cubicBezTo>
                  <a:cubicBezTo>
                    <a:pt x="211" y="767"/>
                    <a:pt x="192" y="744"/>
                    <a:pt x="175" y="719"/>
                  </a:cubicBezTo>
                  <a:cubicBezTo>
                    <a:pt x="175" y="1221"/>
                    <a:pt x="175" y="1221"/>
                    <a:pt x="175" y="1221"/>
                  </a:cubicBezTo>
                  <a:lnTo>
                    <a:pt x="0" y="1221"/>
                  </a:lnTo>
                  <a:close/>
                  <a:moveTo>
                    <a:pt x="456" y="692"/>
                  </a:moveTo>
                  <a:lnTo>
                    <a:pt x="456" y="692"/>
                  </a:lnTo>
                  <a:cubicBezTo>
                    <a:pt x="495" y="692"/>
                    <a:pt x="531" y="686"/>
                    <a:pt x="561" y="672"/>
                  </a:cubicBezTo>
                  <a:cubicBezTo>
                    <a:pt x="595" y="658"/>
                    <a:pt x="622" y="642"/>
                    <a:pt x="647" y="617"/>
                  </a:cubicBezTo>
                  <a:cubicBezTo>
                    <a:pt x="669" y="594"/>
                    <a:pt x="689" y="567"/>
                    <a:pt x="703" y="536"/>
                  </a:cubicBezTo>
                  <a:cubicBezTo>
                    <a:pt x="714" y="503"/>
                    <a:pt x="722" y="467"/>
                    <a:pt x="722" y="428"/>
                  </a:cubicBezTo>
                  <a:cubicBezTo>
                    <a:pt x="722" y="350"/>
                    <a:pt x="697" y="289"/>
                    <a:pt x="650" y="239"/>
                  </a:cubicBezTo>
                  <a:cubicBezTo>
                    <a:pt x="600" y="192"/>
                    <a:pt x="536" y="167"/>
                    <a:pt x="456" y="167"/>
                  </a:cubicBezTo>
                  <a:cubicBezTo>
                    <a:pt x="414" y="167"/>
                    <a:pt x="378" y="172"/>
                    <a:pt x="345" y="186"/>
                  </a:cubicBezTo>
                  <a:cubicBezTo>
                    <a:pt x="314" y="200"/>
                    <a:pt x="286" y="219"/>
                    <a:pt x="261" y="242"/>
                  </a:cubicBezTo>
                  <a:cubicBezTo>
                    <a:pt x="239" y="267"/>
                    <a:pt x="222" y="294"/>
                    <a:pt x="208" y="325"/>
                  </a:cubicBezTo>
                  <a:cubicBezTo>
                    <a:pt x="197" y="358"/>
                    <a:pt x="192" y="392"/>
                    <a:pt x="192" y="428"/>
                  </a:cubicBezTo>
                  <a:cubicBezTo>
                    <a:pt x="192" y="467"/>
                    <a:pt x="197" y="500"/>
                    <a:pt x="211" y="530"/>
                  </a:cubicBezTo>
                  <a:cubicBezTo>
                    <a:pt x="222" y="564"/>
                    <a:pt x="242" y="592"/>
                    <a:pt x="264" y="617"/>
                  </a:cubicBezTo>
                  <a:cubicBezTo>
                    <a:pt x="289" y="639"/>
                    <a:pt x="317" y="658"/>
                    <a:pt x="347" y="672"/>
                  </a:cubicBezTo>
                  <a:cubicBezTo>
                    <a:pt x="381" y="683"/>
                    <a:pt x="417" y="692"/>
                    <a:pt x="456" y="69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7" name="Freeform 12">
              <a:extLst>
                <a:ext uri="{FF2B5EF4-FFF2-40B4-BE49-F238E27FC236}">
                  <a16:creationId xmlns:a16="http://schemas.microsoft.com/office/drawing/2014/main" id="{33E4AC28-A134-0B46-AA3B-AB29AD8A105D}"/>
                </a:ext>
              </a:extLst>
            </p:cNvPr>
            <p:cNvSpPr>
              <a:spLocks noChangeArrowheads="1"/>
            </p:cNvSpPr>
            <p:nvPr userDrawn="1"/>
          </p:nvSpPr>
          <p:spPr bwMode="auto">
            <a:xfrm>
              <a:off x="5929313" y="3141663"/>
              <a:ext cx="315912" cy="312737"/>
            </a:xfrm>
            <a:custGeom>
              <a:avLst/>
              <a:gdLst>
                <a:gd name="T0" fmla="*/ 867 w 876"/>
                <a:gd name="T1" fmla="*/ 498 h 868"/>
                <a:gd name="T2" fmla="*/ 867 w 876"/>
                <a:gd name="T3" fmla="*/ 498 h 868"/>
                <a:gd name="T4" fmla="*/ 184 w 876"/>
                <a:gd name="T5" fmla="*/ 498 h 868"/>
                <a:gd name="T6" fmla="*/ 270 w 876"/>
                <a:gd name="T7" fmla="*/ 650 h 868"/>
                <a:gd name="T8" fmla="*/ 459 w 876"/>
                <a:gd name="T9" fmla="*/ 706 h 868"/>
                <a:gd name="T10" fmla="*/ 595 w 876"/>
                <a:gd name="T11" fmla="*/ 684 h 868"/>
                <a:gd name="T12" fmla="*/ 703 w 876"/>
                <a:gd name="T13" fmla="*/ 617 h 868"/>
                <a:gd name="T14" fmla="*/ 817 w 876"/>
                <a:gd name="T15" fmla="*/ 725 h 868"/>
                <a:gd name="T16" fmla="*/ 742 w 876"/>
                <a:gd name="T17" fmla="*/ 786 h 868"/>
                <a:gd name="T18" fmla="*/ 653 w 876"/>
                <a:gd name="T19" fmla="*/ 831 h 868"/>
                <a:gd name="T20" fmla="*/ 553 w 876"/>
                <a:gd name="T21" fmla="*/ 859 h 868"/>
                <a:gd name="T22" fmla="*/ 456 w 876"/>
                <a:gd name="T23" fmla="*/ 867 h 868"/>
                <a:gd name="T24" fmla="*/ 267 w 876"/>
                <a:gd name="T25" fmla="*/ 836 h 868"/>
                <a:gd name="T26" fmla="*/ 125 w 876"/>
                <a:gd name="T27" fmla="*/ 748 h 868"/>
                <a:gd name="T28" fmla="*/ 34 w 876"/>
                <a:gd name="T29" fmla="*/ 609 h 868"/>
                <a:gd name="T30" fmla="*/ 0 w 876"/>
                <a:gd name="T31" fmla="*/ 431 h 868"/>
                <a:gd name="T32" fmla="*/ 34 w 876"/>
                <a:gd name="T33" fmla="*/ 256 h 868"/>
                <a:gd name="T34" fmla="*/ 125 w 876"/>
                <a:gd name="T35" fmla="*/ 120 h 868"/>
                <a:gd name="T36" fmla="*/ 264 w 876"/>
                <a:gd name="T37" fmla="*/ 31 h 868"/>
                <a:gd name="T38" fmla="*/ 442 w 876"/>
                <a:gd name="T39" fmla="*/ 0 h 868"/>
                <a:gd name="T40" fmla="*/ 628 w 876"/>
                <a:gd name="T41" fmla="*/ 31 h 868"/>
                <a:gd name="T42" fmla="*/ 770 w 876"/>
                <a:gd name="T43" fmla="*/ 125 h 868"/>
                <a:gd name="T44" fmla="*/ 853 w 876"/>
                <a:gd name="T45" fmla="*/ 278 h 868"/>
                <a:gd name="T46" fmla="*/ 867 w 876"/>
                <a:gd name="T47" fmla="*/ 498 h 868"/>
                <a:gd name="T48" fmla="*/ 186 w 876"/>
                <a:gd name="T49" fmla="*/ 353 h 868"/>
                <a:gd name="T50" fmla="*/ 186 w 876"/>
                <a:gd name="T51" fmla="*/ 353 h 868"/>
                <a:gd name="T52" fmla="*/ 698 w 876"/>
                <a:gd name="T53" fmla="*/ 353 h 868"/>
                <a:gd name="T54" fmla="*/ 623 w 876"/>
                <a:gd name="T55" fmla="*/ 203 h 868"/>
                <a:gd name="T56" fmla="*/ 448 w 876"/>
                <a:gd name="T57" fmla="*/ 153 h 868"/>
                <a:gd name="T58" fmla="*/ 278 w 876"/>
                <a:gd name="T59" fmla="*/ 203 h 868"/>
                <a:gd name="T60" fmla="*/ 186 w 876"/>
                <a:gd name="T61" fmla="*/ 353 h 868"/>
                <a:gd name="T62" fmla="*/ 867 w 876"/>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8">
                  <a:moveTo>
                    <a:pt x="867" y="498"/>
                  </a:moveTo>
                  <a:lnTo>
                    <a:pt x="867" y="498"/>
                  </a:lnTo>
                  <a:cubicBezTo>
                    <a:pt x="184" y="498"/>
                    <a:pt x="184" y="498"/>
                    <a:pt x="184" y="498"/>
                  </a:cubicBezTo>
                  <a:cubicBezTo>
                    <a:pt x="192" y="562"/>
                    <a:pt x="220" y="611"/>
                    <a:pt x="270" y="650"/>
                  </a:cubicBezTo>
                  <a:cubicBezTo>
                    <a:pt x="317" y="686"/>
                    <a:pt x="381" y="706"/>
                    <a:pt x="459" y="706"/>
                  </a:cubicBezTo>
                  <a:cubicBezTo>
                    <a:pt x="503" y="706"/>
                    <a:pt x="547" y="698"/>
                    <a:pt x="595" y="684"/>
                  </a:cubicBezTo>
                  <a:cubicBezTo>
                    <a:pt x="639" y="667"/>
                    <a:pt x="675" y="645"/>
                    <a:pt x="703" y="617"/>
                  </a:cubicBezTo>
                  <a:cubicBezTo>
                    <a:pt x="817" y="725"/>
                    <a:pt x="817" y="725"/>
                    <a:pt x="817" y="725"/>
                  </a:cubicBezTo>
                  <a:cubicBezTo>
                    <a:pt x="795" y="750"/>
                    <a:pt x="770" y="770"/>
                    <a:pt x="742" y="786"/>
                  </a:cubicBezTo>
                  <a:cubicBezTo>
                    <a:pt x="714" y="806"/>
                    <a:pt x="684" y="820"/>
                    <a:pt x="653" y="831"/>
                  </a:cubicBezTo>
                  <a:cubicBezTo>
                    <a:pt x="620" y="845"/>
                    <a:pt x="589" y="853"/>
                    <a:pt x="553" y="859"/>
                  </a:cubicBezTo>
                  <a:cubicBezTo>
                    <a:pt x="520" y="864"/>
                    <a:pt x="486" y="867"/>
                    <a:pt x="456" y="867"/>
                  </a:cubicBezTo>
                  <a:cubicBezTo>
                    <a:pt x="386" y="867"/>
                    <a:pt x="323" y="856"/>
                    <a:pt x="267" y="836"/>
                  </a:cubicBezTo>
                  <a:cubicBezTo>
                    <a:pt x="211" y="814"/>
                    <a:pt x="164" y="786"/>
                    <a:pt x="125" y="748"/>
                  </a:cubicBezTo>
                  <a:cubicBezTo>
                    <a:pt x="86" y="709"/>
                    <a:pt x="56" y="664"/>
                    <a:pt x="34" y="609"/>
                  </a:cubicBezTo>
                  <a:cubicBezTo>
                    <a:pt x="11" y="556"/>
                    <a:pt x="0" y="495"/>
                    <a:pt x="0" y="431"/>
                  </a:cubicBezTo>
                  <a:cubicBezTo>
                    <a:pt x="0" y="367"/>
                    <a:pt x="11" y="309"/>
                    <a:pt x="34" y="256"/>
                  </a:cubicBezTo>
                  <a:cubicBezTo>
                    <a:pt x="56" y="203"/>
                    <a:pt x="86" y="159"/>
                    <a:pt x="125" y="120"/>
                  </a:cubicBezTo>
                  <a:cubicBezTo>
                    <a:pt x="161" y="84"/>
                    <a:pt x="209" y="53"/>
                    <a:pt x="264" y="31"/>
                  </a:cubicBezTo>
                  <a:cubicBezTo>
                    <a:pt x="317" y="12"/>
                    <a:pt x="378" y="0"/>
                    <a:pt x="442" y="0"/>
                  </a:cubicBezTo>
                  <a:cubicBezTo>
                    <a:pt x="511" y="0"/>
                    <a:pt x="573" y="12"/>
                    <a:pt x="628" y="31"/>
                  </a:cubicBezTo>
                  <a:cubicBezTo>
                    <a:pt x="684" y="53"/>
                    <a:pt x="731" y="84"/>
                    <a:pt x="770" y="125"/>
                  </a:cubicBezTo>
                  <a:cubicBezTo>
                    <a:pt x="806" y="164"/>
                    <a:pt x="834" y="217"/>
                    <a:pt x="853" y="278"/>
                  </a:cubicBezTo>
                  <a:cubicBezTo>
                    <a:pt x="870" y="342"/>
                    <a:pt x="875" y="414"/>
                    <a:pt x="867" y="498"/>
                  </a:cubicBezTo>
                  <a:lnTo>
                    <a:pt x="186" y="353"/>
                  </a:lnTo>
                  <a:lnTo>
                    <a:pt x="186" y="353"/>
                  </a:lnTo>
                  <a:cubicBezTo>
                    <a:pt x="698" y="353"/>
                    <a:pt x="698" y="353"/>
                    <a:pt x="698" y="353"/>
                  </a:cubicBezTo>
                  <a:cubicBezTo>
                    <a:pt x="692" y="287"/>
                    <a:pt x="667" y="236"/>
                    <a:pt x="623" y="203"/>
                  </a:cubicBezTo>
                  <a:cubicBezTo>
                    <a:pt x="578" y="170"/>
                    <a:pt x="520" y="153"/>
                    <a:pt x="448" y="153"/>
                  </a:cubicBezTo>
                  <a:cubicBezTo>
                    <a:pt x="384" y="153"/>
                    <a:pt x="328" y="170"/>
                    <a:pt x="278" y="203"/>
                  </a:cubicBezTo>
                  <a:cubicBezTo>
                    <a:pt x="231" y="236"/>
                    <a:pt x="200" y="287"/>
                    <a:pt x="186" y="353"/>
                  </a:cubicBezTo>
                  <a:lnTo>
                    <a:pt x="867"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8" name="Freeform 13">
              <a:extLst>
                <a:ext uri="{FF2B5EF4-FFF2-40B4-BE49-F238E27FC236}">
                  <a16:creationId xmlns:a16="http://schemas.microsoft.com/office/drawing/2014/main" id="{FA7361DA-F0AF-DF4E-885B-5D4D1101961D}"/>
                </a:ext>
              </a:extLst>
            </p:cNvPr>
            <p:cNvSpPr>
              <a:spLocks noChangeArrowheads="1"/>
            </p:cNvSpPr>
            <p:nvPr userDrawn="1"/>
          </p:nvSpPr>
          <p:spPr bwMode="auto">
            <a:xfrm>
              <a:off x="6305550" y="3141663"/>
              <a:ext cx="228600" cy="303212"/>
            </a:xfrm>
            <a:custGeom>
              <a:avLst/>
              <a:gdLst>
                <a:gd name="T0" fmla="*/ 164 w 634"/>
                <a:gd name="T1" fmla="*/ 20 h 843"/>
                <a:gd name="T2" fmla="*/ 164 w 634"/>
                <a:gd name="T3" fmla="*/ 20 h 843"/>
                <a:gd name="T4" fmla="*/ 177 w 634"/>
                <a:gd name="T5" fmla="*/ 128 h 843"/>
                <a:gd name="T6" fmla="*/ 289 w 634"/>
                <a:gd name="T7" fmla="*/ 25 h 843"/>
                <a:gd name="T8" fmla="*/ 425 w 634"/>
                <a:gd name="T9" fmla="*/ 0 h 843"/>
                <a:gd name="T10" fmla="*/ 541 w 634"/>
                <a:gd name="T11" fmla="*/ 20 h 843"/>
                <a:gd name="T12" fmla="*/ 633 w 634"/>
                <a:gd name="T13" fmla="*/ 70 h 843"/>
                <a:gd name="T14" fmla="*/ 552 w 634"/>
                <a:gd name="T15" fmla="*/ 222 h 843"/>
                <a:gd name="T16" fmla="*/ 486 w 634"/>
                <a:gd name="T17" fmla="*/ 184 h 843"/>
                <a:gd name="T18" fmla="*/ 405 w 634"/>
                <a:gd name="T19" fmla="*/ 172 h 843"/>
                <a:gd name="T20" fmla="*/ 316 w 634"/>
                <a:gd name="T21" fmla="*/ 186 h 843"/>
                <a:gd name="T22" fmla="*/ 244 w 634"/>
                <a:gd name="T23" fmla="*/ 228 h 843"/>
                <a:gd name="T24" fmla="*/ 197 w 634"/>
                <a:gd name="T25" fmla="*/ 297 h 843"/>
                <a:gd name="T26" fmla="*/ 177 w 634"/>
                <a:gd name="T27" fmla="*/ 397 h 843"/>
                <a:gd name="T28" fmla="*/ 177 w 634"/>
                <a:gd name="T29" fmla="*/ 842 h 843"/>
                <a:gd name="T30" fmla="*/ 0 w 634"/>
                <a:gd name="T31" fmla="*/ 842 h 843"/>
                <a:gd name="T32" fmla="*/ 0 w 634"/>
                <a:gd name="T33" fmla="*/ 20 h 843"/>
                <a:gd name="T34" fmla="*/ 164 w 634"/>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4" h="843">
                  <a:moveTo>
                    <a:pt x="164" y="20"/>
                  </a:moveTo>
                  <a:lnTo>
                    <a:pt x="164" y="20"/>
                  </a:lnTo>
                  <a:cubicBezTo>
                    <a:pt x="177" y="128"/>
                    <a:pt x="177" y="128"/>
                    <a:pt x="177" y="128"/>
                  </a:cubicBezTo>
                  <a:cubicBezTo>
                    <a:pt x="208" y="75"/>
                    <a:pt x="244" y="42"/>
                    <a:pt x="289" y="25"/>
                  </a:cubicBezTo>
                  <a:cubicBezTo>
                    <a:pt x="333" y="9"/>
                    <a:pt x="380" y="0"/>
                    <a:pt x="425" y="0"/>
                  </a:cubicBezTo>
                  <a:cubicBezTo>
                    <a:pt x="466" y="0"/>
                    <a:pt x="505" y="9"/>
                    <a:pt x="541" y="20"/>
                  </a:cubicBezTo>
                  <a:cubicBezTo>
                    <a:pt x="577" y="34"/>
                    <a:pt x="608" y="50"/>
                    <a:pt x="633" y="70"/>
                  </a:cubicBezTo>
                  <a:cubicBezTo>
                    <a:pt x="552" y="222"/>
                    <a:pt x="552" y="222"/>
                    <a:pt x="552" y="222"/>
                  </a:cubicBezTo>
                  <a:cubicBezTo>
                    <a:pt x="530" y="206"/>
                    <a:pt x="508" y="192"/>
                    <a:pt x="486" y="184"/>
                  </a:cubicBezTo>
                  <a:cubicBezTo>
                    <a:pt x="464" y="175"/>
                    <a:pt x="436" y="172"/>
                    <a:pt x="405" y="172"/>
                  </a:cubicBezTo>
                  <a:cubicBezTo>
                    <a:pt x="372" y="172"/>
                    <a:pt x="344" y="175"/>
                    <a:pt x="316" y="186"/>
                  </a:cubicBezTo>
                  <a:cubicBezTo>
                    <a:pt x="289" y="195"/>
                    <a:pt x="266" y="209"/>
                    <a:pt x="244" y="228"/>
                  </a:cubicBezTo>
                  <a:cubicBezTo>
                    <a:pt x="225" y="245"/>
                    <a:pt x="208" y="270"/>
                    <a:pt x="197" y="297"/>
                  </a:cubicBezTo>
                  <a:cubicBezTo>
                    <a:pt x="183" y="325"/>
                    <a:pt x="177" y="359"/>
                    <a:pt x="177" y="397"/>
                  </a:cubicBezTo>
                  <a:cubicBezTo>
                    <a:pt x="177" y="842"/>
                    <a:pt x="177" y="842"/>
                    <a:pt x="177" y="842"/>
                  </a:cubicBezTo>
                  <a:cubicBezTo>
                    <a:pt x="0" y="842"/>
                    <a:pt x="0" y="842"/>
                    <a:pt x="0" y="842"/>
                  </a:cubicBezTo>
                  <a:cubicBezTo>
                    <a:pt x="0" y="20"/>
                    <a:pt x="0" y="20"/>
                    <a:pt x="0" y="20"/>
                  </a:cubicBezTo>
                  <a:lnTo>
                    <a:pt x="164" y="2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9" name="Freeform 14">
              <a:extLst>
                <a:ext uri="{FF2B5EF4-FFF2-40B4-BE49-F238E27FC236}">
                  <a16:creationId xmlns:a16="http://schemas.microsoft.com/office/drawing/2014/main" id="{DE2665C9-6C4C-0B45-A1E7-64E5EA63F2BE}"/>
                </a:ext>
              </a:extLst>
            </p:cNvPr>
            <p:cNvSpPr>
              <a:spLocks noChangeArrowheads="1"/>
            </p:cNvSpPr>
            <p:nvPr userDrawn="1"/>
          </p:nvSpPr>
          <p:spPr bwMode="auto">
            <a:xfrm>
              <a:off x="6577013" y="3148013"/>
              <a:ext cx="63500" cy="296862"/>
            </a:xfrm>
            <a:custGeom>
              <a:avLst/>
              <a:gdLst>
                <a:gd name="T0" fmla="*/ 175 w 176"/>
                <a:gd name="T1" fmla="*/ 825 h 826"/>
                <a:gd name="T2" fmla="*/ 0 w 176"/>
                <a:gd name="T3" fmla="*/ 825 h 826"/>
                <a:gd name="T4" fmla="*/ 0 w 176"/>
                <a:gd name="T5" fmla="*/ 0 h 826"/>
                <a:gd name="T6" fmla="*/ 175 w 176"/>
                <a:gd name="T7" fmla="*/ 0 h 826"/>
                <a:gd name="T8" fmla="*/ 175 w 176"/>
                <a:gd name="T9" fmla="*/ 825 h 826"/>
              </a:gdLst>
              <a:ahLst/>
              <a:cxnLst>
                <a:cxn ang="0">
                  <a:pos x="T0" y="T1"/>
                </a:cxn>
                <a:cxn ang="0">
                  <a:pos x="T2" y="T3"/>
                </a:cxn>
                <a:cxn ang="0">
                  <a:pos x="T4" y="T5"/>
                </a:cxn>
                <a:cxn ang="0">
                  <a:pos x="T6" y="T7"/>
                </a:cxn>
                <a:cxn ang="0">
                  <a:pos x="T8" y="T9"/>
                </a:cxn>
              </a:cxnLst>
              <a:rect l="0" t="0" r="r" b="b"/>
              <a:pathLst>
                <a:path w="176" h="826">
                  <a:moveTo>
                    <a:pt x="175" y="825"/>
                  </a:moveTo>
                  <a:lnTo>
                    <a:pt x="0" y="825"/>
                  </a:lnTo>
                  <a:lnTo>
                    <a:pt x="0" y="0"/>
                  </a:lnTo>
                  <a:lnTo>
                    <a:pt x="175" y="0"/>
                  </a:lnTo>
                  <a:lnTo>
                    <a:pt x="175" y="82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0" name="Freeform 15">
              <a:extLst>
                <a:ext uri="{FF2B5EF4-FFF2-40B4-BE49-F238E27FC236}">
                  <a16:creationId xmlns:a16="http://schemas.microsoft.com/office/drawing/2014/main" id="{6E5F72FD-B4A8-F44C-B145-BBD9E932ED8A}"/>
                </a:ext>
              </a:extLst>
            </p:cNvPr>
            <p:cNvSpPr>
              <a:spLocks noChangeArrowheads="1"/>
            </p:cNvSpPr>
            <p:nvPr userDrawn="1"/>
          </p:nvSpPr>
          <p:spPr bwMode="auto">
            <a:xfrm>
              <a:off x="6707188" y="3141663"/>
              <a:ext cx="314325" cy="312737"/>
            </a:xfrm>
            <a:custGeom>
              <a:avLst/>
              <a:gdLst>
                <a:gd name="T0" fmla="*/ 864 w 873"/>
                <a:gd name="T1" fmla="*/ 498 h 868"/>
                <a:gd name="T2" fmla="*/ 864 w 873"/>
                <a:gd name="T3" fmla="*/ 498 h 868"/>
                <a:gd name="T4" fmla="*/ 184 w 873"/>
                <a:gd name="T5" fmla="*/ 498 h 868"/>
                <a:gd name="T6" fmla="*/ 267 w 873"/>
                <a:gd name="T7" fmla="*/ 650 h 868"/>
                <a:gd name="T8" fmla="*/ 459 w 873"/>
                <a:gd name="T9" fmla="*/ 706 h 868"/>
                <a:gd name="T10" fmla="*/ 592 w 873"/>
                <a:gd name="T11" fmla="*/ 684 h 868"/>
                <a:gd name="T12" fmla="*/ 700 w 873"/>
                <a:gd name="T13" fmla="*/ 617 h 868"/>
                <a:gd name="T14" fmla="*/ 817 w 873"/>
                <a:gd name="T15" fmla="*/ 725 h 868"/>
                <a:gd name="T16" fmla="*/ 742 w 873"/>
                <a:gd name="T17" fmla="*/ 786 h 868"/>
                <a:gd name="T18" fmla="*/ 650 w 873"/>
                <a:gd name="T19" fmla="*/ 831 h 868"/>
                <a:gd name="T20" fmla="*/ 553 w 873"/>
                <a:gd name="T21" fmla="*/ 859 h 868"/>
                <a:gd name="T22" fmla="*/ 453 w 873"/>
                <a:gd name="T23" fmla="*/ 867 h 868"/>
                <a:gd name="T24" fmla="*/ 267 w 873"/>
                <a:gd name="T25" fmla="*/ 836 h 868"/>
                <a:gd name="T26" fmla="*/ 123 w 873"/>
                <a:gd name="T27" fmla="*/ 748 h 868"/>
                <a:gd name="T28" fmla="*/ 34 w 873"/>
                <a:gd name="T29" fmla="*/ 609 h 868"/>
                <a:gd name="T30" fmla="*/ 0 w 873"/>
                <a:gd name="T31" fmla="*/ 431 h 868"/>
                <a:gd name="T32" fmla="*/ 34 w 873"/>
                <a:gd name="T33" fmla="*/ 256 h 868"/>
                <a:gd name="T34" fmla="*/ 123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7 w 873"/>
                <a:gd name="T53" fmla="*/ 353 h 868"/>
                <a:gd name="T54" fmla="*/ 622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4" y="498"/>
                    <a:pt x="184" y="498"/>
                    <a:pt x="184" y="498"/>
                  </a:cubicBezTo>
                  <a:cubicBezTo>
                    <a:pt x="189" y="562"/>
                    <a:pt x="220" y="611"/>
                    <a:pt x="267" y="650"/>
                  </a:cubicBezTo>
                  <a:cubicBezTo>
                    <a:pt x="317" y="686"/>
                    <a:pt x="381" y="706"/>
                    <a:pt x="459" y="706"/>
                  </a:cubicBezTo>
                  <a:cubicBezTo>
                    <a:pt x="500" y="706"/>
                    <a:pt x="545" y="698"/>
                    <a:pt x="592" y="684"/>
                  </a:cubicBezTo>
                  <a:cubicBezTo>
                    <a:pt x="639" y="667"/>
                    <a:pt x="675" y="645"/>
                    <a:pt x="700" y="617"/>
                  </a:cubicBezTo>
                  <a:cubicBezTo>
                    <a:pt x="817" y="725"/>
                    <a:pt x="817" y="725"/>
                    <a:pt x="817" y="725"/>
                  </a:cubicBezTo>
                  <a:cubicBezTo>
                    <a:pt x="795" y="750"/>
                    <a:pt x="770" y="770"/>
                    <a:pt x="742" y="786"/>
                  </a:cubicBezTo>
                  <a:cubicBezTo>
                    <a:pt x="711" y="806"/>
                    <a:pt x="684" y="820"/>
                    <a:pt x="650" y="831"/>
                  </a:cubicBezTo>
                  <a:cubicBezTo>
                    <a:pt x="620" y="845"/>
                    <a:pt x="586" y="853"/>
                    <a:pt x="553" y="859"/>
                  </a:cubicBezTo>
                  <a:cubicBezTo>
                    <a:pt x="520" y="864"/>
                    <a:pt x="486" y="867"/>
                    <a:pt x="453" y="867"/>
                  </a:cubicBezTo>
                  <a:cubicBezTo>
                    <a:pt x="384" y="867"/>
                    <a:pt x="322" y="856"/>
                    <a:pt x="267" y="836"/>
                  </a:cubicBezTo>
                  <a:cubicBezTo>
                    <a:pt x="211" y="814"/>
                    <a:pt x="164" y="786"/>
                    <a:pt x="123" y="748"/>
                  </a:cubicBezTo>
                  <a:cubicBezTo>
                    <a:pt x="84" y="709"/>
                    <a:pt x="53" y="664"/>
                    <a:pt x="34" y="609"/>
                  </a:cubicBezTo>
                  <a:cubicBezTo>
                    <a:pt x="11" y="556"/>
                    <a:pt x="0" y="495"/>
                    <a:pt x="0" y="431"/>
                  </a:cubicBezTo>
                  <a:cubicBezTo>
                    <a:pt x="0" y="367"/>
                    <a:pt x="11" y="309"/>
                    <a:pt x="34" y="256"/>
                  </a:cubicBezTo>
                  <a:cubicBezTo>
                    <a:pt x="53" y="203"/>
                    <a:pt x="84" y="159"/>
                    <a:pt x="123" y="120"/>
                  </a:cubicBezTo>
                  <a:cubicBezTo>
                    <a:pt x="161" y="84"/>
                    <a:pt x="209" y="53"/>
                    <a:pt x="261" y="31"/>
                  </a:cubicBezTo>
                  <a:cubicBezTo>
                    <a:pt x="317" y="12"/>
                    <a:pt x="375" y="0"/>
                    <a:pt x="442" y="0"/>
                  </a:cubicBezTo>
                  <a:cubicBezTo>
                    <a:pt x="511" y="0"/>
                    <a:pt x="572" y="12"/>
                    <a:pt x="628" y="31"/>
                  </a:cubicBezTo>
                  <a:cubicBezTo>
                    <a:pt x="684" y="53"/>
                    <a:pt x="728" y="84"/>
                    <a:pt x="767" y="125"/>
                  </a:cubicBezTo>
                  <a:cubicBezTo>
                    <a:pt x="806" y="164"/>
                    <a:pt x="834" y="217"/>
                    <a:pt x="850" y="278"/>
                  </a:cubicBezTo>
                  <a:cubicBezTo>
                    <a:pt x="870" y="342"/>
                    <a:pt x="872" y="414"/>
                    <a:pt x="864" y="498"/>
                  </a:cubicBezTo>
                  <a:lnTo>
                    <a:pt x="186" y="353"/>
                  </a:lnTo>
                  <a:lnTo>
                    <a:pt x="186" y="353"/>
                  </a:lnTo>
                  <a:cubicBezTo>
                    <a:pt x="697" y="353"/>
                    <a:pt x="697" y="353"/>
                    <a:pt x="697" y="353"/>
                  </a:cubicBezTo>
                  <a:cubicBezTo>
                    <a:pt x="692" y="287"/>
                    <a:pt x="667" y="236"/>
                    <a:pt x="622" y="203"/>
                  </a:cubicBezTo>
                  <a:cubicBezTo>
                    <a:pt x="578" y="170"/>
                    <a:pt x="520" y="153"/>
                    <a:pt x="447" y="153"/>
                  </a:cubicBezTo>
                  <a:cubicBezTo>
                    <a:pt x="384" y="153"/>
                    <a:pt x="325" y="170"/>
                    <a:pt x="278" y="203"/>
                  </a:cubicBezTo>
                  <a:cubicBezTo>
                    <a:pt x="231" y="236"/>
                    <a:pt x="200" y="287"/>
                    <a:pt x="186" y="353"/>
                  </a:cubicBezTo>
                  <a:lnTo>
                    <a:pt x="864"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1" name="Freeform 16">
              <a:extLst>
                <a:ext uri="{FF2B5EF4-FFF2-40B4-BE49-F238E27FC236}">
                  <a16:creationId xmlns:a16="http://schemas.microsoft.com/office/drawing/2014/main" id="{E68B19F8-EC5E-F64D-B8B3-AFC26CC763F7}"/>
                </a:ext>
              </a:extLst>
            </p:cNvPr>
            <p:cNvSpPr>
              <a:spLocks noChangeArrowheads="1"/>
            </p:cNvSpPr>
            <p:nvPr userDrawn="1"/>
          </p:nvSpPr>
          <p:spPr bwMode="auto">
            <a:xfrm>
              <a:off x="7083425" y="3144838"/>
              <a:ext cx="293688" cy="301625"/>
            </a:xfrm>
            <a:custGeom>
              <a:avLst/>
              <a:gdLst>
                <a:gd name="T0" fmla="*/ 638 w 817"/>
                <a:gd name="T1" fmla="*/ 836 h 837"/>
                <a:gd name="T2" fmla="*/ 638 w 817"/>
                <a:gd name="T3" fmla="*/ 836 h 837"/>
                <a:gd name="T4" fmla="*/ 638 w 817"/>
                <a:gd name="T5" fmla="*/ 397 h 837"/>
                <a:gd name="T6" fmla="*/ 580 w 817"/>
                <a:gd name="T7" fmla="*/ 225 h 837"/>
                <a:gd name="T8" fmla="*/ 411 w 817"/>
                <a:gd name="T9" fmla="*/ 161 h 837"/>
                <a:gd name="T10" fmla="*/ 313 w 817"/>
                <a:gd name="T11" fmla="*/ 180 h 837"/>
                <a:gd name="T12" fmla="*/ 241 w 817"/>
                <a:gd name="T13" fmla="*/ 233 h 837"/>
                <a:gd name="T14" fmla="*/ 194 w 817"/>
                <a:gd name="T15" fmla="*/ 311 h 837"/>
                <a:gd name="T16" fmla="*/ 175 w 817"/>
                <a:gd name="T17" fmla="*/ 408 h 837"/>
                <a:gd name="T18" fmla="*/ 175 w 817"/>
                <a:gd name="T19" fmla="*/ 836 h 837"/>
                <a:gd name="T20" fmla="*/ 0 w 817"/>
                <a:gd name="T21" fmla="*/ 836 h 837"/>
                <a:gd name="T22" fmla="*/ 0 w 817"/>
                <a:gd name="T23" fmla="*/ 11 h 837"/>
                <a:gd name="T24" fmla="*/ 161 w 817"/>
                <a:gd name="T25" fmla="*/ 11 h 837"/>
                <a:gd name="T26" fmla="*/ 172 w 817"/>
                <a:gd name="T27" fmla="*/ 133 h 837"/>
                <a:gd name="T28" fmla="*/ 455 w 817"/>
                <a:gd name="T29" fmla="*/ 0 h 837"/>
                <a:gd name="T30" fmla="*/ 597 w 817"/>
                <a:gd name="T31" fmla="*/ 25 h 837"/>
                <a:gd name="T32" fmla="*/ 711 w 817"/>
                <a:gd name="T33" fmla="*/ 103 h 837"/>
                <a:gd name="T34" fmla="*/ 788 w 817"/>
                <a:gd name="T35" fmla="*/ 225 h 837"/>
                <a:gd name="T36" fmla="*/ 816 w 817"/>
                <a:gd name="T37" fmla="*/ 394 h 837"/>
                <a:gd name="T38" fmla="*/ 816 w 817"/>
                <a:gd name="T39" fmla="*/ 836 h 837"/>
                <a:gd name="T40" fmla="*/ 638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8" y="836"/>
                  </a:moveTo>
                  <a:lnTo>
                    <a:pt x="638" y="836"/>
                  </a:lnTo>
                  <a:cubicBezTo>
                    <a:pt x="638" y="397"/>
                    <a:pt x="638" y="397"/>
                    <a:pt x="638" y="397"/>
                  </a:cubicBezTo>
                  <a:cubicBezTo>
                    <a:pt x="638" y="325"/>
                    <a:pt x="619" y="269"/>
                    <a:pt x="580" y="225"/>
                  </a:cubicBezTo>
                  <a:cubicBezTo>
                    <a:pt x="541" y="183"/>
                    <a:pt x="483" y="161"/>
                    <a:pt x="411" y="161"/>
                  </a:cubicBezTo>
                  <a:cubicBezTo>
                    <a:pt x="375" y="161"/>
                    <a:pt x="344" y="166"/>
                    <a:pt x="313" y="180"/>
                  </a:cubicBezTo>
                  <a:cubicBezTo>
                    <a:pt x="286" y="191"/>
                    <a:pt x="261" y="211"/>
                    <a:pt x="241" y="233"/>
                  </a:cubicBezTo>
                  <a:cubicBezTo>
                    <a:pt x="219" y="255"/>
                    <a:pt x="205" y="283"/>
                    <a:pt x="194" y="311"/>
                  </a:cubicBezTo>
                  <a:cubicBezTo>
                    <a:pt x="180" y="341"/>
                    <a:pt x="175" y="375"/>
                    <a:pt x="175" y="408"/>
                  </a:cubicBezTo>
                  <a:cubicBezTo>
                    <a:pt x="175" y="836"/>
                    <a:pt x="175" y="836"/>
                    <a:pt x="175" y="836"/>
                  </a:cubicBezTo>
                  <a:cubicBezTo>
                    <a:pt x="0" y="836"/>
                    <a:pt x="0" y="836"/>
                    <a:pt x="0" y="836"/>
                  </a:cubicBezTo>
                  <a:cubicBezTo>
                    <a:pt x="0" y="11"/>
                    <a:pt x="0" y="11"/>
                    <a:pt x="0" y="11"/>
                  </a:cubicBezTo>
                  <a:cubicBezTo>
                    <a:pt x="161" y="11"/>
                    <a:pt x="161" y="11"/>
                    <a:pt x="161" y="11"/>
                  </a:cubicBezTo>
                  <a:cubicBezTo>
                    <a:pt x="172" y="133"/>
                    <a:pt x="172" y="133"/>
                    <a:pt x="172" y="133"/>
                  </a:cubicBezTo>
                  <a:cubicBezTo>
                    <a:pt x="250" y="44"/>
                    <a:pt x="344" y="0"/>
                    <a:pt x="455" y="0"/>
                  </a:cubicBezTo>
                  <a:cubicBezTo>
                    <a:pt x="505" y="0"/>
                    <a:pt x="552" y="8"/>
                    <a:pt x="597" y="25"/>
                  </a:cubicBezTo>
                  <a:cubicBezTo>
                    <a:pt x="641" y="44"/>
                    <a:pt x="677" y="69"/>
                    <a:pt x="711" y="103"/>
                  </a:cubicBezTo>
                  <a:cubicBezTo>
                    <a:pt x="744" y="136"/>
                    <a:pt x="769" y="178"/>
                    <a:pt x="788" y="225"/>
                  </a:cubicBezTo>
                  <a:cubicBezTo>
                    <a:pt x="808" y="275"/>
                    <a:pt x="816" y="330"/>
                    <a:pt x="816" y="394"/>
                  </a:cubicBezTo>
                  <a:cubicBezTo>
                    <a:pt x="816" y="836"/>
                    <a:pt x="816" y="836"/>
                    <a:pt x="816" y="836"/>
                  </a:cubicBezTo>
                  <a:lnTo>
                    <a:pt x="638" y="83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2" name="Freeform 17">
              <a:extLst>
                <a:ext uri="{FF2B5EF4-FFF2-40B4-BE49-F238E27FC236}">
                  <a16:creationId xmlns:a16="http://schemas.microsoft.com/office/drawing/2014/main" id="{E1520FE7-89A8-F341-BD92-1CCB919E9C80}"/>
                </a:ext>
              </a:extLst>
            </p:cNvPr>
            <p:cNvSpPr>
              <a:spLocks noChangeArrowheads="1"/>
            </p:cNvSpPr>
            <p:nvPr userDrawn="1"/>
          </p:nvSpPr>
          <p:spPr bwMode="auto">
            <a:xfrm>
              <a:off x="7440613" y="3141663"/>
              <a:ext cx="274637" cy="311150"/>
            </a:xfrm>
            <a:custGeom>
              <a:avLst/>
              <a:gdLst>
                <a:gd name="T0" fmla="*/ 761 w 762"/>
                <a:gd name="T1" fmla="*/ 736 h 865"/>
                <a:gd name="T2" fmla="*/ 761 w 762"/>
                <a:gd name="T3" fmla="*/ 736 h 865"/>
                <a:gd name="T4" fmla="*/ 614 w 762"/>
                <a:gd name="T5" fmla="*/ 833 h 865"/>
                <a:gd name="T6" fmla="*/ 442 w 762"/>
                <a:gd name="T7" fmla="*/ 864 h 865"/>
                <a:gd name="T8" fmla="*/ 272 w 762"/>
                <a:gd name="T9" fmla="*/ 836 h 865"/>
                <a:gd name="T10" fmla="*/ 131 w 762"/>
                <a:gd name="T11" fmla="*/ 756 h 865"/>
                <a:gd name="T12" fmla="*/ 34 w 762"/>
                <a:gd name="T13" fmla="*/ 620 h 865"/>
                <a:gd name="T14" fmla="*/ 0 w 762"/>
                <a:gd name="T15" fmla="*/ 431 h 865"/>
                <a:gd name="T16" fmla="*/ 34 w 762"/>
                <a:gd name="T17" fmla="*/ 245 h 865"/>
                <a:gd name="T18" fmla="*/ 131 w 762"/>
                <a:gd name="T19" fmla="*/ 109 h 865"/>
                <a:gd name="T20" fmla="*/ 270 w 762"/>
                <a:gd name="T21" fmla="*/ 28 h 865"/>
                <a:gd name="T22" fmla="*/ 442 w 762"/>
                <a:gd name="T23" fmla="*/ 0 h 865"/>
                <a:gd name="T24" fmla="*/ 603 w 762"/>
                <a:gd name="T25" fmla="*/ 28 h 865"/>
                <a:gd name="T26" fmla="*/ 747 w 762"/>
                <a:gd name="T27" fmla="*/ 122 h 865"/>
                <a:gd name="T28" fmla="*/ 633 w 762"/>
                <a:gd name="T29" fmla="*/ 236 h 865"/>
                <a:gd name="T30" fmla="*/ 545 w 762"/>
                <a:gd name="T31" fmla="*/ 181 h 865"/>
                <a:gd name="T32" fmla="*/ 445 w 762"/>
                <a:gd name="T33" fmla="*/ 164 h 865"/>
                <a:gd name="T34" fmla="*/ 339 w 762"/>
                <a:gd name="T35" fmla="*/ 181 h 865"/>
                <a:gd name="T36" fmla="*/ 253 w 762"/>
                <a:gd name="T37" fmla="*/ 236 h 865"/>
                <a:gd name="T38" fmla="*/ 195 w 762"/>
                <a:gd name="T39" fmla="*/ 320 h 865"/>
                <a:gd name="T40" fmla="*/ 175 w 762"/>
                <a:gd name="T41" fmla="*/ 431 h 865"/>
                <a:gd name="T42" fmla="*/ 197 w 762"/>
                <a:gd name="T43" fmla="*/ 547 h 865"/>
                <a:gd name="T44" fmla="*/ 253 w 762"/>
                <a:gd name="T45" fmla="*/ 631 h 865"/>
                <a:gd name="T46" fmla="*/ 339 w 762"/>
                <a:gd name="T47" fmla="*/ 681 h 865"/>
                <a:gd name="T48" fmla="*/ 442 w 762"/>
                <a:gd name="T49" fmla="*/ 697 h 865"/>
                <a:gd name="T50" fmla="*/ 550 w 762"/>
                <a:gd name="T51" fmla="*/ 681 h 865"/>
                <a:gd name="T52" fmla="*/ 642 w 762"/>
                <a:gd name="T53" fmla="*/ 620 h 865"/>
                <a:gd name="T54" fmla="*/ 761 w 762"/>
                <a:gd name="T55" fmla="*/ 736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62" h="865">
                  <a:moveTo>
                    <a:pt x="761" y="736"/>
                  </a:moveTo>
                  <a:lnTo>
                    <a:pt x="761" y="736"/>
                  </a:lnTo>
                  <a:cubicBezTo>
                    <a:pt x="714" y="781"/>
                    <a:pt x="664" y="814"/>
                    <a:pt x="614" y="833"/>
                  </a:cubicBezTo>
                  <a:cubicBezTo>
                    <a:pt x="561" y="856"/>
                    <a:pt x="503" y="864"/>
                    <a:pt x="442" y="864"/>
                  </a:cubicBezTo>
                  <a:cubicBezTo>
                    <a:pt x="383" y="864"/>
                    <a:pt x="325" y="856"/>
                    <a:pt x="272" y="836"/>
                  </a:cubicBezTo>
                  <a:cubicBezTo>
                    <a:pt x="217" y="820"/>
                    <a:pt x="170" y="792"/>
                    <a:pt x="131" y="756"/>
                  </a:cubicBezTo>
                  <a:cubicBezTo>
                    <a:pt x="89" y="720"/>
                    <a:pt x="58" y="675"/>
                    <a:pt x="34" y="620"/>
                  </a:cubicBezTo>
                  <a:cubicBezTo>
                    <a:pt x="11" y="567"/>
                    <a:pt x="0" y="503"/>
                    <a:pt x="0" y="431"/>
                  </a:cubicBezTo>
                  <a:cubicBezTo>
                    <a:pt x="0" y="361"/>
                    <a:pt x="11" y="297"/>
                    <a:pt x="34" y="245"/>
                  </a:cubicBezTo>
                  <a:cubicBezTo>
                    <a:pt x="58" y="189"/>
                    <a:pt x="89" y="145"/>
                    <a:pt x="131" y="109"/>
                  </a:cubicBezTo>
                  <a:cubicBezTo>
                    <a:pt x="170" y="72"/>
                    <a:pt x="217" y="45"/>
                    <a:pt x="270" y="28"/>
                  </a:cubicBezTo>
                  <a:cubicBezTo>
                    <a:pt x="325" y="9"/>
                    <a:pt x="381" y="0"/>
                    <a:pt x="442" y="0"/>
                  </a:cubicBezTo>
                  <a:cubicBezTo>
                    <a:pt x="500" y="0"/>
                    <a:pt x="556" y="9"/>
                    <a:pt x="603" y="28"/>
                  </a:cubicBezTo>
                  <a:cubicBezTo>
                    <a:pt x="653" y="47"/>
                    <a:pt x="700" y="78"/>
                    <a:pt x="747" y="122"/>
                  </a:cubicBezTo>
                  <a:cubicBezTo>
                    <a:pt x="633" y="236"/>
                    <a:pt x="633" y="236"/>
                    <a:pt x="633" y="236"/>
                  </a:cubicBezTo>
                  <a:cubicBezTo>
                    <a:pt x="608" y="211"/>
                    <a:pt x="578" y="192"/>
                    <a:pt x="545" y="181"/>
                  </a:cubicBezTo>
                  <a:cubicBezTo>
                    <a:pt x="511" y="170"/>
                    <a:pt x="478" y="164"/>
                    <a:pt x="445" y="164"/>
                  </a:cubicBezTo>
                  <a:cubicBezTo>
                    <a:pt x="406" y="164"/>
                    <a:pt x="372" y="170"/>
                    <a:pt x="339" y="181"/>
                  </a:cubicBezTo>
                  <a:cubicBezTo>
                    <a:pt x="306" y="195"/>
                    <a:pt x="278" y="214"/>
                    <a:pt x="253" y="236"/>
                  </a:cubicBezTo>
                  <a:cubicBezTo>
                    <a:pt x="228" y="259"/>
                    <a:pt x="209" y="289"/>
                    <a:pt x="195" y="320"/>
                  </a:cubicBezTo>
                  <a:cubicBezTo>
                    <a:pt x="181" y="353"/>
                    <a:pt x="175" y="392"/>
                    <a:pt x="175" y="431"/>
                  </a:cubicBezTo>
                  <a:cubicBezTo>
                    <a:pt x="175" y="475"/>
                    <a:pt x="181" y="514"/>
                    <a:pt x="197" y="547"/>
                  </a:cubicBezTo>
                  <a:cubicBezTo>
                    <a:pt x="211" y="578"/>
                    <a:pt x="231" y="606"/>
                    <a:pt x="253" y="631"/>
                  </a:cubicBezTo>
                  <a:cubicBezTo>
                    <a:pt x="278" y="653"/>
                    <a:pt x="309" y="670"/>
                    <a:pt x="339" y="681"/>
                  </a:cubicBezTo>
                  <a:cubicBezTo>
                    <a:pt x="372" y="692"/>
                    <a:pt x="406" y="697"/>
                    <a:pt x="442" y="697"/>
                  </a:cubicBezTo>
                  <a:cubicBezTo>
                    <a:pt x="478" y="697"/>
                    <a:pt x="514" y="692"/>
                    <a:pt x="550" y="681"/>
                  </a:cubicBezTo>
                  <a:cubicBezTo>
                    <a:pt x="583" y="670"/>
                    <a:pt x="614" y="647"/>
                    <a:pt x="642" y="620"/>
                  </a:cubicBezTo>
                  <a:lnTo>
                    <a:pt x="761" y="73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3" name="Freeform 18">
              <a:extLst>
                <a:ext uri="{FF2B5EF4-FFF2-40B4-BE49-F238E27FC236}">
                  <a16:creationId xmlns:a16="http://schemas.microsoft.com/office/drawing/2014/main" id="{416DD308-E329-7546-B564-A44EF800E51E}"/>
                </a:ext>
              </a:extLst>
            </p:cNvPr>
            <p:cNvSpPr>
              <a:spLocks noChangeArrowheads="1"/>
            </p:cNvSpPr>
            <p:nvPr userDrawn="1"/>
          </p:nvSpPr>
          <p:spPr bwMode="auto">
            <a:xfrm>
              <a:off x="7747000" y="3141663"/>
              <a:ext cx="314325" cy="312737"/>
            </a:xfrm>
            <a:custGeom>
              <a:avLst/>
              <a:gdLst>
                <a:gd name="T0" fmla="*/ 864 w 873"/>
                <a:gd name="T1" fmla="*/ 498 h 868"/>
                <a:gd name="T2" fmla="*/ 864 w 873"/>
                <a:gd name="T3" fmla="*/ 498 h 868"/>
                <a:gd name="T4" fmla="*/ 181 w 873"/>
                <a:gd name="T5" fmla="*/ 498 h 868"/>
                <a:gd name="T6" fmla="*/ 267 w 873"/>
                <a:gd name="T7" fmla="*/ 650 h 868"/>
                <a:gd name="T8" fmla="*/ 456 w 873"/>
                <a:gd name="T9" fmla="*/ 706 h 868"/>
                <a:gd name="T10" fmla="*/ 592 w 873"/>
                <a:gd name="T11" fmla="*/ 684 h 868"/>
                <a:gd name="T12" fmla="*/ 700 w 873"/>
                <a:gd name="T13" fmla="*/ 617 h 868"/>
                <a:gd name="T14" fmla="*/ 817 w 873"/>
                <a:gd name="T15" fmla="*/ 725 h 868"/>
                <a:gd name="T16" fmla="*/ 739 w 873"/>
                <a:gd name="T17" fmla="*/ 786 h 868"/>
                <a:gd name="T18" fmla="*/ 650 w 873"/>
                <a:gd name="T19" fmla="*/ 831 h 868"/>
                <a:gd name="T20" fmla="*/ 553 w 873"/>
                <a:gd name="T21" fmla="*/ 859 h 868"/>
                <a:gd name="T22" fmla="*/ 453 w 873"/>
                <a:gd name="T23" fmla="*/ 867 h 868"/>
                <a:gd name="T24" fmla="*/ 267 w 873"/>
                <a:gd name="T25" fmla="*/ 836 h 868"/>
                <a:gd name="T26" fmla="*/ 122 w 873"/>
                <a:gd name="T27" fmla="*/ 748 h 868"/>
                <a:gd name="T28" fmla="*/ 31 w 873"/>
                <a:gd name="T29" fmla="*/ 609 h 868"/>
                <a:gd name="T30" fmla="*/ 0 w 873"/>
                <a:gd name="T31" fmla="*/ 431 h 868"/>
                <a:gd name="T32" fmla="*/ 31 w 873"/>
                <a:gd name="T33" fmla="*/ 256 h 868"/>
                <a:gd name="T34" fmla="*/ 122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4 w 873"/>
                <a:gd name="T53" fmla="*/ 353 h 868"/>
                <a:gd name="T54" fmla="*/ 619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1" y="498"/>
                    <a:pt x="181" y="498"/>
                    <a:pt x="181" y="498"/>
                  </a:cubicBezTo>
                  <a:cubicBezTo>
                    <a:pt x="189" y="562"/>
                    <a:pt x="219" y="611"/>
                    <a:pt x="267" y="650"/>
                  </a:cubicBezTo>
                  <a:cubicBezTo>
                    <a:pt x="317" y="686"/>
                    <a:pt x="381" y="706"/>
                    <a:pt x="456" y="706"/>
                  </a:cubicBezTo>
                  <a:cubicBezTo>
                    <a:pt x="500" y="706"/>
                    <a:pt x="544" y="698"/>
                    <a:pt x="592" y="684"/>
                  </a:cubicBezTo>
                  <a:cubicBezTo>
                    <a:pt x="639" y="667"/>
                    <a:pt x="675" y="645"/>
                    <a:pt x="700" y="617"/>
                  </a:cubicBezTo>
                  <a:cubicBezTo>
                    <a:pt x="817" y="725"/>
                    <a:pt x="817" y="725"/>
                    <a:pt x="817" y="725"/>
                  </a:cubicBezTo>
                  <a:cubicBezTo>
                    <a:pt x="794" y="750"/>
                    <a:pt x="769" y="770"/>
                    <a:pt x="739" y="786"/>
                  </a:cubicBezTo>
                  <a:cubicBezTo>
                    <a:pt x="711" y="806"/>
                    <a:pt x="681" y="820"/>
                    <a:pt x="650" y="831"/>
                  </a:cubicBezTo>
                  <a:cubicBezTo>
                    <a:pt x="619" y="845"/>
                    <a:pt x="586" y="853"/>
                    <a:pt x="553" y="859"/>
                  </a:cubicBezTo>
                  <a:cubicBezTo>
                    <a:pt x="519" y="864"/>
                    <a:pt x="486" y="867"/>
                    <a:pt x="453" y="867"/>
                  </a:cubicBezTo>
                  <a:cubicBezTo>
                    <a:pt x="383" y="867"/>
                    <a:pt x="322" y="856"/>
                    <a:pt x="267" y="836"/>
                  </a:cubicBezTo>
                  <a:cubicBezTo>
                    <a:pt x="208" y="814"/>
                    <a:pt x="161" y="786"/>
                    <a:pt x="122" y="748"/>
                  </a:cubicBezTo>
                  <a:cubicBezTo>
                    <a:pt x="83" y="709"/>
                    <a:pt x="53" y="664"/>
                    <a:pt x="31" y="609"/>
                  </a:cubicBezTo>
                  <a:cubicBezTo>
                    <a:pt x="11" y="556"/>
                    <a:pt x="0" y="495"/>
                    <a:pt x="0" y="431"/>
                  </a:cubicBezTo>
                  <a:cubicBezTo>
                    <a:pt x="0" y="367"/>
                    <a:pt x="11" y="309"/>
                    <a:pt x="31" y="256"/>
                  </a:cubicBezTo>
                  <a:cubicBezTo>
                    <a:pt x="53" y="203"/>
                    <a:pt x="83" y="159"/>
                    <a:pt x="122" y="120"/>
                  </a:cubicBezTo>
                  <a:cubicBezTo>
                    <a:pt x="161" y="84"/>
                    <a:pt x="208" y="53"/>
                    <a:pt x="261" y="31"/>
                  </a:cubicBezTo>
                  <a:cubicBezTo>
                    <a:pt x="314" y="12"/>
                    <a:pt x="375" y="0"/>
                    <a:pt x="442" y="0"/>
                  </a:cubicBezTo>
                  <a:cubicBezTo>
                    <a:pt x="508" y="0"/>
                    <a:pt x="572" y="12"/>
                    <a:pt x="628" y="31"/>
                  </a:cubicBezTo>
                  <a:cubicBezTo>
                    <a:pt x="681" y="53"/>
                    <a:pt x="728" y="84"/>
                    <a:pt x="767" y="125"/>
                  </a:cubicBezTo>
                  <a:cubicBezTo>
                    <a:pt x="806" y="164"/>
                    <a:pt x="833" y="217"/>
                    <a:pt x="850" y="278"/>
                  </a:cubicBezTo>
                  <a:cubicBezTo>
                    <a:pt x="867" y="342"/>
                    <a:pt x="872" y="414"/>
                    <a:pt x="864" y="498"/>
                  </a:cubicBezTo>
                  <a:lnTo>
                    <a:pt x="186" y="353"/>
                  </a:lnTo>
                  <a:lnTo>
                    <a:pt x="186" y="353"/>
                  </a:lnTo>
                  <a:cubicBezTo>
                    <a:pt x="694" y="353"/>
                    <a:pt x="694" y="353"/>
                    <a:pt x="694" y="353"/>
                  </a:cubicBezTo>
                  <a:cubicBezTo>
                    <a:pt x="689" y="287"/>
                    <a:pt x="664" y="236"/>
                    <a:pt x="619" y="203"/>
                  </a:cubicBezTo>
                  <a:cubicBezTo>
                    <a:pt x="575" y="170"/>
                    <a:pt x="519" y="153"/>
                    <a:pt x="447" y="153"/>
                  </a:cubicBezTo>
                  <a:cubicBezTo>
                    <a:pt x="381" y="153"/>
                    <a:pt x="325" y="170"/>
                    <a:pt x="278" y="203"/>
                  </a:cubicBezTo>
                  <a:cubicBezTo>
                    <a:pt x="231" y="236"/>
                    <a:pt x="200" y="287"/>
                    <a:pt x="186" y="353"/>
                  </a:cubicBezTo>
                  <a:lnTo>
                    <a:pt x="864"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4" name="Freeform 19">
              <a:extLst>
                <a:ext uri="{FF2B5EF4-FFF2-40B4-BE49-F238E27FC236}">
                  <a16:creationId xmlns:a16="http://schemas.microsoft.com/office/drawing/2014/main" id="{ACD17610-9334-D947-AB50-7FCAD844AF62}"/>
                </a:ext>
              </a:extLst>
            </p:cNvPr>
            <p:cNvSpPr>
              <a:spLocks noChangeArrowheads="1"/>
            </p:cNvSpPr>
            <p:nvPr userDrawn="1"/>
          </p:nvSpPr>
          <p:spPr bwMode="auto">
            <a:xfrm>
              <a:off x="1828800" y="3743325"/>
              <a:ext cx="323850" cy="311150"/>
            </a:xfrm>
            <a:custGeom>
              <a:avLst/>
              <a:gdLst>
                <a:gd name="T0" fmla="*/ 722 w 901"/>
                <a:gd name="T1" fmla="*/ 147 h 865"/>
                <a:gd name="T2" fmla="*/ 722 w 901"/>
                <a:gd name="T3" fmla="*/ 147 h 865"/>
                <a:gd name="T4" fmla="*/ 728 w 901"/>
                <a:gd name="T5" fmla="*/ 17 h 865"/>
                <a:gd name="T6" fmla="*/ 900 w 901"/>
                <a:gd name="T7" fmla="*/ 17 h 865"/>
                <a:gd name="T8" fmla="*/ 900 w 901"/>
                <a:gd name="T9" fmla="*/ 842 h 865"/>
                <a:gd name="T10" fmla="*/ 731 w 901"/>
                <a:gd name="T11" fmla="*/ 842 h 865"/>
                <a:gd name="T12" fmla="*/ 722 w 901"/>
                <a:gd name="T13" fmla="*/ 709 h 865"/>
                <a:gd name="T14" fmla="*/ 669 w 901"/>
                <a:gd name="T15" fmla="*/ 778 h 865"/>
                <a:gd name="T16" fmla="*/ 597 w 901"/>
                <a:gd name="T17" fmla="*/ 825 h 865"/>
                <a:gd name="T18" fmla="*/ 514 w 901"/>
                <a:gd name="T19" fmla="*/ 856 h 865"/>
                <a:gd name="T20" fmla="*/ 433 w 901"/>
                <a:gd name="T21" fmla="*/ 864 h 865"/>
                <a:gd name="T22" fmla="*/ 261 w 901"/>
                <a:gd name="T23" fmla="*/ 836 h 865"/>
                <a:gd name="T24" fmla="*/ 125 w 901"/>
                <a:gd name="T25" fmla="*/ 753 h 865"/>
                <a:gd name="T26" fmla="*/ 33 w 901"/>
                <a:gd name="T27" fmla="*/ 617 h 865"/>
                <a:gd name="T28" fmla="*/ 0 w 901"/>
                <a:gd name="T29" fmla="*/ 428 h 865"/>
                <a:gd name="T30" fmla="*/ 36 w 901"/>
                <a:gd name="T31" fmla="*/ 245 h 865"/>
                <a:gd name="T32" fmla="*/ 128 w 901"/>
                <a:gd name="T33" fmla="*/ 111 h 865"/>
                <a:gd name="T34" fmla="*/ 267 w 901"/>
                <a:gd name="T35" fmla="*/ 28 h 865"/>
                <a:gd name="T36" fmla="*/ 436 w 901"/>
                <a:gd name="T37" fmla="*/ 0 h 865"/>
                <a:gd name="T38" fmla="*/ 606 w 901"/>
                <a:gd name="T39" fmla="*/ 39 h 865"/>
                <a:gd name="T40" fmla="*/ 722 w 901"/>
                <a:gd name="T41" fmla="*/ 147 h 865"/>
                <a:gd name="T42" fmla="*/ 450 w 901"/>
                <a:gd name="T43" fmla="*/ 156 h 865"/>
                <a:gd name="T44" fmla="*/ 450 w 901"/>
                <a:gd name="T45" fmla="*/ 156 h 865"/>
                <a:gd name="T46" fmla="*/ 344 w 901"/>
                <a:gd name="T47" fmla="*/ 175 h 865"/>
                <a:gd name="T48" fmla="*/ 258 w 901"/>
                <a:gd name="T49" fmla="*/ 231 h 865"/>
                <a:gd name="T50" fmla="*/ 197 w 901"/>
                <a:gd name="T51" fmla="*/ 317 h 865"/>
                <a:gd name="T52" fmla="*/ 178 w 901"/>
                <a:gd name="T53" fmla="*/ 428 h 865"/>
                <a:gd name="T54" fmla="*/ 197 w 901"/>
                <a:gd name="T55" fmla="*/ 545 h 865"/>
                <a:gd name="T56" fmla="*/ 258 w 901"/>
                <a:gd name="T57" fmla="*/ 631 h 865"/>
                <a:gd name="T58" fmla="*/ 344 w 901"/>
                <a:gd name="T59" fmla="*/ 684 h 865"/>
                <a:gd name="T60" fmla="*/ 450 w 901"/>
                <a:gd name="T61" fmla="*/ 703 h 865"/>
                <a:gd name="T62" fmla="*/ 600 w 901"/>
                <a:gd name="T63" fmla="*/ 664 h 865"/>
                <a:gd name="T64" fmla="*/ 692 w 901"/>
                <a:gd name="T65" fmla="*/ 561 h 865"/>
                <a:gd name="T66" fmla="*/ 722 w 901"/>
                <a:gd name="T67" fmla="*/ 431 h 865"/>
                <a:gd name="T68" fmla="*/ 692 w 901"/>
                <a:gd name="T69" fmla="*/ 298 h 865"/>
                <a:gd name="T70" fmla="*/ 600 w 901"/>
                <a:gd name="T71" fmla="*/ 198 h 865"/>
                <a:gd name="T72" fmla="*/ 450 w 901"/>
                <a:gd name="T73" fmla="*/ 156 h 865"/>
                <a:gd name="T74" fmla="*/ 722 w 901"/>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1" h="865">
                  <a:moveTo>
                    <a:pt x="722" y="147"/>
                  </a:moveTo>
                  <a:lnTo>
                    <a:pt x="722" y="147"/>
                  </a:lnTo>
                  <a:cubicBezTo>
                    <a:pt x="728" y="17"/>
                    <a:pt x="728" y="17"/>
                    <a:pt x="728" y="17"/>
                  </a:cubicBezTo>
                  <a:cubicBezTo>
                    <a:pt x="900" y="17"/>
                    <a:pt x="900" y="17"/>
                    <a:pt x="900" y="17"/>
                  </a:cubicBezTo>
                  <a:cubicBezTo>
                    <a:pt x="900" y="842"/>
                    <a:pt x="900" y="842"/>
                    <a:pt x="900" y="842"/>
                  </a:cubicBezTo>
                  <a:cubicBezTo>
                    <a:pt x="731" y="842"/>
                    <a:pt x="731" y="842"/>
                    <a:pt x="731" y="842"/>
                  </a:cubicBezTo>
                  <a:cubicBezTo>
                    <a:pt x="722" y="709"/>
                    <a:pt x="722" y="709"/>
                    <a:pt x="722" y="709"/>
                  </a:cubicBezTo>
                  <a:cubicBezTo>
                    <a:pt x="708" y="736"/>
                    <a:pt x="692" y="759"/>
                    <a:pt x="669" y="778"/>
                  </a:cubicBezTo>
                  <a:cubicBezTo>
                    <a:pt x="647" y="797"/>
                    <a:pt x="622" y="814"/>
                    <a:pt x="597" y="825"/>
                  </a:cubicBezTo>
                  <a:cubicBezTo>
                    <a:pt x="569" y="839"/>
                    <a:pt x="542" y="847"/>
                    <a:pt x="514" y="856"/>
                  </a:cubicBezTo>
                  <a:cubicBezTo>
                    <a:pt x="486" y="861"/>
                    <a:pt x="458" y="864"/>
                    <a:pt x="433" y="864"/>
                  </a:cubicBezTo>
                  <a:cubicBezTo>
                    <a:pt x="372" y="864"/>
                    <a:pt x="314" y="853"/>
                    <a:pt x="261" y="836"/>
                  </a:cubicBezTo>
                  <a:cubicBezTo>
                    <a:pt x="208" y="817"/>
                    <a:pt x="164" y="789"/>
                    <a:pt x="125" y="753"/>
                  </a:cubicBezTo>
                  <a:cubicBezTo>
                    <a:pt x="86" y="714"/>
                    <a:pt x="56" y="670"/>
                    <a:pt x="33" y="617"/>
                  </a:cubicBezTo>
                  <a:cubicBezTo>
                    <a:pt x="11" y="561"/>
                    <a:pt x="0" y="500"/>
                    <a:pt x="0" y="428"/>
                  </a:cubicBezTo>
                  <a:cubicBezTo>
                    <a:pt x="0" y="361"/>
                    <a:pt x="11" y="300"/>
                    <a:pt x="36" y="245"/>
                  </a:cubicBezTo>
                  <a:cubicBezTo>
                    <a:pt x="58" y="192"/>
                    <a:pt x="89" y="147"/>
                    <a:pt x="128" y="111"/>
                  </a:cubicBezTo>
                  <a:cubicBezTo>
                    <a:pt x="167" y="75"/>
                    <a:pt x="214" y="48"/>
                    <a:pt x="267" y="28"/>
                  </a:cubicBezTo>
                  <a:cubicBezTo>
                    <a:pt x="319" y="9"/>
                    <a:pt x="375" y="0"/>
                    <a:pt x="436" y="0"/>
                  </a:cubicBezTo>
                  <a:cubicBezTo>
                    <a:pt x="497" y="0"/>
                    <a:pt x="553" y="14"/>
                    <a:pt x="606" y="39"/>
                  </a:cubicBezTo>
                  <a:cubicBezTo>
                    <a:pt x="658" y="64"/>
                    <a:pt x="697" y="103"/>
                    <a:pt x="722" y="147"/>
                  </a:cubicBezTo>
                  <a:lnTo>
                    <a:pt x="450" y="156"/>
                  </a:lnTo>
                  <a:lnTo>
                    <a:pt x="450" y="156"/>
                  </a:lnTo>
                  <a:cubicBezTo>
                    <a:pt x="414" y="156"/>
                    <a:pt x="378" y="164"/>
                    <a:pt x="344" y="175"/>
                  </a:cubicBezTo>
                  <a:cubicBezTo>
                    <a:pt x="311" y="189"/>
                    <a:pt x="283" y="206"/>
                    <a:pt x="258" y="231"/>
                  </a:cubicBezTo>
                  <a:cubicBezTo>
                    <a:pt x="233" y="253"/>
                    <a:pt x="211" y="284"/>
                    <a:pt x="197" y="317"/>
                  </a:cubicBezTo>
                  <a:cubicBezTo>
                    <a:pt x="183" y="350"/>
                    <a:pt x="178" y="386"/>
                    <a:pt x="178" y="428"/>
                  </a:cubicBezTo>
                  <a:cubicBezTo>
                    <a:pt x="178" y="472"/>
                    <a:pt x="183" y="509"/>
                    <a:pt x="197" y="545"/>
                  </a:cubicBezTo>
                  <a:cubicBezTo>
                    <a:pt x="211" y="578"/>
                    <a:pt x="233" y="606"/>
                    <a:pt x="258" y="631"/>
                  </a:cubicBezTo>
                  <a:cubicBezTo>
                    <a:pt x="283" y="653"/>
                    <a:pt x="311" y="672"/>
                    <a:pt x="344" y="684"/>
                  </a:cubicBezTo>
                  <a:cubicBezTo>
                    <a:pt x="378" y="698"/>
                    <a:pt x="414" y="703"/>
                    <a:pt x="450" y="703"/>
                  </a:cubicBezTo>
                  <a:cubicBezTo>
                    <a:pt x="511" y="703"/>
                    <a:pt x="561" y="689"/>
                    <a:pt x="600" y="664"/>
                  </a:cubicBezTo>
                  <a:cubicBezTo>
                    <a:pt x="642" y="636"/>
                    <a:pt x="672" y="603"/>
                    <a:pt x="692" y="561"/>
                  </a:cubicBezTo>
                  <a:cubicBezTo>
                    <a:pt x="714" y="522"/>
                    <a:pt x="722" y="478"/>
                    <a:pt x="722" y="431"/>
                  </a:cubicBezTo>
                  <a:cubicBezTo>
                    <a:pt x="722" y="384"/>
                    <a:pt x="714" y="339"/>
                    <a:pt x="692" y="298"/>
                  </a:cubicBezTo>
                  <a:cubicBezTo>
                    <a:pt x="672" y="259"/>
                    <a:pt x="642" y="223"/>
                    <a:pt x="600" y="198"/>
                  </a:cubicBezTo>
                  <a:cubicBezTo>
                    <a:pt x="561" y="170"/>
                    <a:pt x="511" y="156"/>
                    <a:pt x="450" y="156"/>
                  </a:cubicBezTo>
                  <a:lnTo>
                    <a:pt x="722" y="14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5" name="Freeform 20">
              <a:extLst>
                <a:ext uri="{FF2B5EF4-FFF2-40B4-BE49-F238E27FC236}">
                  <a16:creationId xmlns:a16="http://schemas.microsoft.com/office/drawing/2014/main" id="{01ABDA3E-2449-E242-BA04-92D070AA4E10}"/>
                </a:ext>
              </a:extLst>
            </p:cNvPr>
            <p:cNvSpPr>
              <a:spLocks noChangeArrowheads="1"/>
            </p:cNvSpPr>
            <p:nvPr userDrawn="1"/>
          </p:nvSpPr>
          <p:spPr bwMode="auto">
            <a:xfrm>
              <a:off x="2214563" y="3743325"/>
              <a:ext cx="266700" cy="312738"/>
            </a:xfrm>
            <a:custGeom>
              <a:avLst/>
              <a:gdLst>
                <a:gd name="T0" fmla="*/ 603 w 743"/>
                <a:gd name="T1" fmla="*/ 222 h 870"/>
                <a:gd name="T2" fmla="*/ 603 w 743"/>
                <a:gd name="T3" fmla="*/ 222 h 870"/>
                <a:gd name="T4" fmla="*/ 500 w 743"/>
                <a:gd name="T5" fmla="*/ 161 h 870"/>
                <a:gd name="T6" fmla="*/ 381 w 743"/>
                <a:gd name="T7" fmla="*/ 147 h 870"/>
                <a:gd name="T8" fmla="*/ 250 w 743"/>
                <a:gd name="T9" fmla="*/ 169 h 870"/>
                <a:gd name="T10" fmla="*/ 203 w 743"/>
                <a:gd name="T11" fmla="*/ 244 h 870"/>
                <a:gd name="T12" fmla="*/ 253 w 743"/>
                <a:gd name="T13" fmla="*/ 319 h 870"/>
                <a:gd name="T14" fmla="*/ 386 w 743"/>
                <a:gd name="T15" fmla="*/ 349 h 870"/>
                <a:gd name="T16" fmla="*/ 506 w 743"/>
                <a:gd name="T17" fmla="*/ 366 h 870"/>
                <a:gd name="T18" fmla="*/ 622 w 743"/>
                <a:gd name="T19" fmla="*/ 405 h 870"/>
                <a:gd name="T20" fmla="*/ 708 w 743"/>
                <a:gd name="T21" fmla="*/ 480 h 870"/>
                <a:gd name="T22" fmla="*/ 742 w 743"/>
                <a:gd name="T23" fmla="*/ 608 h 870"/>
                <a:gd name="T24" fmla="*/ 717 w 743"/>
                <a:gd name="T25" fmla="*/ 713 h 870"/>
                <a:gd name="T26" fmla="*/ 645 w 743"/>
                <a:gd name="T27" fmla="*/ 797 h 870"/>
                <a:gd name="T28" fmla="*/ 531 w 743"/>
                <a:gd name="T29" fmla="*/ 849 h 870"/>
                <a:gd name="T30" fmla="*/ 383 w 743"/>
                <a:gd name="T31" fmla="*/ 869 h 870"/>
                <a:gd name="T32" fmla="*/ 184 w 743"/>
                <a:gd name="T33" fmla="*/ 838 h 870"/>
                <a:gd name="T34" fmla="*/ 0 w 743"/>
                <a:gd name="T35" fmla="*/ 716 h 870"/>
                <a:gd name="T36" fmla="*/ 92 w 743"/>
                <a:gd name="T37" fmla="*/ 597 h 870"/>
                <a:gd name="T38" fmla="*/ 231 w 743"/>
                <a:gd name="T39" fmla="*/ 688 h 870"/>
                <a:gd name="T40" fmla="*/ 386 w 743"/>
                <a:gd name="T41" fmla="*/ 719 h 870"/>
                <a:gd name="T42" fmla="*/ 450 w 743"/>
                <a:gd name="T43" fmla="*/ 713 h 870"/>
                <a:gd name="T44" fmla="*/ 506 w 743"/>
                <a:gd name="T45" fmla="*/ 694 h 870"/>
                <a:gd name="T46" fmla="*/ 550 w 743"/>
                <a:gd name="T47" fmla="*/ 661 h 870"/>
                <a:gd name="T48" fmla="*/ 567 w 743"/>
                <a:gd name="T49" fmla="*/ 611 h 870"/>
                <a:gd name="T50" fmla="*/ 517 w 743"/>
                <a:gd name="T51" fmla="*/ 530 h 870"/>
                <a:gd name="T52" fmla="*/ 372 w 743"/>
                <a:gd name="T53" fmla="*/ 497 h 870"/>
                <a:gd name="T54" fmla="*/ 250 w 743"/>
                <a:gd name="T55" fmla="*/ 477 h 870"/>
                <a:gd name="T56" fmla="*/ 142 w 743"/>
                <a:gd name="T57" fmla="*/ 436 h 870"/>
                <a:gd name="T58" fmla="*/ 61 w 743"/>
                <a:gd name="T59" fmla="*/ 363 h 870"/>
                <a:gd name="T60" fmla="*/ 28 w 743"/>
                <a:gd name="T61" fmla="*/ 249 h 870"/>
                <a:gd name="T62" fmla="*/ 61 w 743"/>
                <a:gd name="T63" fmla="*/ 133 h 870"/>
                <a:gd name="T64" fmla="*/ 145 w 743"/>
                <a:gd name="T65" fmla="*/ 55 h 870"/>
                <a:gd name="T66" fmla="*/ 258 w 743"/>
                <a:gd name="T67" fmla="*/ 11 h 870"/>
                <a:gd name="T68" fmla="*/ 378 w 743"/>
                <a:gd name="T69" fmla="*/ 0 h 870"/>
                <a:gd name="T70" fmla="*/ 553 w 743"/>
                <a:gd name="T71" fmla="*/ 22 h 870"/>
                <a:gd name="T72" fmla="*/ 703 w 743"/>
                <a:gd name="T73" fmla="*/ 108 h 870"/>
                <a:gd name="T74" fmla="*/ 603 w 743"/>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3" h="870">
                  <a:moveTo>
                    <a:pt x="603" y="222"/>
                  </a:moveTo>
                  <a:lnTo>
                    <a:pt x="603" y="222"/>
                  </a:lnTo>
                  <a:cubicBezTo>
                    <a:pt x="572" y="191"/>
                    <a:pt x="536" y="172"/>
                    <a:pt x="500" y="161"/>
                  </a:cubicBezTo>
                  <a:cubicBezTo>
                    <a:pt x="464" y="149"/>
                    <a:pt x="425" y="147"/>
                    <a:pt x="381" y="147"/>
                  </a:cubicBezTo>
                  <a:cubicBezTo>
                    <a:pt x="328" y="144"/>
                    <a:pt x="284" y="152"/>
                    <a:pt x="250" y="169"/>
                  </a:cubicBezTo>
                  <a:cubicBezTo>
                    <a:pt x="220" y="188"/>
                    <a:pt x="203" y="211"/>
                    <a:pt x="203" y="244"/>
                  </a:cubicBezTo>
                  <a:cubicBezTo>
                    <a:pt x="203" y="280"/>
                    <a:pt x="220" y="302"/>
                    <a:pt x="253" y="319"/>
                  </a:cubicBezTo>
                  <a:cubicBezTo>
                    <a:pt x="286" y="333"/>
                    <a:pt x="331" y="344"/>
                    <a:pt x="386" y="349"/>
                  </a:cubicBezTo>
                  <a:cubicBezTo>
                    <a:pt x="425" y="352"/>
                    <a:pt x="464" y="358"/>
                    <a:pt x="506" y="366"/>
                  </a:cubicBezTo>
                  <a:cubicBezTo>
                    <a:pt x="550" y="372"/>
                    <a:pt x="586" y="386"/>
                    <a:pt x="622" y="405"/>
                  </a:cubicBezTo>
                  <a:cubicBezTo>
                    <a:pt x="658" y="422"/>
                    <a:pt x="686" y="447"/>
                    <a:pt x="708" y="480"/>
                  </a:cubicBezTo>
                  <a:cubicBezTo>
                    <a:pt x="731" y="513"/>
                    <a:pt x="742" y="555"/>
                    <a:pt x="742" y="608"/>
                  </a:cubicBezTo>
                  <a:cubicBezTo>
                    <a:pt x="742" y="647"/>
                    <a:pt x="733" y="683"/>
                    <a:pt x="717" y="713"/>
                  </a:cubicBezTo>
                  <a:cubicBezTo>
                    <a:pt x="700" y="747"/>
                    <a:pt x="675" y="774"/>
                    <a:pt x="645" y="797"/>
                  </a:cubicBezTo>
                  <a:cubicBezTo>
                    <a:pt x="614" y="819"/>
                    <a:pt x="575" y="838"/>
                    <a:pt x="531" y="849"/>
                  </a:cubicBezTo>
                  <a:cubicBezTo>
                    <a:pt x="486" y="863"/>
                    <a:pt x="439" y="869"/>
                    <a:pt x="383" y="869"/>
                  </a:cubicBezTo>
                  <a:cubicBezTo>
                    <a:pt x="317" y="869"/>
                    <a:pt x="247" y="858"/>
                    <a:pt x="184" y="838"/>
                  </a:cubicBezTo>
                  <a:cubicBezTo>
                    <a:pt x="117" y="819"/>
                    <a:pt x="56" y="777"/>
                    <a:pt x="0" y="716"/>
                  </a:cubicBezTo>
                  <a:cubicBezTo>
                    <a:pt x="92" y="597"/>
                    <a:pt x="92" y="597"/>
                    <a:pt x="92" y="597"/>
                  </a:cubicBezTo>
                  <a:cubicBezTo>
                    <a:pt x="131" y="638"/>
                    <a:pt x="178" y="669"/>
                    <a:pt x="231" y="688"/>
                  </a:cubicBezTo>
                  <a:cubicBezTo>
                    <a:pt x="286" y="708"/>
                    <a:pt x="336" y="719"/>
                    <a:pt x="386" y="719"/>
                  </a:cubicBezTo>
                  <a:cubicBezTo>
                    <a:pt x="408" y="719"/>
                    <a:pt x="428" y="716"/>
                    <a:pt x="450" y="713"/>
                  </a:cubicBezTo>
                  <a:cubicBezTo>
                    <a:pt x="470" y="708"/>
                    <a:pt x="489" y="702"/>
                    <a:pt x="506" y="694"/>
                  </a:cubicBezTo>
                  <a:cubicBezTo>
                    <a:pt x="522" y="686"/>
                    <a:pt x="539" y="674"/>
                    <a:pt x="550" y="661"/>
                  </a:cubicBezTo>
                  <a:cubicBezTo>
                    <a:pt x="561" y="647"/>
                    <a:pt x="567" y="630"/>
                    <a:pt x="567" y="611"/>
                  </a:cubicBezTo>
                  <a:cubicBezTo>
                    <a:pt x="567" y="574"/>
                    <a:pt x="550" y="547"/>
                    <a:pt x="517" y="530"/>
                  </a:cubicBezTo>
                  <a:cubicBezTo>
                    <a:pt x="483" y="513"/>
                    <a:pt x="433" y="502"/>
                    <a:pt x="372" y="497"/>
                  </a:cubicBezTo>
                  <a:cubicBezTo>
                    <a:pt x="331" y="494"/>
                    <a:pt x="292" y="486"/>
                    <a:pt x="250" y="477"/>
                  </a:cubicBezTo>
                  <a:cubicBezTo>
                    <a:pt x="211" y="469"/>
                    <a:pt x="175" y="455"/>
                    <a:pt x="142" y="436"/>
                  </a:cubicBezTo>
                  <a:cubicBezTo>
                    <a:pt x="109" y="416"/>
                    <a:pt x="81" y="394"/>
                    <a:pt x="61" y="363"/>
                  </a:cubicBezTo>
                  <a:cubicBezTo>
                    <a:pt x="39" y="333"/>
                    <a:pt x="28" y="294"/>
                    <a:pt x="28" y="249"/>
                  </a:cubicBezTo>
                  <a:cubicBezTo>
                    <a:pt x="28" y="202"/>
                    <a:pt x="39" y="166"/>
                    <a:pt x="61" y="133"/>
                  </a:cubicBezTo>
                  <a:cubicBezTo>
                    <a:pt x="84" y="102"/>
                    <a:pt x="111" y="74"/>
                    <a:pt x="145" y="55"/>
                  </a:cubicBezTo>
                  <a:cubicBezTo>
                    <a:pt x="178" y="36"/>
                    <a:pt x="217" y="22"/>
                    <a:pt x="258" y="11"/>
                  </a:cubicBezTo>
                  <a:cubicBezTo>
                    <a:pt x="297" y="2"/>
                    <a:pt x="339" y="0"/>
                    <a:pt x="378" y="0"/>
                  </a:cubicBezTo>
                  <a:cubicBezTo>
                    <a:pt x="445" y="0"/>
                    <a:pt x="503" y="8"/>
                    <a:pt x="553" y="22"/>
                  </a:cubicBezTo>
                  <a:cubicBezTo>
                    <a:pt x="606" y="38"/>
                    <a:pt x="656" y="66"/>
                    <a:pt x="703" y="108"/>
                  </a:cubicBezTo>
                  <a:lnTo>
                    <a:pt x="603" y="22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6" name="Freeform 21">
              <a:extLst>
                <a:ext uri="{FF2B5EF4-FFF2-40B4-BE49-F238E27FC236}">
                  <a16:creationId xmlns:a16="http://schemas.microsoft.com/office/drawing/2014/main" id="{2792B539-2BF9-B643-8F48-009A66FC8046}"/>
                </a:ext>
              </a:extLst>
            </p:cNvPr>
            <p:cNvSpPr>
              <a:spLocks noChangeArrowheads="1"/>
            </p:cNvSpPr>
            <p:nvPr userDrawn="1"/>
          </p:nvSpPr>
          <p:spPr bwMode="auto">
            <a:xfrm>
              <a:off x="2698750" y="3749675"/>
              <a:ext cx="63500" cy="298450"/>
            </a:xfrm>
            <a:custGeom>
              <a:avLst/>
              <a:gdLst>
                <a:gd name="T0" fmla="*/ 175 w 176"/>
                <a:gd name="T1" fmla="*/ 828 h 829"/>
                <a:gd name="T2" fmla="*/ 0 w 176"/>
                <a:gd name="T3" fmla="*/ 828 h 829"/>
                <a:gd name="T4" fmla="*/ 0 w 176"/>
                <a:gd name="T5" fmla="*/ 0 h 829"/>
                <a:gd name="T6" fmla="*/ 175 w 176"/>
                <a:gd name="T7" fmla="*/ 0 h 829"/>
                <a:gd name="T8" fmla="*/ 175 w 176"/>
                <a:gd name="T9" fmla="*/ 828 h 829"/>
              </a:gdLst>
              <a:ahLst/>
              <a:cxnLst>
                <a:cxn ang="0">
                  <a:pos x="T0" y="T1"/>
                </a:cxn>
                <a:cxn ang="0">
                  <a:pos x="T2" y="T3"/>
                </a:cxn>
                <a:cxn ang="0">
                  <a:pos x="T4" y="T5"/>
                </a:cxn>
                <a:cxn ang="0">
                  <a:pos x="T6" y="T7"/>
                </a:cxn>
                <a:cxn ang="0">
                  <a:pos x="T8" y="T9"/>
                </a:cxn>
              </a:cxnLst>
              <a:rect l="0" t="0" r="r" b="b"/>
              <a:pathLst>
                <a:path w="176" h="829">
                  <a:moveTo>
                    <a:pt x="175" y="828"/>
                  </a:moveTo>
                  <a:lnTo>
                    <a:pt x="0" y="828"/>
                  </a:lnTo>
                  <a:lnTo>
                    <a:pt x="0" y="0"/>
                  </a:lnTo>
                  <a:lnTo>
                    <a:pt x="175" y="0"/>
                  </a:lnTo>
                  <a:lnTo>
                    <a:pt x="175" y="82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7" name="Freeform 22">
              <a:extLst>
                <a:ext uri="{FF2B5EF4-FFF2-40B4-BE49-F238E27FC236}">
                  <a16:creationId xmlns:a16="http://schemas.microsoft.com/office/drawing/2014/main" id="{564C1D1A-8EAF-5441-83F2-166064B09B32}"/>
                </a:ext>
              </a:extLst>
            </p:cNvPr>
            <p:cNvSpPr>
              <a:spLocks noChangeArrowheads="1"/>
            </p:cNvSpPr>
            <p:nvPr userDrawn="1"/>
          </p:nvSpPr>
          <p:spPr bwMode="auto">
            <a:xfrm>
              <a:off x="2822575" y="3665538"/>
              <a:ext cx="223838" cy="385762"/>
            </a:xfrm>
            <a:custGeom>
              <a:avLst/>
              <a:gdLst>
                <a:gd name="T0" fmla="*/ 342 w 620"/>
                <a:gd name="T1" fmla="*/ 0 h 1073"/>
                <a:gd name="T2" fmla="*/ 342 w 620"/>
                <a:gd name="T3" fmla="*/ 0 h 1073"/>
                <a:gd name="T4" fmla="*/ 342 w 620"/>
                <a:gd name="T5" fmla="*/ 239 h 1073"/>
                <a:gd name="T6" fmla="*/ 586 w 620"/>
                <a:gd name="T7" fmla="*/ 239 h 1073"/>
                <a:gd name="T8" fmla="*/ 586 w 620"/>
                <a:gd name="T9" fmla="*/ 389 h 1073"/>
                <a:gd name="T10" fmla="*/ 339 w 620"/>
                <a:gd name="T11" fmla="*/ 389 h 1073"/>
                <a:gd name="T12" fmla="*/ 339 w 620"/>
                <a:gd name="T13" fmla="*/ 780 h 1073"/>
                <a:gd name="T14" fmla="*/ 369 w 620"/>
                <a:gd name="T15" fmla="*/ 880 h 1073"/>
                <a:gd name="T16" fmla="*/ 461 w 620"/>
                <a:gd name="T17" fmla="*/ 917 h 1073"/>
                <a:gd name="T18" fmla="*/ 514 w 620"/>
                <a:gd name="T19" fmla="*/ 908 h 1073"/>
                <a:gd name="T20" fmla="*/ 566 w 620"/>
                <a:gd name="T21" fmla="*/ 886 h 1073"/>
                <a:gd name="T22" fmla="*/ 619 w 620"/>
                <a:gd name="T23" fmla="*/ 1033 h 1073"/>
                <a:gd name="T24" fmla="*/ 533 w 620"/>
                <a:gd name="T25" fmla="*/ 1061 h 1073"/>
                <a:gd name="T26" fmla="*/ 450 w 620"/>
                <a:gd name="T27" fmla="*/ 1072 h 1073"/>
                <a:gd name="T28" fmla="*/ 236 w 620"/>
                <a:gd name="T29" fmla="*/ 1000 h 1073"/>
                <a:gd name="T30" fmla="*/ 164 w 620"/>
                <a:gd name="T31" fmla="*/ 780 h 1073"/>
                <a:gd name="T32" fmla="*/ 164 w 620"/>
                <a:gd name="T33" fmla="*/ 389 h 1073"/>
                <a:gd name="T34" fmla="*/ 0 w 620"/>
                <a:gd name="T35" fmla="*/ 389 h 1073"/>
                <a:gd name="T36" fmla="*/ 0 w 620"/>
                <a:gd name="T37" fmla="*/ 239 h 1073"/>
                <a:gd name="T38" fmla="*/ 164 w 620"/>
                <a:gd name="T39" fmla="*/ 239 h 1073"/>
                <a:gd name="T40" fmla="*/ 164 w 620"/>
                <a:gd name="T41" fmla="*/ 19 h 1073"/>
                <a:gd name="T42" fmla="*/ 342 w 620"/>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0" h="1073">
                  <a:moveTo>
                    <a:pt x="342" y="0"/>
                  </a:moveTo>
                  <a:lnTo>
                    <a:pt x="342" y="0"/>
                  </a:lnTo>
                  <a:cubicBezTo>
                    <a:pt x="342" y="239"/>
                    <a:pt x="342" y="239"/>
                    <a:pt x="342" y="239"/>
                  </a:cubicBezTo>
                  <a:cubicBezTo>
                    <a:pt x="586" y="239"/>
                    <a:pt x="586" y="239"/>
                    <a:pt x="586" y="239"/>
                  </a:cubicBezTo>
                  <a:cubicBezTo>
                    <a:pt x="586" y="389"/>
                    <a:pt x="586" y="389"/>
                    <a:pt x="586" y="389"/>
                  </a:cubicBezTo>
                  <a:cubicBezTo>
                    <a:pt x="339" y="389"/>
                    <a:pt x="339" y="389"/>
                    <a:pt x="339" y="389"/>
                  </a:cubicBezTo>
                  <a:cubicBezTo>
                    <a:pt x="339" y="780"/>
                    <a:pt x="339" y="780"/>
                    <a:pt x="339" y="780"/>
                  </a:cubicBezTo>
                  <a:cubicBezTo>
                    <a:pt x="339" y="825"/>
                    <a:pt x="350" y="858"/>
                    <a:pt x="369" y="880"/>
                  </a:cubicBezTo>
                  <a:cubicBezTo>
                    <a:pt x="389" y="905"/>
                    <a:pt x="419" y="917"/>
                    <a:pt x="461" y="917"/>
                  </a:cubicBezTo>
                  <a:cubicBezTo>
                    <a:pt x="478" y="917"/>
                    <a:pt x="494" y="914"/>
                    <a:pt x="514" y="908"/>
                  </a:cubicBezTo>
                  <a:cubicBezTo>
                    <a:pt x="533" y="903"/>
                    <a:pt x="550" y="897"/>
                    <a:pt x="566" y="886"/>
                  </a:cubicBezTo>
                  <a:cubicBezTo>
                    <a:pt x="619" y="1033"/>
                    <a:pt x="619" y="1033"/>
                    <a:pt x="619" y="1033"/>
                  </a:cubicBezTo>
                  <a:cubicBezTo>
                    <a:pt x="589" y="1047"/>
                    <a:pt x="561" y="1055"/>
                    <a:pt x="533" y="1061"/>
                  </a:cubicBezTo>
                  <a:cubicBezTo>
                    <a:pt x="508" y="1069"/>
                    <a:pt x="480" y="1072"/>
                    <a:pt x="450" y="1072"/>
                  </a:cubicBezTo>
                  <a:cubicBezTo>
                    <a:pt x="358" y="1072"/>
                    <a:pt x="286" y="1050"/>
                    <a:pt x="236" y="1000"/>
                  </a:cubicBezTo>
                  <a:cubicBezTo>
                    <a:pt x="189" y="953"/>
                    <a:pt x="164" y="878"/>
                    <a:pt x="164" y="780"/>
                  </a:cubicBezTo>
                  <a:cubicBezTo>
                    <a:pt x="164" y="389"/>
                    <a:pt x="164" y="389"/>
                    <a:pt x="164" y="389"/>
                  </a:cubicBezTo>
                  <a:cubicBezTo>
                    <a:pt x="0" y="389"/>
                    <a:pt x="0" y="389"/>
                    <a:pt x="0" y="389"/>
                  </a:cubicBezTo>
                  <a:cubicBezTo>
                    <a:pt x="0" y="239"/>
                    <a:pt x="0" y="239"/>
                    <a:pt x="0" y="239"/>
                  </a:cubicBezTo>
                  <a:cubicBezTo>
                    <a:pt x="164" y="239"/>
                    <a:pt x="164" y="239"/>
                    <a:pt x="164" y="239"/>
                  </a:cubicBezTo>
                  <a:cubicBezTo>
                    <a:pt x="164" y="19"/>
                    <a:pt x="164" y="19"/>
                    <a:pt x="164" y="19"/>
                  </a:cubicBezTo>
                  <a:lnTo>
                    <a:pt x="34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8" name="Freeform 23">
              <a:extLst>
                <a:ext uri="{FF2B5EF4-FFF2-40B4-BE49-F238E27FC236}">
                  <a16:creationId xmlns:a16="http://schemas.microsoft.com/office/drawing/2014/main" id="{0DAD7823-CAC9-CA4F-92EF-FAB2FCF156AF}"/>
                </a:ext>
              </a:extLst>
            </p:cNvPr>
            <p:cNvSpPr>
              <a:spLocks noChangeArrowheads="1"/>
            </p:cNvSpPr>
            <p:nvPr userDrawn="1"/>
          </p:nvSpPr>
          <p:spPr bwMode="auto">
            <a:xfrm>
              <a:off x="3208338" y="3749675"/>
              <a:ext cx="492125" cy="298450"/>
            </a:xfrm>
            <a:custGeom>
              <a:avLst/>
              <a:gdLst>
                <a:gd name="T0" fmla="*/ 761 w 1368"/>
                <a:gd name="T1" fmla="*/ 0 h 829"/>
                <a:gd name="T2" fmla="*/ 961 w 1368"/>
                <a:gd name="T3" fmla="*/ 647 h 829"/>
                <a:gd name="T4" fmla="*/ 1169 w 1368"/>
                <a:gd name="T5" fmla="*/ 0 h 829"/>
                <a:gd name="T6" fmla="*/ 1367 w 1368"/>
                <a:gd name="T7" fmla="*/ 0 h 829"/>
                <a:gd name="T8" fmla="*/ 1072 w 1368"/>
                <a:gd name="T9" fmla="*/ 828 h 829"/>
                <a:gd name="T10" fmla="*/ 867 w 1368"/>
                <a:gd name="T11" fmla="*/ 828 h 829"/>
                <a:gd name="T12" fmla="*/ 767 w 1368"/>
                <a:gd name="T13" fmla="*/ 555 h 829"/>
                <a:gd name="T14" fmla="*/ 686 w 1368"/>
                <a:gd name="T15" fmla="*/ 267 h 829"/>
                <a:gd name="T16" fmla="*/ 603 w 1368"/>
                <a:gd name="T17" fmla="*/ 555 h 829"/>
                <a:gd name="T18" fmla="*/ 503 w 1368"/>
                <a:gd name="T19" fmla="*/ 828 h 829"/>
                <a:gd name="T20" fmla="*/ 297 w 1368"/>
                <a:gd name="T21" fmla="*/ 828 h 829"/>
                <a:gd name="T22" fmla="*/ 0 w 1368"/>
                <a:gd name="T23" fmla="*/ 0 h 829"/>
                <a:gd name="T24" fmla="*/ 200 w 1368"/>
                <a:gd name="T25" fmla="*/ 0 h 829"/>
                <a:gd name="T26" fmla="*/ 408 w 1368"/>
                <a:gd name="T27" fmla="*/ 647 h 829"/>
                <a:gd name="T28" fmla="*/ 608 w 1368"/>
                <a:gd name="T29" fmla="*/ 0 h 829"/>
                <a:gd name="T30" fmla="*/ 761 w 1368"/>
                <a:gd name="T31" fmla="*/ 0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8" h="829">
                  <a:moveTo>
                    <a:pt x="761" y="0"/>
                  </a:moveTo>
                  <a:lnTo>
                    <a:pt x="961" y="647"/>
                  </a:lnTo>
                  <a:lnTo>
                    <a:pt x="1169" y="0"/>
                  </a:lnTo>
                  <a:lnTo>
                    <a:pt x="1367" y="0"/>
                  </a:lnTo>
                  <a:lnTo>
                    <a:pt x="1072" y="828"/>
                  </a:lnTo>
                  <a:lnTo>
                    <a:pt x="867" y="828"/>
                  </a:lnTo>
                  <a:lnTo>
                    <a:pt x="767" y="555"/>
                  </a:lnTo>
                  <a:lnTo>
                    <a:pt x="686" y="267"/>
                  </a:lnTo>
                  <a:lnTo>
                    <a:pt x="603" y="555"/>
                  </a:lnTo>
                  <a:lnTo>
                    <a:pt x="503" y="828"/>
                  </a:lnTo>
                  <a:lnTo>
                    <a:pt x="297" y="828"/>
                  </a:lnTo>
                  <a:lnTo>
                    <a:pt x="0" y="0"/>
                  </a:lnTo>
                  <a:lnTo>
                    <a:pt x="200" y="0"/>
                  </a:lnTo>
                  <a:lnTo>
                    <a:pt x="408" y="647"/>
                  </a:lnTo>
                  <a:lnTo>
                    <a:pt x="608" y="0"/>
                  </a:lnTo>
                  <a:lnTo>
                    <a:pt x="761"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9" name="Freeform 24">
              <a:extLst>
                <a:ext uri="{FF2B5EF4-FFF2-40B4-BE49-F238E27FC236}">
                  <a16:creationId xmlns:a16="http://schemas.microsoft.com/office/drawing/2014/main" id="{6E82E002-17B5-FC43-93DF-470BEFF27B02}"/>
                </a:ext>
              </a:extLst>
            </p:cNvPr>
            <p:cNvSpPr>
              <a:spLocks noChangeArrowheads="1"/>
            </p:cNvSpPr>
            <p:nvPr userDrawn="1"/>
          </p:nvSpPr>
          <p:spPr bwMode="auto">
            <a:xfrm>
              <a:off x="37322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3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8" y="147"/>
                    <a:pt x="127" y="111"/>
                  </a:cubicBezTo>
                  <a:cubicBezTo>
                    <a:pt x="166" y="75"/>
                    <a:pt x="211" y="48"/>
                    <a:pt x="263"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38" y="636"/>
                    <a:pt x="669" y="603"/>
                    <a:pt x="691" y="561"/>
                  </a:cubicBezTo>
                  <a:cubicBezTo>
                    <a:pt x="711" y="522"/>
                    <a:pt x="722" y="478"/>
                    <a:pt x="722" y="431"/>
                  </a:cubicBezTo>
                  <a:cubicBezTo>
                    <a:pt x="722" y="384"/>
                    <a:pt x="711" y="339"/>
                    <a:pt x="691" y="298"/>
                  </a:cubicBezTo>
                  <a:cubicBezTo>
                    <a:pt x="669" y="259"/>
                    <a:pt x="638" y="223"/>
                    <a:pt x="600" y="198"/>
                  </a:cubicBezTo>
                  <a:cubicBezTo>
                    <a:pt x="558" y="170"/>
                    <a:pt x="508" y="156"/>
                    <a:pt x="450" y="156"/>
                  </a:cubicBezTo>
                  <a:lnTo>
                    <a:pt x="722" y="14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0" name="Freeform 25">
              <a:extLst>
                <a:ext uri="{FF2B5EF4-FFF2-40B4-BE49-F238E27FC236}">
                  <a16:creationId xmlns:a16="http://schemas.microsoft.com/office/drawing/2014/main" id="{1BE93160-5AC8-EF46-9C78-5A87EF736B24}"/>
                </a:ext>
              </a:extLst>
            </p:cNvPr>
            <p:cNvSpPr>
              <a:spLocks noChangeArrowheads="1"/>
            </p:cNvSpPr>
            <p:nvPr userDrawn="1"/>
          </p:nvSpPr>
          <p:spPr bwMode="auto">
            <a:xfrm>
              <a:off x="4116388" y="3743325"/>
              <a:ext cx="268287" cy="312738"/>
            </a:xfrm>
            <a:custGeom>
              <a:avLst/>
              <a:gdLst>
                <a:gd name="T0" fmla="*/ 605 w 745"/>
                <a:gd name="T1" fmla="*/ 222 h 870"/>
                <a:gd name="T2" fmla="*/ 605 w 745"/>
                <a:gd name="T3" fmla="*/ 222 h 870"/>
                <a:gd name="T4" fmla="*/ 500 w 745"/>
                <a:gd name="T5" fmla="*/ 161 h 870"/>
                <a:gd name="T6" fmla="*/ 383 w 745"/>
                <a:gd name="T7" fmla="*/ 147 h 870"/>
                <a:gd name="T8" fmla="*/ 253 w 745"/>
                <a:gd name="T9" fmla="*/ 169 h 870"/>
                <a:gd name="T10" fmla="*/ 203 w 745"/>
                <a:gd name="T11" fmla="*/ 244 h 870"/>
                <a:gd name="T12" fmla="*/ 256 w 745"/>
                <a:gd name="T13" fmla="*/ 319 h 870"/>
                <a:gd name="T14" fmla="*/ 386 w 745"/>
                <a:gd name="T15" fmla="*/ 349 h 870"/>
                <a:gd name="T16" fmla="*/ 508 w 745"/>
                <a:gd name="T17" fmla="*/ 366 h 870"/>
                <a:gd name="T18" fmla="*/ 625 w 745"/>
                <a:gd name="T19" fmla="*/ 405 h 870"/>
                <a:gd name="T20" fmla="*/ 711 w 745"/>
                <a:gd name="T21" fmla="*/ 480 h 870"/>
                <a:gd name="T22" fmla="*/ 744 w 745"/>
                <a:gd name="T23" fmla="*/ 608 h 870"/>
                <a:gd name="T24" fmla="*/ 717 w 745"/>
                <a:gd name="T25" fmla="*/ 713 h 870"/>
                <a:gd name="T26" fmla="*/ 644 w 745"/>
                <a:gd name="T27" fmla="*/ 797 h 870"/>
                <a:gd name="T28" fmla="*/ 533 w 745"/>
                <a:gd name="T29" fmla="*/ 849 h 870"/>
                <a:gd name="T30" fmla="*/ 386 w 745"/>
                <a:gd name="T31" fmla="*/ 869 h 870"/>
                <a:gd name="T32" fmla="*/ 183 w 745"/>
                <a:gd name="T33" fmla="*/ 838 h 870"/>
                <a:gd name="T34" fmla="*/ 0 w 745"/>
                <a:gd name="T35" fmla="*/ 716 h 870"/>
                <a:gd name="T36" fmla="*/ 92 w 745"/>
                <a:gd name="T37" fmla="*/ 597 h 870"/>
                <a:gd name="T38" fmla="*/ 233 w 745"/>
                <a:gd name="T39" fmla="*/ 688 h 870"/>
                <a:gd name="T40" fmla="*/ 389 w 745"/>
                <a:gd name="T41" fmla="*/ 719 h 870"/>
                <a:gd name="T42" fmla="*/ 450 w 745"/>
                <a:gd name="T43" fmla="*/ 713 h 870"/>
                <a:gd name="T44" fmla="*/ 508 w 745"/>
                <a:gd name="T45" fmla="*/ 694 h 870"/>
                <a:gd name="T46" fmla="*/ 550 w 745"/>
                <a:gd name="T47" fmla="*/ 661 h 870"/>
                <a:gd name="T48" fmla="*/ 567 w 745"/>
                <a:gd name="T49" fmla="*/ 611 h 870"/>
                <a:gd name="T50" fmla="*/ 519 w 745"/>
                <a:gd name="T51" fmla="*/ 530 h 870"/>
                <a:gd name="T52" fmla="*/ 372 w 745"/>
                <a:gd name="T53" fmla="*/ 497 h 870"/>
                <a:gd name="T54" fmla="*/ 253 w 745"/>
                <a:gd name="T55" fmla="*/ 477 h 870"/>
                <a:gd name="T56" fmla="*/ 142 w 745"/>
                <a:gd name="T57" fmla="*/ 436 h 870"/>
                <a:gd name="T58" fmla="*/ 61 w 745"/>
                <a:gd name="T59" fmla="*/ 363 h 870"/>
                <a:gd name="T60" fmla="*/ 30 w 745"/>
                <a:gd name="T61" fmla="*/ 249 h 870"/>
                <a:gd name="T62" fmla="*/ 61 w 745"/>
                <a:gd name="T63" fmla="*/ 133 h 870"/>
                <a:gd name="T64" fmla="*/ 147 w 745"/>
                <a:gd name="T65" fmla="*/ 55 h 870"/>
                <a:gd name="T66" fmla="*/ 258 w 745"/>
                <a:gd name="T67" fmla="*/ 11 h 870"/>
                <a:gd name="T68" fmla="*/ 381 w 745"/>
                <a:gd name="T69" fmla="*/ 0 h 870"/>
                <a:gd name="T70" fmla="*/ 556 w 745"/>
                <a:gd name="T71" fmla="*/ 22 h 870"/>
                <a:gd name="T72" fmla="*/ 705 w 745"/>
                <a:gd name="T73" fmla="*/ 108 h 870"/>
                <a:gd name="T74" fmla="*/ 605 w 745"/>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5" h="870">
                  <a:moveTo>
                    <a:pt x="605" y="222"/>
                  </a:moveTo>
                  <a:lnTo>
                    <a:pt x="605" y="222"/>
                  </a:lnTo>
                  <a:cubicBezTo>
                    <a:pt x="572" y="191"/>
                    <a:pt x="536" y="172"/>
                    <a:pt x="500" y="161"/>
                  </a:cubicBezTo>
                  <a:cubicBezTo>
                    <a:pt x="464" y="149"/>
                    <a:pt x="425" y="147"/>
                    <a:pt x="383" y="147"/>
                  </a:cubicBezTo>
                  <a:cubicBezTo>
                    <a:pt x="328" y="144"/>
                    <a:pt x="286" y="152"/>
                    <a:pt x="253" y="169"/>
                  </a:cubicBezTo>
                  <a:cubicBezTo>
                    <a:pt x="219" y="188"/>
                    <a:pt x="203" y="211"/>
                    <a:pt x="203" y="244"/>
                  </a:cubicBezTo>
                  <a:cubicBezTo>
                    <a:pt x="206" y="280"/>
                    <a:pt x="222" y="302"/>
                    <a:pt x="256" y="319"/>
                  </a:cubicBezTo>
                  <a:cubicBezTo>
                    <a:pt x="289" y="333"/>
                    <a:pt x="333" y="344"/>
                    <a:pt x="386" y="349"/>
                  </a:cubicBezTo>
                  <a:cubicBezTo>
                    <a:pt x="425" y="352"/>
                    <a:pt x="467" y="358"/>
                    <a:pt x="508" y="366"/>
                  </a:cubicBezTo>
                  <a:cubicBezTo>
                    <a:pt x="550" y="372"/>
                    <a:pt x="589" y="386"/>
                    <a:pt x="625" y="405"/>
                  </a:cubicBezTo>
                  <a:cubicBezTo>
                    <a:pt x="658" y="422"/>
                    <a:pt x="689" y="447"/>
                    <a:pt x="711" y="480"/>
                  </a:cubicBezTo>
                  <a:cubicBezTo>
                    <a:pt x="733" y="513"/>
                    <a:pt x="744" y="555"/>
                    <a:pt x="744" y="608"/>
                  </a:cubicBezTo>
                  <a:cubicBezTo>
                    <a:pt x="744" y="647"/>
                    <a:pt x="736" y="683"/>
                    <a:pt x="717" y="713"/>
                  </a:cubicBezTo>
                  <a:cubicBezTo>
                    <a:pt x="700" y="747"/>
                    <a:pt x="678" y="774"/>
                    <a:pt x="644" y="797"/>
                  </a:cubicBezTo>
                  <a:cubicBezTo>
                    <a:pt x="614" y="819"/>
                    <a:pt x="578" y="838"/>
                    <a:pt x="533" y="849"/>
                  </a:cubicBezTo>
                  <a:cubicBezTo>
                    <a:pt x="489" y="863"/>
                    <a:pt x="439" y="869"/>
                    <a:pt x="386" y="869"/>
                  </a:cubicBezTo>
                  <a:cubicBezTo>
                    <a:pt x="317" y="869"/>
                    <a:pt x="250" y="858"/>
                    <a:pt x="183" y="838"/>
                  </a:cubicBezTo>
                  <a:cubicBezTo>
                    <a:pt x="117" y="819"/>
                    <a:pt x="56" y="777"/>
                    <a:pt x="0" y="716"/>
                  </a:cubicBezTo>
                  <a:cubicBezTo>
                    <a:pt x="92" y="597"/>
                    <a:pt x="92" y="597"/>
                    <a:pt x="92" y="597"/>
                  </a:cubicBezTo>
                  <a:cubicBezTo>
                    <a:pt x="133" y="638"/>
                    <a:pt x="181" y="669"/>
                    <a:pt x="233" y="688"/>
                  </a:cubicBezTo>
                  <a:cubicBezTo>
                    <a:pt x="286" y="708"/>
                    <a:pt x="339" y="719"/>
                    <a:pt x="389" y="719"/>
                  </a:cubicBezTo>
                  <a:cubicBezTo>
                    <a:pt x="408" y="719"/>
                    <a:pt x="430" y="716"/>
                    <a:pt x="450" y="713"/>
                  </a:cubicBezTo>
                  <a:cubicBezTo>
                    <a:pt x="472" y="708"/>
                    <a:pt x="492" y="702"/>
                    <a:pt x="508" y="694"/>
                  </a:cubicBezTo>
                  <a:cubicBezTo>
                    <a:pt x="525" y="686"/>
                    <a:pt x="539" y="674"/>
                    <a:pt x="550" y="661"/>
                  </a:cubicBezTo>
                  <a:cubicBezTo>
                    <a:pt x="561" y="647"/>
                    <a:pt x="567" y="630"/>
                    <a:pt x="567" y="611"/>
                  </a:cubicBezTo>
                  <a:cubicBezTo>
                    <a:pt x="569" y="574"/>
                    <a:pt x="553" y="547"/>
                    <a:pt x="519" y="530"/>
                  </a:cubicBezTo>
                  <a:cubicBezTo>
                    <a:pt x="483" y="513"/>
                    <a:pt x="436" y="502"/>
                    <a:pt x="372" y="497"/>
                  </a:cubicBezTo>
                  <a:cubicBezTo>
                    <a:pt x="333" y="494"/>
                    <a:pt x="292" y="486"/>
                    <a:pt x="253" y="477"/>
                  </a:cubicBezTo>
                  <a:cubicBezTo>
                    <a:pt x="211" y="469"/>
                    <a:pt x="175" y="455"/>
                    <a:pt x="142" y="436"/>
                  </a:cubicBezTo>
                  <a:cubicBezTo>
                    <a:pt x="108" y="416"/>
                    <a:pt x="83" y="394"/>
                    <a:pt x="61" y="363"/>
                  </a:cubicBezTo>
                  <a:cubicBezTo>
                    <a:pt x="42" y="333"/>
                    <a:pt x="30" y="294"/>
                    <a:pt x="30" y="249"/>
                  </a:cubicBezTo>
                  <a:cubicBezTo>
                    <a:pt x="30" y="202"/>
                    <a:pt x="42" y="166"/>
                    <a:pt x="61" y="133"/>
                  </a:cubicBezTo>
                  <a:cubicBezTo>
                    <a:pt x="83" y="102"/>
                    <a:pt x="111" y="74"/>
                    <a:pt x="147" y="55"/>
                  </a:cubicBezTo>
                  <a:cubicBezTo>
                    <a:pt x="181" y="36"/>
                    <a:pt x="217" y="22"/>
                    <a:pt x="258" y="11"/>
                  </a:cubicBezTo>
                  <a:cubicBezTo>
                    <a:pt x="300" y="2"/>
                    <a:pt x="339" y="0"/>
                    <a:pt x="381" y="0"/>
                  </a:cubicBezTo>
                  <a:cubicBezTo>
                    <a:pt x="444" y="0"/>
                    <a:pt x="503" y="8"/>
                    <a:pt x="556" y="22"/>
                  </a:cubicBezTo>
                  <a:cubicBezTo>
                    <a:pt x="605" y="38"/>
                    <a:pt x="656" y="66"/>
                    <a:pt x="705" y="108"/>
                  </a:cubicBezTo>
                  <a:lnTo>
                    <a:pt x="605" y="22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1" name="Freeform 26">
              <a:extLst>
                <a:ext uri="{FF2B5EF4-FFF2-40B4-BE49-F238E27FC236}">
                  <a16:creationId xmlns:a16="http://schemas.microsoft.com/office/drawing/2014/main" id="{DDD57F73-63D0-3547-A54B-6755DA9F0D6C}"/>
                </a:ext>
              </a:extLst>
            </p:cNvPr>
            <p:cNvSpPr>
              <a:spLocks noChangeArrowheads="1"/>
            </p:cNvSpPr>
            <p:nvPr userDrawn="1"/>
          </p:nvSpPr>
          <p:spPr bwMode="auto">
            <a:xfrm>
              <a:off x="4600575" y="3744913"/>
              <a:ext cx="476250" cy="301625"/>
            </a:xfrm>
            <a:custGeom>
              <a:avLst/>
              <a:gdLst>
                <a:gd name="T0" fmla="*/ 575 w 1322"/>
                <a:gd name="T1" fmla="*/ 839 h 840"/>
                <a:gd name="T2" fmla="*/ 575 w 1322"/>
                <a:gd name="T3" fmla="*/ 839 h 840"/>
                <a:gd name="T4" fmla="*/ 575 w 1322"/>
                <a:gd name="T5" fmla="*/ 386 h 840"/>
                <a:gd name="T6" fmla="*/ 564 w 1322"/>
                <a:gd name="T7" fmla="*/ 300 h 840"/>
                <a:gd name="T8" fmla="*/ 525 w 1322"/>
                <a:gd name="T9" fmla="*/ 228 h 840"/>
                <a:gd name="T10" fmla="*/ 461 w 1322"/>
                <a:gd name="T11" fmla="*/ 178 h 840"/>
                <a:gd name="T12" fmla="*/ 381 w 1322"/>
                <a:gd name="T13" fmla="*/ 161 h 840"/>
                <a:gd name="T14" fmla="*/ 295 w 1322"/>
                <a:gd name="T15" fmla="*/ 178 h 840"/>
                <a:gd name="T16" fmla="*/ 231 w 1322"/>
                <a:gd name="T17" fmla="*/ 228 h 840"/>
                <a:gd name="T18" fmla="*/ 192 w 1322"/>
                <a:gd name="T19" fmla="*/ 300 h 840"/>
                <a:gd name="T20" fmla="*/ 175 w 1322"/>
                <a:gd name="T21" fmla="*/ 386 h 840"/>
                <a:gd name="T22" fmla="*/ 175 w 1322"/>
                <a:gd name="T23" fmla="*/ 839 h 840"/>
                <a:gd name="T24" fmla="*/ 0 w 1322"/>
                <a:gd name="T25" fmla="*/ 839 h 840"/>
                <a:gd name="T26" fmla="*/ 0 w 1322"/>
                <a:gd name="T27" fmla="*/ 14 h 840"/>
                <a:gd name="T28" fmla="*/ 164 w 1322"/>
                <a:gd name="T29" fmla="*/ 14 h 840"/>
                <a:gd name="T30" fmla="*/ 175 w 1322"/>
                <a:gd name="T31" fmla="*/ 125 h 840"/>
                <a:gd name="T32" fmla="*/ 278 w 1322"/>
                <a:gd name="T33" fmla="*/ 28 h 840"/>
                <a:gd name="T34" fmla="*/ 411 w 1322"/>
                <a:gd name="T35" fmla="*/ 0 h 840"/>
                <a:gd name="T36" fmla="*/ 492 w 1322"/>
                <a:gd name="T37" fmla="*/ 8 h 840"/>
                <a:gd name="T38" fmla="*/ 567 w 1322"/>
                <a:gd name="T39" fmla="*/ 36 h 840"/>
                <a:gd name="T40" fmla="*/ 631 w 1322"/>
                <a:gd name="T41" fmla="*/ 89 h 840"/>
                <a:gd name="T42" fmla="*/ 675 w 1322"/>
                <a:gd name="T43" fmla="*/ 167 h 840"/>
                <a:gd name="T44" fmla="*/ 803 w 1322"/>
                <a:gd name="T45" fmla="*/ 39 h 840"/>
                <a:gd name="T46" fmla="*/ 964 w 1322"/>
                <a:gd name="T47" fmla="*/ 3 h 840"/>
                <a:gd name="T48" fmla="*/ 1230 w 1322"/>
                <a:gd name="T49" fmla="*/ 103 h 840"/>
                <a:gd name="T50" fmla="*/ 1321 w 1322"/>
                <a:gd name="T51" fmla="*/ 383 h 840"/>
                <a:gd name="T52" fmla="*/ 1321 w 1322"/>
                <a:gd name="T53" fmla="*/ 839 h 840"/>
                <a:gd name="T54" fmla="*/ 1145 w 1322"/>
                <a:gd name="T55" fmla="*/ 839 h 840"/>
                <a:gd name="T56" fmla="*/ 1145 w 1322"/>
                <a:gd name="T57" fmla="*/ 381 h 840"/>
                <a:gd name="T58" fmla="*/ 1134 w 1322"/>
                <a:gd name="T59" fmla="*/ 297 h 840"/>
                <a:gd name="T60" fmla="*/ 1097 w 1322"/>
                <a:gd name="T61" fmla="*/ 225 h 840"/>
                <a:gd name="T62" fmla="*/ 1039 w 1322"/>
                <a:gd name="T63" fmla="*/ 178 h 840"/>
                <a:gd name="T64" fmla="*/ 959 w 1322"/>
                <a:gd name="T65" fmla="*/ 161 h 840"/>
                <a:gd name="T66" fmla="*/ 872 w 1322"/>
                <a:gd name="T67" fmla="*/ 181 h 840"/>
                <a:gd name="T68" fmla="*/ 809 w 1322"/>
                <a:gd name="T69" fmla="*/ 228 h 840"/>
                <a:gd name="T70" fmla="*/ 767 w 1322"/>
                <a:gd name="T71" fmla="*/ 300 h 840"/>
                <a:gd name="T72" fmla="*/ 753 w 1322"/>
                <a:gd name="T73" fmla="*/ 386 h 840"/>
                <a:gd name="T74" fmla="*/ 753 w 1322"/>
                <a:gd name="T75" fmla="*/ 839 h 840"/>
                <a:gd name="T76" fmla="*/ 575 w 1322"/>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2" h="840">
                  <a:moveTo>
                    <a:pt x="575" y="839"/>
                  </a:moveTo>
                  <a:lnTo>
                    <a:pt x="575" y="839"/>
                  </a:lnTo>
                  <a:cubicBezTo>
                    <a:pt x="575" y="386"/>
                    <a:pt x="575" y="386"/>
                    <a:pt x="575" y="386"/>
                  </a:cubicBezTo>
                  <a:cubicBezTo>
                    <a:pt x="575" y="356"/>
                    <a:pt x="572" y="325"/>
                    <a:pt x="564" y="300"/>
                  </a:cubicBezTo>
                  <a:cubicBezTo>
                    <a:pt x="556" y="272"/>
                    <a:pt x="542" y="247"/>
                    <a:pt x="525" y="228"/>
                  </a:cubicBezTo>
                  <a:cubicBezTo>
                    <a:pt x="509" y="206"/>
                    <a:pt x="486" y="189"/>
                    <a:pt x="461" y="178"/>
                  </a:cubicBezTo>
                  <a:cubicBezTo>
                    <a:pt x="436" y="167"/>
                    <a:pt x="411" y="161"/>
                    <a:pt x="381" y="161"/>
                  </a:cubicBezTo>
                  <a:cubicBezTo>
                    <a:pt x="347" y="161"/>
                    <a:pt x="320" y="167"/>
                    <a:pt x="295" y="178"/>
                  </a:cubicBezTo>
                  <a:cubicBezTo>
                    <a:pt x="270" y="189"/>
                    <a:pt x="250" y="206"/>
                    <a:pt x="231" y="228"/>
                  </a:cubicBezTo>
                  <a:cubicBezTo>
                    <a:pt x="214" y="247"/>
                    <a:pt x="200" y="272"/>
                    <a:pt x="192" y="300"/>
                  </a:cubicBezTo>
                  <a:cubicBezTo>
                    <a:pt x="181" y="325"/>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200" y="78"/>
                    <a:pt x="234" y="47"/>
                    <a:pt x="278" y="28"/>
                  </a:cubicBezTo>
                  <a:cubicBezTo>
                    <a:pt x="323" y="8"/>
                    <a:pt x="367" y="0"/>
                    <a:pt x="411" y="0"/>
                  </a:cubicBezTo>
                  <a:cubicBezTo>
                    <a:pt x="439" y="0"/>
                    <a:pt x="467" y="3"/>
                    <a:pt x="492" y="8"/>
                  </a:cubicBezTo>
                  <a:cubicBezTo>
                    <a:pt x="520" y="14"/>
                    <a:pt x="542" y="22"/>
                    <a:pt x="567" y="36"/>
                  </a:cubicBezTo>
                  <a:cubicBezTo>
                    <a:pt x="589" y="50"/>
                    <a:pt x="611" y="67"/>
                    <a:pt x="631" y="89"/>
                  </a:cubicBezTo>
                  <a:cubicBezTo>
                    <a:pt x="647" y="111"/>
                    <a:pt x="664" y="136"/>
                    <a:pt x="675" y="167"/>
                  </a:cubicBezTo>
                  <a:cubicBezTo>
                    <a:pt x="711" y="106"/>
                    <a:pt x="753" y="61"/>
                    <a:pt x="803" y="39"/>
                  </a:cubicBezTo>
                  <a:cubicBezTo>
                    <a:pt x="853" y="14"/>
                    <a:pt x="906" y="3"/>
                    <a:pt x="964" y="3"/>
                  </a:cubicBezTo>
                  <a:cubicBezTo>
                    <a:pt x="1084" y="3"/>
                    <a:pt x="1172" y="36"/>
                    <a:pt x="1230" y="103"/>
                  </a:cubicBezTo>
                  <a:cubicBezTo>
                    <a:pt x="1291" y="169"/>
                    <a:pt x="1321" y="264"/>
                    <a:pt x="1321" y="383"/>
                  </a:cubicBezTo>
                  <a:cubicBezTo>
                    <a:pt x="1321" y="839"/>
                    <a:pt x="1321" y="839"/>
                    <a:pt x="1321" y="839"/>
                  </a:cubicBezTo>
                  <a:cubicBezTo>
                    <a:pt x="1145" y="839"/>
                    <a:pt x="1145" y="839"/>
                    <a:pt x="1145" y="839"/>
                  </a:cubicBezTo>
                  <a:cubicBezTo>
                    <a:pt x="1145" y="381"/>
                    <a:pt x="1145" y="381"/>
                    <a:pt x="1145" y="381"/>
                  </a:cubicBezTo>
                  <a:cubicBezTo>
                    <a:pt x="1145" y="353"/>
                    <a:pt x="1139" y="322"/>
                    <a:pt x="1134" y="297"/>
                  </a:cubicBezTo>
                  <a:cubicBezTo>
                    <a:pt x="1125" y="269"/>
                    <a:pt x="1114" y="247"/>
                    <a:pt x="1097" y="225"/>
                  </a:cubicBezTo>
                  <a:cubicBezTo>
                    <a:pt x="1081" y="206"/>
                    <a:pt x="1061" y="189"/>
                    <a:pt x="1039" y="178"/>
                  </a:cubicBezTo>
                  <a:cubicBezTo>
                    <a:pt x="1017" y="167"/>
                    <a:pt x="989" y="161"/>
                    <a:pt x="959" y="161"/>
                  </a:cubicBezTo>
                  <a:cubicBezTo>
                    <a:pt x="928" y="161"/>
                    <a:pt x="900" y="169"/>
                    <a:pt x="872" y="181"/>
                  </a:cubicBezTo>
                  <a:cubicBezTo>
                    <a:pt x="847" y="192"/>
                    <a:pt x="825" y="208"/>
                    <a:pt x="809" y="228"/>
                  </a:cubicBezTo>
                  <a:cubicBezTo>
                    <a:pt x="792" y="247"/>
                    <a:pt x="778" y="272"/>
                    <a:pt x="767" y="300"/>
                  </a:cubicBezTo>
                  <a:cubicBezTo>
                    <a:pt x="759" y="325"/>
                    <a:pt x="753" y="356"/>
                    <a:pt x="753" y="386"/>
                  </a:cubicBezTo>
                  <a:cubicBezTo>
                    <a:pt x="753" y="839"/>
                    <a:pt x="753" y="839"/>
                    <a:pt x="753" y="839"/>
                  </a:cubicBezTo>
                  <a:lnTo>
                    <a:pt x="575" y="83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2" name="Freeform 27">
              <a:extLst>
                <a:ext uri="{FF2B5EF4-FFF2-40B4-BE49-F238E27FC236}">
                  <a16:creationId xmlns:a16="http://schemas.microsoft.com/office/drawing/2014/main" id="{B9AF8797-0C86-674C-90DA-F33842031780}"/>
                </a:ext>
              </a:extLst>
            </p:cNvPr>
            <p:cNvSpPr>
              <a:spLocks noChangeArrowheads="1"/>
            </p:cNvSpPr>
            <p:nvPr userDrawn="1"/>
          </p:nvSpPr>
          <p:spPr bwMode="auto">
            <a:xfrm>
              <a:off x="5138738" y="3743325"/>
              <a:ext cx="315912"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2 w 876"/>
                <a:gd name="T11" fmla="*/ 680 h 864"/>
                <a:gd name="T12" fmla="*/ 703 w 876"/>
                <a:gd name="T13" fmla="*/ 616 h 864"/>
                <a:gd name="T14" fmla="*/ 817 w 876"/>
                <a:gd name="T15" fmla="*/ 724 h 864"/>
                <a:gd name="T16" fmla="*/ 742 w 876"/>
                <a:gd name="T17" fmla="*/ 786 h 864"/>
                <a:gd name="T18" fmla="*/ 653 w 876"/>
                <a:gd name="T19" fmla="*/ 830 h 864"/>
                <a:gd name="T20" fmla="*/ 553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3 w 876"/>
                <a:gd name="T35" fmla="*/ 119 h 864"/>
                <a:gd name="T36" fmla="*/ 261 w 876"/>
                <a:gd name="T37" fmla="*/ 30 h 864"/>
                <a:gd name="T38" fmla="*/ 442 w 876"/>
                <a:gd name="T39" fmla="*/ 0 h 864"/>
                <a:gd name="T40" fmla="*/ 628 w 876"/>
                <a:gd name="T41" fmla="*/ 30 h 864"/>
                <a:gd name="T42" fmla="*/ 767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2 w 876"/>
                <a:gd name="T55" fmla="*/ 202 h 864"/>
                <a:gd name="T56" fmla="*/ 448 w 876"/>
                <a:gd name="T57" fmla="*/ 152 h 864"/>
                <a:gd name="T58" fmla="*/ 278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17" y="686"/>
                    <a:pt x="381" y="705"/>
                    <a:pt x="459" y="705"/>
                  </a:cubicBezTo>
                  <a:cubicBezTo>
                    <a:pt x="500" y="705"/>
                    <a:pt x="548" y="697"/>
                    <a:pt x="592" y="680"/>
                  </a:cubicBezTo>
                  <a:cubicBezTo>
                    <a:pt x="639" y="666"/>
                    <a:pt x="675" y="644"/>
                    <a:pt x="703" y="616"/>
                  </a:cubicBezTo>
                  <a:cubicBezTo>
                    <a:pt x="817" y="724"/>
                    <a:pt x="817" y="724"/>
                    <a:pt x="817" y="724"/>
                  </a:cubicBezTo>
                  <a:cubicBezTo>
                    <a:pt x="795" y="747"/>
                    <a:pt x="770" y="769"/>
                    <a:pt x="742" y="786"/>
                  </a:cubicBezTo>
                  <a:cubicBezTo>
                    <a:pt x="714" y="802"/>
                    <a:pt x="684" y="819"/>
                    <a:pt x="653" y="830"/>
                  </a:cubicBezTo>
                  <a:cubicBezTo>
                    <a:pt x="620" y="841"/>
                    <a:pt x="589" y="849"/>
                    <a:pt x="553" y="855"/>
                  </a:cubicBezTo>
                  <a:cubicBezTo>
                    <a:pt x="520" y="861"/>
                    <a:pt x="486" y="863"/>
                    <a:pt x="456" y="863"/>
                  </a:cubicBezTo>
                  <a:cubicBezTo>
                    <a:pt x="386" y="863"/>
                    <a:pt x="323" y="855"/>
                    <a:pt x="267" y="833"/>
                  </a:cubicBezTo>
                  <a:cubicBezTo>
                    <a:pt x="211" y="813"/>
                    <a:pt x="164" y="783"/>
                    <a:pt x="125" y="747"/>
                  </a:cubicBezTo>
                  <a:cubicBezTo>
                    <a:pt x="86" y="708"/>
                    <a:pt x="56" y="661"/>
                    <a:pt x="34" y="608"/>
                  </a:cubicBezTo>
                  <a:cubicBezTo>
                    <a:pt x="11" y="552"/>
                    <a:pt x="0" y="494"/>
                    <a:pt x="0" y="427"/>
                  </a:cubicBezTo>
                  <a:cubicBezTo>
                    <a:pt x="0" y="366"/>
                    <a:pt x="11" y="308"/>
                    <a:pt x="34" y="255"/>
                  </a:cubicBezTo>
                  <a:cubicBezTo>
                    <a:pt x="56" y="202"/>
                    <a:pt x="84" y="158"/>
                    <a:pt x="123" y="119"/>
                  </a:cubicBezTo>
                  <a:cubicBezTo>
                    <a:pt x="161" y="80"/>
                    <a:pt x="209" y="52"/>
                    <a:pt x="261" y="30"/>
                  </a:cubicBezTo>
                  <a:cubicBezTo>
                    <a:pt x="317" y="8"/>
                    <a:pt x="378" y="0"/>
                    <a:pt x="442" y="0"/>
                  </a:cubicBezTo>
                  <a:cubicBezTo>
                    <a:pt x="511" y="0"/>
                    <a:pt x="573" y="8"/>
                    <a:pt x="628" y="30"/>
                  </a:cubicBezTo>
                  <a:cubicBezTo>
                    <a:pt x="684" y="50"/>
                    <a:pt x="731" y="80"/>
                    <a:pt x="767" y="122"/>
                  </a:cubicBezTo>
                  <a:cubicBezTo>
                    <a:pt x="806" y="163"/>
                    <a:pt x="834" y="216"/>
                    <a:pt x="853" y="277"/>
                  </a:cubicBezTo>
                  <a:cubicBezTo>
                    <a:pt x="870" y="341"/>
                    <a:pt x="875" y="413"/>
                    <a:pt x="867" y="497"/>
                  </a:cubicBezTo>
                  <a:lnTo>
                    <a:pt x="186" y="352"/>
                  </a:lnTo>
                  <a:lnTo>
                    <a:pt x="186" y="352"/>
                  </a:lnTo>
                  <a:cubicBezTo>
                    <a:pt x="698" y="352"/>
                    <a:pt x="698" y="352"/>
                    <a:pt x="698" y="352"/>
                  </a:cubicBezTo>
                  <a:cubicBezTo>
                    <a:pt x="692" y="286"/>
                    <a:pt x="667" y="236"/>
                    <a:pt x="622" y="202"/>
                  </a:cubicBezTo>
                  <a:cubicBezTo>
                    <a:pt x="578" y="169"/>
                    <a:pt x="520" y="152"/>
                    <a:pt x="448" y="152"/>
                  </a:cubicBezTo>
                  <a:cubicBezTo>
                    <a:pt x="384" y="152"/>
                    <a:pt x="328" y="169"/>
                    <a:pt x="278" y="202"/>
                  </a:cubicBezTo>
                  <a:cubicBezTo>
                    <a:pt x="231" y="236"/>
                    <a:pt x="200" y="286"/>
                    <a:pt x="186" y="352"/>
                  </a:cubicBezTo>
                  <a:lnTo>
                    <a:pt x="867" y="49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3" name="Freeform 28">
              <a:extLst>
                <a:ext uri="{FF2B5EF4-FFF2-40B4-BE49-F238E27FC236}">
                  <a16:creationId xmlns:a16="http://schemas.microsoft.com/office/drawing/2014/main" id="{5BF9A24D-8A8F-674D-8BDD-F3130737A780}"/>
                </a:ext>
              </a:extLst>
            </p:cNvPr>
            <p:cNvSpPr>
              <a:spLocks noChangeArrowheads="1"/>
            </p:cNvSpPr>
            <p:nvPr userDrawn="1"/>
          </p:nvSpPr>
          <p:spPr bwMode="auto">
            <a:xfrm>
              <a:off x="54975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4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9" y="147"/>
                    <a:pt x="127" y="111"/>
                  </a:cubicBezTo>
                  <a:cubicBezTo>
                    <a:pt x="166" y="75"/>
                    <a:pt x="211" y="48"/>
                    <a:pt x="264"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41" y="636"/>
                    <a:pt x="669" y="603"/>
                    <a:pt x="691" y="561"/>
                  </a:cubicBezTo>
                  <a:cubicBezTo>
                    <a:pt x="711" y="522"/>
                    <a:pt x="722" y="478"/>
                    <a:pt x="722" y="431"/>
                  </a:cubicBezTo>
                  <a:cubicBezTo>
                    <a:pt x="722" y="384"/>
                    <a:pt x="711" y="339"/>
                    <a:pt x="691" y="298"/>
                  </a:cubicBezTo>
                  <a:cubicBezTo>
                    <a:pt x="669" y="259"/>
                    <a:pt x="641" y="223"/>
                    <a:pt x="600" y="198"/>
                  </a:cubicBezTo>
                  <a:cubicBezTo>
                    <a:pt x="558" y="170"/>
                    <a:pt x="508" y="156"/>
                    <a:pt x="450" y="156"/>
                  </a:cubicBezTo>
                  <a:lnTo>
                    <a:pt x="722" y="14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4" name="Freeform 29">
              <a:extLst>
                <a:ext uri="{FF2B5EF4-FFF2-40B4-BE49-F238E27FC236}">
                  <a16:creationId xmlns:a16="http://schemas.microsoft.com/office/drawing/2014/main" id="{CBC6FC9C-9E31-234B-96E0-9D3A3E0E3C7C}"/>
                </a:ext>
              </a:extLst>
            </p:cNvPr>
            <p:cNvSpPr>
              <a:spLocks noChangeArrowheads="1"/>
            </p:cNvSpPr>
            <p:nvPr userDrawn="1"/>
          </p:nvSpPr>
          <p:spPr bwMode="auto">
            <a:xfrm>
              <a:off x="5905500" y="3746500"/>
              <a:ext cx="293688" cy="301625"/>
            </a:xfrm>
            <a:custGeom>
              <a:avLst/>
              <a:gdLst>
                <a:gd name="T0" fmla="*/ 639 w 817"/>
                <a:gd name="T1" fmla="*/ 836 h 837"/>
                <a:gd name="T2" fmla="*/ 639 w 817"/>
                <a:gd name="T3" fmla="*/ 836 h 837"/>
                <a:gd name="T4" fmla="*/ 639 w 817"/>
                <a:gd name="T5" fmla="*/ 397 h 837"/>
                <a:gd name="T6" fmla="*/ 580 w 817"/>
                <a:gd name="T7" fmla="*/ 225 h 837"/>
                <a:gd name="T8" fmla="*/ 411 w 817"/>
                <a:gd name="T9" fmla="*/ 158 h 837"/>
                <a:gd name="T10" fmla="*/ 316 w 817"/>
                <a:gd name="T11" fmla="*/ 178 h 837"/>
                <a:gd name="T12" fmla="*/ 241 w 817"/>
                <a:gd name="T13" fmla="*/ 230 h 837"/>
                <a:gd name="T14" fmla="*/ 194 w 817"/>
                <a:gd name="T15" fmla="*/ 311 h 837"/>
                <a:gd name="T16" fmla="*/ 177 w 817"/>
                <a:gd name="T17" fmla="*/ 405 h 837"/>
                <a:gd name="T18" fmla="*/ 177 w 817"/>
                <a:gd name="T19" fmla="*/ 836 h 837"/>
                <a:gd name="T20" fmla="*/ 0 w 817"/>
                <a:gd name="T21" fmla="*/ 836 h 837"/>
                <a:gd name="T22" fmla="*/ 0 w 817"/>
                <a:gd name="T23" fmla="*/ 11 h 837"/>
                <a:gd name="T24" fmla="*/ 161 w 817"/>
                <a:gd name="T25" fmla="*/ 11 h 837"/>
                <a:gd name="T26" fmla="*/ 172 w 817"/>
                <a:gd name="T27" fmla="*/ 130 h 837"/>
                <a:gd name="T28" fmla="*/ 455 w 817"/>
                <a:gd name="T29" fmla="*/ 0 h 837"/>
                <a:gd name="T30" fmla="*/ 597 w 817"/>
                <a:gd name="T31" fmla="*/ 25 h 837"/>
                <a:gd name="T32" fmla="*/ 711 w 817"/>
                <a:gd name="T33" fmla="*/ 100 h 837"/>
                <a:gd name="T34" fmla="*/ 789 w 817"/>
                <a:gd name="T35" fmla="*/ 225 h 837"/>
                <a:gd name="T36" fmla="*/ 816 w 817"/>
                <a:gd name="T37" fmla="*/ 394 h 837"/>
                <a:gd name="T38" fmla="*/ 816 w 817"/>
                <a:gd name="T39" fmla="*/ 836 h 837"/>
                <a:gd name="T40" fmla="*/ 639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9" y="836"/>
                  </a:moveTo>
                  <a:lnTo>
                    <a:pt x="639" y="836"/>
                  </a:lnTo>
                  <a:cubicBezTo>
                    <a:pt x="639" y="397"/>
                    <a:pt x="639" y="397"/>
                    <a:pt x="639" y="397"/>
                  </a:cubicBezTo>
                  <a:cubicBezTo>
                    <a:pt x="639" y="325"/>
                    <a:pt x="619" y="266"/>
                    <a:pt x="580" y="225"/>
                  </a:cubicBezTo>
                  <a:cubicBezTo>
                    <a:pt x="541" y="180"/>
                    <a:pt x="486" y="158"/>
                    <a:pt x="411" y="158"/>
                  </a:cubicBezTo>
                  <a:cubicBezTo>
                    <a:pt x="377" y="158"/>
                    <a:pt x="344" y="166"/>
                    <a:pt x="316" y="178"/>
                  </a:cubicBezTo>
                  <a:cubicBezTo>
                    <a:pt x="286" y="192"/>
                    <a:pt x="261" y="208"/>
                    <a:pt x="241" y="230"/>
                  </a:cubicBezTo>
                  <a:cubicBezTo>
                    <a:pt x="222" y="255"/>
                    <a:pt x="205" y="280"/>
                    <a:pt x="194" y="311"/>
                  </a:cubicBezTo>
                  <a:cubicBezTo>
                    <a:pt x="183" y="341"/>
                    <a:pt x="177" y="372"/>
                    <a:pt x="177" y="405"/>
                  </a:cubicBezTo>
                  <a:cubicBezTo>
                    <a:pt x="177" y="836"/>
                    <a:pt x="177" y="836"/>
                    <a:pt x="177" y="836"/>
                  </a:cubicBezTo>
                  <a:cubicBezTo>
                    <a:pt x="0" y="836"/>
                    <a:pt x="0" y="836"/>
                    <a:pt x="0" y="836"/>
                  </a:cubicBezTo>
                  <a:cubicBezTo>
                    <a:pt x="0" y="11"/>
                    <a:pt x="0" y="11"/>
                    <a:pt x="0" y="11"/>
                  </a:cubicBezTo>
                  <a:cubicBezTo>
                    <a:pt x="161" y="11"/>
                    <a:pt x="161" y="11"/>
                    <a:pt x="161" y="11"/>
                  </a:cubicBezTo>
                  <a:cubicBezTo>
                    <a:pt x="172" y="130"/>
                    <a:pt x="172" y="130"/>
                    <a:pt x="172" y="130"/>
                  </a:cubicBezTo>
                  <a:cubicBezTo>
                    <a:pt x="250" y="42"/>
                    <a:pt x="344" y="0"/>
                    <a:pt x="455" y="0"/>
                  </a:cubicBezTo>
                  <a:cubicBezTo>
                    <a:pt x="505" y="0"/>
                    <a:pt x="552" y="8"/>
                    <a:pt x="597" y="25"/>
                  </a:cubicBezTo>
                  <a:cubicBezTo>
                    <a:pt x="641" y="42"/>
                    <a:pt x="680" y="66"/>
                    <a:pt x="711" y="100"/>
                  </a:cubicBezTo>
                  <a:cubicBezTo>
                    <a:pt x="744" y="133"/>
                    <a:pt x="769" y="175"/>
                    <a:pt x="789" y="225"/>
                  </a:cubicBezTo>
                  <a:cubicBezTo>
                    <a:pt x="808" y="275"/>
                    <a:pt x="816" y="330"/>
                    <a:pt x="816" y="394"/>
                  </a:cubicBezTo>
                  <a:cubicBezTo>
                    <a:pt x="816" y="836"/>
                    <a:pt x="816" y="836"/>
                    <a:pt x="816" y="836"/>
                  </a:cubicBezTo>
                  <a:lnTo>
                    <a:pt x="639" y="83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5" name="Freeform 30">
              <a:extLst>
                <a:ext uri="{FF2B5EF4-FFF2-40B4-BE49-F238E27FC236}">
                  <a16:creationId xmlns:a16="http://schemas.microsoft.com/office/drawing/2014/main" id="{4A75E7CA-C45B-054D-A49E-B463C0D8C4AF}"/>
                </a:ext>
              </a:extLst>
            </p:cNvPr>
            <p:cNvSpPr>
              <a:spLocks noChangeArrowheads="1"/>
            </p:cNvSpPr>
            <p:nvPr userDrawn="1"/>
          </p:nvSpPr>
          <p:spPr bwMode="auto">
            <a:xfrm>
              <a:off x="6251575"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6" name="Freeform 31">
              <a:extLst>
                <a:ext uri="{FF2B5EF4-FFF2-40B4-BE49-F238E27FC236}">
                  <a16:creationId xmlns:a16="http://schemas.microsoft.com/office/drawing/2014/main" id="{5B3BC1DE-31DF-8944-B2A0-F5E0FBE9586F}"/>
                </a:ext>
              </a:extLst>
            </p:cNvPr>
            <p:cNvSpPr>
              <a:spLocks noChangeArrowheads="1"/>
            </p:cNvSpPr>
            <p:nvPr userDrawn="1"/>
          </p:nvSpPr>
          <p:spPr bwMode="auto">
            <a:xfrm>
              <a:off x="6643688"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7" name="Freeform 32">
              <a:extLst>
                <a:ext uri="{FF2B5EF4-FFF2-40B4-BE49-F238E27FC236}">
                  <a16:creationId xmlns:a16="http://schemas.microsoft.com/office/drawing/2014/main" id="{62167BE8-CF76-7248-9854-B30C89600F08}"/>
                </a:ext>
              </a:extLst>
            </p:cNvPr>
            <p:cNvSpPr>
              <a:spLocks noChangeArrowheads="1"/>
            </p:cNvSpPr>
            <p:nvPr userDrawn="1"/>
          </p:nvSpPr>
          <p:spPr bwMode="auto">
            <a:xfrm>
              <a:off x="6897688" y="3743325"/>
              <a:ext cx="314325" cy="309563"/>
            </a:xfrm>
            <a:custGeom>
              <a:avLst/>
              <a:gdLst>
                <a:gd name="T0" fmla="*/ 436 w 873"/>
                <a:gd name="T1" fmla="*/ 0 h 860"/>
                <a:gd name="T2" fmla="*/ 436 w 873"/>
                <a:gd name="T3" fmla="*/ 0 h 860"/>
                <a:gd name="T4" fmla="*/ 611 w 873"/>
                <a:gd name="T5" fmla="*/ 34 h 860"/>
                <a:gd name="T6" fmla="*/ 750 w 873"/>
                <a:gd name="T7" fmla="*/ 125 h 860"/>
                <a:gd name="T8" fmla="*/ 842 w 873"/>
                <a:gd name="T9" fmla="*/ 261 h 860"/>
                <a:gd name="T10" fmla="*/ 872 w 873"/>
                <a:gd name="T11" fmla="*/ 431 h 860"/>
                <a:gd name="T12" fmla="*/ 842 w 873"/>
                <a:gd name="T13" fmla="*/ 600 h 860"/>
                <a:gd name="T14" fmla="*/ 753 w 873"/>
                <a:gd name="T15" fmla="*/ 736 h 860"/>
                <a:gd name="T16" fmla="*/ 614 w 873"/>
                <a:gd name="T17" fmla="*/ 825 h 860"/>
                <a:gd name="T18" fmla="*/ 436 w 873"/>
                <a:gd name="T19" fmla="*/ 859 h 860"/>
                <a:gd name="T20" fmla="*/ 256 w 873"/>
                <a:gd name="T21" fmla="*/ 825 h 860"/>
                <a:gd name="T22" fmla="*/ 119 w 873"/>
                <a:gd name="T23" fmla="*/ 736 h 860"/>
                <a:gd name="T24" fmla="*/ 31 w 873"/>
                <a:gd name="T25" fmla="*/ 600 h 860"/>
                <a:gd name="T26" fmla="*/ 0 w 873"/>
                <a:gd name="T27" fmla="*/ 431 h 860"/>
                <a:gd name="T28" fmla="*/ 31 w 873"/>
                <a:gd name="T29" fmla="*/ 261 h 860"/>
                <a:gd name="T30" fmla="*/ 119 w 873"/>
                <a:gd name="T31" fmla="*/ 125 h 860"/>
                <a:gd name="T32" fmla="*/ 258 w 873"/>
                <a:gd name="T33" fmla="*/ 34 h 860"/>
                <a:gd name="T34" fmla="*/ 436 w 873"/>
                <a:gd name="T35" fmla="*/ 0 h 860"/>
                <a:gd name="T36" fmla="*/ 436 w 873"/>
                <a:gd name="T37" fmla="*/ 161 h 860"/>
                <a:gd name="T38" fmla="*/ 436 w 873"/>
                <a:gd name="T39" fmla="*/ 161 h 860"/>
                <a:gd name="T40" fmla="*/ 328 w 873"/>
                <a:gd name="T41" fmla="*/ 184 h 860"/>
                <a:gd name="T42" fmla="*/ 247 w 873"/>
                <a:gd name="T43" fmla="*/ 242 h 860"/>
                <a:gd name="T44" fmla="*/ 194 w 873"/>
                <a:gd name="T45" fmla="*/ 328 h 860"/>
                <a:gd name="T46" fmla="*/ 178 w 873"/>
                <a:gd name="T47" fmla="*/ 431 h 860"/>
                <a:gd name="T48" fmla="*/ 194 w 873"/>
                <a:gd name="T49" fmla="*/ 536 h 860"/>
                <a:gd name="T50" fmla="*/ 247 w 873"/>
                <a:gd name="T51" fmla="*/ 620 h 860"/>
                <a:gd name="T52" fmla="*/ 328 w 873"/>
                <a:gd name="T53" fmla="*/ 678 h 860"/>
                <a:gd name="T54" fmla="*/ 436 w 873"/>
                <a:gd name="T55" fmla="*/ 698 h 860"/>
                <a:gd name="T56" fmla="*/ 544 w 873"/>
                <a:gd name="T57" fmla="*/ 678 h 860"/>
                <a:gd name="T58" fmla="*/ 625 w 873"/>
                <a:gd name="T59" fmla="*/ 620 h 860"/>
                <a:gd name="T60" fmla="*/ 678 w 873"/>
                <a:gd name="T61" fmla="*/ 536 h 860"/>
                <a:gd name="T62" fmla="*/ 694 w 873"/>
                <a:gd name="T63" fmla="*/ 431 h 860"/>
                <a:gd name="T64" fmla="*/ 675 w 873"/>
                <a:gd name="T65" fmla="*/ 328 h 860"/>
                <a:gd name="T66" fmla="*/ 622 w 873"/>
                <a:gd name="T67" fmla="*/ 242 h 860"/>
                <a:gd name="T68" fmla="*/ 542 w 873"/>
                <a:gd name="T69" fmla="*/ 184 h 860"/>
                <a:gd name="T70" fmla="*/ 436 w 873"/>
                <a:gd name="T71" fmla="*/ 161 h 860"/>
                <a:gd name="T72" fmla="*/ 436 w 873"/>
                <a:gd name="T73"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60">
                  <a:moveTo>
                    <a:pt x="436" y="0"/>
                  </a:moveTo>
                  <a:lnTo>
                    <a:pt x="436" y="0"/>
                  </a:lnTo>
                  <a:cubicBezTo>
                    <a:pt x="500" y="0"/>
                    <a:pt x="558" y="11"/>
                    <a:pt x="611" y="34"/>
                  </a:cubicBezTo>
                  <a:cubicBezTo>
                    <a:pt x="667" y="59"/>
                    <a:pt x="711" y="86"/>
                    <a:pt x="750" y="125"/>
                  </a:cubicBezTo>
                  <a:cubicBezTo>
                    <a:pt x="789" y="164"/>
                    <a:pt x="819" y="209"/>
                    <a:pt x="842" y="261"/>
                  </a:cubicBezTo>
                  <a:cubicBezTo>
                    <a:pt x="861" y="314"/>
                    <a:pt x="872" y="370"/>
                    <a:pt x="872" y="431"/>
                  </a:cubicBezTo>
                  <a:cubicBezTo>
                    <a:pt x="872" y="492"/>
                    <a:pt x="861" y="547"/>
                    <a:pt x="842" y="600"/>
                  </a:cubicBezTo>
                  <a:cubicBezTo>
                    <a:pt x="819" y="653"/>
                    <a:pt x="792" y="698"/>
                    <a:pt x="753" y="736"/>
                  </a:cubicBezTo>
                  <a:cubicBezTo>
                    <a:pt x="714" y="775"/>
                    <a:pt x="669" y="806"/>
                    <a:pt x="614" y="825"/>
                  </a:cubicBezTo>
                  <a:cubicBezTo>
                    <a:pt x="561" y="847"/>
                    <a:pt x="500" y="859"/>
                    <a:pt x="436" y="859"/>
                  </a:cubicBezTo>
                  <a:cubicBezTo>
                    <a:pt x="369" y="859"/>
                    <a:pt x="308" y="847"/>
                    <a:pt x="256" y="825"/>
                  </a:cubicBezTo>
                  <a:cubicBezTo>
                    <a:pt x="203" y="806"/>
                    <a:pt x="156" y="775"/>
                    <a:pt x="119" y="736"/>
                  </a:cubicBezTo>
                  <a:cubicBezTo>
                    <a:pt x="80" y="698"/>
                    <a:pt x="53" y="653"/>
                    <a:pt x="31" y="600"/>
                  </a:cubicBezTo>
                  <a:cubicBezTo>
                    <a:pt x="11" y="547"/>
                    <a:pt x="0" y="492"/>
                    <a:pt x="0" y="431"/>
                  </a:cubicBezTo>
                  <a:cubicBezTo>
                    <a:pt x="0" y="370"/>
                    <a:pt x="11" y="314"/>
                    <a:pt x="31" y="261"/>
                  </a:cubicBezTo>
                  <a:cubicBezTo>
                    <a:pt x="53" y="209"/>
                    <a:pt x="80" y="164"/>
                    <a:pt x="119" y="125"/>
                  </a:cubicBezTo>
                  <a:cubicBezTo>
                    <a:pt x="158" y="86"/>
                    <a:pt x="203" y="59"/>
                    <a:pt x="258" y="34"/>
                  </a:cubicBezTo>
                  <a:cubicBezTo>
                    <a:pt x="311" y="11"/>
                    <a:pt x="369" y="0"/>
                    <a:pt x="436" y="0"/>
                  </a:cubicBezTo>
                  <a:lnTo>
                    <a:pt x="436" y="161"/>
                  </a:lnTo>
                  <a:lnTo>
                    <a:pt x="436" y="161"/>
                  </a:lnTo>
                  <a:cubicBezTo>
                    <a:pt x="394" y="161"/>
                    <a:pt x="358" y="170"/>
                    <a:pt x="328" y="184"/>
                  </a:cubicBezTo>
                  <a:cubicBezTo>
                    <a:pt x="294" y="198"/>
                    <a:pt x="269" y="217"/>
                    <a:pt x="247" y="242"/>
                  </a:cubicBezTo>
                  <a:cubicBezTo>
                    <a:pt x="225" y="267"/>
                    <a:pt x="206" y="298"/>
                    <a:pt x="194" y="328"/>
                  </a:cubicBezTo>
                  <a:cubicBezTo>
                    <a:pt x="183" y="361"/>
                    <a:pt x="178" y="395"/>
                    <a:pt x="178" y="431"/>
                  </a:cubicBezTo>
                  <a:cubicBezTo>
                    <a:pt x="178" y="470"/>
                    <a:pt x="183" y="503"/>
                    <a:pt x="194" y="536"/>
                  </a:cubicBezTo>
                  <a:cubicBezTo>
                    <a:pt x="206" y="567"/>
                    <a:pt x="225" y="595"/>
                    <a:pt x="247" y="620"/>
                  </a:cubicBezTo>
                  <a:cubicBezTo>
                    <a:pt x="269" y="645"/>
                    <a:pt x="294" y="664"/>
                    <a:pt x="328" y="678"/>
                  </a:cubicBezTo>
                  <a:cubicBezTo>
                    <a:pt x="358" y="692"/>
                    <a:pt x="394" y="698"/>
                    <a:pt x="436" y="698"/>
                  </a:cubicBezTo>
                  <a:cubicBezTo>
                    <a:pt x="475" y="698"/>
                    <a:pt x="511" y="692"/>
                    <a:pt x="544" y="678"/>
                  </a:cubicBezTo>
                  <a:cubicBezTo>
                    <a:pt x="575" y="664"/>
                    <a:pt x="603" y="645"/>
                    <a:pt x="625" y="620"/>
                  </a:cubicBezTo>
                  <a:cubicBezTo>
                    <a:pt x="647" y="595"/>
                    <a:pt x="664" y="567"/>
                    <a:pt x="678" y="536"/>
                  </a:cubicBezTo>
                  <a:cubicBezTo>
                    <a:pt x="689" y="503"/>
                    <a:pt x="694" y="470"/>
                    <a:pt x="694" y="431"/>
                  </a:cubicBezTo>
                  <a:cubicBezTo>
                    <a:pt x="694" y="395"/>
                    <a:pt x="689" y="361"/>
                    <a:pt x="675" y="328"/>
                  </a:cubicBezTo>
                  <a:cubicBezTo>
                    <a:pt x="664" y="298"/>
                    <a:pt x="644" y="267"/>
                    <a:pt x="622" y="242"/>
                  </a:cubicBezTo>
                  <a:cubicBezTo>
                    <a:pt x="600" y="217"/>
                    <a:pt x="572" y="198"/>
                    <a:pt x="542" y="184"/>
                  </a:cubicBezTo>
                  <a:cubicBezTo>
                    <a:pt x="508" y="170"/>
                    <a:pt x="472" y="161"/>
                    <a:pt x="436" y="161"/>
                  </a:cubicBezTo>
                  <a:lnTo>
                    <a:pt x="43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8" name="Freeform 33">
              <a:extLst>
                <a:ext uri="{FF2B5EF4-FFF2-40B4-BE49-F238E27FC236}">
                  <a16:creationId xmlns:a16="http://schemas.microsoft.com/office/drawing/2014/main" id="{45B22239-2FCD-C441-BB6B-EE9EAF3BEF09}"/>
                </a:ext>
              </a:extLst>
            </p:cNvPr>
            <p:cNvSpPr>
              <a:spLocks noChangeArrowheads="1"/>
            </p:cNvSpPr>
            <p:nvPr userDrawn="1"/>
          </p:nvSpPr>
          <p:spPr bwMode="auto">
            <a:xfrm>
              <a:off x="7431088" y="3627438"/>
              <a:ext cx="323850" cy="427037"/>
            </a:xfrm>
            <a:custGeom>
              <a:avLst/>
              <a:gdLst>
                <a:gd name="T0" fmla="*/ 175 w 898"/>
                <a:gd name="T1" fmla="*/ 0 h 1185"/>
                <a:gd name="T2" fmla="*/ 175 w 898"/>
                <a:gd name="T3" fmla="*/ 0 h 1185"/>
                <a:gd name="T4" fmla="*/ 175 w 898"/>
                <a:gd name="T5" fmla="*/ 472 h 1185"/>
                <a:gd name="T6" fmla="*/ 231 w 898"/>
                <a:gd name="T7" fmla="*/ 409 h 1185"/>
                <a:gd name="T8" fmla="*/ 306 w 898"/>
                <a:gd name="T9" fmla="*/ 361 h 1185"/>
                <a:gd name="T10" fmla="*/ 389 w 898"/>
                <a:gd name="T11" fmla="*/ 334 h 1185"/>
                <a:gd name="T12" fmla="*/ 472 w 898"/>
                <a:gd name="T13" fmla="*/ 325 h 1185"/>
                <a:gd name="T14" fmla="*/ 639 w 898"/>
                <a:gd name="T15" fmla="*/ 353 h 1185"/>
                <a:gd name="T16" fmla="*/ 775 w 898"/>
                <a:gd name="T17" fmla="*/ 434 h 1185"/>
                <a:gd name="T18" fmla="*/ 867 w 898"/>
                <a:gd name="T19" fmla="*/ 570 h 1185"/>
                <a:gd name="T20" fmla="*/ 897 w 898"/>
                <a:gd name="T21" fmla="*/ 753 h 1185"/>
                <a:gd name="T22" fmla="*/ 864 w 898"/>
                <a:gd name="T23" fmla="*/ 936 h 1185"/>
                <a:gd name="T24" fmla="*/ 775 w 898"/>
                <a:gd name="T25" fmla="*/ 1072 h 1185"/>
                <a:gd name="T26" fmla="*/ 639 w 898"/>
                <a:gd name="T27" fmla="*/ 1156 h 1185"/>
                <a:gd name="T28" fmla="*/ 467 w 898"/>
                <a:gd name="T29" fmla="*/ 1184 h 1185"/>
                <a:gd name="T30" fmla="*/ 303 w 898"/>
                <a:gd name="T31" fmla="*/ 1150 h 1185"/>
                <a:gd name="T32" fmla="*/ 175 w 898"/>
                <a:gd name="T33" fmla="*/ 1036 h 1185"/>
                <a:gd name="T34" fmla="*/ 167 w 898"/>
                <a:gd name="T35" fmla="*/ 1167 h 1185"/>
                <a:gd name="T36" fmla="*/ 0 w 898"/>
                <a:gd name="T37" fmla="*/ 1167 h 1185"/>
                <a:gd name="T38" fmla="*/ 0 w 898"/>
                <a:gd name="T39" fmla="*/ 0 h 1185"/>
                <a:gd name="T40" fmla="*/ 175 w 898"/>
                <a:gd name="T41" fmla="*/ 0 h 1185"/>
                <a:gd name="T42" fmla="*/ 456 w 898"/>
                <a:gd name="T43" fmla="*/ 486 h 1185"/>
                <a:gd name="T44" fmla="*/ 456 w 898"/>
                <a:gd name="T45" fmla="*/ 486 h 1185"/>
                <a:gd name="T46" fmla="*/ 353 w 898"/>
                <a:gd name="T47" fmla="*/ 506 h 1185"/>
                <a:gd name="T48" fmla="*/ 267 w 898"/>
                <a:gd name="T49" fmla="*/ 559 h 1185"/>
                <a:gd name="T50" fmla="*/ 208 w 898"/>
                <a:gd name="T51" fmla="*/ 645 h 1185"/>
                <a:gd name="T52" fmla="*/ 186 w 898"/>
                <a:gd name="T53" fmla="*/ 753 h 1185"/>
                <a:gd name="T54" fmla="*/ 208 w 898"/>
                <a:gd name="T55" fmla="*/ 864 h 1185"/>
                <a:gd name="T56" fmla="*/ 267 w 898"/>
                <a:gd name="T57" fmla="*/ 950 h 1185"/>
                <a:gd name="T58" fmla="*/ 350 w 898"/>
                <a:gd name="T59" fmla="*/ 1003 h 1185"/>
                <a:gd name="T60" fmla="*/ 456 w 898"/>
                <a:gd name="T61" fmla="*/ 1023 h 1185"/>
                <a:gd name="T62" fmla="*/ 558 w 898"/>
                <a:gd name="T63" fmla="*/ 1006 h 1185"/>
                <a:gd name="T64" fmla="*/ 645 w 898"/>
                <a:gd name="T65" fmla="*/ 950 h 1185"/>
                <a:gd name="T66" fmla="*/ 700 w 898"/>
                <a:gd name="T67" fmla="*/ 867 h 1185"/>
                <a:gd name="T68" fmla="*/ 722 w 898"/>
                <a:gd name="T69" fmla="*/ 753 h 1185"/>
                <a:gd name="T70" fmla="*/ 700 w 898"/>
                <a:gd name="T71" fmla="*/ 639 h 1185"/>
                <a:gd name="T72" fmla="*/ 645 w 898"/>
                <a:gd name="T73" fmla="*/ 556 h 1185"/>
                <a:gd name="T74" fmla="*/ 558 w 898"/>
                <a:gd name="T75" fmla="*/ 503 h 1185"/>
                <a:gd name="T76" fmla="*/ 456 w 898"/>
                <a:gd name="T77" fmla="*/ 48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8" h="1185">
                  <a:moveTo>
                    <a:pt x="175" y="0"/>
                  </a:moveTo>
                  <a:lnTo>
                    <a:pt x="175" y="0"/>
                  </a:lnTo>
                  <a:cubicBezTo>
                    <a:pt x="175" y="472"/>
                    <a:pt x="175" y="472"/>
                    <a:pt x="175" y="472"/>
                  </a:cubicBezTo>
                  <a:cubicBezTo>
                    <a:pt x="189" y="448"/>
                    <a:pt x="208" y="425"/>
                    <a:pt x="231" y="409"/>
                  </a:cubicBezTo>
                  <a:cubicBezTo>
                    <a:pt x="253" y="389"/>
                    <a:pt x="278" y="373"/>
                    <a:pt x="306" y="361"/>
                  </a:cubicBezTo>
                  <a:cubicBezTo>
                    <a:pt x="334" y="350"/>
                    <a:pt x="361" y="339"/>
                    <a:pt x="389" y="334"/>
                  </a:cubicBezTo>
                  <a:cubicBezTo>
                    <a:pt x="417" y="328"/>
                    <a:pt x="445" y="325"/>
                    <a:pt x="472" y="325"/>
                  </a:cubicBezTo>
                  <a:cubicBezTo>
                    <a:pt x="531" y="325"/>
                    <a:pt x="589" y="334"/>
                    <a:pt x="639" y="353"/>
                  </a:cubicBezTo>
                  <a:cubicBezTo>
                    <a:pt x="692" y="370"/>
                    <a:pt x="739" y="397"/>
                    <a:pt x="775" y="434"/>
                  </a:cubicBezTo>
                  <a:cubicBezTo>
                    <a:pt x="814" y="470"/>
                    <a:pt x="845" y="514"/>
                    <a:pt x="867" y="570"/>
                  </a:cubicBezTo>
                  <a:cubicBezTo>
                    <a:pt x="886" y="623"/>
                    <a:pt x="897" y="684"/>
                    <a:pt x="897" y="753"/>
                  </a:cubicBezTo>
                  <a:cubicBezTo>
                    <a:pt x="897" y="823"/>
                    <a:pt x="886" y="884"/>
                    <a:pt x="864" y="936"/>
                  </a:cubicBezTo>
                  <a:cubicBezTo>
                    <a:pt x="842" y="989"/>
                    <a:pt x="811" y="1036"/>
                    <a:pt x="775" y="1072"/>
                  </a:cubicBezTo>
                  <a:cubicBezTo>
                    <a:pt x="736" y="1109"/>
                    <a:pt x="692" y="1136"/>
                    <a:pt x="639" y="1156"/>
                  </a:cubicBezTo>
                  <a:cubicBezTo>
                    <a:pt x="586" y="1175"/>
                    <a:pt x="531" y="1184"/>
                    <a:pt x="467" y="1184"/>
                  </a:cubicBezTo>
                  <a:cubicBezTo>
                    <a:pt x="411" y="1184"/>
                    <a:pt x="356" y="1172"/>
                    <a:pt x="303" y="1150"/>
                  </a:cubicBezTo>
                  <a:cubicBezTo>
                    <a:pt x="253" y="1128"/>
                    <a:pt x="208" y="1089"/>
                    <a:pt x="175" y="1036"/>
                  </a:cubicBezTo>
                  <a:cubicBezTo>
                    <a:pt x="167" y="1167"/>
                    <a:pt x="167" y="1167"/>
                    <a:pt x="167" y="1167"/>
                  </a:cubicBezTo>
                  <a:cubicBezTo>
                    <a:pt x="0" y="1167"/>
                    <a:pt x="0" y="1167"/>
                    <a:pt x="0" y="1167"/>
                  </a:cubicBezTo>
                  <a:cubicBezTo>
                    <a:pt x="0" y="0"/>
                    <a:pt x="0" y="0"/>
                    <a:pt x="0" y="0"/>
                  </a:cubicBezTo>
                  <a:lnTo>
                    <a:pt x="175" y="0"/>
                  </a:lnTo>
                  <a:close/>
                  <a:moveTo>
                    <a:pt x="456" y="486"/>
                  </a:moveTo>
                  <a:lnTo>
                    <a:pt x="456" y="486"/>
                  </a:lnTo>
                  <a:cubicBezTo>
                    <a:pt x="420" y="486"/>
                    <a:pt x="383" y="492"/>
                    <a:pt x="353" y="506"/>
                  </a:cubicBezTo>
                  <a:cubicBezTo>
                    <a:pt x="320" y="517"/>
                    <a:pt x="289" y="536"/>
                    <a:pt x="267" y="559"/>
                  </a:cubicBezTo>
                  <a:cubicBezTo>
                    <a:pt x="242" y="584"/>
                    <a:pt x="222" y="611"/>
                    <a:pt x="208" y="645"/>
                  </a:cubicBezTo>
                  <a:cubicBezTo>
                    <a:pt x="195" y="678"/>
                    <a:pt x="186" y="714"/>
                    <a:pt x="186" y="753"/>
                  </a:cubicBezTo>
                  <a:cubicBezTo>
                    <a:pt x="186" y="795"/>
                    <a:pt x="195" y="831"/>
                    <a:pt x="208" y="864"/>
                  </a:cubicBezTo>
                  <a:cubicBezTo>
                    <a:pt x="222" y="897"/>
                    <a:pt x="242" y="925"/>
                    <a:pt x="267" y="950"/>
                  </a:cubicBezTo>
                  <a:cubicBezTo>
                    <a:pt x="289" y="972"/>
                    <a:pt x="320" y="992"/>
                    <a:pt x="350" y="1003"/>
                  </a:cubicBezTo>
                  <a:cubicBezTo>
                    <a:pt x="383" y="1017"/>
                    <a:pt x="420" y="1023"/>
                    <a:pt x="456" y="1023"/>
                  </a:cubicBezTo>
                  <a:cubicBezTo>
                    <a:pt x="492" y="1023"/>
                    <a:pt x="528" y="1017"/>
                    <a:pt x="558" y="1006"/>
                  </a:cubicBezTo>
                  <a:cubicBezTo>
                    <a:pt x="592" y="992"/>
                    <a:pt x="620" y="975"/>
                    <a:pt x="645" y="950"/>
                  </a:cubicBezTo>
                  <a:cubicBezTo>
                    <a:pt x="667" y="928"/>
                    <a:pt x="686" y="900"/>
                    <a:pt x="700" y="867"/>
                  </a:cubicBezTo>
                  <a:cubicBezTo>
                    <a:pt x="714" y="834"/>
                    <a:pt x="722" y="795"/>
                    <a:pt x="722" y="753"/>
                  </a:cubicBezTo>
                  <a:cubicBezTo>
                    <a:pt x="722" y="711"/>
                    <a:pt x="714" y="672"/>
                    <a:pt x="700" y="639"/>
                  </a:cubicBezTo>
                  <a:cubicBezTo>
                    <a:pt x="686" y="609"/>
                    <a:pt x="667" y="581"/>
                    <a:pt x="645" y="556"/>
                  </a:cubicBezTo>
                  <a:cubicBezTo>
                    <a:pt x="620" y="534"/>
                    <a:pt x="592" y="517"/>
                    <a:pt x="558" y="503"/>
                  </a:cubicBezTo>
                  <a:cubicBezTo>
                    <a:pt x="528" y="492"/>
                    <a:pt x="492" y="486"/>
                    <a:pt x="456" y="4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9" name="Freeform 34">
              <a:extLst>
                <a:ext uri="{FF2B5EF4-FFF2-40B4-BE49-F238E27FC236}">
                  <a16:creationId xmlns:a16="http://schemas.microsoft.com/office/drawing/2014/main" id="{A3756FFF-2DCD-B840-972B-3507C794B0B5}"/>
                </a:ext>
              </a:extLst>
            </p:cNvPr>
            <p:cNvSpPr>
              <a:spLocks noChangeArrowheads="1"/>
            </p:cNvSpPr>
            <p:nvPr userDrawn="1"/>
          </p:nvSpPr>
          <p:spPr bwMode="auto">
            <a:xfrm>
              <a:off x="7804150" y="3743325"/>
              <a:ext cx="315913"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5 w 876"/>
                <a:gd name="T11" fmla="*/ 680 h 864"/>
                <a:gd name="T12" fmla="*/ 703 w 876"/>
                <a:gd name="T13" fmla="*/ 616 h 864"/>
                <a:gd name="T14" fmla="*/ 817 w 876"/>
                <a:gd name="T15" fmla="*/ 724 h 864"/>
                <a:gd name="T16" fmla="*/ 742 w 876"/>
                <a:gd name="T17" fmla="*/ 786 h 864"/>
                <a:gd name="T18" fmla="*/ 653 w 876"/>
                <a:gd name="T19" fmla="*/ 830 h 864"/>
                <a:gd name="T20" fmla="*/ 556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5 w 876"/>
                <a:gd name="T35" fmla="*/ 119 h 864"/>
                <a:gd name="T36" fmla="*/ 264 w 876"/>
                <a:gd name="T37" fmla="*/ 30 h 864"/>
                <a:gd name="T38" fmla="*/ 445 w 876"/>
                <a:gd name="T39" fmla="*/ 0 h 864"/>
                <a:gd name="T40" fmla="*/ 628 w 876"/>
                <a:gd name="T41" fmla="*/ 30 h 864"/>
                <a:gd name="T42" fmla="*/ 770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3 w 876"/>
                <a:gd name="T55" fmla="*/ 202 h 864"/>
                <a:gd name="T56" fmla="*/ 450 w 876"/>
                <a:gd name="T57" fmla="*/ 152 h 864"/>
                <a:gd name="T58" fmla="*/ 281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20" y="686"/>
                    <a:pt x="381" y="705"/>
                    <a:pt x="459" y="705"/>
                  </a:cubicBezTo>
                  <a:cubicBezTo>
                    <a:pt x="503" y="705"/>
                    <a:pt x="548" y="697"/>
                    <a:pt x="595" y="680"/>
                  </a:cubicBezTo>
                  <a:cubicBezTo>
                    <a:pt x="642" y="666"/>
                    <a:pt x="678" y="644"/>
                    <a:pt x="703" y="616"/>
                  </a:cubicBezTo>
                  <a:cubicBezTo>
                    <a:pt x="817" y="724"/>
                    <a:pt x="817" y="724"/>
                    <a:pt x="817" y="724"/>
                  </a:cubicBezTo>
                  <a:cubicBezTo>
                    <a:pt x="798" y="747"/>
                    <a:pt x="770" y="769"/>
                    <a:pt x="742" y="786"/>
                  </a:cubicBezTo>
                  <a:cubicBezTo>
                    <a:pt x="714" y="802"/>
                    <a:pt x="684" y="819"/>
                    <a:pt x="653" y="830"/>
                  </a:cubicBezTo>
                  <a:cubicBezTo>
                    <a:pt x="623" y="841"/>
                    <a:pt x="589" y="849"/>
                    <a:pt x="556" y="855"/>
                  </a:cubicBezTo>
                  <a:cubicBezTo>
                    <a:pt x="520" y="861"/>
                    <a:pt x="486" y="863"/>
                    <a:pt x="456" y="863"/>
                  </a:cubicBezTo>
                  <a:cubicBezTo>
                    <a:pt x="386" y="863"/>
                    <a:pt x="323" y="855"/>
                    <a:pt x="267" y="833"/>
                  </a:cubicBezTo>
                  <a:cubicBezTo>
                    <a:pt x="212" y="813"/>
                    <a:pt x="164" y="783"/>
                    <a:pt x="125" y="747"/>
                  </a:cubicBezTo>
                  <a:cubicBezTo>
                    <a:pt x="86" y="708"/>
                    <a:pt x="56" y="661"/>
                    <a:pt x="34" y="608"/>
                  </a:cubicBezTo>
                  <a:cubicBezTo>
                    <a:pt x="12" y="552"/>
                    <a:pt x="0" y="494"/>
                    <a:pt x="0" y="427"/>
                  </a:cubicBezTo>
                  <a:cubicBezTo>
                    <a:pt x="0" y="366"/>
                    <a:pt x="12" y="308"/>
                    <a:pt x="34" y="255"/>
                  </a:cubicBezTo>
                  <a:cubicBezTo>
                    <a:pt x="56" y="202"/>
                    <a:pt x="86" y="158"/>
                    <a:pt x="125" y="119"/>
                  </a:cubicBezTo>
                  <a:cubicBezTo>
                    <a:pt x="164" y="80"/>
                    <a:pt x="209" y="52"/>
                    <a:pt x="264" y="30"/>
                  </a:cubicBezTo>
                  <a:cubicBezTo>
                    <a:pt x="317" y="8"/>
                    <a:pt x="378" y="0"/>
                    <a:pt x="445" y="0"/>
                  </a:cubicBezTo>
                  <a:cubicBezTo>
                    <a:pt x="511" y="0"/>
                    <a:pt x="573" y="8"/>
                    <a:pt x="628" y="30"/>
                  </a:cubicBezTo>
                  <a:cubicBezTo>
                    <a:pt x="684" y="50"/>
                    <a:pt x="731" y="80"/>
                    <a:pt x="770" y="122"/>
                  </a:cubicBezTo>
                  <a:cubicBezTo>
                    <a:pt x="809" y="163"/>
                    <a:pt x="836" y="216"/>
                    <a:pt x="853" y="277"/>
                  </a:cubicBezTo>
                  <a:cubicBezTo>
                    <a:pt x="870" y="341"/>
                    <a:pt x="875" y="413"/>
                    <a:pt x="867" y="497"/>
                  </a:cubicBezTo>
                  <a:lnTo>
                    <a:pt x="186" y="352"/>
                  </a:lnTo>
                  <a:lnTo>
                    <a:pt x="186" y="352"/>
                  </a:lnTo>
                  <a:cubicBezTo>
                    <a:pt x="698" y="352"/>
                    <a:pt x="698" y="352"/>
                    <a:pt x="698" y="352"/>
                  </a:cubicBezTo>
                  <a:cubicBezTo>
                    <a:pt x="692" y="286"/>
                    <a:pt x="667" y="236"/>
                    <a:pt x="623" y="202"/>
                  </a:cubicBezTo>
                  <a:cubicBezTo>
                    <a:pt x="578" y="169"/>
                    <a:pt x="520" y="152"/>
                    <a:pt x="450" y="152"/>
                  </a:cubicBezTo>
                  <a:cubicBezTo>
                    <a:pt x="384" y="152"/>
                    <a:pt x="328" y="169"/>
                    <a:pt x="281" y="202"/>
                  </a:cubicBezTo>
                  <a:cubicBezTo>
                    <a:pt x="231" y="236"/>
                    <a:pt x="200" y="286"/>
                    <a:pt x="186" y="352"/>
                  </a:cubicBezTo>
                  <a:lnTo>
                    <a:pt x="867" y="49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1" name="Freeform 36">
              <a:extLst>
                <a:ext uri="{FF2B5EF4-FFF2-40B4-BE49-F238E27FC236}">
                  <a16:creationId xmlns:a16="http://schemas.microsoft.com/office/drawing/2014/main" id="{199813C0-91B8-3F49-9748-7DA992F5A79F}"/>
                </a:ext>
              </a:extLst>
            </p:cNvPr>
            <p:cNvSpPr>
              <a:spLocks noChangeArrowheads="1"/>
            </p:cNvSpPr>
            <p:nvPr userDrawn="1"/>
          </p:nvSpPr>
          <p:spPr bwMode="auto">
            <a:xfrm>
              <a:off x="6570663" y="3024188"/>
              <a:ext cx="77787" cy="76200"/>
            </a:xfrm>
            <a:custGeom>
              <a:avLst/>
              <a:gdLst>
                <a:gd name="T0" fmla="*/ 0 w 218"/>
                <a:gd name="T1" fmla="*/ 106 h 213"/>
                <a:gd name="T2" fmla="*/ 0 w 218"/>
                <a:gd name="T3" fmla="*/ 106 h 213"/>
                <a:gd name="T4" fmla="*/ 33 w 218"/>
                <a:gd name="T5" fmla="*/ 25 h 213"/>
                <a:gd name="T6" fmla="*/ 108 w 218"/>
                <a:gd name="T7" fmla="*/ 0 h 213"/>
                <a:gd name="T8" fmla="*/ 183 w 218"/>
                <a:gd name="T9" fmla="*/ 25 h 213"/>
                <a:gd name="T10" fmla="*/ 217 w 218"/>
                <a:gd name="T11" fmla="*/ 106 h 213"/>
                <a:gd name="T12" fmla="*/ 183 w 218"/>
                <a:gd name="T13" fmla="*/ 184 h 213"/>
                <a:gd name="T14" fmla="*/ 108 w 218"/>
                <a:gd name="T15" fmla="*/ 212 h 213"/>
                <a:gd name="T16" fmla="*/ 33 w 218"/>
                <a:gd name="T17" fmla="*/ 184 h 213"/>
                <a:gd name="T18" fmla="*/ 0 w 218"/>
                <a:gd name="T19" fmla="*/ 10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3">
                  <a:moveTo>
                    <a:pt x="0" y="106"/>
                  </a:moveTo>
                  <a:lnTo>
                    <a:pt x="0" y="106"/>
                  </a:lnTo>
                  <a:cubicBezTo>
                    <a:pt x="0" y="70"/>
                    <a:pt x="11" y="42"/>
                    <a:pt x="33" y="25"/>
                  </a:cubicBezTo>
                  <a:cubicBezTo>
                    <a:pt x="56" y="9"/>
                    <a:pt x="80" y="0"/>
                    <a:pt x="108" y="0"/>
                  </a:cubicBezTo>
                  <a:cubicBezTo>
                    <a:pt x="136" y="0"/>
                    <a:pt x="161" y="9"/>
                    <a:pt x="183" y="25"/>
                  </a:cubicBezTo>
                  <a:cubicBezTo>
                    <a:pt x="206" y="42"/>
                    <a:pt x="217" y="70"/>
                    <a:pt x="217" y="106"/>
                  </a:cubicBezTo>
                  <a:cubicBezTo>
                    <a:pt x="217" y="139"/>
                    <a:pt x="206" y="167"/>
                    <a:pt x="183" y="184"/>
                  </a:cubicBezTo>
                  <a:cubicBezTo>
                    <a:pt x="161" y="203"/>
                    <a:pt x="136" y="212"/>
                    <a:pt x="108" y="212"/>
                  </a:cubicBezTo>
                  <a:cubicBezTo>
                    <a:pt x="80" y="212"/>
                    <a:pt x="56" y="203"/>
                    <a:pt x="33" y="184"/>
                  </a:cubicBezTo>
                  <a:cubicBezTo>
                    <a:pt x="11" y="167"/>
                    <a:pt x="0" y="139"/>
                    <a:pt x="0"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2" name="Freeform 37">
              <a:extLst>
                <a:ext uri="{FF2B5EF4-FFF2-40B4-BE49-F238E27FC236}">
                  <a16:creationId xmlns:a16="http://schemas.microsoft.com/office/drawing/2014/main" id="{A96EF0AE-4D3D-3040-B54A-6B7B396778DA}"/>
                </a:ext>
              </a:extLst>
            </p:cNvPr>
            <p:cNvSpPr>
              <a:spLocks noChangeArrowheads="1"/>
            </p:cNvSpPr>
            <p:nvPr userDrawn="1"/>
          </p:nvSpPr>
          <p:spPr bwMode="auto">
            <a:xfrm>
              <a:off x="2690813" y="3625850"/>
              <a:ext cx="79375" cy="77788"/>
            </a:xfrm>
            <a:custGeom>
              <a:avLst/>
              <a:gdLst>
                <a:gd name="T0" fmla="*/ 0 w 221"/>
                <a:gd name="T1" fmla="*/ 105 h 215"/>
                <a:gd name="T2" fmla="*/ 0 w 221"/>
                <a:gd name="T3" fmla="*/ 105 h 215"/>
                <a:gd name="T4" fmla="*/ 34 w 221"/>
                <a:gd name="T5" fmla="*/ 28 h 215"/>
                <a:gd name="T6" fmla="*/ 111 w 221"/>
                <a:gd name="T7" fmla="*/ 0 h 215"/>
                <a:gd name="T8" fmla="*/ 186 w 221"/>
                <a:gd name="T9" fmla="*/ 28 h 215"/>
                <a:gd name="T10" fmla="*/ 220 w 221"/>
                <a:gd name="T11" fmla="*/ 105 h 215"/>
                <a:gd name="T12" fmla="*/ 186 w 221"/>
                <a:gd name="T13" fmla="*/ 186 h 215"/>
                <a:gd name="T14" fmla="*/ 111 w 221"/>
                <a:gd name="T15" fmla="*/ 214 h 215"/>
                <a:gd name="T16" fmla="*/ 34 w 221"/>
                <a:gd name="T17" fmla="*/ 186 h 215"/>
                <a:gd name="T18" fmla="*/ 0 w 221"/>
                <a:gd name="T19" fmla="*/ 10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215">
                  <a:moveTo>
                    <a:pt x="0" y="105"/>
                  </a:moveTo>
                  <a:lnTo>
                    <a:pt x="0" y="105"/>
                  </a:lnTo>
                  <a:cubicBezTo>
                    <a:pt x="0" y="69"/>
                    <a:pt x="11" y="44"/>
                    <a:pt x="34" y="28"/>
                  </a:cubicBezTo>
                  <a:cubicBezTo>
                    <a:pt x="59" y="8"/>
                    <a:pt x="84" y="0"/>
                    <a:pt x="111" y="0"/>
                  </a:cubicBezTo>
                  <a:cubicBezTo>
                    <a:pt x="136" y="0"/>
                    <a:pt x="161" y="8"/>
                    <a:pt x="186" y="28"/>
                  </a:cubicBezTo>
                  <a:cubicBezTo>
                    <a:pt x="209" y="44"/>
                    <a:pt x="220" y="69"/>
                    <a:pt x="220" y="105"/>
                  </a:cubicBezTo>
                  <a:cubicBezTo>
                    <a:pt x="220" y="141"/>
                    <a:pt x="209" y="169"/>
                    <a:pt x="186" y="186"/>
                  </a:cubicBezTo>
                  <a:cubicBezTo>
                    <a:pt x="161" y="202"/>
                    <a:pt x="136" y="214"/>
                    <a:pt x="111" y="214"/>
                  </a:cubicBezTo>
                  <a:cubicBezTo>
                    <a:pt x="84" y="214"/>
                    <a:pt x="59" y="202"/>
                    <a:pt x="34" y="186"/>
                  </a:cubicBezTo>
                  <a:cubicBezTo>
                    <a:pt x="11" y="169"/>
                    <a:pt x="0" y="141"/>
                    <a:pt x="0" y="10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
        <p:nvSpPr>
          <p:cNvPr id="94" name="Title 1">
            <a:extLst>
              <a:ext uri="{FF2B5EF4-FFF2-40B4-BE49-F238E27FC236}">
                <a16:creationId xmlns:a16="http://schemas.microsoft.com/office/drawing/2014/main" id="{7C258499-4232-3449-A05F-F185B1AC52CC}"/>
              </a:ext>
            </a:extLst>
          </p:cNvPr>
          <p:cNvSpPr>
            <a:spLocks noGrp="1"/>
          </p:cNvSpPr>
          <p:nvPr>
            <p:ph type="title" hasCustomPrompt="1"/>
          </p:nvPr>
        </p:nvSpPr>
        <p:spPr>
          <a:xfrm>
            <a:off x="1" y="3147825"/>
            <a:ext cx="3455988" cy="1187449"/>
          </a:xfrm>
          <a:prstGeom prst="rect">
            <a:avLst/>
          </a:prstGeom>
        </p:spPr>
        <p:txBody>
          <a:bodyPr lIns="432000" tIns="180000" rIns="72000" bIns="0"/>
          <a:lstStyle>
            <a:lvl1pPr>
              <a:defRPr lang="pl-PL" dirty="0"/>
            </a:lvl1pPr>
          </a:lstStyle>
          <a:p>
            <a:pPr lvl="0"/>
            <a:r>
              <a:rPr lang="en-US" noProof="0"/>
              <a:t>Presentation title</a:t>
            </a:r>
          </a:p>
        </p:txBody>
      </p:sp>
      <p:sp>
        <p:nvSpPr>
          <p:cNvPr id="95" name="Picture Placeholder 6">
            <a:extLst>
              <a:ext uri="{FF2B5EF4-FFF2-40B4-BE49-F238E27FC236}">
                <a16:creationId xmlns:a16="http://schemas.microsoft.com/office/drawing/2014/main" id="{BD97D51E-DD18-864B-AB20-7A7B854DC39D}"/>
              </a:ext>
            </a:extLst>
          </p:cNvPr>
          <p:cNvSpPr>
            <a:spLocks noGrp="1"/>
          </p:cNvSpPr>
          <p:nvPr>
            <p:ph type="pic" sz="quarter" idx="11"/>
          </p:nvPr>
        </p:nvSpPr>
        <p:spPr>
          <a:xfrm>
            <a:off x="1932586" y="-158131"/>
            <a:ext cx="3768114" cy="3589150"/>
          </a:xfrm>
          <a:custGeom>
            <a:avLst/>
            <a:gdLst>
              <a:gd name="connsiteX0" fmla="*/ 0 w 3852324"/>
              <a:gd name="connsiteY0" fmla="*/ 0 h 3998792"/>
              <a:gd name="connsiteX1" fmla="*/ 3210257 w 3852324"/>
              <a:gd name="connsiteY1" fmla="*/ 0 h 3998792"/>
              <a:gd name="connsiteX2" fmla="*/ 3852324 w 3852324"/>
              <a:gd name="connsiteY2" fmla="*/ 642067 h 3998792"/>
              <a:gd name="connsiteX3" fmla="*/ 3852324 w 3852324"/>
              <a:gd name="connsiteY3" fmla="*/ 3998792 h 3998792"/>
              <a:gd name="connsiteX4" fmla="*/ 3852324 w 3852324"/>
              <a:gd name="connsiteY4" fmla="*/ 3998792 h 3998792"/>
              <a:gd name="connsiteX5" fmla="*/ 642067 w 3852324"/>
              <a:gd name="connsiteY5" fmla="*/ 3998792 h 3998792"/>
              <a:gd name="connsiteX6" fmla="*/ 0 w 3852324"/>
              <a:gd name="connsiteY6" fmla="*/ 3356725 h 3998792"/>
              <a:gd name="connsiteX7" fmla="*/ 0 w 3852324"/>
              <a:gd name="connsiteY7" fmla="*/ 0 h 3998792"/>
              <a:gd name="connsiteX0" fmla="*/ 0 w 3852324"/>
              <a:gd name="connsiteY0" fmla="*/ 185195 h 4183987"/>
              <a:gd name="connsiteX1" fmla="*/ 1913893 w 3852324"/>
              <a:gd name="connsiteY1" fmla="*/ 0 h 4183987"/>
              <a:gd name="connsiteX2" fmla="*/ 3852324 w 3852324"/>
              <a:gd name="connsiteY2" fmla="*/ 827262 h 4183987"/>
              <a:gd name="connsiteX3" fmla="*/ 3852324 w 3852324"/>
              <a:gd name="connsiteY3" fmla="*/ 4183987 h 4183987"/>
              <a:gd name="connsiteX4" fmla="*/ 3852324 w 3852324"/>
              <a:gd name="connsiteY4" fmla="*/ 4183987 h 4183987"/>
              <a:gd name="connsiteX5" fmla="*/ 642067 w 3852324"/>
              <a:gd name="connsiteY5" fmla="*/ 4183987 h 4183987"/>
              <a:gd name="connsiteX6" fmla="*/ 0 w 3852324"/>
              <a:gd name="connsiteY6" fmla="*/ 3541920 h 4183987"/>
              <a:gd name="connsiteX7" fmla="*/ 0 w 3852324"/>
              <a:gd name="connsiteY7" fmla="*/ 185195 h 4183987"/>
              <a:gd name="connsiteX0" fmla="*/ 0 w 4662552"/>
              <a:gd name="connsiteY0" fmla="*/ 185195 h 4183987"/>
              <a:gd name="connsiteX1" fmla="*/ 1913893 w 4662552"/>
              <a:gd name="connsiteY1" fmla="*/ 0 h 4183987"/>
              <a:gd name="connsiteX2" fmla="*/ 4662552 w 4662552"/>
              <a:gd name="connsiteY2" fmla="*/ 5460 h 4183987"/>
              <a:gd name="connsiteX3" fmla="*/ 3852324 w 4662552"/>
              <a:gd name="connsiteY3" fmla="*/ 4183987 h 4183987"/>
              <a:gd name="connsiteX4" fmla="*/ 3852324 w 4662552"/>
              <a:gd name="connsiteY4" fmla="*/ 4183987 h 4183987"/>
              <a:gd name="connsiteX5" fmla="*/ 642067 w 4662552"/>
              <a:gd name="connsiteY5" fmla="*/ 4183987 h 4183987"/>
              <a:gd name="connsiteX6" fmla="*/ 0 w 4662552"/>
              <a:gd name="connsiteY6" fmla="*/ 3541920 h 4183987"/>
              <a:gd name="connsiteX7" fmla="*/ 0 w 4662552"/>
              <a:gd name="connsiteY7" fmla="*/ 185195 h 4183987"/>
              <a:gd name="connsiteX0" fmla="*/ 0 w 4679914"/>
              <a:gd name="connsiteY0" fmla="*/ 185195 h 4183987"/>
              <a:gd name="connsiteX1" fmla="*/ 1913893 w 4679914"/>
              <a:gd name="connsiteY1" fmla="*/ 0 h 4183987"/>
              <a:gd name="connsiteX2" fmla="*/ 4662552 w 4679914"/>
              <a:gd name="connsiteY2" fmla="*/ 5460 h 4183987"/>
              <a:gd name="connsiteX3" fmla="*/ 3852324 w 4679914"/>
              <a:gd name="connsiteY3" fmla="*/ 4183987 h 4183987"/>
              <a:gd name="connsiteX4" fmla="*/ 4679914 w 4679914"/>
              <a:gd name="connsiteY4" fmla="*/ 2615618 h 4183987"/>
              <a:gd name="connsiteX5" fmla="*/ 642067 w 4679914"/>
              <a:gd name="connsiteY5" fmla="*/ 4183987 h 4183987"/>
              <a:gd name="connsiteX6" fmla="*/ 0 w 4679914"/>
              <a:gd name="connsiteY6" fmla="*/ 3541920 h 4183987"/>
              <a:gd name="connsiteX7" fmla="*/ 0 w 4679914"/>
              <a:gd name="connsiteY7" fmla="*/ 185195 h 4183987"/>
              <a:gd name="connsiteX0" fmla="*/ 0 w 4662552"/>
              <a:gd name="connsiteY0" fmla="*/ 185195 h 4183987"/>
              <a:gd name="connsiteX1" fmla="*/ 1913893 w 4662552"/>
              <a:gd name="connsiteY1" fmla="*/ 0 h 4183987"/>
              <a:gd name="connsiteX2" fmla="*/ 4662552 w 4662552"/>
              <a:gd name="connsiteY2" fmla="*/ 5460 h 4183987"/>
              <a:gd name="connsiteX3" fmla="*/ 3852324 w 4662552"/>
              <a:gd name="connsiteY3" fmla="*/ 4183987 h 4183987"/>
              <a:gd name="connsiteX4" fmla="*/ 4292162 w 4662552"/>
              <a:gd name="connsiteY4" fmla="*/ 3298524 h 4183987"/>
              <a:gd name="connsiteX5" fmla="*/ 642067 w 4662552"/>
              <a:gd name="connsiteY5" fmla="*/ 4183987 h 4183987"/>
              <a:gd name="connsiteX6" fmla="*/ 0 w 4662552"/>
              <a:gd name="connsiteY6" fmla="*/ 3541920 h 4183987"/>
              <a:gd name="connsiteX7" fmla="*/ 0 w 4662552"/>
              <a:gd name="connsiteY7" fmla="*/ 185195 h 4183987"/>
              <a:gd name="connsiteX0" fmla="*/ 0 w 4668339"/>
              <a:gd name="connsiteY0" fmla="*/ 185195 h 4183987"/>
              <a:gd name="connsiteX1" fmla="*/ 1913893 w 4668339"/>
              <a:gd name="connsiteY1" fmla="*/ 0 h 4183987"/>
              <a:gd name="connsiteX2" fmla="*/ 4662552 w 4668339"/>
              <a:gd name="connsiteY2" fmla="*/ 5460 h 4183987"/>
              <a:gd name="connsiteX3" fmla="*/ 4668339 w 4668339"/>
              <a:gd name="connsiteY3" fmla="*/ 2598255 h 4183987"/>
              <a:gd name="connsiteX4" fmla="*/ 4292162 w 4668339"/>
              <a:gd name="connsiteY4" fmla="*/ 3298524 h 4183987"/>
              <a:gd name="connsiteX5" fmla="*/ 642067 w 4668339"/>
              <a:gd name="connsiteY5" fmla="*/ 4183987 h 4183987"/>
              <a:gd name="connsiteX6" fmla="*/ 0 w 4668339"/>
              <a:gd name="connsiteY6" fmla="*/ 3541920 h 4183987"/>
              <a:gd name="connsiteX7" fmla="*/ 0 w 4668339"/>
              <a:gd name="connsiteY7" fmla="*/ 185195 h 4183987"/>
              <a:gd name="connsiteX0" fmla="*/ 0 w 4673552"/>
              <a:gd name="connsiteY0" fmla="*/ 185195 h 4183987"/>
              <a:gd name="connsiteX1" fmla="*/ 1913893 w 4673552"/>
              <a:gd name="connsiteY1" fmla="*/ 0 h 4183987"/>
              <a:gd name="connsiteX2" fmla="*/ 4662552 w 4673552"/>
              <a:gd name="connsiteY2" fmla="*/ 5460 h 4183987"/>
              <a:gd name="connsiteX3" fmla="*/ 4668339 w 4673552"/>
              <a:gd name="connsiteY3" fmla="*/ 2598255 h 4183987"/>
              <a:gd name="connsiteX4" fmla="*/ 4292162 w 4673552"/>
              <a:gd name="connsiteY4" fmla="*/ 3298524 h 4183987"/>
              <a:gd name="connsiteX5" fmla="*/ 642067 w 4673552"/>
              <a:gd name="connsiteY5" fmla="*/ 4183987 h 4183987"/>
              <a:gd name="connsiteX6" fmla="*/ 0 w 4673552"/>
              <a:gd name="connsiteY6" fmla="*/ 3541920 h 4183987"/>
              <a:gd name="connsiteX7" fmla="*/ 0 w 4673552"/>
              <a:gd name="connsiteY7" fmla="*/ 185195 h 4183987"/>
              <a:gd name="connsiteX0" fmla="*/ 0 w 4882702"/>
              <a:gd name="connsiteY0" fmla="*/ 185195 h 4183987"/>
              <a:gd name="connsiteX1" fmla="*/ 1913893 w 4882702"/>
              <a:gd name="connsiteY1" fmla="*/ 0 h 4183987"/>
              <a:gd name="connsiteX2" fmla="*/ 4662552 w 4882702"/>
              <a:gd name="connsiteY2" fmla="*/ 5460 h 4183987"/>
              <a:gd name="connsiteX3" fmla="*/ 4668339 w 4882702"/>
              <a:gd name="connsiteY3" fmla="*/ 2598255 h 4183987"/>
              <a:gd name="connsiteX4" fmla="*/ 4292162 w 4882702"/>
              <a:gd name="connsiteY4" fmla="*/ 3298524 h 4183987"/>
              <a:gd name="connsiteX5" fmla="*/ 642067 w 4882702"/>
              <a:gd name="connsiteY5" fmla="*/ 4183987 h 4183987"/>
              <a:gd name="connsiteX6" fmla="*/ 0 w 4882702"/>
              <a:gd name="connsiteY6" fmla="*/ 3541920 h 4183987"/>
              <a:gd name="connsiteX7" fmla="*/ 0 w 4882702"/>
              <a:gd name="connsiteY7" fmla="*/ 185195 h 4183987"/>
              <a:gd name="connsiteX0" fmla="*/ 0 w 4867446"/>
              <a:gd name="connsiteY0" fmla="*/ 185195 h 4183987"/>
              <a:gd name="connsiteX1" fmla="*/ 1913893 w 4867446"/>
              <a:gd name="connsiteY1" fmla="*/ 0 h 4183987"/>
              <a:gd name="connsiteX2" fmla="*/ 4662552 w 4867446"/>
              <a:gd name="connsiteY2" fmla="*/ 5460 h 4183987"/>
              <a:gd name="connsiteX3" fmla="*/ 4668339 w 4867446"/>
              <a:gd name="connsiteY3" fmla="*/ 2598255 h 4183987"/>
              <a:gd name="connsiteX4" fmla="*/ 4292162 w 4867446"/>
              <a:gd name="connsiteY4" fmla="*/ 3298524 h 4183987"/>
              <a:gd name="connsiteX5" fmla="*/ 642067 w 4867446"/>
              <a:gd name="connsiteY5" fmla="*/ 4183987 h 4183987"/>
              <a:gd name="connsiteX6" fmla="*/ 0 w 4867446"/>
              <a:gd name="connsiteY6" fmla="*/ 3541920 h 4183987"/>
              <a:gd name="connsiteX7" fmla="*/ 0 w 4867446"/>
              <a:gd name="connsiteY7" fmla="*/ 185195 h 4183987"/>
              <a:gd name="connsiteX0" fmla="*/ 0 w 4867446"/>
              <a:gd name="connsiteY0" fmla="*/ 185195 h 4183987"/>
              <a:gd name="connsiteX1" fmla="*/ 1913893 w 4867446"/>
              <a:gd name="connsiteY1" fmla="*/ 0 h 4183987"/>
              <a:gd name="connsiteX2" fmla="*/ 4662552 w 4867446"/>
              <a:gd name="connsiteY2" fmla="*/ 5460 h 4183987"/>
              <a:gd name="connsiteX3" fmla="*/ 4668339 w 4867446"/>
              <a:gd name="connsiteY3" fmla="*/ 2598255 h 4183987"/>
              <a:gd name="connsiteX4" fmla="*/ 3435635 w 4867446"/>
              <a:gd name="connsiteY4" fmla="*/ 2609830 h 4183987"/>
              <a:gd name="connsiteX5" fmla="*/ 642067 w 4867446"/>
              <a:gd name="connsiteY5" fmla="*/ 4183987 h 4183987"/>
              <a:gd name="connsiteX6" fmla="*/ 0 w 4867446"/>
              <a:gd name="connsiteY6" fmla="*/ 3541920 h 4183987"/>
              <a:gd name="connsiteX7" fmla="*/ 0 w 4867446"/>
              <a:gd name="connsiteY7" fmla="*/ 185195 h 4183987"/>
              <a:gd name="connsiteX0" fmla="*/ 0 w 4867446"/>
              <a:gd name="connsiteY0" fmla="*/ 185195 h 3541920"/>
              <a:gd name="connsiteX1" fmla="*/ 1913893 w 4867446"/>
              <a:gd name="connsiteY1" fmla="*/ 0 h 3541920"/>
              <a:gd name="connsiteX2" fmla="*/ 4662552 w 4867446"/>
              <a:gd name="connsiteY2" fmla="*/ 5460 h 3541920"/>
              <a:gd name="connsiteX3" fmla="*/ 4668339 w 4867446"/>
              <a:gd name="connsiteY3" fmla="*/ 2598255 h 3541920"/>
              <a:gd name="connsiteX4" fmla="*/ 3435635 w 4867446"/>
              <a:gd name="connsiteY4" fmla="*/ 2609830 h 3541920"/>
              <a:gd name="connsiteX5" fmla="*/ 3431565 w 4867446"/>
              <a:gd name="connsiteY5" fmla="*/ 1151420 h 3541920"/>
              <a:gd name="connsiteX6" fmla="*/ 0 w 4867446"/>
              <a:gd name="connsiteY6" fmla="*/ 3541920 h 3541920"/>
              <a:gd name="connsiteX7" fmla="*/ 0 w 4867446"/>
              <a:gd name="connsiteY7" fmla="*/ 185195 h 3541920"/>
              <a:gd name="connsiteX0" fmla="*/ 0 w 4867446"/>
              <a:gd name="connsiteY0" fmla="*/ 185195 h 2795063"/>
              <a:gd name="connsiteX1" fmla="*/ 1913893 w 4867446"/>
              <a:gd name="connsiteY1" fmla="*/ 0 h 2795063"/>
              <a:gd name="connsiteX2" fmla="*/ 4662552 w 4867446"/>
              <a:gd name="connsiteY2" fmla="*/ 5460 h 2795063"/>
              <a:gd name="connsiteX3" fmla="*/ 4668339 w 4867446"/>
              <a:gd name="connsiteY3" fmla="*/ 2598255 h 2795063"/>
              <a:gd name="connsiteX4" fmla="*/ 3435635 w 4867446"/>
              <a:gd name="connsiteY4" fmla="*/ 2609830 h 2795063"/>
              <a:gd name="connsiteX5" fmla="*/ 3431565 w 4867446"/>
              <a:gd name="connsiteY5" fmla="*/ 1151420 h 2795063"/>
              <a:gd name="connsiteX6" fmla="*/ 1921398 w 4867446"/>
              <a:gd name="connsiteY6" fmla="*/ 1145961 h 2795063"/>
              <a:gd name="connsiteX7" fmla="*/ 0 w 4867446"/>
              <a:gd name="connsiteY7" fmla="*/ 185195 h 2795063"/>
              <a:gd name="connsiteX0" fmla="*/ 0 w 4867446"/>
              <a:gd name="connsiteY0" fmla="*/ 185195 h 2795063"/>
              <a:gd name="connsiteX1" fmla="*/ 1913893 w 4867446"/>
              <a:gd name="connsiteY1" fmla="*/ 0 h 2795063"/>
              <a:gd name="connsiteX2" fmla="*/ 4662552 w 4867446"/>
              <a:gd name="connsiteY2" fmla="*/ 5460 h 2795063"/>
              <a:gd name="connsiteX3" fmla="*/ 4668339 w 4867446"/>
              <a:gd name="connsiteY3" fmla="*/ 2598255 h 2795063"/>
              <a:gd name="connsiteX4" fmla="*/ 3435635 w 4867446"/>
              <a:gd name="connsiteY4" fmla="*/ 2609830 h 2795063"/>
              <a:gd name="connsiteX5" fmla="*/ 3431565 w 4867446"/>
              <a:gd name="connsiteY5" fmla="*/ 1151420 h 2795063"/>
              <a:gd name="connsiteX6" fmla="*/ 1904036 w 4867446"/>
              <a:gd name="connsiteY6" fmla="*/ 1145961 h 2795063"/>
              <a:gd name="connsiteX7" fmla="*/ 0 w 4867446"/>
              <a:gd name="connsiteY7" fmla="*/ 185195 h 2795063"/>
              <a:gd name="connsiteX0" fmla="*/ 0 w 2963410"/>
              <a:gd name="connsiteY0" fmla="*/ 1145961 h 2795063"/>
              <a:gd name="connsiteX1" fmla="*/ 9857 w 2963410"/>
              <a:gd name="connsiteY1" fmla="*/ 0 h 2795063"/>
              <a:gd name="connsiteX2" fmla="*/ 2758516 w 2963410"/>
              <a:gd name="connsiteY2" fmla="*/ 5460 h 2795063"/>
              <a:gd name="connsiteX3" fmla="*/ 2764303 w 2963410"/>
              <a:gd name="connsiteY3" fmla="*/ 2598255 h 2795063"/>
              <a:gd name="connsiteX4" fmla="*/ 1531599 w 2963410"/>
              <a:gd name="connsiteY4" fmla="*/ 2609830 h 2795063"/>
              <a:gd name="connsiteX5" fmla="*/ 1527529 w 2963410"/>
              <a:gd name="connsiteY5" fmla="*/ 1151420 h 2795063"/>
              <a:gd name="connsiteX6" fmla="*/ 0 w 2963410"/>
              <a:gd name="connsiteY6" fmla="*/ 1145961 h 2795063"/>
              <a:gd name="connsiteX0" fmla="*/ 0 w 2963410"/>
              <a:gd name="connsiteY0" fmla="*/ 1145961 h 2795063"/>
              <a:gd name="connsiteX1" fmla="*/ 9857 w 2963410"/>
              <a:gd name="connsiteY1" fmla="*/ 0 h 2795063"/>
              <a:gd name="connsiteX2" fmla="*/ 2758516 w 2963410"/>
              <a:gd name="connsiteY2" fmla="*/ 5460 h 2795063"/>
              <a:gd name="connsiteX3" fmla="*/ 2764303 w 2963410"/>
              <a:gd name="connsiteY3" fmla="*/ 2598255 h 2795063"/>
              <a:gd name="connsiteX4" fmla="*/ 1531599 w 2963410"/>
              <a:gd name="connsiteY4" fmla="*/ 2609830 h 2795063"/>
              <a:gd name="connsiteX5" fmla="*/ 1527529 w 2963410"/>
              <a:gd name="connsiteY5" fmla="*/ 1151420 h 2795063"/>
              <a:gd name="connsiteX6" fmla="*/ 0 w 2963410"/>
              <a:gd name="connsiteY6" fmla="*/ 1145961 h 2795063"/>
              <a:gd name="connsiteX0" fmla="*/ 0 w 2963410"/>
              <a:gd name="connsiteY0" fmla="*/ 1145961 h 2795063"/>
              <a:gd name="connsiteX1" fmla="*/ 9857 w 2963410"/>
              <a:gd name="connsiteY1" fmla="*/ 0 h 2795063"/>
              <a:gd name="connsiteX2" fmla="*/ 2758516 w 2963410"/>
              <a:gd name="connsiteY2" fmla="*/ 5460 h 2795063"/>
              <a:gd name="connsiteX3" fmla="*/ 2764303 w 2963410"/>
              <a:gd name="connsiteY3" fmla="*/ 2598255 h 2795063"/>
              <a:gd name="connsiteX4" fmla="*/ 1531599 w 2963410"/>
              <a:gd name="connsiteY4" fmla="*/ 2609830 h 2795063"/>
              <a:gd name="connsiteX5" fmla="*/ 1527529 w 2963410"/>
              <a:gd name="connsiteY5" fmla="*/ 1151420 h 2795063"/>
              <a:gd name="connsiteX6" fmla="*/ 0 w 2963410"/>
              <a:gd name="connsiteY6" fmla="*/ 1145961 h 2795063"/>
              <a:gd name="connsiteX0" fmla="*/ 0 w 2963410"/>
              <a:gd name="connsiteY0" fmla="*/ 1145961 h 2795063"/>
              <a:gd name="connsiteX1" fmla="*/ 9857 w 2963410"/>
              <a:gd name="connsiteY1" fmla="*/ 0 h 2795063"/>
              <a:gd name="connsiteX2" fmla="*/ 2758516 w 2963410"/>
              <a:gd name="connsiteY2" fmla="*/ 5460 h 2795063"/>
              <a:gd name="connsiteX3" fmla="*/ 2764303 w 2963410"/>
              <a:gd name="connsiteY3" fmla="*/ 2598255 h 2795063"/>
              <a:gd name="connsiteX4" fmla="*/ 1531599 w 2963410"/>
              <a:gd name="connsiteY4" fmla="*/ 2609830 h 2795063"/>
              <a:gd name="connsiteX5" fmla="*/ 1527529 w 2963410"/>
              <a:gd name="connsiteY5" fmla="*/ 1151420 h 2795063"/>
              <a:gd name="connsiteX6" fmla="*/ 0 w 2963410"/>
              <a:gd name="connsiteY6" fmla="*/ 1145961 h 2795063"/>
              <a:gd name="connsiteX0" fmla="*/ 15878 w 2953888"/>
              <a:gd name="connsiteY0" fmla="*/ 1152311 h 2795063"/>
              <a:gd name="connsiteX1" fmla="*/ 335 w 2953888"/>
              <a:gd name="connsiteY1" fmla="*/ 0 h 2795063"/>
              <a:gd name="connsiteX2" fmla="*/ 2748994 w 2953888"/>
              <a:gd name="connsiteY2" fmla="*/ 5460 h 2795063"/>
              <a:gd name="connsiteX3" fmla="*/ 2754781 w 2953888"/>
              <a:gd name="connsiteY3" fmla="*/ 2598255 h 2795063"/>
              <a:gd name="connsiteX4" fmla="*/ 1522077 w 2953888"/>
              <a:gd name="connsiteY4" fmla="*/ 2609830 h 2795063"/>
              <a:gd name="connsiteX5" fmla="*/ 1518007 w 2953888"/>
              <a:gd name="connsiteY5" fmla="*/ 1151420 h 2795063"/>
              <a:gd name="connsiteX6" fmla="*/ 15878 w 2953888"/>
              <a:gd name="connsiteY6" fmla="*/ 1152311 h 2795063"/>
              <a:gd name="connsiteX0" fmla="*/ 15878 w 2953888"/>
              <a:gd name="connsiteY0" fmla="*/ 1152311 h 2806926"/>
              <a:gd name="connsiteX1" fmla="*/ 335 w 2953888"/>
              <a:gd name="connsiteY1" fmla="*/ 0 h 2806926"/>
              <a:gd name="connsiteX2" fmla="*/ 2748994 w 2953888"/>
              <a:gd name="connsiteY2" fmla="*/ 5460 h 2806926"/>
              <a:gd name="connsiteX3" fmla="*/ 2754781 w 2953888"/>
              <a:gd name="connsiteY3" fmla="*/ 2598255 h 2806926"/>
              <a:gd name="connsiteX4" fmla="*/ 1512552 w 2953888"/>
              <a:gd name="connsiteY4" fmla="*/ 2673330 h 2806926"/>
              <a:gd name="connsiteX5" fmla="*/ 1518007 w 2953888"/>
              <a:gd name="connsiteY5" fmla="*/ 1151420 h 2806926"/>
              <a:gd name="connsiteX6" fmla="*/ 15878 w 2953888"/>
              <a:gd name="connsiteY6" fmla="*/ 1152311 h 2806926"/>
              <a:gd name="connsiteX0" fmla="*/ 15878 w 2953888"/>
              <a:gd name="connsiteY0" fmla="*/ 1152311 h 2797896"/>
              <a:gd name="connsiteX1" fmla="*/ 335 w 2953888"/>
              <a:gd name="connsiteY1" fmla="*/ 0 h 2797896"/>
              <a:gd name="connsiteX2" fmla="*/ 2748994 w 2953888"/>
              <a:gd name="connsiteY2" fmla="*/ 5460 h 2797896"/>
              <a:gd name="connsiteX3" fmla="*/ 2754781 w 2953888"/>
              <a:gd name="connsiteY3" fmla="*/ 2598255 h 2797896"/>
              <a:gd name="connsiteX4" fmla="*/ 1525252 w 2953888"/>
              <a:gd name="connsiteY4" fmla="*/ 2625705 h 2797896"/>
              <a:gd name="connsiteX5" fmla="*/ 1518007 w 2953888"/>
              <a:gd name="connsiteY5" fmla="*/ 1151420 h 2797896"/>
              <a:gd name="connsiteX6" fmla="*/ 15878 w 2953888"/>
              <a:gd name="connsiteY6" fmla="*/ 1152311 h 2797896"/>
              <a:gd name="connsiteX0" fmla="*/ 15878 w 2975918"/>
              <a:gd name="connsiteY0" fmla="*/ 1152311 h 2890798"/>
              <a:gd name="connsiteX1" fmla="*/ 335 w 2975918"/>
              <a:gd name="connsiteY1" fmla="*/ 0 h 2890798"/>
              <a:gd name="connsiteX2" fmla="*/ 2748994 w 2975918"/>
              <a:gd name="connsiteY2" fmla="*/ 5460 h 2890798"/>
              <a:gd name="connsiteX3" fmla="*/ 2830981 w 2975918"/>
              <a:gd name="connsiteY3" fmla="*/ 2709380 h 2890798"/>
              <a:gd name="connsiteX4" fmla="*/ 1525252 w 2975918"/>
              <a:gd name="connsiteY4" fmla="*/ 2625705 h 2890798"/>
              <a:gd name="connsiteX5" fmla="*/ 1518007 w 2975918"/>
              <a:gd name="connsiteY5" fmla="*/ 1151420 h 2890798"/>
              <a:gd name="connsiteX6" fmla="*/ 15878 w 2975918"/>
              <a:gd name="connsiteY6" fmla="*/ 1152311 h 2890798"/>
              <a:gd name="connsiteX0" fmla="*/ 15878 w 2954722"/>
              <a:gd name="connsiteY0" fmla="*/ 1152311 h 2813557"/>
              <a:gd name="connsiteX1" fmla="*/ 335 w 2954722"/>
              <a:gd name="connsiteY1" fmla="*/ 0 h 2813557"/>
              <a:gd name="connsiteX2" fmla="*/ 2748994 w 2954722"/>
              <a:gd name="connsiteY2" fmla="*/ 5460 h 2813557"/>
              <a:gd name="connsiteX3" fmla="*/ 2757956 w 2954722"/>
              <a:gd name="connsiteY3" fmla="*/ 2617305 h 2813557"/>
              <a:gd name="connsiteX4" fmla="*/ 1525252 w 2954722"/>
              <a:gd name="connsiteY4" fmla="*/ 2625705 h 2813557"/>
              <a:gd name="connsiteX5" fmla="*/ 1518007 w 2954722"/>
              <a:gd name="connsiteY5" fmla="*/ 1151420 h 2813557"/>
              <a:gd name="connsiteX6" fmla="*/ 15878 w 2954722"/>
              <a:gd name="connsiteY6" fmla="*/ 1152311 h 2813557"/>
              <a:gd name="connsiteX0" fmla="*/ 15878 w 3070830"/>
              <a:gd name="connsiteY0" fmla="*/ 1152311 h 2813557"/>
              <a:gd name="connsiteX1" fmla="*/ 335 w 3070830"/>
              <a:gd name="connsiteY1" fmla="*/ 0 h 2813557"/>
              <a:gd name="connsiteX2" fmla="*/ 2898219 w 3070830"/>
              <a:gd name="connsiteY2" fmla="*/ 59435 h 2813557"/>
              <a:gd name="connsiteX3" fmla="*/ 2757956 w 3070830"/>
              <a:gd name="connsiteY3" fmla="*/ 2617305 h 2813557"/>
              <a:gd name="connsiteX4" fmla="*/ 1525252 w 3070830"/>
              <a:gd name="connsiteY4" fmla="*/ 2625705 h 2813557"/>
              <a:gd name="connsiteX5" fmla="*/ 1518007 w 3070830"/>
              <a:gd name="connsiteY5" fmla="*/ 1151420 h 2813557"/>
              <a:gd name="connsiteX6" fmla="*/ 15878 w 3070830"/>
              <a:gd name="connsiteY6" fmla="*/ 1152311 h 2813557"/>
              <a:gd name="connsiteX0" fmla="*/ 15878 w 2957063"/>
              <a:gd name="connsiteY0" fmla="*/ 1152311 h 2813557"/>
              <a:gd name="connsiteX1" fmla="*/ 335 w 2957063"/>
              <a:gd name="connsiteY1" fmla="*/ 0 h 2813557"/>
              <a:gd name="connsiteX2" fmla="*/ 2752169 w 2957063"/>
              <a:gd name="connsiteY2" fmla="*/ 5460 h 2813557"/>
              <a:gd name="connsiteX3" fmla="*/ 2757956 w 2957063"/>
              <a:gd name="connsiteY3" fmla="*/ 2617305 h 2813557"/>
              <a:gd name="connsiteX4" fmla="*/ 1525252 w 2957063"/>
              <a:gd name="connsiteY4" fmla="*/ 2625705 h 2813557"/>
              <a:gd name="connsiteX5" fmla="*/ 1518007 w 2957063"/>
              <a:gd name="connsiteY5" fmla="*/ 1151420 h 2813557"/>
              <a:gd name="connsiteX6" fmla="*/ 15878 w 2957063"/>
              <a:gd name="connsiteY6" fmla="*/ 1152311 h 2813557"/>
              <a:gd name="connsiteX0" fmla="*/ 0 w 2941185"/>
              <a:gd name="connsiteY0" fmla="*/ 1146851 h 2808097"/>
              <a:gd name="connsiteX1" fmla="*/ 70182 w 2941185"/>
              <a:gd name="connsiteY1" fmla="*/ 92965 h 2808097"/>
              <a:gd name="connsiteX2" fmla="*/ 2736291 w 2941185"/>
              <a:gd name="connsiteY2" fmla="*/ 0 h 2808097"/>
              <a:gd name="connsiteX3" fmla="*/ 2742078 w 2941185"/>
              <a:gd name="connsiteY3" fmla="*/ 2611845 h 2808097"/>
              <a:gd name="connsiteX4" fmla="*/ 1509374 w 2941185"/>
              <a:gd name="connsiteY4" fmla="*/ 2620245 h 2808097"/>
              <a:gd name="connsiteX5" fmla="*/ 1502129 w 2941185"/>
              <a:gd name="connsiteY5" fmla="*/ 1145960 h 2808097"/>
              <a:gd name="connsiteX6" fmla="*/ 0 w 2941185"/>
              <a:gd name="connsiteY6" fmla="*/ 1146851 h 2808097"/>
              <a:gd name="connsiteX0" fmla="*/ 656 w 2941841"/>
              <a:gd name="connsiteY0" fmla="*/ 1146851 h 2808097"/>
              <a:gd name="connsiteX1" fmla="*/ 988 w 2941841"/>
              <a:gd name="connsiteY1" fmla="*/ 890 h 2808097"/>
              <a:gd name="connsiteX2" fmla="*/ 2736947 w 2941841"/>
              <a:gd name="connsiteY2" fmla="*/ 0 h 2808097"/>
              <a:gd name="connsiteX3" fmla="*/ 2742734 w 2941841"/>
              <a:gd name="connsiteY3" fmla="*/ 2611845 h 2808097"/>
              <a:gd name="connsiteX4" fmla="*/ 1510030 w 2941841"/>
              <a:gd name="connsiteY4" fmla="*/ 2620245 h 2808097"/>
              <a:gd name="connsiteX5" fmla="*/ 1502785 w 2941841"/>
              <a:gd name="connsiteY5" fmla="*/ 1145960 h 2808097"/>
              <a:gd name="connsiteX6" fmla="*/ 656 w 2941841"/>
              <a:gd name="connsiteY6" fmla="*/ 1146851 h 2808097"/>
              <a:gd name="connsiteX0" fmla="*/ 656 w 2941841"/>
              <a:gd name="connsiteY0" fmla="*/ 1146851 h 2808097"/>
              <a:gd name="connsiteX1" fmla="*/ 988 w 2941841"/>
              <a:gd name="connsiteY1" fmla="*/ 890 h 2808097"/>
              <a:gd name="connsiteX2" fmla="*/ 2736947 w 2941841"/>
              <a:gd name="connsiteY2" fmla="*/ 0 h 2808097"/>
              <a:gd name="connsiteX3" fmla="*/ 2742734 w 2941841"/>
              <a:gd name="connsiteY3" fmla="*/ 2611845 h 2808097"/>
              <a:gd name="connsiteX4" fmla="*/ 1510030 w 2941841"/>
              <a:gd name="connsiteY4" fmla="*/ 2620245 h 2808097"/>
              <a:gd name="connsiteX5" fmla="*/ 1502785 w 2941841"/>
              <a:gd name="connsiteY5" fmla="*/ 1145960 h 2808097"/>
              <a:gd name="connsiteX6" fmla="*/ 656 w 2941841"/>
              <a:gd name="connsiteY6" fmla="*/ 1146851 h 2808097"/>
              <a:gd name="connsiteX0" fmla="*/ 1179 w 2942364"/>
              <a:gd name="connsiteY0" fmla="*/ 1146851 h 2808097"/>
              <a:gd name="connsiteX1" fmla="*/ 1511 w 2942364"/>
              <a:gd name="connsiteY1" fmla="*/ 890 h 2808097"/>
              <a:gd name="connsiteX2" fmla="*/ 2737470 w 2942364"/>
              <a:gd name="connsiteY2" fmla="*/ 0 h 2808097"/>
              <a:gd name="connsiteX3" fmla="*/ 2743257 w 2942364"/>
              <a:gd name="connsiteY3" fmla="*/ 2611845 h 2808097"/>
              <a:gd name="connsiteX4" fmla="*/ 1510553 w 2942364"/>
              <a:gd name="connsiteY4" fmla="*/ 2620245 h 2808097"/>
              <a:gd name="connsiteX5" fmla="*/ 1503308 w 2942364"/>
              <a:gd name="connsiteY5" fmla="*/ 1145960 h 2808097"/>
              <a:gd name="connsiteX6" fmla="*/ 1179 w 2942364"/>
              <a:gd name="connsiteY6" fmla="*/ 1146851 h 2808097"/>
              <a:gd name="connsiteX0" fmla="*/ 1179 w 2942364"/>
              <a:gd name="connsiteY0" fmla="*/ 1146851 h 2808097"/>
              <a:gd name="connsiteX1" fmla="*/ 1511 w 2942364"/>
              <a:gd name="connsiteY1" fmla="*/ 890 h 2808097"/>
              <a:gd name="connsiteX2" fmla="*/ 2737470 w 2942364"/>
              <a:gd name="connsiteY2" fmla="*/ 0 h 2808097"/>
              <a:gd name="connsiteX3" fmla="*/ 2743257 w 2942364"/>
              <a:gd name="connsiteY3" fmla="*/ 2611845 h 2808097"/>
              <a:gd name="connsiteX4" fmla="*/ 1510553 w 2942364"/>
              <a:gd name="connsiteY4" fmla="*/ 2620245 h 2808097"/>
              <a:gd name="connsiteX5" fmla="*/ 1503308 w 2942364"/>
              <a:gd name="connsiteY5" fmla="*/ 1145960 h 2808097"/>
              <a:gd name="connsiteX6" fmla="*/ 1179 w 2942364"/>
              <a:gd name="connsiteY6" fmla="*/ 1146851 h 2808097"/>
              <a:gd name="connsiteX0" fmla="*/ 1179 w 2942364"/>
              <a:gd name="connsiteY0" fmla="*/ 1146851 h 2808097"/>
              <a:gd name="connsiteX1" fmla="*/ 1511 w 2942364"/>
              <a:gd name="connsiteY1" fmla="*/ 890 h 2808097"/>
              <a:gd name="connsiteX2" fmla="*/ 2737470 w 2942364"/>
              <a:gd name="connsiteY2" fmla="*/ 0 h 2808097"/>
              <a:gd name="connsiteX3" fmla="*/ 2743257 w 2942364"/>
              <a:gd name="connsiteY3" fmla="*/ 2611845 h 2808097"/>
              <a:gd name="connsiteX4" fmla="*/ 1510553 w 2942364"/>
              <a:gd name="connsiteY4" fmla="*/ 2620245 h 2808097"/>
              <a:gd name="connsiteX5" fmla="*/ 1503308 w 2942364"/>
              <a:gd name="connsiteY5" fmla="*/ 1145960 h 2808097"/>
              <a:gd name="connsiteX6" fmla="*/ 1179 w 2942364"/>
              <a:gd name="connsiteY6" fmla="*/ 1146851 h 2808097"/>
              <a:gd name="connsiteX0" fmla="*/ 1179 w 2942364"/>
              <a:gd name="connsiteY0" fmla="*/ 1146851 h 3094930"/>
              <a:gd name="connsiteX1" fmla="*/ 1511 w 2942364"/>
              <a:gd name="connsiteY1" fmla="*/ 890 h 3094930"/>
              <a:gd name="connsiteX2" fmla="*/ 2737470 w 2942364"/>
              <a:gd name="connsiteY2" fmla="*/ 0 h 3094930"/>
              <a:gd name="connsiteX3" fmla="*/ 2743257 w 2942364"/>
              <a:gd name="connsiteY3" fmla="*/ 2611845 h 3094930"/>
              <a:gd name="connsiteX4" fmla="*/ 1510553 w 2942364"/>
              <a:gd name="connsiteY4" fmla="*/ 2620245 h 3094930"/>
              <a:gd name="connsiteX5" fmla="*/ 1503308 w 2942364"/>
              <a:gd name="connsiteY5" fmla="*/ 1145960 h 3094930"/>
              <a:gd name="connsiteX6" fmla="*/ 1179 w 2942364"/>
              <a:gd name="connsiteY6" fmla="*/ 1146851 h 3094930"/>
              <a:gd name="connsiteX0" fmla="*/ 1179 w 2942364"/>
              <a:gd name="connsiteY0" fmla="*/ 1146851 h 3094930"/>
              <a:gd name="connsiteX1" fmla="*/ 1511 w 2942364"/>
              <a:gd name="connsiteY1" fmla="*/ 890 h 3094930"/>
              <a:gd name="connsiteX2" fmla="*/ 2737470 w 2942364"/>
              <a:gd name="connsiteY2" fmla="*/ 0 h 3094930"/>
              <a:gd name="connsiteX3" fmla="*/ 2743257 w 2942364"/>
              <a:gd name="connsiteY3" fmla="*/ 2611845 h 3094930"/>
              <a:gd name="connsiteX4" fmla="*/ 1510553 w 2942364"/>
              <a:gd name="connsiteY4" fmla="*/ 2620245 h 3094930"/>
              <a:gd name="connsiteX5" fmla="*/ 1503308 w 2942364"/>
              <a:gd name="connsiteY5" fmla="*/ 1145960 h 3094930"/>
              <a:gd name="connsiteX6" fmla="*/ 1179 w 2942364"/>
              <a:gd name="connsiteY6" fmla="*/ 1146851 h 3094930"/>
              <a:gd name="connsiteX0" fmla="*/ 1179 w 2956684"/>
              <a:gd name="connsiteY0" fmla="*/ 1146851 h 3094930"/>
              <a:gd name="connsiteX1" fmla="*/ 1511 w 2956684"/>
              <a:gd name="connsiteY1" fmla="*/ 890 h 3094930"/>
              <a:gd name="connsiteX2" fmla="*/ 2737470 w 2956684"/>
              <a:gd name="connsiteY2" fmla="*/ 0 h 3094930"/>
              <a:gd name="connsiteX3" fmla="*/ 2743257 w 2956684"/>
              <a:gd name="connsiteY3" fmla="*/ 2611845 h 3094930"/>
              <a:gd name="connsiteX4" fmla="*/ 1510553 w 2956684"/>
              <a:gd name="connsiteY4" fmla="*/ 2620245 h 3094930"/>
              <a:gd name="connsiteX5" fmla="*/ 1503308 w 2956684"/>
              <a:gd name="connsiteY5" fmla="*/ 1145960 h 3094930"/>
              <a:gd name="connsiteX6" fmla="*/ 1179 w 2956684"/>
              <a:gd name="connsiteY6" fmla="*/ 1146851 h 3094930"/>
              <a:gd name="connsiteX0" fmla="*/ 1179 w 2941423"/>
              <a:gd name="connsiteY0" fmla="*/ 1146851 h 3094930"/>
              <a:gd name="connsiteX1" fmla="*/ 1511 w 2941423"/>
              <a:gd name="connsiteY1" fmla="*/ 890 h 3094930"/>
              <a:gd name="connsiteX2" fmla="*/ 2737470 w 2941423"/>
              <a:gd name="connsiteY2" fmla="*/ 0 h 3094930"/>
              <a:gd name="connsiteX3" fmla="*/ 2743257 w 2941423"/>
              <a:gd name="connsiteY3" fmla="*/ 2611845 h 3094930"/>
              <a:gd name="connsiteX4" fmla="*/ 1510553 w 2941423"/>
              <a:gd name="connsiteY4" fmla="*/ 2620245 h 3094930"/>
              <a:gd name="connsiteX5" fmla="*/ 1503308 w 2941423"/>
              <a:gd name="connsiteY5" fmla="*/ 1145960 h 3094930"/>
              <a:gd name="connsiteX6" fmla="*/ 1179 w 2941423"/>
              <a:gd name="connsiteY6" fmla="*/ 1146851 h 3094930"/>
              <a:gd name="connsiteX0" fmla="*/ 1179 w 2941423"/>
              <a:gd name="connsiteY0" fmla="*/ 1146851 h 3094930"/>
              <a:gd name="connsiteX1" fmla="*/ 1511 w 2941423"/>
              <a:gd name="connsiteY1" fmla="*/ 890 h 3094930"/>
              <a:gd name="connsiteX2" fmla="*/ 2737470 w 2941423"/>
              <a:gd name="connsiteY2" fmla="*/ 0 h 3094930"/>
              <a:gd name="connsiteX3" fmla="*/ 2743257 w 2941423"/>
              <a:gd name="connsiteY3" fmla="*/ 2611845 h 3094930"/>
              <a:gd name="connsiteX4" fmla="*/ 1510553 w 2941423"/>
              <a:gd name="connsiteY4" fmla="*/ 2620245 h 3094930"/>
              <a:gd name="connsiteX5" fmla="*/ 1503308 w 2941423"/>
              <a:gd name="connsiteY5" fmla="*/ 1145960 h 3094930"/>
              <a:gd name="connsiteX6" fmla="*/ 1179 w 2941423"/>
              <a:gd name="connsiteY6" fmla="*/ 1146851 h 3094930"/>
              <a:gd name="connsiteX0" fmla="*/ 1179 w 2941423"/>
              <a:gd name="connsiteY0" fmla="*/ 1146851 h 2939223"/>
              <a:gd name="connsiteX1" fmla="*/ 1511 w 2941423"/>
              <a:gd name="connsiteY1" fmla="*/ 890 h 2939223"/>
              <a:gd name="connsiteX2" fmla="*/ 2737470 w 2941423"/>
              <a:gd name="connsiteY2" fmla="*/ 0 h 2939223"/>
              <a:gd name="connsiteX3" fmla="*/ 2743257 w 2941423"/>
              <a:gd name="connsiteY3" fmla="*/ 2611845 h 2939223"/>
              <a:gd name="connsiteX4" fmla="*/ 1510553 w 2941423"/>
              <a:gd name="connsiteY4" fmla="*/ 2620245 h 2939223"/>
              <a:gd name="connsiteX5" fmla="*/ 1503308 w 2941423"/>
              <a:gd name="connsiteY5" fmla="*/ 1145960 h 2939223"/>
              <a:gd name="connsiteX6" fmla="*/ 1179 w 2941423"/>
              <a:gd name="connsiteY6" fmla="*/ 1146851 h 2939223"/>
              <a:gd name="connsiteX0" fmla="*/ 1179 w 2941423"/>
              <a:gd name="connsiteY0" fmla="*/ 1146851 h 2620245"/>
              <a:gd name="connsiteX1" fmla="*/ 1511 w 2941423"/>
              <a:gd name="connsiteY1" fmla="*/ 890 h 2620245"/>
              <a:gd name="connsiteX2" fmla="*/ 2737470 w 2941423"/>
              <a:gd name="connsiteY2" fmla="*/ 0 h 2620245"/>
              <a:gd name="connsiteX3" fmla="*/ 2743257 w 2941423"/>
              <a:gd name="connsiteY3" fmla="*/ 2611845 h 2620245"/>
              <a:gd name="connsiteX4" fmla="*/ 1510553 w 2941423"/>
              <a:gd name="connsiteY4" fmla="*/ 2620245 h 2620245"/>
              <a:gd name="connsiteX5" fmla="*/ 1503308 w 2941423"/>
              <a:gd name="connsiteY5" fmla="*/ 1145960 h 2620245"/>
              <a:gd name="connsiteX6" fmla="*/ 1179 w 2941423"/>
              <a:gd name="connsiteY6" fmla="*/ 1146851 h 2620245"/>
              <a:gd name="connsiteX0" fmla="*/ 1179 w 2941423"/>
              <a:gd name="connsiteY0" fmla="*/ 1146851 h 2611845"/>
              <a:gd name="connsiteX1" fmla="*/ 1511 w 2941423"/>
              <a:gd name="connsiteY1" fmla="*/ 890 h 2611845"/>
              <a:gd name="connsiteX2" fmla="*/ 2737470 w 2941423"/>
              <a:gd name="connsiteY2" fmla="*/ 0 h 2611845"/>
              <a:gd name="connsiteX3" fmla="*/ 2743257 w 2941423"/>
              <a:gd name="connsiteY3" fmla="*/ 2611845 h 2611845"/>
              <a:gd name="connsiteX4" fmla="*/ 1510553 w 2941423"/>
              <a:gd name="connsiteY4" fmla="*/ 2610720 h 2611845"/>
              <a:gd name="connsiteX5" fmla="*/ 1503308 w 2941423"/>
              <a:gd name="connsiteY5" fmla="*/ 1145960 h 2611845"/>
              <a:gd name="connsiteX6" fmla="*/ 1179 w 2941423"/>
              <a:gd name="connsiteY6" fmla="*/ 1146851 h 2611845"/>
              <a:gd name="connsiteX0" fmla="*/ 1179 w 2743257"/>
              <a:gd name="connsiteY0" fmla="*/ 1146851 h 2611845"/>
              <a:gd name="connsiteX1" fmla="*/ 1511 w 2743257"/>
              <a:gd name="connsiteY1" fmla="*/ 890 h 2611845"/>
              <a:gd name="connsiteX2" fmla="*/ 2737470 w 2743257"/>
              <a:gd name="connsiteY2" fmla="*/ 0 h 2611845"/>
              <a:gd name="connsiteX3" fmla="*/ 2743257 w 2743257"/>
              <a:gd name="connsiteY3" fmla="*/ 2611845 h 2611845"/>
              <a:gd name="connsiteX4" fmla="*/ 1510553 w 2743257"/>
              <a:gd name="connsiteY4" fmla="*/ 2610720 h 2611845"/>
              <a:gd name="connsiteX5" fmla="*/ 1503308 w 2743257"/>
              <a:gd name="connsiteY5" fmla="*/ 1145960 h 2611845"/>
              <a:gd name="connsiteX6" fmla="*/ 1179 w 2743257"/>
              <a:gd name="connsiteY6" fmla="*/ 1146851 h 2611845"/>
              <a:gd name="connsiteX0" fmla="*/ 0 w 2742078"/>
              <a:gd name="connsiteY0" fmla="*/ 1146851 h 2611845"/>
              <a:gd name="connsiteX1" fmla="*/ 332 w 2742078"/>
              <a:gd name="connsiteY1" fmla="*/ 890 h 2611845"/>
              <a:gd name="connsiteX2" fmla="*/ 2736291 w 2742078"/>
              <a:gd name="connsiteY2" fmla="*/ 0 h 2611845"/>
              <a:gd name="connsiteX3" fmla="*/ 2742078 w 2742078"/>
              <a:gd name="connsiteY3" fmla="*/ 2611845 h 2611845"/>
              <a:gd name="connsiteX4" fmla="*/ 1509374 w 2742078"/>
              <a:gd name="connsiteY4" fmla="*/ 2610720 h 2611845"/>
              <a:gd name="connsiteX5" fmla="*/ 1502129 w 2742078"/>
              <a:gd name="connsiteY5" fmla="*/ 1145960 h 2611845"/>
              <a:gd name="connsiteX6" fmla="*/ 0 w 2742078"/>
              <a:gd name="connsiteY6" fmla="*/ 1146851 h 2611845"/>
              <a:gd name="connsiteX0" fmla="*/ 0 w 2742078"/>
              <a:gd name="connsiteY0" fmla="*/ 1146851 h 2611845"/>
              <a:gd name="connsiteX1" fmla="*/ 332 w 2742078"/>
              <a:gd name="connsiteY1" fmla="*/ 890 h 2611845"/>
              <a:gd name="connsiteX2" fmla="*/ 2736291 w 2742078"/>
              <a:gd name="connsiteY2" fmla="*/ 0 h 2611845"/>
              <a:gd name="connsiteX3" fmla="*/ 2742078 w 2742078"/>
              <a:gd name="connsiteY3" fmla="*/ 2611845 h 2611845"/>
              <a:gd name="connsiteX4" fmla="*/ 1509374 w 2742078"/>
              <a:gd name="connsiteY4" fmla="*/ 2610720 h 2611845"/>
              <a:gd name="connsiteX5" fmla="*/ 1502129 w 2742078"/>
              <a:gd name="connsiteY5" fmla="*/ 1145960 h 2611845"/>
              <a:gd name="connsiteX6" fmla="*/ 0 w 2742078"/>
              <a:gd name="connsiteY6" fmla="*/ 1146851 h 2611845"/>
              <a:gd name="connsiteX0" fmla="*/ 0 w 2742078"/>
              <a:gd name="connsiteY0" fmla="*/ 1146851 h 2611845"/>
              <a:gd name="connsiteX1" fmla="*/ 332 w 2742078"/>
              <a:gd name="connsiteY1" fmla="*/ 890 h 2611845"/>
              <a:gd name="connsiteX2" fmla="*/ 2736291 w 2742078"/>
              <a:gd name="connsiteY2" fmla="*/ 0 h 2611845"/>
              <a:gd name="connsiteX3" fmla="*/ 2742078 w 2742078"/>
              <a:gd name="connsiteY3" fmla="*/ 2611845 h 2611845"/>
              <a:gd name="connsiteX4" fmla="*/ 1509374 w 2742078"/>
              <a:gd name="connsiteY4" fmla="*/ 2610720 h 2611845"/>
              <a:gd name="connsiteX5" fmla="*/ 1479904 w 2742078"/>
              <a:gd name="connsiteY5" fmla="*/ 1209460 h 2611845"/>
              <a:gd name="connsiteX6" fmla="*/ 0 w 2742078"/>
              <a:gd name="connsiteY6" fmla="*/ 1146851 h 2611845"/>
              <a:gd name="connsiteX0" fmla="*/ 0 w 2742078"/>
              <a:gd name="connsiteY0" fmla="*/ 1146851 h 2611845"/>
              <a:gd name="connsiteX1" fmla="*/ 332 w 2742078"/>
              <a:gd name="connsiteY1" fmla="*/ 890 h 2611845"/>
              <a:gd name="connsiteX2" fmla="*/ 2736291 w 2742078"/>
              <a:gd name="connsiteY2" fmla="*/ 0 h 2611845"/>
              <a:gd name="connsiteX3" fmla="*/ 2742078 w 2742078"/>
              <a:gd name="connsiteY3" fmla="*/ 2611845 h 2611845"/>
              <a:gd name="connsiteX4" fmla="*/ 1509374 w 2742078"/>
              <a:gd name="connsiteY4" fmla="*/ 2610720 h 2611845"/>
              <a:gd name="connsiteX5" fmla="*/ 1508479 w 2742078"/>
              <a:gd name="connsiteY5" fmla="*/ 1142785 h 2611845"/>
              <a:gd name="connsiteX6" fmla="*/ 0 w 2742078"/>
              <a:gd name="connsiteY6" fmla="*/ 1146851 h 2611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2078" h="2611845">
                <a:moveTo>
                  <a:pt x="0" y="1146851"/>
                </a:moveTo>
                <a:cubicBezTo>
                  <a:pt x="166" y="751670"/>
                  <a:pt x="221" y="417802"/>
                  <a:pt x="332" y="890"/>
                </a:cubicBezTo>
                <a:lnTo>
                  <a:pt x="2736291" y="0"/>
                </a:lnTo>
                <a:cubicBezTo>
                  <a:pt x="2739224" y="1387659"/>
                  <a:pt x="2739184" y="1305922"/>
                  <a:pt x="2742078" y="2611845"/>
                </a:cubicBezTo>
                <a:lnTo>
                  <a:pt x="1509374" y="2610720"/>
                </a:lnTo>
                <a:cubicBezTo>
                  <a:pt x="1508017" y="2124583"/>
                  <a:pt x="1513011" y="1968647"/>
                  <a:pt x="1508479" y="1142785"/>
                </a:cubicBezTo>
                <a:lnTo>
                  <a:pt x="0" y="1146851"/>
                </a:lnTo>
                <a:close/>
              </a:path>
            </a:pathLst>
          </a:custGeom>
          <a:solidFill>
            <a:schemeClr val="accent2"/>
          </a:solidFill>
        </p:spPr>
        <p:txBody>
          <a:bodyPr/>
          <a:lstStyle>
            <a:lvl1pPr>
              <a:defRPr sz="1000">
                <a:solidFill>
                  <a:schemeClr val="tx2"/>
                </a:solidFill>
              </a:defRPr>
            </a:lvl1pPr>
          </a:lstStyle>
          <a:p>
            <a:endParaRPr lang="en-US" noProof="0"/>
          </a:p>
        </p:txBody>
      </p:sp>
      <p:sp>
        <p:nvSpPr>
          <p:cNvPr id="96" name="Text Placeholder 19">
            <a:extLst>
              <a:ext uri="{FF2B5EF4-FFF2-40B4-BE49-F238E27FC236}">
                <a16:creationId xmlns:a16="http://schemas.microsoft.com/office/drawing/2014/main" id="{FF6ECB26-4466-5244-8F0C-CD138DCD901D}"/>
              </a:ext>
            </a:extLst>
          </p:cNvPr>
          <p:cNvSpPr>
            <a:spLocks noGrp="1"/>
          </p:cNvSpPr>
          <p:nvPr>
            <p:ph type="body" sz="quarter" idx="10" hasCustomPrompt="1"/>
          </p:nvPr>
        </p:nvSpPr>
        <p:spPr>
          <a:xfrm>
            <a:off x="1" y="4335275"/>
            <a:ext cx="3455988" cy="397064"/>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grpSp>
        <p:nvGrpSpPr>
          <p:cNvPr id="52" name="Group 51">
            <a:extLst>
              <a:ext uri="{FF2B5EF4-FFF2-40B4-BE49-F238E27FC236}">
                <a16:creationId xmlns:a16="http://schemas.microsoft.com/office/drawing/2014/main" id="{51C44B24-FF3F-4942-8558-4DCF1671C750}"/>
              </a:ext>
            </a:extLst>
          </p:cNvPr>
          <p:cNvGrpSpPr/>
          <p:nvPr userDrawn="1"/>
        </p:nvGrpSpPr>
        <p:grpSpPr>
          <a:xfrm>
            <a:off x="7391345" y="411163"/>
            <a:ext cx="1336166" cy="539307"/>
            <a:chOff x="2286000" y="2193925"/>
            <a:chExt cx="6835775" cy="2759075"/>
          </a:xfrm>
          <a:solidFill>
            <a:schemeClr val="tx1"/>
          </a:solidFill>
        </p:grpSpPr>
        <p:sp>
          <p:nvSpPr>
            <p:cNvPr id="53" name="Freeform 1">
              <a:extLst>
                <a:ext uri="{FF2B5EF4-FFF2-40B4-BE49-F238E27FC236}">
                  <a16:creationId xmlns:a16="http://schemas.microsoft.com/office/drawing/2014/main" id="{C71ABDCE-81D0-F94D-A2C9-0213EB13208E}"/>
                </a:ext>
              </a:extLst>
            </p:cNvPr>
            <p:cNvSpPr>
              <a:spLocks noChangeArrowheads="1"/>
            </p:cNvSpPr>
            <p:nvPr/>
          </p:nvSpPr>
          <p:spPr bwMode="auto">
            <a:xfrm>
              <a:off x="8378825" y="2471738"/>
              <a:ext cx="742950" cy="706437"/>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4" name="Freeform 2">
              <a:extLst>
                <a:ext uri="{FF2B5EF4-FFF2-40B4-BE49-F238E27FC236}">
                  <a16:creationId xmlns:a16="http://schemas.microsoft.com/office/drawing/2014/main" id="{7CA70A6F-EAE0-5040-BD8E-572064FDE710}"/>
                </a:ext>
              </a:extLst>
            </p:cNvPr>
            <p:cNvSpPr>
              <a:spLocks noChangeArrowheads="1"/>
            </p:cNvSpPr>
            <p:nvPr/>
          </p:nvSpPr>
          <p:spPr bwMode="auto">
            <a:xfrm>
              <a:off x="5299075" y="2781300"/>
              <a:ext cx="333375" cy="1349375"/>
            </a:xfrm>
            <a:custGeom>
              <a:avLst/>
              <a:gdLst>
                <a:gd name="T0" fmla="*/ 0 w 927"/>
                <a:gd name="T1" fmla="*/ 3749 h 3750"/>
                <a:gd name="T2" fmla="*/ 926 w 927"/>
                <a:gd name="T3" fmla="*/ 3749 h 3750"/>
                <a:gd name="T4" fmla="*/ 926 w 927"/>
                <a:gd name="T5" fmla="*/ 0 h 3750"/>
                <a:gd name="T6" fmla="*/ 0 w 927"/>
                <a:gd name="T7" fmla="*/ 0 h 3750"/>
                <a:gd name="T8" fmla="*/ 0 w 927"/>
                <a:gd name="T9" fmla="*/ 3749 h 3750"/>
              </a:gdLst>
              <a:ahLst/>
              <a:cxnLst>
                <a:cxn ang="0">
                  <a:pos x="T0" y="T1"/>
                </a:cxn>
                <a:cxn ang="0">
                  <a:pos x="T2" y="T3"/>
                </a:cxn>
                <a:cxn ang="0">
                  <a:pos x="T4" y="T5"/>
                </a:cxn>
                <a:cxn ang="0">
                  <a:pos x="T6" y="T7"/>
                </a:cxn>
                <a:cxn ang="0">
                  <a:pos x="T8" y="T9"/>
                </a:cxn>
              </a:cxnLst>
              <a:rect l="0" t="0" r="r" b="b"/>
              <a:pathLst>
                <a:path w="927" h="3750">
                  <a:moveTo>
                    <a:pt x="0" y="3749"/>
                  </a:moveTo>
                  <a:lnTo>
                    <a:pt x="926" y="3749"/>
                  </a:lnTo>
                  <a:lnTo>
                    <a:pt x="926" y="0"/>
                  </a:lnTo>
                  <a:lnTo>
                    <a:pt x="0" y="0"/>
                  </a:lnTo>
                  <a:lnTo>
                    <a:pt x="0" y="374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3" name="Freeform 3">
              <a:extLst>
                <a:ext uri="{FF2B5EF4-FFF2-40B4-BE49-F238E27FC236}">
                  <a16:creationId xmlns:a16="http://schemas.microsoft.com/office/drawing/2014/main" id="{64F73712-BB8D-B74A-99CA-3FFB793997BF}"/>
                </a:ext>
              </a:extLst>
            </p:cNvPr>
            <p:cNvSpPr>
              <a:spLocks noChangeArrowheads="1"/>
            </p:cNvSpPr>
            <p:nvPr/>
          </p:nvSpPr>
          <p:spPr bwMode="auto">
            <a:xfrm>
              <a:off x="3781425" y="2193925"/>
              <a:ext cx="1206500" cy="1973263"/>
            </a:xfrm>
            <a:custGeom>
              <a:avLst/>
              <a:gdLst>
                <a:gd name="T0" fmla="*/ 2426 w 3353"/>
                <a:gd name="T1" fmla="*/ 1631 h 5480"/>
                <a:gd name="T2" fmla="*/ 2426 w 3353"/>
                <a:gd name="T3" fmla="*/ 1631 h 5480"/>
                <a:gd name="T4" fmla="*/ 2459 w 3353"/>
                <a:gd name="T5" fmla="*/ 1940 h 5480"/>
                <a:gd name="T6" fmla="*/ 1290 w 3353"/>
                <a:gd name="T7" fmla="*/ 1532 h 5480"/>
                <a:gd name="T8" fmla="*/ 0 w 3353"/>
                <a:gd name="T9" fmla="*/ 1995 h 5480"/>
                <a:gd name="T10" fmla="*/ 463 w 3353"/>
                <a:gd name="T11" fmla="*/ 2833 h 5480"/>
                <a:gd name="T12" fmla="*/ 1323 w 3353"/>
                <a:gd name="T13" fmla="*/ 2403 h 5480"/>
                <a:gd name="T14" fmla="*/ 2393 w 3353"/>
                <a:gd name="T15" fmla="*/ 3506 h 5480"/>
                <a:gd name="T16" fmla="*/ 1323 w 3353"/>
                <a:gd name="T17" fmla="*/ 4619 h 5480"/>
                <a:gd name="T18" fmla="*/ 485 w 3353"/>
                <a:gd name="T19" fmla="*/ 4178 h 5480"/>
                <a:gd name="T20" fmla="*/ 0 w 3353"/>
                <a:gd name="T21" fmla="*/ 5049 h 5480"/>
                <a:gd name="T22" fmla="*/ 1290 w 3353"/>
                <a:gd name="T23" fmla="*/ 5479 h 5480"/>
                <a:gd name="T24" fmla="*/ 2459 w 3353"/>
                <a:gd name="T25" fmla="*/ 5071 h 5480"/>
                <a:gd name="T26" fmla="*/ 2492 w 3353"/>
                <a:gd name="T27" fmla="*/ 5380 h 5480"/>
                <a:gd name="T28" fmla="*/ 3352 w 3353"/>
                <a:gd name="T29" fmla="*/ 5380 h 5480"/>
                <a:gd name="T30" fmla="*/ 3352 w 3353"/>
                <a:gd name="T31" fmla="*/ 0 h 5480"/>
                <a:gd name="T32" fmla="*/ 2426 w 3353"/>
                <a:gd name="T33" fmla="*/ 0 h 5480"/>
                <a:gd name="T34" fmla="*/ 2426 w 3353"/>
                <a:gd name="T35" fmla="*/ 1631 h 5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53" h="5480">
                  <a:moveTo>
                    <a:pt x="2426" y="1631"/>
                  </a:moveTo>
                  <a:lnTo>
                    <a:pt x="2426" y="1631"/>
                  </a:lnTo>
                  <a:cubicBezTo>
                    <a:pt x="2426" y="1819"/>
                    <a:pt x="2459" y="1940"/>
                    <a:pt x="2459" y="1940"/>
                  </a:cubicBezTo>
                  <a:cubicBezTo>
                    <a:pt x="2150" y="1720"/>
                    <a:pt x="1786" y="1532"/>
                    <a:pt x="1290" y="1532"/>
                  </a:cubicBezTo>
                  <a:cubicBezTo>
                    <a:pt x="794" y="1532"/>
                    <a:pt x="364" y="1720"/>
                    <a:pt x="0" y="1995"/>
                  </a:cubicBezTo>
                  <a:cubicBezTo>
                    <a:pt x="210" y="2249"/>
                    <a:pt x="364" y="2524"/>
                    <a:pt x="463" y="2833"/>
                  </a:cubicBezTo>
                  <a:cubicBezTo>
                    <a:pt x="673" y="2557"/>
                    <a:pt x="948" y="2403"/>
                    <a:pt x="1323" y="2403"/>
                  </a:cubicBezTo>
                  <a:cubicBezTo>
                    <a:pt x="1963" y="2403"/>
                    <a:pt x="2393" y="2833"/>
                    <a:pt x="2393" y="3506"/>
                  </a:cubicBezTo>
                  <a:cubicBezTo>
                    <a:pt x="2393" y="4211"/>
                    <a:pt x="1941" y="4619"/>
                    <a:pt x="1323" y="4619"/>
                  </a:cubicBezTo>
                  <a:cubicBezTo>
                    <a:pt x="982" y="4619"/>
                    <a:pt x="673" y="4465"/>
                    <a:pt x="485" y="4178"/>
                  </a:cubicBezTo>
                  <a:cubicBezTo>
                    <a:pt x="397" y="4520"/>
                    <a:pt x="210" y="4795"/>
                    <a:pt x="0" y="5049"/>
                  </a:cubicBezTo>
                  <a:cubicBezTo>
                    <a:pt x="364" y="5325"/>
                    <a:pt x="794" y="5479"/>
                    <a:pt x="1290" y="5479"/>
                  </a:cubicBezTo>
                  <a:cubicBezTo>
                    <a:pt x="1753" y="5479"/>
                    <a:pt x="2183" y="5292"/>
                    <a:pt x="2459" y="5071"/>
                  </a:cubicBezTo>
                  <a:cubicBezTo>
                    <a:pt x="2492" y="5380"/>
                    <a:pt x="2492" y="5380"/>
                    <a:pt x="2492" y="5380"/>
                  </a:cubicBezTo>
                  <a:cubicBezTo>
                    <a:pt x="3352" y="5380"/>
                    <a:pt x="3352" y="5380"/>
                    <a:pt x="3352" y="5380"/>
                  </a:cubicBezTo>
                  <a:cubicBezTo>
                    <a:pt x="3352" y="0"/>
                    <a:pt x="3352" y="0"/>
                    <a:pt x="3352" y="0"/>
                  </a:cubicBezTo>
                  <a:cubicBezTo>
                    <a:pt x="2426" y="0"/>
                    <a:pt x="2426" y="0"/>
                    <a:pt x="2426" y="0"/>
                  </a:cubicBezTo>
                  <a:lnTo>
                    <a:pt x="2426" y="163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8" name="Freeform 4">
              <a:extLst>
                <a:ext uri="{FF2B5EF4-FFF2-40B4-BE49-F238E27FC236}">
                  <a16:creationId xmlns:a16="http://schemas.microsoft.com/office/drawing/2014/main" id="{6BB28ECF-9BA8-9148-8EB3-58B520BE2623}"/>
                </a:ext>
              </a:extLst>
            </p:cNvPr>
            <p:cNvSpPr>
              <a:spLocks noChangeArrowheads="1"/>
            </p:cNvSpPr>
            <p:nvPr/>
          </p:nvSpPr>
          <p:spPr bwMode="auto">
            <a:xfrm>
              <a:off x="2286000" y="2746375"/>
              <a:ext cx="1441450" cy="1420813"/>
            </a:xfrm>
            <a:custGeom>
              <a:avLst/>
              <a:gdLst>
                <a:gd name="T0" fmla="*/ 1995 w 4003"/>
                <a:gd name="T1" fmla="*/ 0 h 3948"/>
                <a:gd name="T2" fmla="*/ 1995 w 4003"/>
                <a:gd name="T3" fmla="*/ 0 h 3948"/>
                <a:gd name="T4" fmla="*/ 0 w 4003"/>
                <a:gd name="T5" fmla="*/ 1974 h 3948"/>
                <a:gd name="T6" fmla="*/ 1995 w 4003"/>
                <a:gd name="T7" fmla="*/ 3947 h 3948"/>
                <a:gd name="T8" fmla="*/ 4002 w 4003"/>
                <a:gd name="T9" fmla="*/ 1974 h 3948"/>
                <a:gd name="T10" fmla="*/ 1995 w 4003"/>
                <a:gd name="T11" fmla="*/ 0 h 3948"/>
                <a:gd name="T12" fmla="*/ 1995 w 4003"/>
                <a:gd name="T13" fmla="*/ 3087 h 3948"/>
                <a:gd name="T14" fmla="*/ 1995 w 4003"/>
                <a:gd name="T15" fmla="*/ 3087 h 3948"/>
                <a:gd name="T16" fmla="*/ 926 w 4003"/>
                <a:gd name="T17" fmla="*/ 1974 h 3948"/>
                <a:gd name="T18" fmla="*/ 1995 w 4003"/>
                <a:gd name="T19" fmla="*/ 871 h 3948"/>
                <a:gd name="T20" fmla="*/ 3076 w 4003"/>
                <a:gd name="T21" fmla="*/ 1974 h 3948"/>
                <a:gd name="T22" fmla="*/ 1995 w 4003"/>
                <a:gd name="T23" fmla="*/ 3087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3" h="3948">
                  <a:moveTo>
                    <a:pt x="1995" y="0"/>
                  </a:moveTo>
                  <a:lnTo>
                    <a:pt x="1995" y="0"/>
                  </a:lnTo>
                  <a:cubicBezTo>
                    <a:pt x="860" y="0"/>
                    <a:pt x="0" y="893"/>
                    <a:pt x="0" y="1974"/>
                  </a:cubicBezTo>
                  <a:cubicBezTo>
                    <a:pt x="0" y="3109"/>
                    <a:pt x="860" y="3947"/>
                    <a:pt x="1995" y="3947"/>
                  </a:cubicBezTo>
                  <a:cubicBezTo>
                    <a:pt x="3142" y="3947"/>
                    <a:pt x="4002" y="3109"/>
                    <a:pt x="4002" y="1974"/>
                  </a:cubicBezTo>
                  <a:cubicBezTo>
                    <a:pt x="4002" y="893"/>
                    <a:pt x="3142" y="0"/>
                    <a:pt x="1995" y="0"/>
                  </a:cubicBezTo>
                  <a:close/>
                  <a:moveTo>
                    <a:pt x="1995" y="3087"/>
                  </a:moveTo>
                  <a:lnTo>
                    <a:pt x="1995" y="3087"/>
                  </a:lnTo>
                  <a:cubicBezTo>
                    <a:pt x="1389" y="3087"/>
                    <a:pt x="926" y="2624"/>
                    <a:pt x="926" y="1974"/>
                  </a:cubicBezTo>
                  <a:cubicBezTo>
                    <a:pt x="926" y="1356"/>
                    <a:pt x="1356" y="871"/>
                    <a:pt x="1995" y="871"/>
                  </a:cubicBezTo>
                  <a:cubicBezTo>
                    <a:pt x="2646" y="871"/>
                    <a:pt x="3076" y="1356"/>
                    <a:pt x="3076" y="1974"/>
                  </a:cubicBezTo>
                  <a:cubicBezTo>
                    <a:pt x="3076" y="2624"/>
                    <a:pt x="2613" y="3087"/>
                    <a:pt x="1995" y="308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9" name="Freeform 5">
              <a:extLst>
                <a:ext uri="{FF2B5EF4-FFF2-40B4-BE49-F238E27FC236}">
                  <a16:creationId xmlns:a16="http://schemas.microsoft.com/office/drawing/2014/main" id="{0C978226-36EA-0644-BA6A-D6034EE69C0E}"/>
                </a:ext>
              </a:extLst>
            </p:cNvPr>
            <p:cNvSpPr>
              <a:spLocks noChangeArrowheads="1"/>
            </p:cNvSpPr>
            <p:nvPr/>
          </p:nvSpPr>
          <p:spPr bwMode="auto">
            <a:xfrm>
              <a:off x="5862638" y="2627313"/>
              <a:ext cx="1420812" cy="2325687"/>
            </a:xfrm>
            <a:custGeom>
              <a:avLst/>
              <a:gdLst>
                <a:gd name="T0" fmla="*/ 3914 w 3948"/>
                <a:gd name="T1" fmla="*/ 2216 h 6462"/>
                <a:gd name="T2" fmla="*/ 3914 w 3948"/>
                <a:gd name="T3" fmla="*/ 2216 h 6462"/>
                <a:gd name="T4" fmla="*/ 3517 w 3948"/>
                <a:gd name="T5" fmla="*/ 1048 h 6462"/>
                <a:gd name="T6" fmla="*/ 3947 w 3948"/>
                <a:gd name="T7" fmla="*/ 519 h 6462"/>
                <a:gd name="T8" fmla="*/ 3263 w 3948"/>
                <a:gd name="T9" fmla="*/ 0 h 6462"/>
                <a:gd name="T10" fmla="*/ 2800 w 3948"/>
                <a:gd name="T11" fmla="*/ 519 h 6462"/>
                <a:gd name="T12" fmla="*/ 1940 w 3948"/>
                <a:gd name="T13" fmla="*/ 331 h 6462"/>
                <a:gd name="T14" fmla="*/ 0 w 3948"/>
                <a:gd name="T15" fmla="*/ 2305 h 6462"/>
                <a:gd name="T16" fmla="*/ 1510 w 3948"/>
                <a:gd name="T17" fmla="*/ 4057 h 6462"/>
                <a:gd name="T18" fmla="*/ 2954 w 3948"/>
                <a:gd name="T19" fmla="*/ 4895 h 6462"/>
                <a:gd name="T20" fmla="*/ 2061 w 3948"/>
                <a:gd name="T21" fmla="*/ 5568 h 6462"/>
                <a:gd name="T22" fmla="*/ 1080 w 3948"/>
                <a:gd name="T23" fmla="*/ 4829 h 6462"/>
                <a:gd name="T24" fmla="*/ 1080 w 3948"/>
                <a:gd name="T25" fmla="*/ 4741 h 6462"/>
                <a:gd name="T26" fmla="*/ 132 w 3948"/>
                <a:gd name="T27" fmla="*/ 4741 h 6462"/>
                <a:gd name="T28" fmla="*/ 132 w 3948"/>
                <a:gd name="T29" fmla="*/ 4829 h 6462"/>
                <a:gd name="T30" fmla="*/ 2039 w 3948"/>
                <a:gd name="T31" fmla="*/ 6461 h 6462"/>
                <a:gd name="T32" fmla="*/ 3914 w 3948"/>
                <a:gd name="T33" fmla="*/ 4951 h 6462"/>
                <a:gd name="T34" fmla="*/ 3021 w 3948"/>
                <a:gd name="T35" fmla="*/ 3694 h 6462"/>
                <a:gd name="T36" fmla="*/ 3914 w 3948"/>
                <a:gd name="T37" fmla="*/ 2216 h 6462"/>
                <a:gd name="T38" fmla="*/ 1940 w 3948"/>
                <a:gd name="T39" fmla="*/ 3286 h 6462"/>
                <a:gd name="T40" fmla="*/ 1940 w 3948"/>
                <a:gd name="T41" fmla="*/ 3286 h 6462"/>
                <a:gd name="T42" fmla="*/ 959 w 3948"/>
                <a:gd name="T43" fmla="*/ 2238 h 6462"/>
                <a:gd name="T44" fmla="*/ 1940 w 3948"/>
                <a:gd name="T45" fmla="*/ 1202 h 6462"/>
                <a:gd name="T46" fmla="*/ 2954 w 3948"/>
                <a:gd name="T47" fmla="*/ 2238 h 6462"/>
                <a:gd name="T48" fmla="*/ 1940 w 3948"/>
                <a:gd name="T49" fmla="*/ 3286 h 6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8" h="6462">
                  <a:moveTo>
                    <a:pt x="3914" y="2216"/>
                  </a:moveTo>
                  <a:lnTo>
                    <a:pt x="3914" y="2216"/>
                  </a:lnTo>
                  <a:cubicBezTo>
                    <a:pt x="3914" y="1786"/>
                    <a:pt x="3759" y="1356"/>
                    <a:pt x="3517" y="1048"/>
                  </a:cubicBezTo>
                  <a:cubicBezTo>
                    <a:pt x="3947" y="519"/>
                    <a:pt x="3947" y="519"/>
                    <a:pt x="3947" y="519"/>
                  </a:cubicBezTo>
                  <a:cubicBezTo>
                    <a:pt x="3263" y="0"/>
                    <a:pt x="3263" y="0"/>
                    <a:pt x="3263" y="0"/>
                  </a:cubicBezTo>
                  <a:cubicBezTo>
                    <a:pt x="2800" y="519"/>
                    <a:pt x="2800" y="519"/>
                    <a:pt x="2800" y="519"/>
                  </a:cubicBezTo>
                  <a:cubicBezTo>
                    <a:pt x="2558" y="397"/>
                    <a:pt x="2282" y="331"/>
                    <a:pt x="1940" y="331"/>
                  </a:cubicBezTo>
                  <a:cubicBezTo>
                    <a:pt x="805" y="331"/>
                    <a:pt x="0" y="1202"/>
                    <a:pt x="0" y="2305"/>
                  </a:cubicBezTo>
                  <a:cubicBezTo>
                    <a:pt x="0" y="3286"/>
                    <a:pt x="595" y="3903"/>
                    <a:pt x="1510" y="4057"/>
                  </a:cubicBezTo>
                  <a:cubicBezTo>
                    <a:pt x="2128" y="4179"/>
                    <a:pt x="2954" y="4157"/>
                    <a:pt x="2954" y="4895"/>
                  </a:cubicBezTo>
                  <a:cubicBezTo>
                    <a:pt x="2954" y="5292"/>
                    <a:pt x="2679" y="5568"/>
                    <a:pt x="2061" y="5568"/>
                  </a:cubicBezTo>
                  <a:cubicBezTo>
                    <a:pt x="1422" y="5568"/>
                    <a:pt x="1080" y="5193"/>
                    <a:pt x="1080" y="4829"/>
                  </a:cubicBezTo>
                  <a:cubicBezTo>
                    <a:pt x="1080" y="4796"/>
                    <a:pt x="1080" y="4763"/>
                    <a:pt x="1080" y="4741"/>
                  </a:cubicBezTo>
                  <a:cubicBezTo>
                    <a:pt x="132" y="4741"/>
                    <a:pt x="132" y="4741"/>
                    <a:pt x="132" y="4741"/>
                  </a:cubicBezTo>
                  <a:cubicBezTo>
                    <a:pt x="132" y="4763"/>
                    <a:pt x="132" y="4796"/>
                    <a:pt x="132" y="4829"/>
                  </a:cubicBezTo>
                  <a:cubicBezTo>
                    <a:pt x="132" y="5689"/>
                    <a:pt x="871" y="6461"/>
                    <a:pt x="2039" y="6461"/>
                  </a:cubicBezTo>
                  <a:cubicBezTo>
                    <a:pt x="3329" y="6461"/>
                    <a:pt x="3914" y="5689"/>
                    <a:pt x="3914" y="4951"/>
                  </a:cubicBezTo>
                  <a:cubicBezTo>
                    <a:pt x="3914" y="4245"/>
                    <a:pt x="3539" y="3870"/>
                    <a:pt x="3021" y="3694"/>
                  </a:cubicBezTo>
                  <a:cubicBezTo>
                    <a:pt x="3539" y="3440"/>
                    <a:pt x="3914" y="2889"/>
                    <a:pt x="3914" y="2216"/>
                  </a:cubicBezTo>
                  <a:close/>
                  <a:moveTo>
                    <a:pt x="1940" y="3286"/>
                  </a:moveTo>
                  <a:lnTo>
                    <a:pt x="1940" y="3286"/>
                  </a:lnTo>
                  <a:cubicBezTo>
                    <a:pt x="1356" y="3286"/>
                    <a:pt x="959" y="2889"/>
                    <a:pt x="959" y="2238"/>
                  </a:cubicBezTo>
                  <a:cubicBezTo>
                    <a:pt x="959" y="1632"/>
                    <a:pt x="1334" y="1202"/>
                    <a:pt x="1940" y="1202"/>
                  </a:cubicBezTo>
                  <a:cubicBezTo>
                    <a:pt x="2591" y="1202"/>
                    <a:pt x="2954" y="1632"/>
                    <a:pt x="2954" y="2238"/>
                  </a:cubicBezTo>
                  <a:cubicBezTo>
                    <a:pt x="2954" y="2889"/>
                    <a:pt x="2624" y="3286"/>
                    <a:pt x="1940" y="32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0" name="Freeform 6">
              <a:extLst>
                <a:ext uri="{FF2B5EF4-FFF2-40B4-BE49-F238E27FC236}">
                  <a16:creationId xmlns:a16="http://schemas.microsoft.com/office/drawing/2014/main" id="{0CBA3810-2A2E-1A45-8DE4-D9A3D76A0247}"/>
                </a:ext>
              </a:extLst>
            </p:cNvPr>
            <p:cNvSpPr>
              <a:spLocks noChangeArrowheads="1"/>
            </p:cNvSpPr>
            <p:nvPr/>
          </p:nvSpPr>
          <p:spPr bwMode="auto">
            <a:xfrm>
              <a:off x="5299075" y="2193925"/>
              <a:ext cx="333375" cy="322263"/>
            </a:xfrm>
            <a:custGeom>
              <a:avLst/>
              <a:gdLst>
                <a:gd name="T0" fmla="*/ 0 w 927"/>
                <a:gd name="T1" fmla="*/ 893 h 894"/>
                <a:gd name="T2" fmla="*/ 926 w 927"/>
                <a:gd name="T3" fmla="*/ 893 h 894"/>
                <a:gd name="T4" fmla="*/ 926 w 927"/>
                <a:gd name="T5" fmla="*/ 0 h 894"/>
                <a:gd name="T6" fmla="*/ 0 w 927"/>
                <a:gd name="T7" fmla="*/ 0 h 894"/>
                <a:gd name="T8" fmla="*/ 0 w 927"/>
                <a:gd name="T9" fmla="*/ 893 h 894"/>
              </a:gdLst>
              <a:ahLst/>
              <a:cxnLst>
                <a:cxn ang="0">
                  <a:pos x="T0" y="T1"/>
                </a:cxn>
                <a:cxn ang="0">
                  <a:pos x="T2" y="T3"/>
                </a:cxn>
                <a:cxn ang="0">
                  <a:pos x="T4" y="T5"/>
                </a:cxn>
                <a:cxn ang="0">
                  <a:pos x="T6" y="T7"/>
                </a:cxn>
                <a:cxn ang="0">
                  <a:pos x="T8" y="T9"/>
                </a:cxn>
              </a:cxnLst>
              <a:rect l="0" t="0" r="r" b="b"/>
              <a:pathLst>
                <a:path w="927" h="894">
                  <a:moveTo>
                    <a:pt x="0" y="893"/>
                  </a:moveTo>
                  <a:lnTo>
                    <a:pt x="926" y="893"/>
                  </a:lnTo>
                  <a:lnTo>
                    <a:pt x="926" y="0"/>
                  </a:lnTo>
                  <a:lnTo>
                    <a:pt x="0" y="0"/>
                  </a:lnTo>
                  <a:lnTo>
                    <a:pt x="0" y="8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1" name="Freeform 7">
              <a:extLst>
                <a:ext uri="{FF2B5EF4-FFF2-40B4-BE49-F238E27FC236}">
                  <a16:creationId xmlns:a16="http://schemas.microsoft.com/office/drawing/2014/main" id="{4A42E765-4F8C-6646-B31F-BD3CB5D7D523}"/>
                </a:ext>
              </a:extLst>
            </p:cNvPr>
            <p:cNvSpPr>
              <a:spLocks noChangeArrowheads="1"/>
            </p:cNvSpPr>
            <p:nvPr/>
          </p:nvSpPr>
          <p:spPr bwMode="auto">
            <a:xfrm>
              <a:off x="7458075" y="2746375"/>
              <a:ext cx="1452563" cy="1420813"/>
            </a:xfrm>
            <a:custGeom>
              <a:avLst/>
              <a:gdLst>
                <a:gd name="T0" fmla="*/ 3076 w 4036"/>
                <a:gd name="T1" fmla="*/ 1764 h 3948"/>
                <a:gd name="T2" fmla="*/ 3076 w 4036"/>
                <a:gd name="T3" fmla="*/ 1764 h 3948"/>
                <a:gd name="T4" fmla="*/ 3076 w 4036"/>
                <a:gd name="T5" fmla="*/ 1974 h 3948"/>
                <a:gd name="T6" fmla="*/ 2007 w 4036"/>
                <a:gd name="T7" fmla="*/ 3087 h 3948"/>
                <a:gd name="T8" fmla="*/ 959 w 4036"/>
                <a:gd name="T9" fmla="*/ 1974 h 3948"/>
                <a:gd name="T10" fmla="*/ 2007 w 4036"/>
                <a:gd name="T11" fmla="*/ 871 h 3948"/>
                <a:gd name="T12" fmla="*/ 2062 w 4036"/>
                <a:gd name="T13" fmla="*/ 871 h 3948"/>
                <a:gd name="T14" fmla="*/ 2062 w 4036"/>
                <a:gd name="T15" fmla="*/ 0 h 3948"/>
                <a:gd name="T16" fmla="*/ 2007 w 4036"/>
                <a:gd name="T17" fmla="*/ 0 h 3948"/>
                <a:gd name="T18" fmla="*/ 0 w 4036"/>
                <a:gd name="T19" fmla="*/ 1974 h 3948"/>
                <a:gd name="T20" fmla="*/ 2007 w 4036"/>
                <a:gd name="T21" fmla="*/ 3947 h 3948"/>
                <a:gd name="T22" fmla="*/ 4035 w 4036"/>
                <a:gd name="T23" fmla="*/ 1974 h 3948"/>
                <a:gd name="T24" fmla="*/ 4002 w 4036"/>
                <a:gd name="T25" fmla="*/ 1764 h 3948"/>
                <a:gd name="T26" fmla="*/ 3076 w 4036"/>
                <a:gd name="T27" fmla="*/ 1764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6" h="3948">
                  <a:moveTo>
                    <a:pt x="3076" y="1764"/>
                  </a:moveTo>
                  <a:lnTo>
                    <a:pt x="3076" y="1764"/>
                  </a:lnTo>
                  <a:cubicBezTo>
                    <a:pt x="3076" y="1852"/>
                    <a:pt x="3076" y="1907"/>
                    <a:pt x="3076" y="1974"/>
                  </a:cubicBezTo>
                  <a:cubicBezTo>
                    <a:pt x="3076" y="2624"/>
                    <a:pt x="2624" y="3087"/>
                    <a:pt x="2007" y="3087"/>
                  </a:cubicBezTo>
                  <a:cubicBezTo>
                    <a:pt x="1422" y="3087"/>
                    <a:pt x="959" y="2624"/>
                    <a:pt x="959" y="1974"/>
                  </a:cubicBezTo>
                  <a:cubicBezTo>
                    <a:pt x="959" y="1356"/>
                    <a:pt x="1389" y="871"/>
                    <a:pt x="2007" y="871"/>
                  </a:cubicBezTo>
                  <a:cubicBezTo>
                    <a:pt x="2040" y="871"/>
                    <a:pt x="2040" y="871"/>
                    <a:pt x="2062" y="871"/>
                  </a:cubicBezTo>
                  <a:cubicBezTo>
                    <a:pt x="2062" y="0"/>
                    <a:pt x="2062" y="0"/>
                    <a:pt x="2062" y="0"/>
                  </a:cubicBezTo>
                  <a:cubicBezTo>
                    <a:pt x="2040" y="0"/>
                    <a:pt x="2040" y="0"/>
                    <a:pt x="2007" y="0"/>
                  </a:cubicBezTo>
                  <a:cubicBezTo>
                    <a:pt x="871" y="0"/>
                    <a:pt x="0" y="893"/>
                    <a:pt x="0" y="1974"/>
                  </a:cubicBezTo>
                  <a:cubicBezTo>
                    <a:pt x="0" y="3109"/>
                    <a:pt x="871" y="3947"/>
                    <a:pt x="2007" y="3947"/>
                  </a:cubicBezTo>
                  <a:cubicBezTo>
                    <a:pt x="3175" y="3947"/>
                    <a:pt x="4035" y="3109"/>
                    <a:pt x="4035" y="1974"/>
                  </a:cubicBezTo>
                  <a:cubicBezTo>
                    <a:pt x="4035" y="1907"/>
                    <a:pt x="4035" y="1852"/>
                    <a:pt x="4002" y="1764"/>
                  </a:cubicBezTo>
                  <a:lnTo>
                    <a:pt x="3076" y="17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Tree>
    <p:extLst>
      <p:ext uri="{BB962C8B-B14F-4D97-AF65-F5344CB8AC3E}">
        <p14:creationId xmlns:p14="http://schemas.microsoft.com/office/powerpoint/2010/main" val="36274988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digo-Divider_1-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402FA9-5415-A549-AA59-7A032EE6A06E}"/>
              </a:ext>
            </a:extLst>
          </p:cNvPr>
          <p:cNvSpPr>
            <a:spLocks noGrp="1"/>
          </p:cNvSpPr>
          <p:nvPr>
            <p:ph type="title" hasCustomPrompt="1"/>
          </p:nvPr>
        </p:nvSpPr>
        <p:spPr>
          <a:xfrm>
            <a:off x="1" y="808039"/>
            <a:ext cx="3455988" cy="1187449"/>
          </a:xfrm>
          <a:prstGeom prst="rect">
            <a:avLst/>
          </a:prstGeom>
        </p:spPr>
        <p:txBody>
          <a:bodyPr lIns="432000" tIns="180000" rIns="72000" bIns="0"/>
          <a:lstStyle>
            <a:lvl1pPr>
              <a:defRPr lang="pl-PL" dirty="0"/>
            </a:lvl1pPr>
          </a:lstStyle>
          <a:p>
            <a:pPr lvl="0"/>
            <a:r>
              <a:rPr lang="en-US" noProof="0"/>
              <a:t>Section break title</a:t>
            </a:r>
          </a:p>
        </p:txBody>
      </p:sp>
      <p:sp>
        <p:nvSpPr>
          <p:cNvPr id="20" name="Text Placeholder 19">
            <a:extLst>
              <a:ext uri="{FF2B5EF4-FFF2-40B4-BE49-F238E27FC236}">
                <a16:creationId xmlns:a16="http://schemas.microsoft.com/office/drawing/2014/main" id="{E9BFB6C4-08A5-BA43-A8EE-6725DD021A57}"/>
              </a:ext>
            </a:extLst>
          </p:cNvPr>
          <p:cNvSpPr>
            <a:spLocks noGrp="1"/>
          </p:cNvSpPr>
          <p:nvPr>
            <p:ph type="body" sz="quarter" idx="10" hasCustomPrompt="1"/>
          </p:nvPr>
        </p:nvSpPr>
        <p:spPr>
          <a:xfrm>
            <a:off x="1" y="1995488"/>
            <a:ext cx="3455987" cy="455087"/>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sp>
        <p:nvSpPr>
          <p:cNvPr id="4" name="Freeform 1">
            <a:extLst>
              <a:ext uri="{FF2B5EF4-FFF2-40B4-BE49-F238E27FC236}">
                <a16:creationId xmlns:a16="http://schemas.microsoft.com/office/drawing/2014/main" id="{9C35C5D7-0A43-4242-9279-D23DF607C008}"/>
              </a:ext>
            </a:extLst>
          </p:cNvPr>
          <p:cNvSpPr>
            <a:spLocks noChangeArrowheads="1"/>
          </p:cNvSpPr>
          <p:nvPr userDrawn="1"/>
        </p:nvSpPr>
        <p:spPr bwMode="auto">
          <a:xfrm>
            <a:off x="6712451" y="0"/>
            <a:ext cx="1999749" cy="1901470"/>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5" name="Freeform 2">
            <a:extLst>
              <a:ext uri="{FF2B5EF4-FFF2-40B4-BE49-F238E27FC236}">
                <a16:creationId xmlns:a16="http://schemas.microsoft.com/office/drawing/2014/main" id="{07412595-AC15-674D-A1DE-C54D1364353B}"/>
              </a:ext>
            </a:extLst>
          </p:cNvPr>
          <p:cNvSpPr>
            <a:spLocks noChangeArrowheads="1"/>
          </p:cNvSpPr>
          <p:nvPr userDrawn="1"/>
        </p:nvSpPr>
        <p:spPr bwMode="auto">
          <a:xfrm>
            <a:off x="3687415" y="1995488"/>
            <a:ext cx="3909770" cy="3827949"/>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chemeClr val="tx2"/>
          </a:solidFill>
          <a:ln>
            <a:noFill/>
          </a:ln>
          <a:effectLst/>
        </p:spPr>
        <p:txBody>
          <a:bodyPr wrap="none" anchor="ctr"/>
          <a:lstStyle/>
          <a:p>
            <a:endParaRPr lang="en-US" noProof="0"/>
          </a:p>
        </p:txBody>
      </p:sp>
    </p:spTree>
    <p:extLst>
      <p:ext uri="{BB962C8B-B14F-4D97-AF65-F5344CB8AC3E}">
        <p14:creationId xmlns:p14="http://schemas.microsoft.com/office/powerpoint/2010/main" val="342842730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digo-Divider_1-whit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402FA9-5415-A549-AA59-7A032EE6A06E}"/>
              </a:ext>
            </a:extLst>
          </p:cNvPr>
          <p:cNvSpPr>
            <a:spLocks noGrp="1"/>
          </p:cNvSpPr>
          <p:nvPr>
            <p:ph type="title" hasCustomPrompt="1"/>
          </p:nvPr>
        </p:nvSpPr>
        <p:spPr>
          <a:xfrm>
            <a:off x="1" y="808039"/>
            <a:ext cx="3455988" cy="1187449"/>
          </a:xfrm>
          <a:prstGeom prst="rect">
            <a:avLst/>
          </a:prstGeom>
        </p:spPr>
        <p:txBody>
          <a:bodyPr lIns="432000" tIns="180000" rIns="72000" bIns="0"/>
          <a:lstStyle>
            <a:lvl1pPr>
              <a:defRPr lang="pl-PL" dirty="0"/>
            </a:lvl1pPr>
          </a:lstStyle>
          <a:p>
            <a:pPr lvl="0"/>
            <a:r>
              <a:rPr lang="en-US" noProof="0"/>
              <a:t>Section break title</a:t>
            </a:r>
          </a:p>
        </p:txBody>
      </p:sp>
      <p:sp>
        <p:nvSpPr>
          <p:cNvPr id="20" name="Text Placeholder 19">
            <a:extLst>
              <a:ext uri="{FF2B5EF4-FFF2-40B4-BE49-F238E27FC236}">
                <a16:creationId xmlns:a16="http://schemas.microsoft.com/office/drawing/2014/main" id="{E9BFB6C4-08A5-BA43-A8EE-6725DD021A57}"/>
              </a:ext>
            </a:extLst>
          </p:cNvPr>
          <p:cNvSpPr>
            <a:spLocks noGrp="1"/>
          </p:cNvSpPr>
          <p:nvPr>
            <p:ph type="body" sz="quarter" idx="10" hasCustomPrompt="1"/>
          </p:nvPr>
        </p:nvSpPr>
        <p:spPr>
          <a:xfrm>
            <a:off x="1" y="1995488"/>
            <a:ext cx="3455987" cy="455087"/>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sp>
        <p:nvSpPr>
          <p:cNvPr id="4" name="Freeform 1">
            <a:extLst>
              <a:ext uri="{FF2B5EF4-FFF2-40B4-BE49-F238E27FC236}">
                <a16:creationId xmlns:a16="http://schemas.microsoft.com/office/drawing/2014/main" id="{9C35C5D7-0A43-4242-9279-D23DF607C008}"/>
              </a:ext>
            </a:extLst>
          </p:cNvPr>
          <p:cNvSpPr>
            <a:spLocks noChangeArrowheads="1"/>
          </p:cNvSpPr>
          <p:nvPr userDrawn="1"/>
        </p:nvSpPr>
        <p:spPr bwMode="auto">
          <a:xfrm>
            <a:off x="6712451" y="0"/>
            <a:ext cx="1999749" cy="1901470"/>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5" name="Freeform 2">
            <a:extLst>
              <a:ext uri="{FF2B5EF4-FFF2-40B4-BE49-F238E27FC236}">
                <a16:creationId xmlns:a16="http://schemas.microsoft.com/office/drawing/2014/main" id="{07412595-AC15-674D-A1DE-C54D1364353B}"/>
              </a:ext>
            </a:extLst>
          </p:cNvPr>
          <p:cNvSpPr>
            <a:spLocks noChangeArrowheads="1"/>
          </p:cNvSpPr>
          <p:nvPr userDrawn="1"/>
        </p:nvSpPr>
        <p:spPr bwMode="auto">
          <a:xfrm>
            <a:off x="3687415" y="1995488"/>
            <a:ext cx="3909770" cy="3827949"/>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chemeClr val="tx2"/>
          </a:solidFill>
          <a:ln>
            <a:noFill/>
          </a:ln>
          <a:effectLst/>
        </p:spPr>
        <p:txBody>
          <a:bodyPr wrap="none" anchor="ctr"/>
          <a:lstStyle/>
          <a:p>
            <a:endParaRPr lang="en-US" noProof="0"/>
          </a:p>
        </p:txBody>
      </p:sp>
    </p:spTree>
    <p:extLst>
      <p:ext uri="{BB962C8B-B14F-4D97-AF65-F5344CB8AC3E}">
        <p14:creationId xmlns:p14="http://schemas.microsoft.com/office/powerpoint/2010/main" val="24331496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digo-Divider_1-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402FA9-5415-A549-AA59-7A032EE6A06E}"/>
              </a:ext>
            </a:extLst>
          </p:cNvPr>
          <p:cNvSpPr>
            <a:spLocks noGrp="1"/>
          </p:cNvSpPr>
          <p:nvPr>
            <p:ph type="title" hasCustomPrompt="1"/>
          </p:nvPr>
        </p:nvSpPr>
        <p:spPr>
          <a:xfrm>
            <a:off x="1" y="808039"/>
            <a:ext cx="3455988" cy="1187449"/>
          </a:xfrm>
          <a:prstGeom prst="rect">
            <a:avLst/>
          </a:prstGeom>
        </p:spPr>
        <p:txBody>
          <a:bodyPr lIns="432000" tIns="180000" rIns="72000" bIns="0"/>
          <a:lstStyle>
            <a:lvl1pPr>
              <a:defRPr lang="pl-PL" dirty="0"/>
            </a:lvl1pPr>
          </a:lstStyle>
          <a:p>
            <a:pPr lvl="0"/>
            <a:r>
              <a:rPr lang="en-US" noProof="0"/>
              <a:t>Section break title</a:t>
            </a:r>
          </a:p>
        </p:txBody>
      </p:sp>
      <p:sp>
        <p:nvSpPr>
          <p:cNvPr id="20" name="Text Placeholder 19">
            <a:extLst>
              <a:ext uri="{FF2B5EF4-FFF2-40B4-BE49-F238E27FC236}">
                <a16:creationId xmlns:a16="http://schemas.microsoft.com/office/drawing/2014/main" id="{E9BFB6C4-08A5-BA43-A8EE-6725DD021A57}"/>
              </a:ext>
            </a:extLst>
          </p:cNvPr>
          <p:cNvSpPr>
            <a:spLocks noGrp="1"/>
          </p:cNvSpPr>
          <p:nvPr>
            <p:ph type="body" sz="quarter" idx="10" hasCustomPrompt="1"/>
          </p:nvPr>
        </p:nvSpPr>
        <p:spPr>
          <a:xfrm>
            <a:off x="1" y="1995488"/>
            <a:ext cx="3455987" cy="455087"/>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sp>
        <p:nvSpPr>
          <p:cNvPr id="4" name="Freeform 1">
            <a:extLst>
              <a:ext uri="{FF2B5EF4-FFF2-40B4-BE49-F238E27FC236}">
                <a16:creationId xmlns:a16="http://schemas.microsoft.com/office/drawing/2014/main" id="{9C35C5D7-0A43-4242-9279-D23DF607C008}"/>
              </a:ext>
            </a:extLst>
          </p:cNvPr>
          <p:cNvSpPr>
            <a:spLocks noChangeArrowheads="1"/>
          </p:cNvSpPr>
          <p:nvPr userDrawn="1"/>
        </p:nvSpPr>
        <p:spPr bwMode="auto">
          <a:xfrm>
            <a:off x="6712451" y="0"/>
            <a:ext cx="1999749" cy="1901470"/>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 name="Freeform 2">
            <a:extLst>
              <a:ext uri="{FF2B5EF4-FFF2-40B4-BE49-F238E27FC236}">
                <a16:creationId xmlns:a16="http://schemas.microsoft.com/office/drawing/2014/main" id="{FE63F64A-51A4-A64E-8556-9AFC256857F6}"/>
              </a:ext>
            </a:extLst>
          </p:cNvPr>
          <p:cNvSpPr>
            <a:spLocks noChangeArrowheads="1"/>
          </p:cNvSpPr>
          <p:nvPr userDrawn="1"/>
        </p:nvSpPr>
        <p:spPr bwMode="auto">
          <a:xfrm>
            <a:off x="3687415" y="1995488"/>
            <a:ext cx="3909770" cy="3827949"/>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chemeClr val="tx2"/>
          </a:solidFill>
          <a:ln>
            <a:noFill/>
          </a:ln>
          <a:effectLst/>
        </p:spPr>
        <p:txBody>
          <a:bodyPr wrap="none" anchor="ctr"/>
          <a:lstStyle/>
          <a:p>
            <a:endParaRPr lang="en-US" noProof="0"/>
          </a:p>
        </p:txBody>
      </p:sp>
    </p:spTree>
    <p:extLst>
      <p:ext uri="{BB962C8B-B14F-4D97-AF65-F5344CB8AC3E}">
        <p14:creationId xmlns:p14="http://schemas.microsoft.com/office/powerpoint/2010/main" val="15181028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digo-Divider_2-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402FA9-5415-A549-AA59-7A032EE6A06E}"/>
              </a:ext>
            </a:extLst>
          </p:cNvPr>
          <p:cNvSpPr>
            <a:spLocks noGrp="1"/>
          </p:cNvSpPr>
          <p:nvPr>
            <p:ph type="title" hasCustomPrompt="1"/>
          </p:nvPr>
        </p:nvSpPr>
        <p:spPr>
          <a:xfrm>
            <a:off x="1" y="808039"/>
            <a:ext cx="3455988" cy="1187449"/>
          </a:xfrm>
          <a:prstGeom prst="rect">
            <a:avLst/>
          </a:prstGeom>
        </p:spPr>
        <p:txBody>
          <a:bodyPr lIns="432000" tIns="180000" rIns="72000" bIns="0"/>
          <a:lstStyle>
            <a:lvl1pPr>
              <a:defRPr lang="pl-PL" dirty="0"/>
            </a:lvl1pPr>
          </a:lstStyle>
          <a:p>
            <a:pPr lvl="0"/>
            <a:r>
              <a:rPr lang="en-US" noProof="0"/>
              <a:t>Section break title</a:t>
            </a:r>
          </a:p>
        </p:txBody>
      </p:sp>
      <p:sp>
        <p:nvSpPr>
          <p:cNvPr id="20" name="Text Placeholder 19">
            <a:extLst>
              <a:ext uri="{FF2B5EF4-FFF2-40B4-BE49-F238E27FC236}">
                <a16:creationId xmlns:a16="http://schemas.microsoft.com/office/drawing/2014/main" id="{E9BFB6C4-08A5-BA43-A8EE-6725DD021A57}"/>
              </a:ext>
            </a:extLst>
          </p:cNvPr>
          <p:cNvSpPr>
            <a:spLocks noGrp="1"/>
          </p:cNvSpPr>
          <p:nvPr>
            <p:ph type="body" sz="quarter" idx="10" hasCustomPrompt="1"/>
          </p:nvPr>
        </p:nvSpPr>
        <p:spPr>
          <a:xfrm>
            <a:off x="1" y="1995488"/>
            <a:ext cx="3455987" cy="455087"/>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sp>
        <p:nvSpPr>
          <p:cNvPr id="4" name="Freeform 1">
            <a:extLst>
              <a:ext uri="{FF2B5EF4-FFF2-40B4-BE49-F238E27FC236}">
                <a16:creationId xmlns:a16="http://schemas.microsoft.com/office/drawing/2014/main" id="{9C35C5D7-0A43-4242-9279-D23DF607C008}"/>
              </a:ext>
            </a:extLst>
          </p:cNvPr>
          <p:cNvSpPr>
            <a:spLocks noChangeArrowheads="1"/>
          </p:cNvSpPr>
          <p:nvPr userDrawn="1"/>
        </p:nvSpPr>
        <p:spPr bwMode="auto">
          <a:xfrm>
            <a:off x="5504969" y="0"/>
            <a:ext cx="3207232" cy="3049610"/>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 name="Freeform 2">
            <a:extLst>
              <a:ext uri="{FF2B5EF4-FFF2-40B4-BE49-F238E27FC236}">
                <a16:creationId xmlns:a16="http://schemas.microsoft.com/office/drawing/2014/main" id="{2B087642-6EAA-9F48-AFD8-A61BCF7A2289}"/>
              </a:ext>
            </a:extLst>
          </p:cNvPr>
          <p:cNvSpPr>
            <a:spLocks noChangeArrowheads="1"/>
          </p:cNvSpPr>
          <p:nvPr userDrawn="1"/>
        </p:nvSpPr>
        <p:spPr bwMode="auto">
          <a:xfrm>
            <a:off x="2270230" y="1995488"/>
            <a:ext cx="6264594" cy="6133493"/>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chemeClr val="tx2"/>
          </a:solidFill>
          <a:ln>
            <a:noFill/>
          </a:ln>
          <a:effectLst/>
        </p:spPr>
        <p:txBody>
          <a:bodyPr wrap="none" anchor="ctr"/>
          <a:lstStyle/>
          <a:p>
            <a:endParaRPr lang="en-US" noProof="0"/>
          </a:p>
        </p:txBody>
      </p:sp>
    </p:spTree>
    <p:extLst>
      <p:ext uri="{BB962C8B-B14F-4D97-AF65-F5344CB8AC3E}">
        <p14:creationId xmlns:p14="http://schemas.microsoft.com/office/powerpoint/2010/main" val="622290133"/>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digo-Divider_2-whit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402FA9-5415-A549-AA59-7A032EE6A06E}"/>
              </a:ext>
            </a:extLst>
          </p:cNvPr>
          <p:cNvSpPr>
            <a:spLocks noGrp="1"/>
          </p:cNvSpPr>
          <p:nvPr>
            <p:ph type="title" hasCustomPrompt="1"/>
          </p:nvPr>
        </p:nvSpPr>
        <p:spPr>
          <a:xfrm>
            <a:off x="1" y="808039"/>
            <a:ext cx="3455988" cy="1187449"/>
          </a:xfrm>
          <a:prstGeom prst="rect">
            <a:avLst/>
          </a:prstGeom>
        </p:spPr>
        <p:txBody>
          <a:bodyPr lIns="432000" tIns="180000" rIns="72000" bIns="0"/>
          <a:lstStyle>
            <a:lvl1pPr>
              <a:defRPr lang="pl-PL" dirty="0"/>
            </a:lvl1pPr>
          </a:lstStyle>
          <a:p>
            <a:pPr lvl="0"/>
            <a:r>
              <a:rPr lang="en-US" noProof="0"/>
              <a:t>Section break title</a:t>
            </a:r>
          </a:p>
        </p:txBody>
      </p:sp>
      <p:sp>
        <p:nvSpPr>
          <p:cNvPr id="20" name="Text Placeholder 19">
            <a:extLst>
              <a:ext uri="{FF2B5EF4-FFF2-40B4-BE49-F238E27FC236}">
                <a16:creationId xmlns:a16="http://schemas.microsoft.com/office/drawing/2014/main" id="{E9BFB6C4-08A5-BA43-A8EE-6725DD021A57}"/>
              </a:ext>
            </a:extLst>
          </p:cNvPr>
          <p:cNvSpPr>
            <a:spLocks noGrp="1"/>
          </p:cNvSpPr>
          <p:nvPr>
            <p:ph type="body" sz="quarter" idx="10" hasCustomPrompt="1"/>
          </p:nvPr>
        </p:nvSpPr>
        <p:spPr>
          <a:xfrm>
            <a:off x="1" y="1995488"/>
            <a:ext cx="3455987" cy="455087"/>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sp>
        <p:nvSpPr>
          <p:cNvPr id="4" name="Freeform 1">
            <a:extLst>
              <a:ext uri="{FF2B5EF4-FFF2-40B4-BE49-F238E27FC236}">
                <a16:creationId xmlns:a16="http://schemas.microsoft.com/office/drawing/2014/main" id="{9C35C5D7-0A43-4242-9279-D23DF607C008}"/>
              </a:ext>
            </a:extLst>
          </p:cNvPr>
          <p:cNvSpPr>
            <a:spLocks noChangeArrowheads="1"/>
          </p:cNvSpPr>
          <p:nvPr userDrawn="1"/>
        </p:nvSpPr>
        <p:spPr bwMode="auto">
          <a:xfrm>
            <a:off x="5504969" y="0"/>
            <a:ext cx="3207232" cy="3049610"/>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 name="Freeform 2">
            <a:extLst>
              <a:ext uri="{FF2B5EF4-FFF2-40B4-BE49-F238E27FC236}">
                <a16:creationId xmlns:a16="http://schemas.microsoft.com/office/drawing/2014/main" id="{2B087642-6EAA-9F48-AFD8-A61BCF7A2289}"/>
              </a:ext>
            </a:extLst>
          </p:cNvPr>
          <p:cNvSpPr>
            <a:spLocks noChangeArrowheads="1"/>
          </p:cNvSpPr>
          <p:nvPr userDrawn="1"/>
        </p:nvSpPr>
        <p:spPr bwMode="auto">
          <a:xfrm>
            <a:off x="2270230" y="1995488"/>
            <a:ext cx="6264594" cy="6133493"/>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chemeClr val="tx2"/>
          </a:solidFill>
          <a:ln>
            <a:noFill/>
          </a:ln>
          <a:effectLst/>
        </p:spPr>
        <p:txBody>
          <a:bodyPr wrap="none" anchor="ctr"/>
          <a:lstStyle/>
          <a:p>
            <a:endParaRPr lang="en-US" noProof="0"/>
          </a:p>
        </p:txBody>
      </p:sp>
    </p:spTree>
    <p:extLst>
      <p:ext uri="{BB962C8B-B14F-4D97-AF65-F5344CB8AC3E}">
        <p14:creationId xmlns:p14="http://schemas.microsoft.com/office/powerpoint/2010/main" val="14182576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digo-Divider_2-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402FA9-5415-A549-AA59-7A032EE6A06E}"/>
              </a:ext>
            </a:extLst>
          </p:cNvPr>
          <p:cNvSpPr>
            <a:spLocks noGrp="1"/>
          </p:cNvSpPr>
          <p:nvPr>
            <p:ph type="title" hasCustomPrompt="1"/>
          </p:nvPr>
        </p:nvSpPr>
        <p:spPr>
          <a:xfrm>
            <a:off x="1" y="808039"/>
            <a:ext cx="3455988" cy="1187449"/>
          </a:xfrm>
          <a:prstGeom prst="rect">
            <a:avLst/>
          </a:prstGeom>
        </p:spPr>
        <p:txBody>
          <a:bodyPr lIns="432000" tIns="180000" rIns="72000" bIns="0"/>
          <a:lstStyle>
            <a:lvl1pPr>
              <a:defRPr lang="pl-PL" dirty="0"/>
            </a:lvl1pPr>
          </a:lstStyle>
          <a:p>
            <a:pPr lvl="0"/>
            <a:r>
              <a:rPr lang="en-US" noProof="0"/>
              <a:t>Section break title</a:t>
            </a:r>
          </a:p>
        </p:txBody>
      </p:sp>
      <p:sp>
        <p:nvSpPr>
          <p:cNvPr id="20" name="Text Placeholder 19">
            <a:extLst>
              <a:ext uri="{FF2B5EF4-FFF2-40B4-BE49-F238E27FC236}">
                <a16:creationId xmlns:a16="http://schemas.microsoft.com/office/drawing/2014/main" id="{E9BFB6C4-08A5-BA43-A8EE-6725DD021A57}"/>
              </a:ext>
            </a:extLst>
          </p:cNvPr>
          <p:cNvSpPr>
            <a:spLocks noGrp="1"/>
          </p:cNvSpPr>
          <p:nvPr>
            <p:ph type="body" sz="quarter" idx="10" hasCustomPrompt="1"/>
          </p:nvPr>
        </p:nvSpPr>
        <p:spPr>
          <a:xfrm>
            <a:off x="1" y="1995488"/>
            <a:ext cx="3455987" cy="455087"/>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sp>
        <p:nvSpPr>
          <p:cNvPr id="4" name="Freeform 1">
            <a:extLst>
              <a:ext uri="{FF2B5EF4-FFF2-40B4-BE49-F238E27FC236}">
                <a16:creationId xmlns:a16="http://schemas.microsoft.com/office/drawing/2014/main" id="{9C35C5D7-0A43-4242-9279-D23DF607C008}"/>
              </a:ext>
            </a:extLst>
          </p:cNvPr>
          <p:cNvSpPr>
            <a:spLocks noChangeArrowheads="1"/>
          </p:cNvSpPr>
          <p:nvPr userDrawn="1"/>
        </p:nvSpPr>
        <p:spPr bwMode="auto">
          <a:xfrm>
            <a:off x="5504969" y="0"/>
            <a:ext cx="3207232" cy="3049610"/>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 name="Freeform 2">
            <a:extLst>
              <a:ext uri="{FF2B5EF4-FFF2-40B4-BE49-F238E27FC236}">
                <a16:creationId xmlns:a16="http://schemas.microsoft.com/office/drawing/2014/main" id="{FB2C7544-7FF5-444C-88F4-16CFBE3EF901}"/>
              </a:ext>
            </a:extLst>
          </p:cNvPr>
          <p:cNvSpPr>
            <a:spLocks noChangeArrowheads="1"/>
          </p:cNvSpPr>
          <p:nvPr userDrawn="1"/>
        </p:nvSpPr>
        <p:spPr bwMode="auto">
          <a:xfrm>
            <a:off x="2270230" y="1995488"/>
            <a:ext cx="6264594" cy="6133493"/>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chemeClr val="tx2"/>
          </a:solidFill>
          <a:ln>
            <a:noFill/>
          </a:ln>
          <a:effectLst/>
        </p:spPr>
        <p:txBody>
          <a:bodyPr wrap="none" anchor="ctr"/>
          <a:lstStyle/>
          <a:p>
            <a:endParaRPr lang="en-US" noProof="0"/>
          </a:p>
        </p:txBody>
      </p:sp>
    </p:spTree>
    <p:extLst>
      <p:ext uri="{BB962C8B-B14F-4D97-AF65-F5344CB8AC3E}">
        <p14:creationId xmlns:p14="http://schemas.microsoft.com/office/powerpoint/2010/main" val="10192151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digo-Divider_3-light">
    <p:bg>
      <p:bgRef idx="1001">
        <a:schemeClr val="bg2"/>
      </p:bgRef>
    </p:bg>
    <p:spTree>
      <p:nvGrpSpPr>
        <p:cNvPr id="1" name=""/>
        <p:cNvGrpSpPr/>
        <p:nvPr/>
      </p:nvGrpSpPr>
      <p:grpSpPr>
        <a:xfrm>
          <a:off x="0" y="0"/>
          <a:ext cx="0" cy="0"/>
          <a:chOff x="0" y="0"/>
          <a:chExt cx="0" cy="0"/>
        </a:xfrm>
      </p:grpSpPr>
      <p:sp>
        <p:nvSpPr>
          <p:cNvPr id="7" name="Freeform 2">
            <a:extLst>
              <a:ext uri="{FF2B5EF4-FFF2-40B4-BE49-F238E27FC236}">
                <a16:creationId xmlns:a16="http://schemas.microsoft.com/office/drawing/2014/main" id="{C35F59C1-8A33-7A4B-8741-E077DB132D18}"/>
              </a:ext>
            </a:extLst>
          </p:cNvPr>
          <p:cNvSpPr>
            <a:spLocks noChangeArrowheads="1"/>
          </p:cNvSpPr>
          <p:nvPr userDrawn="1"/>
        </p:nvSpPr>
        <p:spPr bwMode="auto">
          <a:xfrm>
            <a:off x="3455988" y="411163"/>
            <a:ext cx="5256212" cy="5146214"/>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 name="Title 1">
            <a:extLst>
              <a:ext uri="{FF2B5EF4-FFF2-40B4-BE49-F238E27FC236}">
                <a16:creationId xmlns:a16="http://schemas.microsoft.com/office/drawing/2014/main" id="{0D402FA9-5415-A549-AA59-7A032EE6A06E}"/>
              </a:ext>
            </a:extLst>
          </p:cNvPr>
          <p:cNvSpPr>
            <a:spLocks noGrp="1"/>
          </p:cNvSpPr>
          <p:nvPr>
            <p:ph type="title" hasCustomPrompt="1"/>
          </p:nvPr>
        </p:nvSpPr>
        <p:spPr>
          <a:xfrm>
            <a:off x="1" y="808039"/>
            <a:ext cx="3455988" cy="1187449"/>
          </a:xfrm>
          <a:prstGeom prst="rect">
            <a:avLst/>
          </a:prstGeom>
        </p:spPr>
        <p:txBody>
          <a:bodyPr lIns="432000" tIns="180000" rIns="72000" bIns="0"/>
          <a:lstStyle>
            <a:lvl1pPr>
              <a:defRPr lang="pl-PL" dirty="0"/>
            </a:lvl1pPr>
          </a:lstStyle>
          <a:p>
            <a:pPr lvl="0"/>
            <a:r>
              <a:rPr lang="en-US" noProof="0"/>
              <a:t>Section break title</a:t>
            </a:r>
          </a:p>
        </p:txBody>
      </p:sp>
      <p:sp>
        <p:nvSpPr>
          <p:cNvPr id="20" name="Text Placeholder 19">
            <a:extLst>
              <a:ext uri="{FF2B5EF4-FFF2-40B4-BE49-F238E27FC236}">
                <a16:creationId xmlns:a16="http://schemas.microsoft.com/office/drawing/2014/main" id="{E9BFB6C4-08A5-BA43-A8EE-6725DD021A57}"/>
              </a:ext>
            </a:extLst>
          </p:cNvPr>
          <p:cNvSpPr>
            <a:spLocks noGrp="1"/>
          </p:cNvSpPr>
          <p:nvPr>
            <p:ph type="body" sz="quarter" idx="10" hasCustomPrompt="1"/>
          </p:nvPr>
        </p:nvSpPr>
        <p:spPr>
          <a:xfrm>
            <a:off x="1" y="1995488"/>
            <a:ext cx="3455987" cy="455087"/>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sp>
        <p:nvSpPr>
          <p:cNvPr id="3" name="Rectangle 2">
            <a:extLst>
              <a:ext uri="{FF2B5EF4-FFF2-40B4-BE49-F238E27FC236}">
                <a16:creationId xmlns:a16="http://schemas.microsoft.com/office/drawing/2014/main" id="{9062B014-5F8B-0749-BC7C-D1FA44472174}"/>
              </a:ext>
            </a:extLst>
          </p:cNvPr>
          <p:cNvSpPr/>
          <p:nvPr userDrawn="1"/>
        </p:nvSpPr>
        <p:spPr>
          <a:xfrm>
            <a:off x="0" y="4189956"/>
            <a:ext cx="1152395" cy="9535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42412605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digo-Cover_General-white">
    <p:bg>
      <p:bgRef idx="1001">
        <a:schemeClr val="bg1"/>
      </p:bgRef>
    </p:bg>
    <p:spTree>
      <p:nvGrpSpPr>
        <p:cNvPr id="1" name=""/>
        <p:cNvGrpSpPr/>
        <p:nvPr/>
      </p:nvGrpSpPr>
      <p:grpSpPr>
        <a:xfrm>
          <a:off x="0" y="0"/>
          <a:ext cx="0" cy="0"/>
          <a:chOff x="0" y="0"/>
          <a:chExt cx="0" cy="0"/>
        </a:xfrm>
      </p:grpSpPr>
      <p:grpSp>
        <p:nvGrpSpPr>
          <p:cNvPr id="59" name="Group 1">
            <a:extLst>
              <a:ext uri="{FF2B5EF4-FFF2-40B4-BE49-F238E27FC236}">
                <a16:creationId xmlns:a16="http://schemas.microsoft.com/office/drawing/2014/main" id="{88A86E07-E707-5145-B954-C6B24E4AB39E}"/>
              </a:ext>
            </a:extLst>
          </p:cNvPr>
          <p:cNvGrpSpPr>
            <a:grpSpLocks/>
          </p:cNvGrpSpPr>
          <p:nvPr userDrawn="1"/>
        </p:nvGrpSpPr>
        <p:grpSpPr bwMode="auto">
          <a:xfrm>
            <a:off x="1209941" y="1995487"/>
            <a:ext cx="4480635" cy="4565012"/>
            <a:chOff x="1584325" y="-192088"/>
            <a:chExt cx="7423150" cy="7559676"/>
          </a:xfrm>
        </p:grpSpPr>
        <p:sp>
          <p:nvSpPr>
            <p:cNvPr id="60" name="Freeform 1">
              <a:extLst>
                <a:ext uri="{FF2B5EF4-FFF2-40B4-BE49-F238E27FC236}">
                  <a16:creationId xmlns:a16="http://schemas.microsoft.com/office/drawing/2014/main" id="{4213FA40-A0B0-1B45-8894-B6271A91A6B2}"/>
                </a:ext>
              </a:extLst>
            </p:cNvPr>
            <p:cNvSpPr>
              <a:spLocks noChangeArrowheads="1"/>
            </p:cNvSpPr>
            <p:nvPr/>
          </p:nvSpPr>
          <p:spPr bwMode="auto">
            <a:xfrm>
              <a:off x="5702300" y="-192088"/>
              <a:ext cx="3305175" cy="3165476"/>
            </a:xfrm>
            <a:custGeom>
              <a:avLst/>
              <a:gdLst>
                <a:gd name="T0" fmla="*/ 0 w 9182"/>
                <a:gd name="T1" fmla="*/ 0 h 8794"/>
                <a:gd name="T2" fmla="*/ 0 w 9182"/>
                <a:gd name="T3" fmla="*/ 1368563 h 8794"/>
                <a:gd name="T4" fmla="*/ 1796572 w 9182"/>
                <a:gd name="T5" fmla="*/ 1368563 h 8794"/>
                <a:gd name="T6" fmla="*/ 1796572 w 9182"/>
                <a:gd name="T7" fmla="*/ 3165116 h 8794"/>
                <a:gd name="T8" fmla="*/ 3304815 w 9182"/>
                <a:gd name="T9" fmla="*/ 3165116 h 8794"/>
                <a:gd name="T10" fmla="*/ 3304815 w 9182"/>
                <a:gd name="T11" fmla="*/ 0 h 8794"/>
                <a:gd name="T12" fmla="*/ 0 w 9182"/>
                <a:gd name="T13" fmla="*/ 0 h 87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182" h="8794">
                  <a:moveTo>
                    <a:pt x="0" y="0"/>
                  </a:moveTo>
                  <a:lnTo>
                    <a:pt x="0" y="3802"/>
                  </a:lnTo>
                  <a:lnTo>
                    <a:pt x="4991" y="3802"/>
                  </a:lnTo>
                  <a:lnTo>
                    <a:pt x="4991" y="8793"/>
                  </a:lnTo>
                  <a:lnTo>
                    <a:pt x="9181" y="8793"/>
                  </a:lnTo>
                  <a:lnTo>
                    <a:pt x="9181"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1" name="Freeform 2">
              <a:extLst>
                <a:ext uri="{FF2B5EF4-FFF2-40B4-BE49-F238E27FC236}">
                  <a16:creationId xmlns:a16="http://schemas.microsoft.com/office/drawing/2014/main" id="{22EF8DFB-2EFE-F14A-BFFE-F21A7EAF9833}"/>
                </a:ext>
              </a:extLst>
            </p:cNvPr>
            <p:cNvSpPr>
              <a:spLocks noChangeArrowheads="1"/>
            </p:cNvSpPr>
            <p:nvPr/>
          </p:nvSpPr>
          <p:spPr bwMode="auto">
            <a:xfrm>
              <a:off x="1584325" y="1036638"/>
              <a:ext cx="6469063" cy="6330950"/>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
        <p:nvSpPr>
          <p:cNvPr id="2" name="Title 1">
            <a:extLst>
              <a:ext uri="{FF2B5EF4-FFF2-40B4-BE49-F238E27FC236}">
                <a16:creationId xmlns:a16="http://schemas.microsoft.com/office/drawing/2014/main" id="{0D402FA9-5415-A549-AA59-7A032EE6A06E}"/>
              </a:ext>
            </a:extLst>
          </p:cNvPr>
          <p:cNvSpPr>
            <a:spLocks noGrp="1"/>
          </p:cNvSpPr>
          <p:nvPr>
            <p:ph type="title" hasCustomPrompt="1"/>
          </p:nvPr>
        </p:nvSpPr>
        <p:spPr>
          <a:xfrm>
            <a:off x="-1" y="808038"/>
            <a:ext cx="4812237" cy="1187447"/>
          </a:xfrm>
          <a:prstGeom prst="rect">
            <a:avLst/>
          </a:prstGeom>
        </p:spPr>
        <p:txBody>
          <a:bodyPr lIns="432000" tIns="180000" rIns="72000" bIns="0"/>
          <a:lstStyle>
            <a:lvl1pPr>
              <a:defRPr lang="pl-PL" dirty="0"/>
            </a:lvl1pPr>
          </a:lstStyle>
          <a:p>
            <a:pPr lvl="0"/>
            <a:r>
              <a:rPr lang="en-US" noProof="0"/>
              <a:t>Sample presentation title</a:t>
            </a:r>
          </a:p>
        </p:txBody>
      </p:sp>
      <p:sp>
        <p:nvSpPr>
          <p:cNvPr id="20" name="Text Placeholder 19">
            <a:extLst>
              <a:ext uri="{FF2B5EF4-FFF2-40B4-BE49-F238E27FC236}">
                <a16:creationId xmlns:a16="http://schemas.microsoft.com/office/drawing/2014/main" id="{E9BFB6C4-08A5-BA43-A8EE-6725DD021A57}"/>
              </a:ext>
            </a:extLst>
          </p:cNvPr>
          <p:cNvSpPr>
            <a:spLocks noGrp="1"/>
          </p:cNvSpPr>
          <p:nvPr>
            <p:ph type="body" sz="quarter" idx="10" hasCustomPrompt="1"/>
          </p:nvPr>
        </p:nvSpPr>
        <p:spPr>
          <a:xfrm>
            <a:off x="0" y="1995488"/>
            <a:ext cx="5688012" cy="455087"/>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grpSp>
        <p:nvGrpSpPr>
          <p:cNvPr id="9" name="Group 8">
            <a:extLst>
              <a:ext uri="{FF2B5EF4-FFF2-40B4-BE49-F238E27FC236}">
                <a16:creationId xmlns:a16="http://schemas.microsoft.com/office/drawing/2014/main" id="{977C145F-0F0D-D044-8124-39A32F4DE717}"/>
              </a:ext>
            </a:extLst>
          </p:cNvPr>
          <p:cNvGrpSpPr/>
          <p:nvPr userDrawn="1"/>
        </p:nvGrpSpPr>
        <p:grpSpPr>
          <a:xfrm>
            <a:off x="7391345" y="416351"/>
            <a:ext cx="1336166" cy="539307"/>
            <a:chOff x="2286000" y="2193925"/>
            <a:chExt cx="6835775" cy="2759075"/>
          </a:xfrm>
        </p:grpSpPr>
        <p:sp>
          <p:nvSpPr>
            <p:cNvPr id="10" name="Freeform 1">
              <a:extLst>
                <a:ext uri="{FF2B5EF4-FFF2-40B4-BE49-F238E27FC236}">
                  <a16:creationId xmlns:a16="http://schemas.microsoft.com/office/drawing/2014/main" id="{1A427EA0-BD4E-914B-A711-5DD4AC1DB54B}"/>
                </a:ext>
              </a:extLst>
            </p:cNvPr>
            <p:cNvSpPr>
              <a:spLocks noChangeArrowheads="1"/>
            </p:cNvSpPr>
            <p:nvPr/>
          </p:nvSpPr>
          <p:spPr bwMode="auto">
            <a:xfrm>
              <a:off x="8378825" y="2471738"/>
              <a:ext cx="742950" cy="706437"/>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1" name="Freeform 2">
              <a:extLst>
                <a:ext uri="{FF2B5EF4-FFF2-40B4-BE49-F238E27FC236}">
                  <a16:creationId xmlns:a16="http://schemas.microsoft.com/office/drawing/2014/main" id="{422C006E-07AC-1E4F-94CC-D9EAAC9227EB}"/>
                </a:ext>
              </a:extLst>
            </p:cNvPr>
            <p:cNvSpPr>
              <a:spLocks noChangeArrowheads="1"/>
            </p:cNvSpPr>
            <p:nvPr/>
          </p:nvSpPr>
          <p:spPr bwMode="auto">
            <a:xfrm>
              <a:off x="5299075" y="2781300"/>
              <a:ext cx="333375" cy="1349375"/>
            </a:xfrm>
            <a:custGeom>
              <a:avLst/>
              <a:gdLst>
                <a:gd name="T0" fmla="*/ 0 w 927"/>
                <a:gd name="T1" fmla="*/ 3749 h 3750"/>
                <a:gd name="T2" fmla="*/ 926 w 927"/>
                <a:gd name="T3" fmla="*/ 3749 h 3750"/>
                <a:gd name="T4" fmla="*/ 926 w 927"/>
                <a:gd name="T5" fmla="*/ 0 h 3750"/>
                <a:gd name="T6" fmla="*/ 0 w 927"/>
                <a:gd name="T7" fmla="*/ 0 h 3750"/>
                <a:gd name="T8" fmla="*/ 0 w 927"/>
                <a:gd name="T9" fmla="*/ 3749 h 3750"/>
              </a:gdLst>
              <a:ahLst/>
              <a:cxnLst>
                <a:cxn ang="0">
                  <a:pos x="T0" y="T1"/>
                </a:cxn>
                <a:cxn ang="0">
                  <a:pos x="T2" y="T3"/>
                </a:cxn>
                <a:cxn ang="0">
                  <a:pos x="T4" y="T5"/>
                </a:cxn>
                <a:cxn ang="0">
                  <a:pos x="T6" y="T7"/>
                </a:cxn>
                <a:cxn ang="0">
                  <a:pos x="T8" y="T9"/>
                </a:cxn>
              </a:cxnLst>
              <a:rect l="0" t="0" r="r" b="b"/>
              <a:pathLst>
                <a:path w="927" h="3750">
                  <a:moveTo>
                    <a:pt x="0" y="3749"/>
                  </a:moveTo>
                  <a:lnTo>
                    <a:pt x="926" y="3749"/>
                  </a:lnTo>
                  <a:lnTo>
                    <a:pt x="926" y="0"/>
                  </a:lnTo>
                  <a:lnTo>
                    <a:pt x="0" y="0"/>
                  </a:lnTo>
                  <a:lnTo>
                    <a:pt x="0" y="3749"/>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2" name="Freeform 3">
              <a:extLst>
                <a:ext uri="{FF2B5EF4-FFF2-40B4-BE49-F238E27FC236}">
                  <a16:creationId xmlns:a16="http://schemas.microsoft.com/office/drawing/2014/main" id="{DF531AF6-5DE1-6049-AF54-D39963704488}"/>
                </a:ext>
              </a:extLst>
            </p:cNvPr>
            <p:cNvSpPr>
              <a:spLocks noChangeArrowheads="1"/>
            </p:cNvSpPr>
            <p:nvPr/>
          </p:nvSpPr>
          <p:spPr bwMode="auto">
            <a:xfrm>
              <a:off x="3781425" y="2193925"/>
              <a:ext cx="1206500" cy="1973263"/>
            </a:xfrm>
            <a:custGeom>
              <a:avLst/>
              <a:gdLst>
                <a:gd name="T0" fmla="*/ 2426 w 3353"/>
                <a:gd name="T1" fmla="*/ 1631 h 5480"/>
                <a:gd name="T2" fmla="*/ 2426 w 3353"/>
                <a:gd name="T3" fmla="*/ 1631 h 5480"/>
                <a:gd name="T4" fmla="*/ 2459 w 3353"/>
                <a:gd name="T5" fmla="*/ 1940 h 5480"/>
                <a:gd name="T6" fmla="*/ 1290 w 3353"/>
                <a:gd name="T7" fmla="*/ 1532 h 5480"/>
                <a:gd name="T8" fmla="*/ 0 w 3353"/>
                <a:gd name="T9" fmla="*/ 1995 h 5480"/>
                <a:gd name="T10" fmla="*/ 463 w 3353"/>
                <a:gd name="T11" fmla="*/ 2833 h 5480"/>
                <a:gd name="T12" fmla="*/ 1323 w 3353"/>
                <a:gd name="T13" fmla="*/ 2403 h 5480"/>
                <a:gd name="T14" fmla="*/ 2393 w 3353"/>
                <a:gd name="T15" fmla="*/ 3506 h 5480"/>
                <a:gd name="T16" fmla="*/ 1323 w 3353"/>
                <a:gd name="T17" fmla="*/ 4619 h 5480"/>
                <a:gd name="T18" fmla="*/ 485 w 3353"/>
                <a:gd name="T19" fmla="*/ 4178 h 5480"/>
                <a:gd name="T20" fmla="*/ 0 w 3353"/>
                <a:gd name="T21" fmla="*/ 5049 h 5480"/>
                <a:gd name="T22" fmla="*/ 1290 w 3353"/>
                <a:gd name="T23" fmla="*/ 5479 h 5480"/>
                <a:gd name="T24" fmla="*/ 2459 w 3353"/>
                <a:gd name="T25" fmla="*/ 5071 h 5480"/>
                <a:gd name="T26" fmla="*/ 2492 w 3353"/>
                <a:gd name="T27" fmla="*/ 5380 h 5480"/>
                <a:gd name="T28" fmla="*/ 3352 w 3353"/>
                <a:gd name="T29" fmla="*/ 5380 h 5480"/>
                <a:gd name="T30" fmla="*/ 3352 w 3353"/>
                <a:gd name="T31" fmla="*/ 0 h 5480"/>
                <a:gd name="T32" fmla="*/ 2426 w 3353"/>
                <a:gd name="T33" fmla="*/ 0 h 5480"/>
                <a:gd name="T34" fmla="*/ 2426 w 3353"/>
                <a:gd name="T35" fmla="*/ 1631 h 5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53" h="5480">
                  <a:moveTo>
                    <a:pt x="2426" y="1631"/>
                  </a:moveTo>
                  <a:lnTo>
                    <a:pt x="2426" y="1631"/>
                  </a:lnTo>
                  <a:cubicBezTo>
                    <a:pt x="2426" y="1819"/>
                    <a:pt x="2459" y="1940"/>
                    <a:pt x="2459" y="1940"/>
                  </a:cubicBezTo>
                  <a:cubicBezTo>
                    <a:pt x="2150" y="1720"/>
                    <a:pt x="1786" y="1532"/>
                    <a:pt x="1290" y="1532"/>
                  </a:cubicBezTo>
                  <a:cubicBezTo>
                    <a:pt x="794" y="1532"/>
                    <a:pt x="364" y="1720"/>
                    <a:pt x="0" y="1995"/>
                  </a:cubicBezTo>
                  <a:cubicBezTo>
                    <a:pt x="210" y="2249"/>
                    <a:pt x="364" y="2524"/>
                    <a:pt x="463" y="2833"/>
                  </a:cubicBezTo>
                  <a:cubicBezTo>
                    <a:pt x="673" y="2557"/>
                    <a:pt x="948" y="2403"/>
                    <a:pt x="1323" y="2403"/>
                  </a:cubicBezTo>
                  <a:cubicBezTo>
                    <a:pt x="1963" y="2403"/>
                    <a:pt x="2393" y="2833"/>
                    <a:pt x="2393" y="3506"/>
                  </a:cubicBezTo>
                  <a:cubicBezTo>
                    <a:pt x="2393" y="4211"/>
                    <a:pt x="1941" y="4619"/>
                    <a:pt x="1323" y="4619"/>
                  </a:cubicBezTo>
                  <a:cubicBezTo>
                    <a:pt x="982" y="4619"/>
                    <a:pt x="673" y="4465"/>
                    <a:pt x="485" y="4178"/>
                  </a:cubicBezTo>
                  <a:cubicBezTo>
                    <a:pt x="397" y="4520"/>
                    <a:pt x="210" y="4795"/>
                    <a:pt x="0" y="5049"/>
                  </a:cubicBezTo>
                  <a:cubicBezTo>
                    <a:pt x="364" y="5325"/>
                    <a:pt x="794" y="5479"/>
                    <a:pt x="1290" y="5479"/>
                  </a:cubicBezTo>
                  <a:cubicBezTo>
                    <a:pt x="1753" y="5479"/>
                    <a:pt x="2183" y="5292"/>
                    <a:pt x="2459" y="5071"/>
                  </a:cubicBezTo>
                  <a:cubicBezTo>
                    <a:pt x="2492" y="5380"/>
                    <a:pt x="2492" y="5380"/>
                    <a:pt x="2492" y="5380"/>
                  </a:cubicBezTo>
                  <a:cubicBezTo>
                    <a:pt x="3352" y="5380"/>
                    <a:pt x="3352" y="5380"/>
                    <a:pt x="3352" y="5380"/>
                  </a:cubicBezTo>
                  <a:cubicBezTo>
                    <a:pt x="3352" y="0"/>
                    <a:pt x="3352" y="0"/>
                    <a:pt x="3352" y="0"/>
                  </a:cubicBezTo>
                  <a:cubicBezTo>
                    <a:pt x="2426" y="0"/>
                    <a:pt x="2426" y="0"/>
                    <a:pt x="2426" y="0"/>
                  </a:cubicBezTo>
                  <a:lnTo>
                    <a:pt x="2426" y="1631"/>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3" name="Freeform 4">
              <a:extLst>
                <a:ext uri="{FF2B5EF4-FFF2-40B4-BE49-F238E27FC236}">
                  <a16:creationId xmlns:a16="http://schemas.microsoft.com/office/drawing/2014/main" id="{8F140D81-2378-584E-8EB4-A513F316716C}"/>
                </a:ext>
              </a:extLst>
            </p:cNvPr>
            <p:cNvSpPr>
              <a:spLocks noChangeArrowheads="1"/>
            </p:cNvSpPr>
            <p:nvPr/>
          </p:nvSpPr>
          <p:spPr bwMode="auto">
            <a:xfrm>
              <a:off x="2286000" y="2746375"/>
              <a:ext cx="1441450" cy="1420813"/>
            </a:xfrm>
            <a:custGeom>
              <a:avLst/>
              <a:gdLst>
                <a:gd name="T0" fmla="*/ 1995 w 4003"/>
                <a:gd name="T1" fmla="*/ 0 h 3948"/>
                <a:gd name="T2" fmla="*/ 1995 w 4003"/>
                <a:gd name="T3" fmla="*/ 0 h 3948"/>
                <a:gd name="T4" fmla="*/ 0 w 4003"/>
                <a:gd name="T5" fmla="*/ 1974 h 3948"/>
                <a:gd name="T6" fmla="*/ 1995 w 4003"/>
                <a:gd name="T7" fmla="*/ 3947 h 3948"/>
                <a:gd name="T8" fmla="*/ 4002 w 4003"/>
                <a:gd name="T9" fmla="*/ 1974 h 3948"/>
                <a:gd name="T10" fmla="*/ 1995 w 4003"/>
                <a:gd name="T11" fmla="*/ 0 h 3948"/>
                <a:gd name="T12" fmla="*/ 1995 w 4003"/>
                <a:gd name="T13" fmla="*/ 3087 h 3948"/>
                <a:gd name="T14" fmla="*/ 1995 w 4003"/>
                <a:gd name="T15" fmla="*/ 3087 h 3948"/>
                <a:gd name="T16" fmla="*/ 926 w 4003"/>
                <a:gd name="T17" fmla="*/ 1974 h 3948"/>
                <a:gd name="T18" fmla="*/ 1995 w 4003"/>
                <a:gd name="T19" fmla="*/ 871 h 3948"/>
                <a:gd name="T20" fmla="*/ 3076 w 4003"/>
                <a:gd name="T21" fmla="*/ 1974 h 3948"/>
                <a:gd name="T22" fmla="*/ 1995 w 4003"/>
                <a:gd name="T23" fmla="*/ 3087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3" h="3948">
                  <a:moveTo>
                    <a:pt x="1995" y="0"/>
                  </a:moveTo>
                  <a:lnTo>
                    <a:pt x="1995" y="0"/>
                  </a:lnTo>
                  <a:cubicBezTo>
                    <a:pt x="860" y="0"/>
                    <a:pt x="0" y="893"/>
                    <a:pt x="0" y="1974"/>
                  </a:cubicBezTo>
                  <a:cubicBezTo>
                    <a:pt x="0" y="3109"/>
                    <a:pt x="860" y="3947"/>
                    <a:pt x="1995" y="3947"/>
                  </a:cubicBezTo>
                  <a:cubicBezTo>
                    <a:pt x="3142" y="3947"/>
                    <a:pt x="4002" y="3109"/>
                    <a:pt x="4002" y="1974"/>
                  </a:cubicBezTo>
                  <a:cubicBezTo>
                    <a:pt x="4002" y="893"/>
                    <a:pt x="3142" y="0"/>
                    <a:pt x="1995" y="0"/>
                  </a:cubicBezTo>
                  <a:close/>
                  <a:moveTo>
                    <a:pt x="1995" y="3087"/>
                  </a:moveTo>
                  <a:lnTo>
                    <a:pt x="1995" y="3087"/>
                  </a:lnTo>
                  <a:cubicBezTo>
                    <a:pt x="1389" y="3087"/>
                    <a:pt x="926" y="2624"/>
                    <a:pt x="926" y="1974"/>
                  </a:cubicBezTo>
                  <a:cubicBezTo>
                    <a:pt x="926" y="1356"/>
                    <a:pt x="1356" y="871"/>
                    <a:pt x="1995" y="871"/>
                  </a:cubicBezTo>
                  <a:cubicBezTo>
                    <a:pt x="2646" y="871"/>
                    <a:pt x="3076" y="1356"/>
                    <a:pt x="3076" y="1974"/>
                  </a:cubicBezTo>
                  <a:cubicBezTo>
                    <a:pt x="3076" y="2624"/>
                    <a:pt x="2613" y="3087"/>
                    <a:pt x="1995" y="3087"/>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4" name="Freeform 5">
              <a:extLst>
                <a:ext uri="{FF2B5EF4-FFF2-40B4-BE49-F238E27FC236}">
                  <a16:creationId xmlns:a16="http://schemas.microsoft.com/office/drawing/2014/main" id="{14295C39-B77B-FA48-A996-CC9089FC619E}"/>
                </a:ext>
              </a:extLst>
            </p:cNvPr>
            <p:cNvSpPr>
              <a:spLocks noChangeArrowheads="1"/>
            </p:cNvSpPr>
            <p:nvPr/>
          </p:nvSpPr>
          <p:spPr bwMode="auto">
            <a:xfrm>
              <a:off x="5862638" y="2627313"/>
              <a:ext cx="1420812" cy="2325687"/>
            </a:xfrm>
            <a:custGeom>
              <a:avLst/>
              <a:gdLst>
                <a:gd name="T0" fmla="*/ 3914 w 3948"/>
                <a:gd name="T1" fmla="*/ 2216 h 6462"/>
                <a:gd name="T2" fmla="*/ 3914 w 3948"/>
                <a:gd name="T3" fmla="*/ 2216 h 6462"/>
                <a:gd name="T4" fmla="*/ 3517 w 3948"/>
                <a:gd name="T5" fmla="*/ 1048 h 6462"/>
                <a:gd name="T6" fmla="*/ 3947 w 3948"/>
                <a:gd name="T7" fmla="*/ 519 h 6462"/>
                <a:gd name="T8" fmla="*/ 3263 w 3948"/>
                <a:gd name="T9" fmla="*/ 0 h 6462"/>
                <a:gd name="T10" fmla="*/ 2800 w 3948"/>
                <a:gd name="T11" fmla="*/ 519 h 6462"/>
                <a:gd name="T12" fmla="*/ 1940 w 3948"/>
                <a:gd name="T13" fmla="*/ 331 h 6462"/>
                <a:gd name="T14" fmla="*/ 0 w 3948"/>
                <a:gd name="T15" fmla="*/ 2305 h 6462"/>
                <a:gd name="T16" fmla="*/ 1510 w 3948"/>
                <a:gd name="T17" fmla="*/ 4057 h 6462"/>
                <a:gd name="T18" fmla="*/ 2954 w 3948"/>
                <a:gd name="T19" fmla="*/ 4895 h 6462"/>
                <a:gd name="T20" fmla="*/ 2061 w 3948"/>
                <a:gd name="T21" fmla="*/ 5568 h 6462"/>
                <a:gd name="T22" fmla="*/ 1080 w 3948"/>
                <a:gd name="T23" fmla="*/ 4829 h 6462"/>
                <a:gd name="T24" fmla="*/ 1080 w 3948"/>
                <a:gd name="T25" fmla="*/ 4741 h 6462"/>
                <a:gd name="T26" fmla="*/ 132 w 3948"/>
                <a:gd name="T27" fmla="*/ 4741 h 6462"/>
                <a:gd name="T28" fmla="*/ 132 w 3948"/>
                <a:gd name="T29" fmla="*/ 4829 h 6462"/>
                <a:gd name="T30" fmla="*/ 2039 w 3948"/>
                <a:gd name="T31" fmla="*/ 6461 h 6462"/>
                <a:gd name="T32" fmla="*/ 3914 w 3948"/>
                <a:gd name="T33" fmla="*/ 4951 h 6462"/>
                <a:gd name="T34" fmla="*/ 3021 w 3948"/>
                <a:gd name="T35" fmla="*/ 3694 h 6462"/>
                <a:gd name="T36" fmla="*/ 3914 w 3948"/>
                <a:gd name="T37" fmla="*/ 2216 h 6462"/>
                <a:gd name="T38" fmla="*/ 1940 w 3948"/>
                <a:gd name="T39" fmla="*/ 3286 h 6462"/>
                <a:gd name="T40" fmla="*/ 1940 w 3948"/>
                <a:gd name="T41" fmla="*/ 3286 h 6462"/>
                <a:gd name="T42" fmla="*/ 959 w 3948"/>
                <a:gd name="T43" fmla="*/ 2238 h 6462"/>
                <a:gd name="T44" fmla="*/ 1940 w 3948"/>
                <a:gd name="T45" fmla="*/ 1202 h 6462"/>
                <a:gd name="T46" fmla="*/ 2954 w 3948"/>
                <a:gd name="T47" fmla="*/ 2238 h 6462"/>
                <a:gd name="T48" fmla="*/ 1940 w 3948"/>
                <a:gd name="T49" fmla="*/ 3286 h 6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8" h="6462">
                  <a:moveTo>
                    <a:pt x="3914" y="2216"/>
                  </a:moveTo>
                  <a:lnTo>
                    <a:pt x="3914" y="2216"/>
                  </a:lnTo>
                  <a:cubicBezTo>
                    <a:pt x="3914" y="1786"/>
                    <a:pt x="3759" y="1356"/>
                    <a:pt x="3517" y="1048"/>
                  </a:cubicBezTo>
                  <a:cubicBezTo>
                    <a:pt x="3947" y="519"/>
                    <a:pt x="3947" y="519"/>
                    <a:pt x="3947" y="519"/>
                  </a:cubicBezTo>
                  <a:cubicBezTo>
                    <a:pt x="3263" y="0"/>
                    <a:pt x="3263" y="0"/>
                    <a:pt x="3263" y="0"/>
                  </a:cubicBezTo>
                  <a:cubicBezTo>
                    <a:pt x="2800" y="519"/>
                    <a:pt x="2800" y="519"/>
                    <a:pt x="2800" y="519"/>
                  </a:cubicBezTo>
                  <a:cubicBezTo>
                    <a:pt x="2558" y="397"/>
                    <a:pt x="2282" y="331"/>
                    <a:pt x="1940" y="331"/>
                  </a:cubicBezTo>
                  <a:cubicBezTo>
                    <a:pt x="805" y="331"/>
                    <a:pt x="0" y="1202"/>
                    <a:pt x="0" y="2305"/>
                  </a:cubicBezTo>
                  <a:cubicBezTo>
                    <a:pt x="0" y="3286"/>
                    <a:pt x="595" y="3903"/>
                    <a:pt x="1510" y="4057"/>
                  </a:cubicBezTo>
                  <a:cubicBezTo>
                    <a:pt x="2128" y="4179"/>
                    <a:pt x="2954" y="4157"/>
                    <a:pt x="2954" y="4895"/>
                  </a:cubicBezTo>
                  <a:cubicBezTo>
                    <a:pt x="2954" y="5292"/>
                    <a:pt x="2679" y="5568"/>
                    <a:pt x="2061" y="5568"/>
                  </a:cubicBezTo>
                  <a:cubicBezTo>
                    <a:pt x="1422" y="5568"/>
                    <a:pt x="1080" y="5193"/>
                    <a:pt x="1080" y="4829"/>
                  </a:cubicBezTo>
                  <a:cubicBezTo>
                    <a:pt x="1080" y="4796"/>
                    <a:pt x="1080" y="4763"/>
                    <a:pt x="1080" y="4741"/>
                  </a:cubicBezTo>
                  <a:cubicBezTo>
                    <a:pt x="132" y="4741"/>
                    <a:pt x="132" y="4741"/>
                    <a:pt x="132" y="4741"/>
                  </a:cubicBezTo>
                  <a:cubicBezTo>
                    <a:pt x="132" y="4763"/>
                    <a:pt x="132" y="4796"/>
                    <a:pt x="132" y="4829"/>
                  </a:cubicBezTo>
                  <a:cubicBezTo>
                    <a:pt x="132" y="5689"/>
                    <a:pt x="871" y="6461"/>
                    <a:pt x="2039" y="6461"/>
                  </a:cubicBezTo>
                  <a:cubicBezTo>
                    <a:pt x="3329" y="6461"/>
                    <a:pt x="3914" y="5689"/>
                    <a:pt x="3914" y="4951"/>
                  </a:cubicBezTo>
                  <a:cubicBezTo>
                    <a:pt x="3914" y="4245"/>
                    <a:pt x="3539" y="3870"/>
                    <a:pt x="3021" y="3694"/>
                  </a:cubicBezTo>
                  <a:cubicBezTo>
                    <a:pt x="3539" y="3440"/>
                    <a:pt x="3914" y="2889"/>
                    <a:pt x="3914" y="2216"/>
                  </a:cubicBezTo>
                  <a:close/>
                  <a:moveTo>
                    <a:pt x="1940" y="3286"/>
                  </a:moveTo>
                  <a:lnTo>
                    <a:pt x="1940" y="3286"/>
                  </a:lnTo>
                  <a:cubicBezTo>
                    <a:pt x="1356" y="3286"/>
                    <a:pt x="959" y="2889"/>
                    <a:pt x="959" y="2238"/>
                  </a:cubicBezTo>
                  <a:cubicBezTo>
                    <a:pt x="959" y="1632"/>
                    <a:pt x="1334" y="1202"/>
                    <a:pt x="1940" y="1202"/>
                  </a:cubicBezTo>
                  <a:cubicBezTo>
                    <a:pt x="2591" y="1202"/>
                    <a:pt x="2954" y="1632"/>
                    <a:pt x="2954" y="2238"/>
                  </a:cubicBezTo>
                  <a:cubicBezTo>
                    <a:pt x="2954" y="2889"/>
                    <a:pt x="2624" y="3286"/>
                    <a:pt x="1940" y="3286"/>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5" name="Freeform 6">
              <a:extLst>
                <a:ext uri="{FF2B5EF4-FFF2-40B4-BE49-F238E27FC236}">
                  <a16:creationId xmlns:a16="http://schemas.microsoft.com/office/drawing/2014/main" id="{C9476405-6195-D746-9FD0-D63CA571A043}"/>
                </a:ext>
              </a:extLst>
            </p:cNvPr>
            <p:cNvSpPr>
              <a:spLocks noChangeArrowheads="1"/>
            </p:cNvSpPr>
            <p:nvPr/>
          </p:nvSpPr>
          <p:spPr bwMode="auto">
            <a:xfrm>
              <a:off x="5299075" y="2193925"/>
              <a:ext cx="333375" cy="322263"/>
            </a:xfrm>
            <a:custGeom>
              <a:avLst/>
              <a:gdLst>
                <a:gd name="T0" fmla="*/ 0 w 927"/>
                <a:gd name="T1" fmla="*/ 893 h 894"/>
                <a:gd name="T2" fmla="*/ 926 w 927"/>
                <a:gd name="T3" fmla="*/ 893 h 894"/>
                <a:gd name="T4" fmla="*/ 926 w 927"/>
                <a:gd name="T5" fmla="*/ 0 h 894"/>
                <a:gd name="T6" fmla="*/ 0 w 927"/>
                <a:gd name="T7" fmla="*/ 0 h 894"/>
                <a:gd name="T8" fmla="*/ 0 w 927"/>
                <a:gd name="T9" fmla="*/ 893 h 894"/>
              </a:gdLst>
              <a:ahLst/>
              <a:cxnLst>
                <a:cxn ang="0">
                  <a:pos x="T0" y="T1"/>
                </a:cxn>
                <a:cxn ang="0">
                  <a:pos x="T2" y="T3"/>
                </a:cxn>
                <a:cxn ang="0">
                  <a:pos x="T4" y="T5"/>
                </a:cxn>
                <a:cxn ang="0">
                  <a:pos x="T6" y="T7"/>
                </a:cxn>
                <a:cxn ang="0">
                  <a:pos x="T8" y="T9"/>
                </a:cxn>
              </a:cxnLst>
              <a:rect l="0" t="0" r="r" b="b"/>
              <a:pathLst>
                <a:path w="927" h="894">
                  <a:moveTo>
                    <a:pt x="0" y="893"/>
                  </a:moveTo>
                  <a:lnTo>
                    <a:pt x="926" y="893"/>
                  </a:lnTo>
                  <a:lnTo>
                    <a:pt x="926" y="0"/>
                  </a:lnTo>
                  <a:lnTo>
                    <a:pt x="0" y="0"/>
                  </a:lnTo>
                  <a:lnTo>
                    <a:pt x="0" y="893"/>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6" name="Freeform 7">
              <a:extLst>
                <a:ext uri="{FF2B5EF4-FFF2-40B4-BE49-F238E27FC236}">
                  <a16:creationId xmlns:a16="http://schemas.microsoft.com/office/drawing/2014/main" id="{BB5EC88D-C39A-954E-9A19-E10A92073978}"/>
                </a:ext>
              </a:extLst>
            </p:cNvPr>
            <p:cNvSpPr>
              <a:spLocks noChangeArrowheads="1"/>
            </p:cNvSpPr>
            <p:nvPr/>
          </p:nvSpPr>
          <p:spPr bwMode="auto">
            <a:xfrm>
              <a:off x="7458075" y="2746375"/>
              <a:ext cx="1452563" cy="1420813"/>
            </a:xfrm>
            <a:custGeom>
              <a:avLst/>
              <a:gdLst>
                <a:gd name="T0" fmla="*/ 3076 w 4036"/>
                <a:gd name="T1" fmla="*/ 1764 h 3948"/>
                <a:gd name="T2" fmla="*/ 3076 w 4036"/>
                <a:gd name="T3" fmla="*/ 1764 h 3948"/>
                <a:gd name="T4" fmla="*/ 3076 w 4036"/>
                <a:gd name="T5" fmla="*/ 1974 h 3948"/>
                <a:gd name="T6" fmla="*/ 2007 w 4036"/>
                <a:gd name="T7" fmla="*/ 3087 h 3948"/>
                <a:gd name="T8" fmla="*/ 959 w 4036"/>
                <a:gd name="T9" fmla="*/ 1974 h 3948"/>
                <a:gd name="T10" fmla="*/ 2007 w 4036"/>
                <a:gd name="T11" fmla="*/ 871 h 3948"/>
                <a:gd name="T12" fmla="*/ 2062 w 4036"/>
                <a:gd name="T13" fmla="*/ 871 h 3948"/>
                <a:gd name="T14" fmla="*/ 2062 w 4036"/>
                <a:gd name="T15" fmla="*/ 0 h 3948"/>
                <a:gd name="T16" fmla="*/ 2007 w 4036"/>
                <a:gd name="T17" fmla="*/ 0 h 3948"/>
                <a:gd name="T18" fmla="*/ 0 w 4036"/>
                <a:gd name="T19" fmla="*/ 1974 h 3948"/>
                <a:gd name="T20" fmla="*/ 2007 w 4036"/>
                <a:gd name="T21" fmla="*/ 3947 h 3948"/>
                <a:gd name="T22" fmla="*/ 4035 w 4036"/>
                <a:gd name="T23" fmla="*/ 1974 h 3948"/>
                <a:gd name="T24" fmla="*/ 4002 w 4036"/>
                <a:gd name="T25" fmla="*/ 1764 h 3948"/>
                <a:gd name="T26" fmla="*/ 3076 w 4036"/>
                <a:gd name="T27" fmla="*/ 1764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6" h="3948">
                  <a:moveTo>
                    <a:pt x="3076" y="1764"/>
                  </a:moveTo>
                  <a:lnTo>
                    <a:pt x="3076" y="1764"/>
                  </a:lnTo>
                  <a:cubicBezTo>
                    <a:pt x="3076" y="1852"/>
                    <a:pt x="3076" y="1907"/>
                    <a:pt x="3076" y="1974"/>
                  </a:cubicBezTo>
                  <a:cubicBezTo>
                    <a:pt x="3076" y="2624"/>
                    <a:pt x="2624" y="3087"/>
                    <a:pt x="2007" y="3087"/>
                  </a:cubicBezTo>
                  <a:cubicBezTo>
                    <a:pt x="1422" y="3087"/>
                    <a:pt x="959" y="2624"/>
                    <a:pt x="959" y="1974"/>
                  </a:cubicBezTo>
                  <a:cubicBezTo>
                    <a:pt x="959" y="1356"/>
                    <a:pt x="1389" y="871"/>
                    <a:pt x="2007" y="871"/>
                  </a:cubicBezTo>
                  <a:cubicBezTo>
                    <a:pt x="2040" y="871"/>
                    <a:pt x="2040" y="871"/>
                    <a:pt x="2062" y="871"/>
                  </a:cubicBezTo>
                  <a:cubicBezTo>
                    <a:pt x="2062" y="0"/>
                    <a:pt x="2062" y="0"/>
                    <a:pt x="2062" y="0"/>
                  </a:cubicBezTo>
                  <a:cubicBezTo>
                    <a:pt x="2040" y="0"/>
                    <a:pt x="2040" y="0"/>
                    <a:pt x="2007" y="0"/>
                  </a:cubicBezTo>
                  <a:cubicBezTo>
                    <a:pt x="871" y="0"/>
                    <a:pt x="0" y="893"/>
                    <a:pt x="0" y="1974"/>
                  </a:cubicBezTo>
                  <a:cubicBezTo>
                    <a:pt x="0" y="3109"/>
                    <a:pt x="871" y="3947"/>
                    <a:pt x="2007" y="3947"/>
                  </a:cubicBezTo>
                  <a:cubicBezTo>
                    <a:pt x="3175" y="3947"/>
                    <a:pt x="4035" y="3109"/>
                    <a:pt x="4035" y="1974"/>
                  </a:cubicBezTo>
                  <a:cubicBezTo>
                    <a:pt x="4035" y="1907"/>
                    <a:pt x="4035" y="1852"/>
                    <a:pt x="4002" y="1764"/>
                  </a:cubicBezTo>
                  <a:lnTo>
                    <a:pt x="3076" y="176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grpSp>
        <p:nvGrpSpPr>
          <p:cNvPr id="17" name="Group 16">
            <a:extLst>
              <a:ext uri="{FF2B5EF4-FFF2-40B4-BE49-F238E27FC236}">
                <a16:creationId xmlns:a16="http://schemas.microsoft.com/office/drawing/2014/main" id="{96090D9A-3089-134A-B459-51569273EB30}"/>
              </a:ext>
            </a:extLst>
          </p:cNvPr>
          <p:cNvGrpSpPr/>
          <p:nvPr userDrawn="1"/>
        </p:nvGrpSpPr>
        <p:grpSpPr>
          <a:xfrm>
            <a:off x="7022159" y="4447762"/>
            <a:ext cx="1692983" cy="279387"/>
            <a:chOff x="1828800" y="3017838"/>
            <a:chExt cx="6291263" cy="1038225"/>
          </a:xfrm>
        </p:grpSpPr>
        <p:sp>
          <p:nvSpPr>
            <p:cNvPr id="18" name="Freeform 1">
              <a:extLst>
                <a:ext uri="{FF2B5EF4-FFF2-40B4-BE49-F238E27FC236}">
                  <a16:creationId xmlns:a16="http://schemas.microsoft.com/office/drawing/2014/main" id="{0DD4D70B-B0B3-054B-9575-BFFC3072C4D6}"/>
                </a:ext>
              </a:extLst>
            </p:cNvPr>
            <p:cNvSpPr>
              <a:spLocks noChangeArrowheads="1"/>
            </p:cNvSpPr>
            <p:nvPr userDrawn="1"/>
          </p:nvSpPr>
          <p:spPr bwMode="auto">
            <a:xfrm>
              <a:off x="1831975" y="3017838"/>
              <a:ext cx="388938" cy="438150"/>
            </a:xfrm>
            <a:custGeom>
              <a:avLst/>
              <a:gdLst>
                <a:gd name="T0" fmla="*/ 1081 w 1082"/>
                <a:gd name="T1" fmla="*/ 1042 h 1215"/>
                <a:gd name="T2" fmla="*/ 1081 w 1082"/>
                <a:gd name="T3" fmla="*/ 1042 h 1215"/>
                <a:gd name="T4" fmla="*/ 873 w 1082"/>
                <a:gd name="T5" fmla="*/ 1172 h 1215"/>
                <a:gd name="T6" fmla="*/ 631 w 1082"/>
                <a:gd name="T7" fmla="*/ 1214 h 1215"/>
                <a:gd name="T8" fmla="*/ 350 w 1082"/>
                <a:gd name="T9" fmla="*/ 1164 h 1215"/>
                <a:gd name="T10" fmla="*/ 153 w 1082"/>
                <a:gd name="T11" fmla="*/ 1028 h 1215"/>
                <a:gd name="T12" fmla="*/ 39 w 1082"/>
                <a:gd name="T13" fmla="*/ 836 h 1215"/>
                <a:gd name="T14" fmla="*/ 0 w 1082"/>
                <a:gd name="T15" fmla="*/ 614 h 1215"/>
                <a:gd name="T16" fmla="*/ 39 w 1082"/>
                <a:gd name="T17" fmla="*/ 389 h 1215"/>
                <a:gd name="T18" fmla="*/ 156 w 1082"/>
                <a:gd name="T19" fmla="*/ 192 h 1215"/>
                <a:gd name="T20" fmla="*/ 353 w 1082"/>
                <a:gd name="T21" fmla="*/ 53 h 1215"/>
                <a:gd name="T22" fmla="*/ 631 w 1082"/>
                <a:gd name="T23" fmla="*/ 0 h 1215"/>
                <a:gd name="T24" fmla="*/ 864 w 1082"/>
                <a:gd name="T25" fmla="*/ 44 h 1215"/>
                <a:gd name="T26" fmla="*/ 1070 w 1082"/>
                <a:gd name="T27" fmla="*/ 178 h 1215"/>
                <a:gd name="T28" fmla="*/ 942 w 1082"/>
                <a:gd name="T29" fmla="*/ 297 h 1215"/>
                <a:gd name="T30" fmla="*/ 795 w 1082"/>
                <a:gd name="T31" fmla="*/ 206 h 1215"/>
                <a:gd name="T32" fmla="*/ 631 w 1082"/>
                <a:gd name="T33" fmla="*/ 178 h 1215"/>
                <a:gd name="T34" fmla="*/ 434 w 1082"/>
                <a:gd name="T35" fmla="*/ 214 h 1215"/>
                <a:gd name="T36" fmla="*/ 298 w 1082"/>
                <a:gd name="T37" fmla="*/ 314 h 1215"/>
                <a:gd name="T38" fmla="*/ 217 w 1082"/>
                <a:gd name="T39" fmla="*/ 453 h 1215"/>
                <a:gd name="T40" fmla="*/ 192 w 1082"/>
                <a:gd name="T41" fmla="*/ 614 h 1215"/>
                <a:gd name="T42" fmla="*/ 217 w 1082"/>
                <a:gd name="T43" fmla="*/ 769 h 1215"/>
                <a:gd name="T44" fmla="*/ 295 w 1082"/>
                <a:gd name="T45" fmla="*/ 906 h 1215"/>
                <a:gd name="T46" fmla="*/ 434 w 1082"/>
                <a:gd name="T47" fmla="*/ 1003 h 1215"/>
                <a:gd name="T48" fmla="*/ 631 w 1082"/>
                <a:gd name="T49" fmla="*/ 1039 h 1215"/>
                <a:gd name="T50" fmla="*/ 800 w 1082"/>
                <a:gd name="T51" fmla="*/ 1008 h 1215"/>
                <a:gd name="T52" fmla="*/ 950 w 1082"/>
                <a:gd name="T53" fmla="*/ 911 h 1215"/>
                <a:gd name="T54" fmla="*/ 1081 w 1082"/>
                <a:gd name="T55" fmla="*/ 1042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2" h="1215">
                  <a:moveTo>
                    <a:pt x="1081" y="1042"/>
                  </a:moveTo>
                  <a:lnTo>
                    <a:pt x="1081" y="1042"/>
                  </a:lnTo>
                  <a:cubicBezTo>
                    <a:pt x="1020" y="1100"/>
                    <a:pt x="950" y="1144"/>
                    <a:pt x="873" y="1172"/>
                  </a:cubicBezTo>
                  <a:cubicBezTo>
                    <a:pt x="798" y="1200"/>
                    <a:pt x="717" y="1214"/>
                    <a:pt x="631" y="1214"/>
                  </a:cubicBezTo>
                  <a:cubicBezTo>
                    <a:pt x="523" y="1214"/>
                    <a:pt x="431" y="1197"/>
                    <a:pt x="350" y="1164"/>
                  </a:cubicBezTo>
                  <a:cubicBezTo>
                    <a:pt x="273" y="1130"/>
                    <a:pt x="206" y="1086"/>
                    <a:pt x="153" y="1028"/>
                  </a:cubicBezTo>
                  <a:cubicBezTo>
                    <a:pt x="103" y="972"/>
                    <a:pt x="64" y="908"/>
                    <a:pt x="39" y="836"/>
                  </a:cubicBezTo>
                  <a:cubicBezTo>
                    <a:pt x="14" y="764"/>
                    <a:pt x="0" y="692"/>
                    <a:pt x="0" y="614"/>
                  </a:cubicBezTo>
                  <a:cubicBezTo>
                    <a:pt x="0" y="536"/>
                    <a:pt x="14" y="461"/>
                    <a:pt x="39" y="389"/>
                  </a:cubicBezTo>
                  <a:cubicBezTo>
                    <a:pt x="67" y="314"/>
                    <a:pt x="103" y="250"/>
                    <a:pt x="156" y="192"/>
                  </a:cubicBezTo>
                  <a:cubicBezTo>
                    <a:pt x="209" y="133"/>
                    <a:pt x="273" y="89"/>
                    <a:pt x="353" y="53"/>
                  </a:cubicBezTo>
                  <a:cubicBezTo>
                    <a:pt x="431" y="17"/>
                    <a:pt x="525" y="0"/>
                    <a:pt x="631" y="0"/>
                  </a:cubicBezTo>
                  <a:cubicBezTo>
                    <a:pt x="711" y="0"/>
                    <a:pt x="789" y="14"/>
                    <a:pt x="864" y="44"/>
                  </a:cubicBezTo>
                  <a:cubicBezTo>
                    <a:pt x="939" y="72"/>
                    <a:pt x="1009" y="117"/>
                    <a:pt x="1070" y="178"/>
                  </a:cubicBezTo>
                  <a:cubicBezTo>
                    <a:pt x="942" y="297"/>
                    <a:pt x="942" y="297"/>
                    <a:pt x="942" y="297"/>
                  </a:cubicBezTo>
                  <a:cubicBezTo>
                    <a:pt x="898" y="256"/>
                    <a:pt x="850" y="225"/>
                    <a:pt x="795" y="206"/>
                  </a:cubicBezTo>
                  <a:cubicBezTo>
                    <a:pt x="742" y="186"/>
                    <a:pt x="686" y="178"/>
                    <a:pt x="631" y="178"/>
                  </a:cubicBezTo>
                  <a:cubicBezTo>
                    <a:pt x="556" y="178"/>
                    <a:pt x="489" y="189"/>
                    <a:pt x="434" y="214"/>
                  </a:cubicBezTo>
                  <a:cubicBezTo>
                    <a:pt x="378" y="239"/>
                    <a:pt x="334" y="272"/>
                    <a:pt x="298" y="314"/>
                  </a:cubicBezTo>
                  <a:cubicBezTo>
                    <a:pt x="261" y="356"/>
                    <a:pt x="234" y="400"/>
                    <a:pt x="217" y="453"/>
                  </a:cubicBezTo>
                  <a:cubicBezTo>
                    <a:pt x="200" y="506"/>
                    <a:pt x="192" y="558"/>
                    <a:pt x="192" y="614"/>
                  </a:cubicBezTo>
                  <a:cubicBezTo>
                    <a:pt x="192" y="667"/>
                    <a:pt x="200" y="719"/>
                    <a:pt x="217" y="769"/>
                  </a:cubicBezTo>
                  <a:cubicBezTo>
                    <a:pt x="234" y="822"/>
                    <a:pt x="261" y="867"/>
                    <a:pt x="295" y="906"/>
                  </a:cubicBezTo>
                  <a:cubicBezTo>
                    <a:pt x="331" y="947"/>
                    <a:pt x="378" y="978"/>
                    <a:pt x="434" y="1003"/>
                  </a:cubicBezTo>
                  <a:cubicBezTo>
                    <a:pt x="489" y="1028"/>
                    <a:pt x="553" y="1039"/>
                    <a:pt x="631" y="1039"/>
                  </a:cubicBezTo>
                  <a:cubicBezTo>
                    <a:pt x="686" y="1039"/>
                    <a:pt x="745" y="1028"/>
                    <a:pt x="800" y="1008"/>
                  </a:cubicBezTo>
                  <a:cubicBezTo>
                    <a:pt x="859" y="986"/>
                    <a:pt x="906" y="953"/>
                    <a:pt x="950" y="911"/>
                  </a:cubicBezTo>
                  <a:lnTo>
                    <a:pt x="1081" y="104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9" name="Freeform 2">
              <a:extLst>
                <a:ext uri="{FF2B5EF4-FFF2-40B4-BE49-F238E27FC236}">
                  <a16:creationId xmlns:a16="http://schemas.microsoft.com/office/drawing/2014/main" id="{EBCA234E-BBBC-9042-AAB0-E0DEC5441476}"/>
                </a:ext>
              </a:extLst>
            </p:cNvPr>
            <p:cNvSpPr>
              <a:spLocks noChangeArrowheads="1"/>
            </p:cNvSpPr>
            <p:nvPr userDrawn="1"/>
          </p:nvSpPr>
          <p:spPr bwMode="auto">
            <a:xfrm>
              <a:off x="2268538" y="3149600"/>
              <a:ext cx="293687" cy="301625"/>
            </a:xfrm>
            <a:custGeom>
              <a:avLst/>
              <a:gdLst>
                <a:gd name="T0" fmla="*/ 175 w 815"/>
                <a:gd name="T1" fmla="*/ 0 h 837"/>
                <a:gd name="T2" fmla="*/ 175 w 815"/>
                <a:gd name="T3" fmla="*/ 0 h 837"/>
                <a:gd name="T4" fmla="*/ 175 w 815"/>
                <a:gd name="T5" fmla="*/ 439 h 837"/>
                <a:gd name="T6" fmla="*/ 233 w 815"/>
                <a:gd name="T7" fmla="*/ 611 h 837"/>
                <a:gd name="T8" fmla="*/ 406 w 815"/>
                <a:gd name="T9" fmla="*/ 675 h 837"/>
                <a:gd name="T10" fmla="*/ 500 w 815"/>
                <a:gd name="T11" fmla="*/ 658 h 837"/>
                <a:gd name="T12" fmla="*/ 572 w 815"/>
                <a:gd name="T13" fmla="*/ 602 h 837"/>
                <a:gd name="T14" fmla="*/ 622 w 815"/>
                <a:gd name="T15" fmla="*/ 525 h 837"/>
                <a:gd name="T16" fmla="*/ 639 w 815"/>
                <a:gd name="T17" fmla="*/ 427 h 837"/>
                <a:gd name="T18" fmla="*/ 639 w 815"/>
                <a:gd name="T19" fmla="*/ 0 h 837"/>
                <a:gd name="T20" fmla="*/ 814 w 815"/>
                <a:gd name="T21" fmla="*/ 0 h 837"/>
                <a:gd name="T22" fmla="*/ 814 w 815"/>
                <a:gd name="T23" fmla="*/ 825 h 837"/>
                <a:gd name="T24" fmla="*/ 656 w 815"/>
                <a:gd name="T25" fmla="*/ 825 h 837"/>
                <a:gd name="T26" fmla="*/ 645 w 815"/>
                <a:gd name="T27" fmla="*/ 702 h 837"/>
                <a:gd name="T28" fmla="*/ 514 w 815"/>
                <a:gd name="T29" fmla="*/ 805 h 837"/>
                <a:gd name="T30" fmla="*/ 356 w 815"/>
                <a:gd name="T31" fmla="*/ 836 h 837"/>
                <a:gd name="T32" fmla="*/ 211 w 815"/>
                <a:gd name="T33" fmla="*/ 811 h 837"/>
                <a:gd name="T34" fmla="*/ 100 w 815"/>
                <a:gd name="T35" fmla="*/ 733 h 837"/>
                <a:gd name="T36" fmla="*/ 25 w 815"/>
                <a:gd name="T37" fmla="*/ 608 h 837"/>
                <a:gd name="T38" fmla="*/ 0 w 815"/>
                <a:gd name="T39" fmla="*/ 441 h 837"/>
                <a:gd name="T40" fmla="*/ 0 w 815"/>
                <a:gd name="T41" fmla="*/ 0 h 837"/>
                <a:gd name="T42" fmla="*/ 175 w 815"/>
                <a:gd name="T43" fmla="*/ 0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5" h="837">
                  <a:moveTo>
                    <a:pt x="175" y="0"/>
                  </a:moveTo>
                  <a:lnTo>
                    <a:pt x="175" y="0"/>
                  </a:lnTo>
                  <a:cubicBezTo>
                    <a:pt x="175" y="439"/>
                    <a:pt x="175" y="439"/>
                    <a:pt x="175" y="439"/>
                  </a:cubicBezTo>
                  <a:cubicBezTo>
                    <a:pt x="175" y="508"/>
                    <a:pt x="195" y="566"/>
                    <a:pt x="233" y="611"/>
                  </a:cubicBezTo>
                  <a:cubicBezTo>
                    <a:pt x="275" y="655"/>
                    <a:pt x="331" y="675"/>
                    <a:pt x="406" y="675"/>
                  </a:cubicBezTo>
                  <a:cubicBezTo>
                    <a:pt x="439" y="675"/>
                    <a:pt x="470" y="669"/>
                    <a:pt x="500" y="658"/>
                  </a:cubicBezTo>
                  <a:cubicBezTo>
                    <a:pt x="528" y="644"/>
                    <a:pt x="553" y="627"/>
                    <a:pt x="572" y="602"/>
                  </a:cubicBezTo>
                  <a:cubicBezTo>
                    <a:pt x="595" y="580"/>
                    <a:pt x="611" y="555"/>
                    <a:pt x="622" y="525"/>
                  </a:cubicBezTo>
                  <a:cubicBezTo>
                    <a:pt x="633" y="494"/>
                    <a:pt x="639" y="461"/>
                    <a:pt x="639" y="427"/>
                  </a:cubicBezTo>
                  <a:cubicBezTo>
                    <a:pt x="639" y="0"/>
                    <a:pt x="639" y="0"/>
                    <a:pt x="639" y="0"/>
                  </a:cubicBezTo>
                  <a:cubicBezTo>
                    <a:pt x="814" y="0"/>
                    <a:pt x="814" y="0"/>
                    <a:pt x="814" y="0"/>
                  </a:cubicBezTo>
                  <a:cubicBezTo>
                    <a:pt x="814" y="825"/>
                    <a:pt x="814" y="825"/>
                    <a:pt x="814" y="825"/>
                  </a:cubicBezTo>
                  <a:cubicBezTo>
                    <a:pt x="656" y="825"/>
                    <a:pt x="656" y="825"/>
                    <a:pt x="656" y="825"/>
                  </a:cubicBezTo>
                  <a:cubicBezTo>
                    <a:pt x="645" y="702"/>
                    <a:pt x="645" y="702"/>
                    <a:pt x="645" y="702"/>
                  </a:cubicBezTo>
                  <a:cubicBezTo>
                    <a:pt x="603" y="750"/>
                    <a:pt x="561" y="783"/>
                    <a:pt x="514" y="805"/>
                  </a:cubicBezTo>
                  <a:cubicBezTo>
                    <a:pt x="467" y="825"/>
                    <a:pt x="414" y="836"/>
                    <a:pt x="356" y="836"/>
                  </a:cubicBezTo>
                  <a:cubicBezTo>
                    <a:pt x="303" y="836"/>
                    <a:pt x="256" y="827"/>
                    <a:pt x="211" y="811"/>
                  </a:cubicBezTo>
                  <a:cubicBezTo>
                    <a:pt x="170" y="791"/>
                    <a:pt x="131" y="766"/>
                    <a:pt x="100" y="733"/>
                  </a:cubicBezTo>
                  <a:cubicBezTo>
                    <a:pt x="70" y="700"/>
                    <a:pt x="45" y="658"/>
                    <a:pt x="25" y="608"/>
                  </a:cubicBezTo>
                  <a:cubicBezTo>
                    <a:pt x="8" y="561"/>
                    <a:pt x="0" y="505"/>
                    <a:pt x="0" y="441"/>
                  </a:cubicBezTo>
                  <a:cubicBezTo>
                    <a:pt x="0" y="0"/>
                    <a:pt x="0" y="0"/>
                    <a:pt x="0" y="0"/>
                  </a:cubicBezTo>
                  <a:lnTo>
                    <a:pt x="175"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1" name="Freeform 3">
              <a:extLst>
                <a:ext uri="{FF2B5EF4-FFF2-40B4-BE49-F238E27FC236}">
                  <a16:creationId xmlns:a16="http://schemas.microsoft.com/office/drawing/2014/main" id="{94906A60-4D37-1F4B-82F6-CD23F9B86025}"/>
                </a:ext>
              </a:extLst>
            </p:cNvPr>
            <p:cNvSpPr>
              <a:spLocks noChangeArrowheads="1"/>
            </p:cNvSpPr>
            <p:nvPr userDrawn="1"/>
          </p:nvSpPr>
          <p:spPr bwMode="auto">
            <a:xfrm>
              <a:off x="2624138" y="3141663"/>
              <a:ext cx="268287" cy="314325"/>
            </a:xfrm>
            <a:custGeom>
              <a:avLst/>
              <a:gdLst>
                <a:gd name="T0" fmla="*/ 606 w 746"/>
                <a:gd name="T1" fmla="*/ 225 h 871"/>
                <a:gd name="T2" fmla="*/ 606 w 746"/>
                <a:gd name="T3" fmla="*/ 225 h 871"/>
                <a:gd name="T4" fmla="*/ 500 w 746"/>
                <a:gd name="T5" fmla="*/ 164 h 871"/>
                <a:gd name="T6" fmla="*/ 383 w 746"/>
                <a:gd name="T7" fmla="*/ 148 h 871"/>
                <a:gd name="T8" fmla="*/ 253 w 746"/>
                <a:gd name="T9" fmla="*/ 173 h 871"/>
                <a:gd name="T10" fmla="*/ 203 w 746"/>
                <a:gd name="T11" fmla="*/ 245 h 871"/>
                <a:gd name="T12" fmla="*/ 256 w 746"/>
                <a:gd name="T13" fmla="*/ 320 h 871"/>
                <a:gd name="T14" fmla="*/ 386 w 746"/>
                <a:gd name="T15" fmla="*/ 350 h 871"/>
                <a:gd name="T16" fmla="*/ 508 w 746"/>
                <a:gd name="T17" fmla="*/ 367 h 871"/>
                <a:gd name="T18" fmla="*/ 625 w 746"/>
                <a:gd name="T19" fmla="*/ 406 h 871"/>
                <a:gd name="T20" fmla="*/ 711 w 746"/>
                <a:gd name="T21" fmla="*/ 481 h 871"/>
                <a:gd name="T22" fmla="*/ 745 w 746"/>
                <a:gd name="T23" fmla="*/ 611 h 871"/>
                <a:gd name="T24" fmla="*/ 717 w 746"/>
                <a:gd name="T25" fmla="*/ 717 h 871"/>
                <a:gd name="T26" fmla="*/ 645 w 746"/>
                <a:gd name="T27" fmla="*/ 798 h 871"/>
                <a:gd name="T28" fmla="*/ 533 w 746"/>
                <a:gd name="T29" fmla="*/ 853 h 871"/>
                <a:gd name="T30" fmla="*/ 383 w 746"/>
                <a:gd name="T31" fmla="*/ 870 h 871"/>
                <a:gd name="T32" fmla="*/ 183 w 746"/>
                <a:gd name="T33" fmla="*/ 842 h 871"/>
                <a:gd name="T34" fmla="*/ 0 w 746"/>
                <a:gd name="T35" fmla="*/ 720 h 871"/>
                <a:gd name="T36" fmla="*/ 92 w 746"/>
                <a:gd name="T37" fmla="*/ 598 h 871"/>
                <a:gd name="T38" fmla="*/ 233 w 746"/>
                <a:gd name="T39" fmla="*/ 689 h 871"/>
                <a:gd name="T40" fmla="*/ 389 w 746"/>
                <a:gd name="T41" fmla="*/ 720 h 871"/>
                <a:gd name="T42" fmla="*/ 450 w 746"/>
                <a:gd name="T43" fmla="*/ 714 h 871"/>
                <a:gd name="T44" fmla="*/ 508 w 746"/>
                <a:gd name="T45" fmla="*/ 698 h 871"/>
                <a:gd name="T46" fmla="*/ 550 w 746"/>
                <a:gd name="T47" fmla="*/ 662 h 871"/>
                <a:gd name="T48" fmla="*/ 567 w 746"/>
                <a:gd name="T49" fmla="*/ 614 h 871"/>
                <a:gd name="T50" fmla="*/ 517 w 746"/>
                <a:gd name="T51" fmla="*/ 531 h 871"/>
                <a:gd name="T52" fmla="*/ 372 w 746"/>
                <a:gd name="T53" fmla="*/ 498 h 871"/>
                <a:gd name="T54" fmla="*/ 253 w 746"/>
                <a:gd name="T55" fmla="*/ 478 h 871"/>
                <a:gd name="T56" fmla="*/ 142 w 746"/>
                <a:gd name="T57" fmla="*/ 436 h 871"/>
                <a:gd name="T58" fmla="*/ 61 w 746"/>
                <a:gd name="T59" fmla="*/ 364 h 871"/>
                <a:gd name="T60" fmla="*/ 31 w 746"/>
                <a:gd name="T61" fmla="*/ 250 h 871"/>
                <a:gd name="T62" fmla="*/ 61 w 746"/>
                <a:gd name="T63" fmla="*/ 134 h 871"/>
                <a:gd name="T64" fmla="*/ 145 w 746"/>
                <a:gd name="T65" fmla="*/ 56 h 871"/>
                <a:gd name="T66" fmla="*/ 259 w 746"/>
                <a:gd name="T67" fmla="*/ 14 h 871"/>
                <a:gd name="T68" fmla="*/ 381 w 746"/>
                <a:gd name="T69" fmla="*/ 0 h 871"/>
                <a:gd name="T70" fmla="*/ 556 w 746"/>
                <a:gd name="T71" fmla="*/ 25 h 871"/>
                <a:gd name="T72" fmla="*/ 703 w 746"/>
                <a:gd name="T73" fmla="*/ 112 h 871"/>
                <a:gd name="T74" fmla="*/ 606 w 746"/>
                <a:gd name="T75" fmla="*/ 225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6" h="871">
                  <a:moveTo>
                    <a:pt x="606" y="225"/>
                  </a:moveTo>
                  <a:lnTo>
                    <a:pt x="606" y="225"/>
                  </a:lnTo>
                  <a:cubicBezTo>
                    <a:pt x="572" y="195"/>
                    <a:pt x="536" y="173"/>
                    <a:pt x="500" y="164"/>
                  </a:cubicBezTo>
                  <a:cubicBezTo>
                    <a:pt x="464" y="153"/>
                    <a:pt x="425" y="148"/>
                    <a:pt x="383" y="148"/>
                  </a:cubicBezTo>
                  <a:cubicBezTo>
                    <a:pt x="328" y="148"/>
                    <a:pt x="286" y="153"/>
                    <a:pt x="253" y="173"/>
                  </a:cubicBezTo>
                  <a:cubicBezTo>
                    <a:pt x="220" y="189"/>
                    <a:pt x="203" y="214"/>
                    <a:pt x="203" y="245"/>
                  </a:cubicBezTo>
                  <a:cubicBezTo>
                    <a:pt x="206" y="281"/>
                    <a:pt x="222" y="306"/>
                    <a:pt x="256" y="320"/>
                  </a:cubicBezTo>
                  <a:cubicBezTo>
                    <a:pt x="289" y="336"/>
                    <a:pt x="331" y="345"/>
                    <a:pt x="386" y="350"/>
                  </a:cubicBezTo>
                  <a:cubicBezTo>
                    <a:pt x="425" y="356"/>
                    <a:pt x="467" y="359"/>
                    <a:pt x="508" y="367"/>
                  </a:cubicBezTo>
                  <a:cubicBezTo>
                    <a:pt x="550" y="375"/>
                    <a:pt x="589" y="387"/>
                    <a:pt x="625" y="406"/>
                  </a:cubicBezTo>
                  <a:cubicBezTo>
                    <a:pt x="658" y="425"/>
                    <a:pt x="689" y="450"/>
                    <a:pt x="711" y="481"/>
                  </a:cubicBezTo>
                  <a:cubicBezTo>
                    <a:pt x="733" y="514"/>
                    <a:pt x="745" y="556"/>
                    <a:pt x="745" y="611"/>
                  </a:cubicBezTo>
                  <a:cubicBezTo>
                    <a:pt x="745" y="650"/>
                    <a:pt x="736" y="684"/>
                    <a:pt x="717" y="717"/>
                  </a:cubicBezTo>
                  <a:cubicBezTo>
                    <a:pt x="700" y="748"/>
                    <a:pt x="675" y="775"/>
                    <a:pt x="645" y="798"/>
                  </a:cubicBezTo>
                  <a:cubicBezTo>
                    <a:pt x="614" y="823"/>
                    <a:pt x="575" y="839"/>
                    <a:pt x="533" y="853"/>
                  </a:cubicBezTo>
                  <a:cubicBezTo>
                    <a:pt x="489" y="864"/>
                    <a:pt x="439" y="870"/>
                    <a:pt x="383" y="870"/>
                  </a:cubicBezTo>
                  <a:cubicBezTo>
                    <a:pt x="317" y="870"/>
                    <a:pt x="250" y="862"/>
                    <a:pt x="183" y="842"/>
                  </a:cubicBezTo>
                  <a:cubicBezTo>
                    <a:pt x="117" y="820"/>
                    <a:pt x="56" y="781"/>
                    <a:pt x="0" y="720"/>
                  </a:cubicBezTo>
                  <a:cubicBezTo>
                    <a:pt x="92" y="598"/>
                    <a:pt x="92" y="598"/>
                    <a:pt x="92" y="598"/>
                  </a:cubicBezTo>
                  <a:cubicBezTo>
                    <a:pt x="133" y="639"/>
                    <a:pt x="181" y="673"/>
                    <a:pt x="233" y="689"/>
                  </a:cubicBezTo>
                  <a:cubicBezTo>
                    <a:pt x="286" y="709"/>
                    <a:pt x="339" y="720"/>
                    <a:pt x="389" y="720"/>
                  </a:cubicBezTo>
                  <a:cubicBezTo>
                    <a:pt x="408" y="720"/>
                    <a:pt x="431" y="720"/>
                    <a:pt x="450" y="714"/>
                  </a:cubicBezTo>
                  <a:cubicBezTo>
                    <a:pt x="472" y="711"/>
                    <a:pt x="492" y="706"/>
                    <a:pt x="508" y="698"/>
                  </a:cubicBezTo>
                  <a:cubicBezTo>
                    <a:pt x="525" y="686"/>
                    <a:pt x="539" y="675"/>
                    <a:pt x="550" y="662"/>
                  </a:cubicBezTo>
                  <a:cubicBezTo>
                    <a:pt x="561" y="648"/>
                    <a:pt x="567" y="631"/>
                    <a:pt x="567" y="614"/>
                  </a:cubicBezTo>
                  <a:cubicBezTo>
                    <a:pt x="570" y="575"/>
                    <a:pt x="553" y="548"/>
                    <a:pt x="517" y="531"/>
                  </a:cubicBezTo>
                  <a:cubicBezTo>
                    <a:pt x="483" y="514"/>
                    <a:pt x="436" y="503"/>
                    <a:pt x="372" y="498"/>
                  </a:cubicBezTo>
                  <a:cubicBezTo>
                    <a:pt x="333" y="495"/>
                    <a:pt x="292" y="489"/>
                    <a:pt x="253" y="478"/>
                  </a:cubicBezTo>
                  <a:cubicBezTo>
                    <a:pt x="211" y="470"/>
                    <a:pt x="175" y="456"/>
                    <a:pt x="142" y="436"/>
                  </a:cubicBezTo>
                  <a:cubicBezTo>
                    <a:pt x="108" y="420"/>
                    <a:pt x="84" y="395"/>
                    <a:pt x="61" y="364"/>
                  </a:cubicBezTo>
                  <a:cubicBezTo>
                    <a:pt x="39" y="334"/>
                    <a:pt x="31" y="298"/>
                    <a:pt x="31" y="250"/>
                  </a:cubicBezTo>
                  <a:cubicBezTo>
                    <a:pt x="31" y="206"/>
                    <a:pt x="42" y="167"/>
                    <a:pt x="61" y="134"/>
                  </a:cubicBezTo>
                  <a:cubicBezTo>
                    <a:pt x="84" y="103"/>
                    <a:pt x="111" y="78"/>
                    <a:pt x="145" y="56"/>
                  </a:cubicBezTo>
                  <a:cubicBezTo>
                    <a:pt x="181" y="37"/>
                    <a:pt x="217" y="23"/>
                    <a:pt x="259" y="14"/>
                  </a:cubicBezTo>
                  <a:cubicBezTo>
                    <a:pt x="300" y="6"/>
                    <a:pt x="339" y="0"/>
                    <a:pt x="381" y="0"/>
                  </a:cubicBezTo>
                  <a:cubicBezTo>
                    <a:pt x="445" y="0"/>
                    <a:pt x="503" y="9"/>
                    <a:pt x="556" y="25"/>
                  </a:cubicBezTo>
                  <a:cubicBezTo>
                    <a:pt x="606" y="42"/>
                    <a:pt x="656" y="70"/>
                    <a:pt x="703" y="112"/>
                  </a:cubicBezTo>
                  <a:lnTo>
                    <a:pt x="606" y="2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2" name="Freeform 4">
              <a:extLst>
                <a:ext uri="{FF2B5EF4-FFF2-40B4-BE49-F238E27FC236}">
                  <a16:creationId xmlns:a16="http://schemas.microsoft.com/office/drawing/2014/main" id="{CD2CCA88-6514-AE47-BD58-5E7637F2B340}"/>
                </a:ext>
              </a:extLst>
            </p:cNvPr>
            <p:cNvSpPr>
              <a:spLocks noChangeArrowheads="1"/>
            </p:cNvSpPr>
            <p:nvPr userDrawn="1"/>
          </p:nvSpPr>
          <p:spPr bwMode="auto">
            <a:xfrm>
              <a:off x="2928938" y="3063875"/>
              <a:ext cx="223837" cy="387350"/>
            </a:xfrm>
            <a:custGeom>
              <a:avLst/>
              <a:gdLst>
                <a:gd name="T0" fmla="*/ 342 w 621"/>
                <a:gd name="T1" fmla="*/ 0 h 1076"/>
                <a:gd name="T2" fmla="*/ 342 w 621"/>
                <a:gd name="T3" fmla="*/ 0 h 1076"/>
                <a:gd name="T4" fmla="*/ 342 w 621"/>
                <a:gd name="T5" fmla="*/ 239 h 1076"/>
                <a:gd name="T6" fmla="*/ 586 w 621"/>
                <a:gd name="T7" fmla="*/ 239 h 1076"/>
                <a:gd name="T8" fmla="*/ 586 w 621"/>
                <a:gd name="T9" fmla="*/ 391 h 1076"/>
                <a:gd name="T10" fmla="*/ 339 w 621"/>
                <a:gd name="T11" fmla="*/ 391 h 1076"/>
                <a:gd name="T12" fmla="*/ 339 w 621"/>
                <a:gd name="T13" fmla="*/ 780 h 1076"/>
                <a:gd name="T14" fmla="*/ 369 w 621"/>
                <a:gd name="T15" fmla="*/ 880 h 1076"/>
                <a:gd name="T16" fmla="*/ 461 w 621"/>
                <a:gd name="T17" fmla="*/ 916 h 1076"/>
                <a:gd name="T18" fmla="*/ 514 w 621"/>
                <a:gd name="T19" fmla="*/ 908 h 1076"/>
                <a:gd name="T20" fmla="*/ 567 w 621"/>
                <a:gd name="T21" fmla="*/ 889 h 1076"/>
                <a:gd name="T22" fmla="*/ 620 w 621"/>
                <a:gd name="T23" fmla="*/ 1036 h 1076"/>
                <a:gd name="T24" fmla="*/ 533 w 621"/>
                <a:gd name="T25" fmla="*/ 1064 h 1076"/>
                <a:gd name="T26" fmla="*/ 450 w 621"/>
                <a:gd name="T27" fmla="*/ 1072 h 1076"/>
                <a:gd name="T28" fmla="*/ 236 w 621"/>
                <a:gd name="T29" fmla="*/ 1002 h 1076"/>
                <a:gd name="T30" fmla="*/ 164 w 621"/>
                <a:gd name="T31" fmla="*/ 783 h 1076"/>
                <a:gd name="T32" fmla="*/ 164 w 621"/>
                <a:gd name="T33" fmla="*/ 391 h 1076"/>
                <a:gd name="T34" fmla="*/ 0 w 621"/>
                <a:gd name="T35" fmla="*/ 391 h 1076"/>
                <a:gd name="T36" fmla="*/ 0 w 621"/>
                <a:gd name="T37" fmla="*/ 239 h 1076"/>
                <a:gd name="T38" fmla="*/ 164 w 621"/>
                <a:gd name="T39" fmla="*/ 239 h 1076"/>
                <a:gd name="T40" fmla="*/ 164 w 621"/>
                <a:gd name="T41" fmla="*/ 19 h 1076"/>
                <a:gd name="T42" fmla="*/ 342 w 621"/>
                <a:gd name="T43" fmla="*/ 0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1" h="1076">
                  <a:moveTo>
                    <a:pt x="342" y="0"/>
                  </a:moveTo>
                  <a:lnTo>
                    <a:pt x="342" y="0"/>
                  </a:lnTo>
                  <a:cubicBezTo>
                    <a:pt x="342" y="239"/>
                    <a:pt x="342" y="239"/>
                    <a:pt x="342" y="239"/>
                  </a:cubicBezTo>
                  <a:cubicBezTo>
                    <a:pt x="586" y="239"/>
                    <a:pt x="586" y="239"/>
                    <a:pt x="586" y="239"/>
                  </a:cubicBezTo>
                  <a:cubicBezTo>
                    <a:pt x="586" y="391"/>
                    <a:pt x="586" y="391"/>
                    <a:pt x="586" y="391"/>
                  </a:cubicBezTo>
                  <a:cubicBezTo>
                    <a:pt x="339" y="391"/>
                    <a:pt x="339" y="391"/>
                    <a:pt x="339" y="391"/>
                  </a:cubicBezTo>
                  <a:cubicBezTo>
                    <a:pt x="339" y="780"/>
                    <a:pt x="339" y="780"/>
                    <a:pt x="339" y="780"/>
                  </a:cubicBezTo>
                  <a:cubicBezTo>
                    <a:pt x="339" y="825"/>
                    <a:pt x="350" y="858"/>
                    <a:pt x="369" y="880"/>
                  </a:cubicBezTo>
                  <a:cubicBezTo>
                    <a:pt x="389" y="905"/>
                    <a:pt x="420" y="916"/>
                    <a:pt x="461" y="916"/>
                  </a:cubicBezTo>
                  <a:cubicBezTo>
                    <a:pt x="478" y="916"/>
                    <a:pt x="494" y="914"/>
                    <a:pt x="514" y="908"/>
                  </a:cubicBezTo>
                  <a:cubicBezTo>
                    <a:pt x="533" y="905"/>
                    <a:pt x="550" y="897"/>
                    <a:pt x="567" y="889"/>
                  </a:cubicBezTo>
                  <a:cubicBezTo>
                    <a:pt x="620" y="1036"/>
                    <a:pt x="620" y="1036"/>
                    <a:pt x="620" y="1036"/>
                  </a:cubicBezTo>
                  <a:cubicBezTo>
                    <a:pt x="589" y="1047"/>
                    <a:pt x="561" y="1058"/>
                    <a:pt x="533" y="1064"/>
                  </a:cubicBezTo>
                  <a:cubicBezTo>
                    <a:pt x="508" y="1069"/>
                    <a:pt x="481" y="1072"/>
                    <a:pt x="450" y="1072"/>
                  </a:cubicBezTo>
                  <a:cubicBezTo>
                    <a:pt x="358" y="1075"/>
                    <a:pt x="286" y="1050"/>
                    <a:pt x="236" y="1002"/>
                  </a:cubicBezTo>
                  <a:cubicBezTo>
                    <a:pt x="189" y="952"/>
                    <a:pt x="164" y="880"/>
                    <a:pt x="164" y="783"/>
                  </a:cubicBezTo>
                  <a:cubicBezTo>
                    <a:pt x="164" y="391"/>
                    <a:pt x="164" y="391"/>
                    <a:pt x="164" y="391"/>
                  </a:cubicBezTo>
                  <a:cubicBezTo>
                    <a:pt x="0" y="391"/>
                    <a:pt x="0" y="391"/>
                    <a:pt x="0" y="391"/>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3" name="Freeform 5">
              <a:extLst>
                <a:ext uri="{FF2B5EF4-FFF2-40B4-BE49-F238E27FC236}">
                  <a16:creationId xmlns:a16="http://schemas.microsoft.com/office/drawing/2014/main" id="{633E555A-14A9-1646-9B39-62399E4762CD}"/>
                </a:ext>
              </a:extLst>
            </p:cNvPr>
            <p:cNvSpPr>
              <a:spLocks noChangeArrowheads="1"/>
            </p:cNvSpPr>
            <p:nvPr userDrawn="1"/>
          </p:nvSpPr>
          <p:spPr bwMode="auto">
            <a:xfrm>
              <a:off x="3186113" y="3143250"/>
              <a:ext cx="314325" cy="307975"/>
            </a:xfrm>
            <a:custGeom>
              <a:avLst/>
              <a:gdLst>
                <a:gd name="T0" fmla="*/ 433 w 873"/>
                <a:gd name="T1" fmla="*/ 0 h 857"/>
                <a:gd name="T2" fmla="*/ 433 w 873"/>
                <a:gd name="T3" fmla="*/ 0 h 857"/>
                <a:gd name="T4" fmla="*/ 611 w 873"/>
                <a:gd name="T5" fmla="*/ 33 h 857"/>
                <a:gd name="T6" fmla="*/ 750 w 873"/>
                <a:gd name="T7" fmla="*/ 125 h 857"/>
                <a:gd name="T8" fmla="*/ 839 w 873"/>
                <a:gd name="T9" fmla="*/ 261 h 857"/>
                <a:gd name="T10" fmla="*/ 872 w 873"/>
                <a:gd name="T11" fmla="*/ 428 h 857"/>
                <a:gd name="T12" fmla="*/ 839 w 873"/>
                <a:gd name="T13" fmla="*/ 597 h 857"/>
                <a:gd name="T14" fmla="*/ 753 w 873"/>
                <a:gd name="T15" fmla="*/ 733 h 857"/>
                <a:gd name="T16" fmla="*/ 614 w 873"/>
                <a:gd name="T17" fmla="*/ 825 h 857"/>
                <a:gd name="T18" fmla="*/ 433 w 873"/>
                <a:gd name="T19" fmla="*/ 856 h 857"/>
                <a:gd name="T20" fmla="*/ 256 w 873"/>
                <a:gd name="T21" fmla="*/ 825 h 857"/>
                <a:gd name="T22" fmla="*/ 117 w 873"/>
                <a:gd name="T23" fmla="*/ 733 h 857"/>
                <a:gd name="T24" fmla="*/ 31 w 873"/>
                <a:gd name="T25" fmla="*/ 597 h 857"/>
                <a:gd name="T26" fmla="*/ 0 w 873"/>
                <a:gd name="T27" fmla="*/ 428 h 857"/>
                <a:gd name="T28" fmla="*/ 31 w 873"/>
                <a:gd name="T29" fmla="*/ 261 h 857"/>
                <a:gd name="T30" fmla="*/ 120 w 873"/>
                <a:gd name="T31" fmla="*/ 125 h 857"/>
                <a:gd name="T32" fmla="*/ 256 w 873"/>
                <a:gd name="T33" fmla="*/ 33 h 857"/>
                <a:gd name="T34" fmla="*/ 433 w 873"/>
                <a:gd name="T35" fmla="*/ 0 h 857"/>
                <a:gd name="T36" fmla="*/ 433 w 873"/>
                <a:gd name="T37" fmla="*/ 161 h 857"/>
                <a:gd name="T38" fmla="*/ 433 w 873"/>
                <a:gd name="T39" fmla="*/ 161 h 857"/>
                <a:gd name="T40" fmla="*/ 325 w 873"/>
                <a:gd name="T41" fmla="*/ 181 h 857"/>
                <a:gd name="T42" fmla="*/ 245 w 873"/>
                <a:gd name="T43" fmla="*/ 242 h 857"/>
                <a:gd name="T44" fmla="*/ 195 w 873"/>
                <a:gd name="T45" fmla="*/ 328 h 857"/>
                <a:gd name="T46" fmla="*/ 175 w 873"/>
                <a:gd name="T47" fmla="*/ 430 h 857"/>
                <a:gd name="T48" fmla="*/ 195 w 873"/>
                <a:gd name="T49" fmla="*/ 533 h 857"/>
                <a:gd name="T50" fmla="*/ 245 w 873"/>
                <a:gd name="T51" fmla="*/ 617 h 857"/>
                <a:gd name="T52" fmla="*/ 325 w 873"/>
                <a:gd name="T53" fmla="*/ 675 h 857"/>
                <a:gd name="T54" fmla="*/ 433 w 873"/>
                <a:gd name="T55" fmla="*/ 697 h 857"/>
                <a:gd name="T56" fmla="*/ 542 w 873"/>
                <a:gd name="T57" fmla="*/ 675 h 857"/>
                <a:gd name="T58" fmla="*/ 625 w 873"/>
                <a:gd name="T59" fmla="*/ 617 h 857"/>
                <a:gd name="T60" fmla="*/ 675 w 873"/>
                <a:gd name="T61" fmla="*/ 533 h 857"/>
                <a:gd name="T62" fmla="*/ 694 w 873"/>
                <a:gd name="T63" fmla="*/ 430 h 857"/>
                <a:gd name="T64" fmla="*/ 675 w 873"/>
                <a:gd name="T65" fmla="*/ 328 h 857"/>
                <a:gd name="T66" fmla="*/ 622 w 873"/>
                <a:gd name="T67" fmla="*/ 242 h 857"/>
                <a:gd name="T68" fmla="*/ 539 w 873"/>
                <a:gd name="T69" fmla="*/ 181 h 857"/>
                <a:gd name="T70" fmla="*/ 433 w 873"/>
                <a:gd name="T71" fmla="*/ 161 h 857"/>
                <a:gd name="T72" fmla="*/ 433 w 873"/>
                <a:gd name="T73"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57">
                  <a:moveTo>
                    <a:pt x="433" y="0"/>
                  </a:moveTo>
                  <a:lnTo>
                    <a:pt x="433" y="0"/>
                  </a:lnTo>
                  <a:cubicBezTo>
                    <a:pt x="500" y="0"/>
                    <a:pt x="558" y="11"/>
                    <a:pt x="611" y="33"/>
                  </a:cubicBezTo>
                  <a:cubicBezTo>
                    <a:pt x="664" y="56"/>
                    <a:pt x="711" y="86"/>
                    <a:pt x="750" y="125"/>
                  </a:cubicBezTo>
                  <a:cubicBezTo>
                    <a:pt x="789" y="161"/>
                    <a:pt x="820" y="208"/>
                    <a:pt x="839" y="261"/>
                  </a:cubicBezTo>
                  <a:cubicBezTo>
                    <a:pt x="861" y="314"/>
                    <a:pt x="872" y="369"/>
                    <a:pt x="872" y="428"/>
                  </a:cubicBezTo>
                  <a:cubicBezTo>
                    <a:pt x="872" y="489"/>
                    <a:pt x="861" y="547"/>
                    <a:pt x="839" y="597"/>
                  </a:cubicBezTo>
                  <a:cubicBezTo>
                    <a:pt x="820" y="650"/>
                    <a:pt x="792" y="694"/>
                    <a:pt x="753" y="733"/>
                  </a:cubicBezTo>
                  <a:cubicBezTo>
                    <a:pt x="714" y="772"/>
                    <a:pt x="667" y="803"/>
                    <a:pt x="614" y="825"/>
                  </a:cubicBezTo>
                  <a:cubicBezTo>
                    <a:pt x="561" y="847"/>
                    <a:pt x="500" y="856"/>
                    <a:pt x="433" y="856"/>
                  </a:cubicBezTo>
                  <a:cubicBezTo>
                    <a:pt x="367" y="856"/>
                    <a:pt x="308" y="847"/>
                    <a:pt x="256" y="825"/>
                  </a:cubicBezTo>
                  <a:cubicBezTo>
                    <a:pt x="200" y="803"/>
                    <a:pt x="156" y="772"/>
                    <a:pt x="117" y="733"/>
                  </a:cubicBezTo>
                  <a:cubicBezTo>
                    <a:pt x="81" y="694"/>
                    <a:pt x="50" y="650"/>
                    <a:pt x="31" y="597"/>
                  </a:cubicBezTo>
                  <a:cubicBezTo>
                    <a:pt x="11" y="547"/>
                    <a:pt x="0" y="489"/>
                    <a:pt x="0" y="428"/>
                  </a:cubicBezTo>
                  <a:cubicBezTo>
                    <a:pt x="0" y="369"/>
                    <a:pt x="11" y="314"/>
                    <a:pt x="31" y="261"/>
                  </a:cubicBezTo>
                  <a:cubicBezTo>
                    <a:pt x="50" y="208"/>
                    <a:pt x="81" y="161"/>
                    <a:pt x="120" y="125"/>
                  </a:cubicBezTo>
                  <a:cubicBezTo>
                    <a:pt x="156" y="86"/>
                    <a:pt x="203" y="56"/>
                    <a:pt x="256" y="33"/>
                  </a:cubicBezTo>
                  <a:cubicBezTo>
                    <a:pt x="308" y="11"/>
                    <a:pt x="370" y="0"/>
                    <a:pt x="433" y="0"/>
                  </a:cubicBezTo>
                  <a:lnTo>
                    <a:pt x="433" y="161"/>
                  </a:lnTo>
                  <a:lnTo>
                    <a:pt x="433" y="161"/>
                  </a:lnTo>
                  <a:cubicBezTo>
                    <a:pt x="394" y="161"/>
                    <a:pt x="358" y="167"/>
                    <a:pt x="325" y="181"/>
                  </a:cubicBezTo>
                  <a:cubicBezTo>
                    <a:pt x="295" y="197"/>
                    <a:pt x="267" y="217"/>
                    <a:pt x="245" y="242"/>
                  </a:cubicBezTo>
                  <a:cubicBezTo>
                    <a:pt x="222" y="267"/>
                    <a:pt x="206" y="294"/>
                    <a:pt x="195" y="328"/>
                  </a:cubicBezTo>
                  <a:cubicBezTo>
                    <a:pt x="181" y="358"/>
                    <a:pt x="175" y="394"/>
                    <a:pt x="175" y="430"/>
                  </a:cubicBezTo>
                  <a:cubicBezTo>
                    <a:pt x="175" y="467"/>
                    <a:pt x="181" y="500"/>
                    <a:pt x="195" y="533"/>
                  </a:cubicBezTo>
                  <a:cubicBezTo>
                    <a:pt x="206" y="567"/>
                    <a:pt x="222" y="594"/>
                    <a:pt x="245" y="617"/>
                  </a:cubicBezTo>
                  <a:cubicBezTo>
                    <a:pt x="267" y="642"/>
                    <a:pt x="295" y="661"/>
                    <a:pt x="325" y="675"/>
                  </a:cubicBezTo>
                  <a:cubicBezTo>
                    <a:pt x="358" y="689"/>
                    <a:pt x="394" y="697"/>
                    <a:pt x="433" y="697"/>
                  </a:cubicBezTo>
                  <a:cubicBezTo>
                    <a:pt x="475" y="697"/>
                    <a:pt x="511" y="689"/>
                    <a:pt x="542" y="675"/>
                  </a:cubicBezTo>
                  <a:cubicBezTo>
                    <a:pt x="575" y="661"/>
                    <a:pt x="603" y="642"/>
                    <a:pt x="625" y="617"/>
                  </a:cubicBezTo>
                  <a:cubicBezTo>
                    <a:pt x="647" y="594"/>
                    <a:pt x="664" y="567"/>
                    <a:pt x="675" y="533"/>
                  </a:cubicBezTo>
                  <a:cubicBezTo>
                    <a:pt x="686" y="500"/>
                    <a:pt x="694" y="467"/>
                    <a:pt x="694" y="430"/>
                  </a:cubicBezTo>
                  <a:cubicBezTo>
                    <a:pt x="694" y="394"/>
                    <a:pt x="686" y="358"/>
                    <a:pt x="675" y="328"/>
                  </a:cubicBezTo>
                  <a:cubicBezTo>
                    <a:pt x="661" y="294"/>
                    <a:pt x="645" y="267"/>
                    <a:pt x="622" y="242"/>
                  </a:cubicBezTo>
                  <a:cubicBezTo>
                    <a:pt x="600" y="217"/>
                    <a:pt x="572" y="197"/>
                    <a:pt x="539" y="181"/>
                  </a:cubicBezTo>
                  <a:cubicBezTo>
                    <a:pt x="508" y="167"/>
                    <a:pt x="472" y="161"/>
                    <a:pt x="433" y="161"/>
                  </a:cubicBezTo>
                  <a:lnTo>
                    <a:pt x="433"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4" name="Freeform 6">
              <a:extLst>
                <a:ext uri="{FF2B5EF4-FFF2-40B4-BE49-F238E27FC236}">
                  <a16:creationId xmlns:a16="http://schemas.microsoft.com/office/drawing/2014/main" id="{8AC1C743-8C06-A242-AD0B-4890BAB80F8A}"/>
                </a:ext>
              </a:extLst>
            </p:cNvPr>
            <p:cNvSpPr>
              <a:spLocks noChangeArrowheads="1"/>
            </p:cNvSpPr>
            <p:nvPr userDrawn="1"/>
          </p:nvSpPr>
          <p:spPr bwMode="auto">
            <a:xfrm>
              <a:off x="3567113" y="3143250"/>
              <a:ext cx="476250" cy="301625"/>
            </a:xfrm>
            <a:custGeom>
              <a:avLst/>
              <a:gdLst>
                <a:gd name="T0" fmla="*/ 575 w 1321"/>
                <a:gd name="T1" fmla="*/ 839 h 840"/>
                <a:gd name="T2" fmla="*/ 575 w 1321"/>
                <a:gd name="T3" fmla="*/ 839 h 840"/>
                <a:gd name="T4" fmla="*/ 575 w 1321"/>
                <a:gd name="T5" fmla="*/ 386 h 840"/>
                <a:gd name="T6" fmla="*/ 561 w 1321"/>
                <a:gd name="T7" fmla="*/ 300 h 840"/>
                <a:gd name="T8" fmla="*/ 523 w 1321"/>
                <a:gd name="T9" fmla="*/ 228 h 840"/>
                <a:gd name="T10" fmla="*/ 461 w 1321"/>
                <a:gd name="T11" fmla="*/ 181 h 840"/>
                <a:gd name="T12" fmla="*/ 378 w 1321"/>
                <a:gd name="T13" fmla="*/ 161 h 840"/>
                <a:gd name="T14" fmla="*/ 295 w 1321"/>
                <a:gd name="T15" fmla="*/ 181 h 840"/>
                <a:gd name="T16" fmla="*/ 231 w 1321"/>
                <a:gd name="T17" fmla="*/ 228 h 840"/>
                <a:gd name="T18" fmla="*/ 189 w 1321"/>
                <a:gd name="T19" fmla="*/ 300 h 840"/>
                <a:gd name="T20" fmla="*/ 175 w 1321"/>
                <a:gd name="T21" fmla="*/ 386 h 840"/>
                <a:gd name="T22" fmla="*/ 175 w 1321"/>
                <a:gd name="T23" fmla="*/ 839 h 840"/>
                <a:gd name="T24" fmla="*/ 0 w 1321"/>
                <a:gd name="T25" fmla="*/ 839 h 840"/>
                <a:gd name="T26" fmla="*/ 0 w 1321"/>
                <a:gd name="T27" fmla="*/ 14 h 840"/>
                <a:gd name="T28" fmla="*/ 164 w 1321"/>
                <a:gd name="T29" fmla="*/ 14 h 840"/>
                <a:gd name="T30" fmla="*/ 175 w 1321"/>
                <a:gd name="T31" fmla="*/ 125 h 840"/>
                <a:gd name="T32" fmla="*/ 278 w 1321"/>
                <a:gd name="T33" fmla="*/ 28 h 840"/>
                <a:gd name="T34" fmla="*/ 411 w 1321"/>
                <a:gd name="T35" fmla="*/ 0 h 840"/>
                <a:gd name="T36" fmla="*/ 492 w 1321"/>
                <a:gd name="T37" fmla="*/ 8 h 840"/>
                <a:gd name="T38" fmla="*/ 564 w 1321"/>
                <a:gd name="T39" fmla="*/ 39 h 840"/>
                <a:gd name="T40" fmla="*/ 628 w 1321"/>
                <a:gd name="T41" fmla="*/ 89 h 840"/>
                <a:gd name="T42" fmla="*/ 675 w 1321"/>
                <a:gd name="T43" fmla="*/ 167 h 840"/>
                <a:gd name="T44" fmla="*/ 800 w 1321"/>
                <a:gd name="T45" fmla="*/ 39 h 840"/>
                <a:gd name="T46" fmla="*/ 964 w 1321"/>
                <a:gd name="T47" fmla="*/ 3 h 840"/>
                <a:gd name="T48" fmla="*/ 1231 w 1321"/>
                <a:gd name="T49" fmla="*/ 103 h 840"/>
                <a:gd name="T50" fmla="*/ 1320 w 1321"/>
                <a:gd name="T51" fmla="*/ 383 h 840"/>
                <a:gd name="T52" fmla="*/ 1320 w 1321"/>
                <a:gd name="T53" fmla="*/ 839 h 840"/>
                <a:gd name="T54" fmla="*/ 1142 w 1321"/>
                <a:gd name="T55" fmla="*/ 839 h 840"/>
                <a:gd name="T56" fmla="*/ 1142 w 1321"/>
                <a:gd name="T57" fmla="*/ 383 h 840"/>
                <a:gd name="T58" fmla="*/ 1131 w 1321"/>
                <a:gd name="T59" fmla="*/ 297 h 840"/>
                <a:gd name="T60" fmla="*/ 1095 w 1321"/>
                <a:gd name="T61" fmla="*/ 228 h 840"/>
                <a:gd name="T62" fmla="*/ 1039 w 1321"/>
                <a:gd name="T63" fmla="*/ 181 h 840"/>
                <a:gd name="T64" fmla="*/ 956 w 1321"/>
                <a:gd name="T65" fmla="*/ 164 h 840"/>
                <a:gd name="T66" fmla="*/ 873 w 1321"/>
                <a:gd name="T67" fmla="*/ 181 h 840"/>
                <a:gd name="T68" fmla="*/ 809 w 1321"/>
                <a:gd name="T69" fmla="*/ 228 h 840"/>
                <a:gd name="T70" fmla="*/ 767 w 1321"/>
                <a:gd name="T71" fmla="*/ 300 h 840"/>
                <a:gd name="T72" fmla="*/ 753 w 1321"/>
                <a:gd name="T73" fmla="*/ 386 h 840"/>
                <a:gd name="T74" fmla="*/ 753 w 1321"/>
                <a:gd name="T75" fmla="*/ 839 h 840"/>
                <a:gd name="T76" fmla="*/ 575 w 1321"/>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1" h="840">
                  <a:moveTo>
                    <a:pt x="575" y="839"/>
                  </a:moveTo>
                  <a:lnTo>
                    <a:pt x="575" y="839"/>
                  </a:lnTo>
                  <a:cubicBezTo>
                    <a:pt x="575" y="386"/>
                    <a:pt x="575" y="386"/>
                    <a:pt x="575" y="386"/>
                  </a:cubicBezTo>
                  <a:cubicBezTo>
                    <a:pt x="575" y="356"/>
                    <a:pt x="570" y="328"/>
                    <a:pt x="561" y="300"/>
                  </a:cubicBezTo>
                  <a:cubicBezTo>
                    <a:pt x="553" y="272"/>
                    <a:pt x="539" y="247"/>
                    <a:pt x="523" y="228"/>
                  </a:cubicBezTo>
                  <a:cubicBezTo>
                    <a:pt x="506" y="208"/>
                    <a:pt x="486" y="192"/>
                    <a:pt x="461" y="181"/>
                  </a:cubicBezTo>
                  <a:cubicBezTo>
                    <a:pt x="436" y="167"/>
                    <a:pt x="409" y="161"/>
                    <a:pt x="378" y="161"/>
                  </a:cubicBezTo>
                  <a:cubicBezTo>
                    <a:pt x="348" y="161"/>
                    <a:pt x="320" y="167"/>
                    <a:pt x="295" y="181"/>
                  </a:cubicBezTo>
                  <a:cubicBezTo>
                    <a:pt x="270" y="192"/>
                    <a:pt x="248" y="208"/>
                    <a:pt x="231" y="228"/>
                  </a:cubicBezTo>
                  <a:cubicBezTo>
                    <a:pt x="211" y="247"/>
                    <a:pt x="200" y="272"/>
                    <a:pt x="189" y="300"/>
                  </a:cubicBezTo>
                  <a:cubicBezTo>
                    <a:pt x="181" y="328"/>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198" y="78"/>
                    <a:pt x="234" y="47"/>
                    <a:pt x="278" y="28"/>
                  </a:cubicBezTo>
                  <a:cubicBezTo>
                    <a:pt x="323" y="11"/>
                    <a:pt x="367" y="0"/>
                    <a:pt x="411" y="0"/>
                  </a:cubicBezTo>
                  <a:cubicBezTo>
                    <a:pt x="439" y="0"/>
                    <a:pt x="464" y="3"/>
                    <a:pt x="492" y="8"/>
                  </a:cubicBezTo>
                  <a:cubicBezTo>
                    <a:pt x="517" y="14"/>
                    <a:pt x="542" y="25"/>
                    <a:pt x="564" y="39"/>
                  </a:cubicBezTo>
                  <a:cubicBezTo>
                    <a:pt x="589" y="50"/>
                    <a:pt x="609" y="69"/>
                    <a:pt x="628" y="89"/>
                  </a:cubicBezTo>
                  <a:cubicBezTo>
                    <a:pt x="647" y="111"/>
                    <a:pt x="661" y="136"/>
                    <a:pt x="675" y="167"/>
                  </a:cubicBezTo>
                  <a:cubicBezTo>
                    <a:pt x="709" y="106"/>
                    <a:pt x="750" y="64"/>
                    <a:pt x="800" y="39"/>
                  </a:cubicBezTo>
                  <a:cubicBezTo>
                    <a:pt x="850" y="14"/>
                    <a:pt x="906" y="3"/>
                    <a:pt x="964" y="3"/>
                  </a:cubicBezTo>
                  <a:cubicBezTo>
                    <a:pt x="1081" y="3"/>
                    <a:pt x="1170" y="36"/>
                    <a:pt x="1231" y="103"/>
                  </a:cubicBezTo>
                  <a:cubicBezTo>
                    <a:pt x="1289" y="172"/>
                    <a:pt x="1320" y="264"/>
                    <a:pt x="1320" y="383"/>
                  </a:cubicBezTo>
                  <a:cubicBezTo>
                    <a:pt x="1320" y="839"/>
                    <a:pt x="1320" y="839"/>
                    <a:pt x="1320" y="839"/>
                  </a:cubicBezTo>
                  <a:cubicBezTo>
                    <a:pt x="1142" y="839"/>
                    <a:pt x="1142" y="839"/>
                    <a:pt x="1142" y="839"/>
                  </a:cubicBezTo>
                  <a:cubicBezTo>
                    <a:pt x="1142" y="383"/>
                    <a:pt x="1142" y="383"/>
                    <a:pt x="1142" y="383"/>
                  </a:cubicBezTo>
                  <a:cubicBezTo>
                    <a:pt x="1142" y="353"/>
                    <a:pt x="1139" y="325"/>
                    <a:pt x="1131" y="297"/>
                  </a:cubicBezTo>
                  <a:cubicBezTo>
                    <a:pt x="1122" y="269"/>
                    <a:pt x="1111" y="247"/>
                    <a:pt x="1095" y="228"/>
                  </a:cubicBezTo>
                  <a:cubicBezTo>
                    <a:pt x="1081" y="206"/>
                    <a:pt x="1061" y="192"/>
                    <a:pt x="1039" y="181"/>
                  </a:cubicBezTo>
                  <a:cubicBezTo>
                    <a:pt x="1014" y="169"/>
                    <a:pt x="986" y="164"/>
                    <a:pt x="956" y="164"/>
                  </a:cubicBezTo>
                  <a:cubicBezTo>
                    <a:pt x="925" y="164"/>
                    <a:pt x="897" y="169"/>
                    <a:pt x="873" y="181"/>
                  </a:cubicBezTo>
                  <a:cubicBezTo>
                    <a:pt x="847" y="192"/>
                    <a:pt x="825" y="208"/>
                    <a:pt x="809" y="228"/>
                  </a:cubicBezTo>
                  <a:cubicBezTo>
                    <a:pt x="789" y="250"/>
                    <a:pt x="775" y="272"/>
                    <a:pt x="767" y="300"/>
                  </a:cubicBezTo>
                  <a:cubicBezTo>
                    <a:pt x="756" y="328"/>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5" name="Freeform 7">
              <a:extLst>
                <a:ext uri="{FF2B5EF4-FFF2-40B4-BE49-F238E27FC236}">
                  <a16:creationId xmlns:a16="http://schemas.microsoft.com/office/drawing/2014/main" id="{5F101907-6A73-F545-AD12-535715FB5425}"/>
                </a:ext>
              </a:extLst>
            </p:cNvPr>
            <p:cNvSpPr>
              <a:spLocks noChangeArrowheads="1"/>
            </p:cNvSpPr>
            <p:nvPr userDrawn="1"/>
          </p:nvSpPr>
          <p:spPr bwMode="auto">
            <a:xfrm>
              <a:off x="4105275" y="3141663"/>
              <a:ext cx="314325" cy="312737"/>
            </a:xfrm>
            <a:custGeom>
              <a:avLst/>
              <a:gdLst>
                <a:gd name="T0" fmla="*/ 864 w 874"/>
                <a:gd name="T1" fmla="*/ 498 h 868"/>
                <a:gd name="T2" fmla="*/ 864 w 874"/>
                <a:gd name="T3" fmla="*/ 498 h 868"/>
                <a:gd name="T4" fmla="*/ 181 w 874"/>
                <a:gd name="T5" fmla="*/ 498 h 868"/>
                <a:gd name="T6" fmla="*/ 267 w 874"/>
                <a:gd name="T7" fmla="*/ 650 h 868"/>
                <a:gd name="T8" fmla="*/ 456 w 874"/>
                <a:gd name="T9" fmla="*/ 706 h 868"/>
                <a:gd name="T10" fmla="*/ 592 w 874"/>
                <a:gd name="T11" fmla="*/ 684 h 868"/>
                <a:gd name="T12" fmla="*/ 700 w 874"/>
                <a:gd name="T13" fmla="*/ 617 h 868"/>
                <a:gd name="T14" fmla="*/ 814 w 874"/>
                <a:gd name="T15" fmla="*/ 725 h 868"/>
                <a:gd name="T16" fmla="*/ 739 w 874"/>
                <a:gd name="T17" fmla="*/ 786 h 868"/>
                <a:gd name="T18" fmla="*/ 650 w 874"/>
                <a:gd name="T19" fmla="*/ 831 h 868"/>
                <a:gd name="T20" fmla="*/ 553 w 874"/>
                <a:gd name="T21" fmla="*/ 859 h 868"/>
                <a:gd name="T22" fmla="*/ 453 w 874"/>
                <a:gd name="T23" fmla="*/ 867 h 868"/>
                <a:gd name="T24" fmla="*/ 267 w 874"/>
                <a:gd name="T25" fmla="*/ 836 h 868"/>
                <a:gd name="T26" fmla="*/ 123 w 874"/>
                <a:gd name="T27" fmla="*/ 748 h 868"/>
                <a:gd name="T28" fmla="*/ 31 w 874"/>
                <a:gd name="T29" fmla="*/ 609 h 868"/>
                <a:gd name="T30" fmla="*/ 0 w 874"/>
                <a:gd name="T31" fmla="*/ 431 h 868"/>
                <a:gd name="T32" fmla="*/ 31 w 874"/>
                <a:gd name="T33" fmla="*/ 256 h 868"/>
                <a:gd name="T34" fmla="*/ 123 w 874"/>
                <a:gd name="T35" fmla="*/ 120 h 868"/>
                <a:gd name="T36" fmla="*/ 261 w 874"/>
                <a:gd name="T37" fmla="*/ 31 h 868"/>
                <a:gd name="T38" fmla="*/ 442 w 874"/>
                <a:gd name="T39" fmla="*/ 0 h 868"/>
                <a:gd name="T40" fmla="*/ 628 w 874"/>
                <a:gd name="T41" fmla="*/ 31 h 868"/>
                <a:gd name="T42" fmla="*/ 767 w 874"/>
                <a:gd name="T43" fmla="*/ 125 h 868"/>
                <a:gd name="T44" fmla="*/ 850 w 874"/>
                <a:gd name="T45" fmla="*/ 278 h 868"/>
                <a:gd name="T46" fmla="*/ 864 w 874"/>
                <a:gd name="T47" fmla="*/ 498 h 868"/>
                <a:gd name="T48" fmla="*/ 187 w 874"/>
                <a:gd name="T49" fmla="*/ 353 h 868"/>
                <a:gd name="T50" fmla="*/ 187 w 874"/>
                <a:gd name="T51" fmla="*/ 353 h 868"/>
                <a:gd name="T52" fmla="*/ 695 w 874"/>
                <a:gd name="T53" fmla="*/ 353 h 868"/>
                <a:gd name="T54" fmla="*/ 620 w 874"/>
                <a:gd name="T55" fmla="*/ 203 h 868"/>
                <a:gd name="T56" fmla="*/ 448 w 874"/>
                <a:gd name="T57" fmla="*/ 153 h 868"/>
                <a:gd name="T58" fmla="*/ 278 w 874"/>
                <a:gd name="T59" fmla="*/ 203 h 868"/>
                <a:gd name="T60" fmla="*/ 187 w 874"/>
                <a:gd name="T61" fmla="*/ 353 h 868"/>
                <a:gd name="T62" fmla="*/ 864 w 874"/>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4" h="868">
                  <a:moveTo>
                    <a:pt x="864" y="498"/>
                  </a:moveTo>
                  <a:lnTo>
                    <a:pt x="864" y="498"/>
                  </a:lnTo>
                  <a:cubicBezTo>
                    <a:pt x="181" y="498"/>
                    <a:pt x="181" y="498"/>
                    <a:pt x="181" y="498"/>
                  </a:cubicBezTo>
                  <a:cubicBezTo>
                    <a:pt x="189" y="562"/>
                    <a:pt x="217" y="611"/>
                    <a:pt x="267" y="650"/>
                  </a:cubicBezTo>
                  <a:cubicBezTo>
                    <a:pt x="317" y="686"/>
                    <a:pt x="378" y="706"/>
                    <a:pt x="456" y="706"/>
                  </a:cubicBezTo>
                  <a:cubicBezTo>
                    <a:pt x="500" y="706"/>
                    <a:pt x="545" y="698"/>
                    <a:pt x="592" y="684"/>
                  </a:cubicBezTo>
                  <a:cubicBezTo>
                    <a:pt x="639" y="667"/>
                    <a:pt x="675" y="645"/>
                    <a:pt x="700" y="617"/>
                  </a:cubicBezTo>
                  <a:cubicBezTo>
                    <a:pt x="814" y="725"/>
                    <a:pt x="814" y="725"/>
                    <a:pt x="814" y="725"/>
                  </a:cubicBezTo>
                  <a:cubicBezTo>
                    <a:pt x="795" y="750"/>
                    <a:pt x="770" y="770"/>
                    <a:pt x="739" y="786"/>
                  </a:cubicBezTo>
                  <a:cubicBezTo>
                    <a:pt x="711" y="806"/>
                    <a:pt x="681" y="820"/>
                    <a:pt x="650" y="831"/>
                  </a:cubicBezTo>
                  <a:cubicBezTo>
                    <a:pt x="620" y="845"/>
                    <a:pt x="587" y="853"/>
                    <a:pt x="553" y="859"/>
                  </a:cubicBezTo>
                  <a:cubicBezTo>
                    <a:pt x="517" y="864"/>
                    <a:pt x="487" y="867"/>
                    <a:pt x="453" y="867"/>
                  </a:cubicBezTo>
                  <a:cubicBezTo>
                    <a:pt x="384" y="867"/>
                    <a:pt x="323" y="856"/>
                    <a:pt x="267" y="836"/>
                  </a:cubicBezTo>
                  <a:cubicBezTo>
                    <a:pt x="209" y="814"/>
                    <a:pt x="161" y="786"/>
                    <a:pt x="123" y="748"/>
                  </a:cubicBezTo>
                  <a:cubicBezTo>
                    <a:pt x="84" y="709"/>
                    <a:pt x="53" y="664"/>
                    <a:pt x="31" y="609"/>
                  </a:cubicBezTo>
                  <a:cubicBezTo>
                    <a:pt x="12" y="556"/>
                    <a:pt x="0" y="495"/>
                    <a:pt x="0" y="431"/>
                  </a:cubicBezTo>
                  <a:cubicBezTo>
                    <a:pt x="0" y="367"/>
                    <a:pt x="12" y="309"/>
                    <a:pt x="31" y="256"/>
                  </a:cubicBezTo>
                  <a:cubicBezTo>
                    <a:pt x="53" y="203"/>
                    <a:pt x="84" y="159"/>
                    <a:pt x="123" y="120"/>
                  </a:cubicBezTo>
                  <a:cubicBezTo>
                    <a:pt x="161" y="84"/>
                    <a:pt x="209" y="53"/>
                    <a:pt x="261" y="31"/>
                  </a:cubicBezTo>
                  <a:cubicBezTo>
                    <a:pt x="314" y="12"/>
                    <a:pt x="375" y="0"/>
                    <a:pt x="442" y="0"/>
                  </a:cubicBezTo>
                  <a:cubicBezTo>
                    <a:pt x="509" y="0"/>
                    <a:pt x="573" y="12"/>
                    <a:pt x="628" y="31"/>
                  </a:cubicBezTo>
                  <a:cubicBezTo>
                    <a:pt x="681" y="53"/>
                    <a:pt x="728" y="84"/>
                    <a:pt x="767" y="125"/>
                  </a:cubicBezTo>
                  <a:cubicBezTo>
                    <a:pt x="806" y="164"/>
                    <a:pt x="834" y="217"/>
                    <a:pt x="850" y="278"/>
                  </a:cubicBezTo>
                  <a:cubicBezTo>
                    <a:pt x="867" y="342"/>
                    <a:pt x="873" y="414"/>
                    <a:pt x="864" y="498"/>
                  </a:cubicBezTo>
                  <a:lnTo>
                    <a:pt x="187" y="353"/>
                  </a:lnTo>
                  <a:lnTo>
                    <a:pt x="187" y="353"/>
                  </a:lnTo>
                  <a:cubicBezTo>
                    <a:pt x="695" y="353"/>
                    <a:pt x="695" y="353"/>
                    <a:pt x="695" y="353"/>
                  </a:cubicBezTo>
                  <a:cubicBezTo>
                    <a:pt x="689" y="287"/>
                    <a:pt x="664" y="236"/>
                    <a:pt x="620" y="203"/>
                  </a:cubicBezTo>
                  <a:cubicBezTo>
                    <a:pt x="575" y="170"/>
                    <a:pt x="517" y="153"/>
                    <a:pt x="448" y="153"/>
                  </a:cubicBezTo>
                  <a:cubicBezTo>
                    <a:pt x="381" y="153"/>
                    <a:pt x="325" y="170"/>
                    <a:pt x="278" y="203"/>
                  </a:cubicBezTo>
                  <a:cubicBezTo>
                    <a:pt x="231" y="236"/>
                    <a:pt x="200" y="287"/>
                    <a:pt x="187"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6" name="Freeform 8">
              <a:extLst>
                <a:ext uri="{FF2B5EF4-FFF2-40B4-BE49-F238E27FC236}">
                  <a16:creationId xmlns:a16="http://schemas.microsoft.com/office/drawing/2014/main" id="{59D68871-7758-9741-B929-AFB70AFABA59}"/>
                </a:ext>
              </a:extLst>
            </p:cNvPr>
            <p:cNvSpPr>
              <a:spLocks noChangeArrowheads="1"/>
            </p:cNvSpPr>
            <p:nvPr userDrawn="1"/>
          </p:nvSpPr>
          <p:spPr bwMode="auto">
            <a:xfrm>
              <a:off x="4481513" y="3141663"/>
              <a:ext cx="227012" cy="303212"/>
            </a:xfrm>
            <a:custGeom>
              <a:avLst/>
              <a:gdLst>
                <a:gd name="T0" fmla="*/ 164 w 631"/>
                <a:gd name="T1" fmla="*/ 20 h 843"/>
                <a:gd name="T2" fmla="*/ 164 w 631"/>
                <a:gd name="T3" fmla="*/ 20 h 843"/>
                <a:gd name="T4" fmla="*/ 175 w 631"/>
                <a:gd name="T5" fmla="*/ 128 h 843"/>
                <a:gd name="T6" fmla="*/ 289 w 631"/>
                <a:gd name="T7" fmla="*/ 25 h 843"/>
                <a:gd name="T8" fmla="*/ 422 w 631"/>
                <a:gd name="T9" fmla="*/ 0 h 843"/>
                <a:gd name="T10" fmla="*/ 539 w 631"/>
                <a:gd name="T11" fmla="*/ 20 h 843"/>
                <a:gd name="T12" fmla="*/ 630 w 631"/>
                <a:gd name="T13" fmla="*/ 70 h 843"/>
                <a:gd name="T14" fmla="*/ 550 w 631"/>
                <a:gd name="T15" fmla="*/ 222 h 843"/>
                <a:gd name="T16" fmla="*/ 486 w 631"/>
                <a:gd name="T17" fmla="*/ 184 h 843"/>
                <a:gd name="T18" fmla="*/ 402 w 631"/>
                <a:gd name="T19" fmla="*/ 172 h 843"/>
                <a:gd name="T20" fmla="*/ 316 w 631"/>
                <a:gd name="T21" fmla="*/ 186 h 843"/>
                <a:gd name="T22" fmla="*/ 244 w 631"/>
                <a:gd name="T23" fmla="*/ 228 h 843"/>
                <a:gd name="T24" fmla="*/ 194 w 631"/>
                <a:gd name="T25" fmla="*/ 297 h 843"/>
                <a:gd name="T26" fmla="*/ 175 w 631"/>
                <a:gd name="T27" fmla="*/ 397 h 843"/>
                <a:gd name="T28" fmla="*/ 175 w 631"/>
                <a:gd name="T29" fmla="*/ 842 h 843"/>
                <a:gd name="T30" fmla="*/ 0 w 631"/>
                <a:gd name="T31" fmla="*/ 842 h 843"/>
                <a:gd name="T32" fmla="*/ 0 w 631"/>
                <a:gd name="T33" fmla="*/ 20 h 843"/>
                <a:gd name="T34" fmla="*/ 164 w 631"/>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1" h="843">
                  <a:moveTo>
                    <a:pt x="164" y="20"/>
                  </a:moveTo>
                  <a:lnTo>
                    <a:pt x="164" y="20"/>
                  </a:lnTo>
                  <a:cubicBezTo>
                    <a:pt x="175" y="128"/>
                    <a:pt x="175" y="128"/>
                    <a:pt x="175" y="128"/>
                  </a:cubicBezTo>
                  <a:cubicBezTo>
                    <a:pt x="205" y="75"/>
                    <a:pt x="244" y="42"/>
                    <a:pt x="289" y="25"/>
                  </a:cubicBezTo>
                  <a:cubicBezTo>
                    <a:pt x="333" y="9"/>
                    <a:pt x="378" y="0"/>
                    <a:pt x="422" y="0"/>
                  </a:cubicBezTo>
                  <a:cubicBezTo>
                    <a:pt x="464" y="0"/>
                    <a:pt x="502" y="9"/>
                    <a:pt x="539" y="20"/>
                  </a:cubicBezTo>
                  <a:cubicBezTo>
                    <a:pt x="577" y="34"/>
                    <a:pt x="608" y="50"/>
                    <a:pt x="630" y="70"/>
                  </a:cubicBezTo>
                  <a:cubicBezTo>
                    <a:pt x="550" y="222"/>
                    <a:pt x="550" y="222"/>
                    <a:pt x="550" y="222"/>
                  </a:cubicBezTo>
                  <a:cubicBezTo>
                    <a:pt x="530" y="206"/>
                    <a:pt x="508" y="192"/>
                    <a:pt x="486" y="184"/>
                  </a:cubicBezTo>
                  <a:cubicBezTo>
                    <a:pt x="464" y="175"/>
                    <a:pt x="436" y="172"/>
                    <a:pt x="402" y="172"/>
                  </a:cubicBezTo>
                  <a:cubicBezTo>
                    <a:pt x="372" y="172"/>
                    <a:pt x="341" y="175"/>
                    <a:pt x="316" y="186"/>
                  </a:cubicBezTo>
                  <a:cubicBezTo>
                    <a:pt x="289" y="195"/>
                    <a:pt x="264" y="209"/>
                    <a:pt x="244" y="228"/>
                  </a:cubicBezTo>
                  <a:cubicBezTo>
                    <a:pt x="222" y="245"/>
                    <a:pt x="205" y="270"/>
                    <a:pt x="194" y="297"/>
                  </a:cubicBezTo>
                  <a:cubicBezTo>
                    <a:pt x="180" y="325"/>
                    <a:pt x="175" y="359"/>
                    <a:pt x="175" y="397"/>
                  </a:cubicBezTo>
                  <a:cubicBezTo>
                    <a:pt x="175" y="842"/>
                    <a:pt x="175" y="842"/>
                    <a:pt x="175"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7" name="Freeform 9">
              <a:extLst>
                <a:ext uri="{FF2B5EF4-FFF2-40B4-BE49-F238E27FC236}">
                  <a16:creationId xmlns:a16="http://schemas.microsoft.com/office/drawing/2014/main" id="{F088275A-B2B5-3D4D-BA7A-7EABCE8F3F97}"/>
                </a:ext>
              </a:extLst>
            </p:cNvPr>
            <p:cNvSpPr>
              <a:spLocks noChangeArrowheads="1"/>
            </p:cNvSpPr>
            <p:nvPr userDrawn="1"/>
          </p:nvSpPr>
          <p:spPr bwMode="auto">
            <a:xfrm>
              <a:off x="4872038" y="3141663"/>
              <a:ext cx="314325" cy="312737"/>
            </a:xfrm>
            <a:custGeom>
              <a:avLst/>
              <a:gdLst>
                <a:gd name="T0" fmla="*/ 863 w 872"/>
                <a:gd name="T1" fmla="*/ 498 h 868"/>
                <a:gd name="T2" fmla="*/ 863 w 872"/>
                <a:gd name="T3" fmla="*/ 498 h 868"/>
                <a:gd name="T4" fmla="*/ 183 w 872"/>
                <a:gd name="T5" fmla="*/ 498 h 868"/>
                <a:gd name="T6" fmla="*/ 266 w 872"/>
                <a:gd name="T7" fmla="*/ 650 h 868"/>
                <a:gd name="T8" fmla="*/ 458 w 872"/>
                <a:gd name="T9" fmla="*/ 706 h 868"/>
                <a:gd name="T10" fmla="*/ 590 w 872"/>
                <a:gd name="T11" fmla="*/ 684 h 868"/>
                <a:gd name="T12" fmla="*/ 699 w 872"/>
                <a:gd name="T13" fmla="*/ 617 h 868"/>
                <a:gd name="T14" fmla="*/ 815 w 872"/>
                <a:gd name="T15" fmla="*/ 725 h 868"/>
                <a:gd name="T16" fmla="*/ 740 w 872"/>
                <a:gd name="T17" fmla="*/ 786 h 868"/>
                <a:gd name="T18" fmla="*/ 649 w 872"/>
                <a:gd name="T19" fmla="*/ 831 h 868"/>
                <a:gd name="T20" fmla="*/ 551 w 872"/>
                <a:gd name="T21" fmla="*/ 859 h 868"/>
                <a:gd name="T22" fmla="*/ 452 w 872"/>
                <a:gd name="T23" fmla="*/ 867 h 868"/>
                <a:gd name="T24" fmla="*/ 266 w 872"/>
                <a:gd name="T25" fmla="*/ 836 h 868"/>
                <a:gd name="T26" fmla="*/ 122 w 872"/>
                <a:gd name="T27" fmla="*/ 748 h 868"/>
                <a:gd name="T28" fmla="*/ 30 w 872"/>
                <a:gd name="T29" fmla="*/ 609 h 868"/>
                <a:gd name="T30" fmla="*/ 0 w 872"/>
                <a:gd name="T31" fmla="*/ 431 h 868"/>
                <a:gd name="T32" fmla="*/ 30 w 872"/>
                <a:gd name="T33" fmla="*/ 256 h 868"/>
                <a:gd name="T34" fmla="*/ 122 w 872"/>
                <a:gd name="T35" fmla="*/ 120 h 868"/>
                <a:gd name="T36" fmla="*/ 261 w 872"/>
                <a:gd name="T37" fmla="*/ 31 h 868"/>
                <a:gd name="T38" fmla="*/ 441 w 872"/>
                <a:gd name="T39" fmla="*/ 0 h 868"/>
                <a:gd name="T40" fmla="*/ 626 w 872"/>
                <a:gd name="T41" fmla="*/ 31 h 868"/>
                <a:gd name="T42" fmla="*/ 765 w 872"/>
                <a:gd name="T43" fmla="*/ 125 h 868"/>
                <a:gd name="T44" fmla="*/ 849 w 872"/>
                <a:gd name="T45" fmla="*/ 278 h 868"/>
                <a:gd name="T46" fmla="*/ 863 w 872"/>
                <a:gd name="T47" fmla="*/ 498 h 868"/>
                <a:gd name="T48" fmla="*/ 186 w 872"/>
                <a:gd name="T49" fmla="*/ 353 h 868"/>
                <a:gd name="T50" fmla="*/ 186 w 872"/>
                <a:gd name="T51" fmla="*/ 353 h 868"/>
                <a:gd name="T52" fmla="*/ 696 w 872"/>
                <a:gd name="T53" fmla="*/ 353 h 868"/>
                <a:gd name="T54" fmla="*/ 621 w 872"/>
                <a:gd name="T55" fmla="*/ 203 h 868"/>
                <a:gd name="T56" fmla="*/ 447 w 872"/>
                <a:gd name="T57" fmla="*/ 153 h 868"/>
                <a:gd name="T58" fmla="*/ 278 w 872"/>
                <a:gd name="T59" fmla="*/ 203 h 868"/>
                <a:gd name="T60" fmla="*/ 186 w 872"/>
                <a:gd name="T61" fmla="*/ 353 h 868"/>
                <a:gd name="T62" fmla="*/ 863 w 872"/>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2" h="868">
                  <a:moveTo>
                    <a:pt x="863" y="498"/>
                  </a:moveTo>
                  <a:lnTo>
                    <a:pt x="863" y="498"/>
                  </a:lnTo>
                  <a:cubicBezTo>
                    <a:pt x="183" y="498"/>
                    <a:pt x="183" y="498"/>
                    <a:pt x="183" y="498"/>
                  </a:cubicBezTo>
                  <a:cubicBezTo>
                    <a:pt x="189" y="562"/>
                    <a:pt x="219" y="611"/>
                    <a:pt x="266" y="650"/>
                  </a:cubicBezTo>
                  <a:cubicBezTo>
                    <a:pt x="316" y="686"/>
                    <a:pt x="380" y="706"/>
                    <a:pt x="458" y="706"/>
                  </a:cubicBezTo>
                  <a:cubicBezTo>
                    <a:pt x="499" y="706"/>
                    <a:pt x="543" y="698"/>
                    <a:pt x="590" y="684"/>
                  </a:cubicBezTo>
                  <a:cubicBezTo>
                    <a:pt x="638" y="667"/>
                    <a:pt x="674" y="645"/>
                    <a:pt x="699" y="617"/>
                  </a:cubicBezTo>
                  <a:cubicBezTo>
                    <a:pt x="815" y="725"/>
                    <a:pt x="815" y="725"/>
                    <a:pt x="815" y="725"/>
                  </a:cubicBezTo>
                  <a:cubicBezTo>
                    <a:pt x="793" y="750"/>
                    <a:pt x="768" y="770"/>
                    <a:pt x="740" y="786"/>
                  </a:cubicBezTo>
                  <a:cubicBezTo>
                    <a:pt x="710" y="806"/>
                    <a:pt x="682" y="820"/>
                    <a:pt x="649" y="831"/>
                  </a:cubicBezTo>
                  <a:cubicBezTo>
                    <a:pt x="618" y="845"/>
                    <a:pt x="585" y="853"/>
                    <a:pt x="551" y="859"/>
                  </a:cubicBezTo>
                  <a:cubicBezTo>
                    <a:pt x="518" y="864"/>
                    <a:pt x="485" y="867"/>
                    <a:pt x="452" y="867"/>
                  </a:cubicBezTo>
                  <a:cubicBezTo>
                    <a:pt x="383" y="867"/>
                    <a:pt x="322" y="856"/>
                    <a:pt x="266" y="836"/>
                  </a:cubicBezTo>
                  <a:cubicBezTo>
                    <a:pt x="211" y="814"/>
                    <a:pt x="161" y="786"/>
                    <a:pt x="122" y="748"/>
                  </a:cubicBezTo>
                  <a:cubicBezTo>
                    <a:pt x="83" y="709"/>
                    <a:pt x="53" y="664"/>
                    <a:pt x="30" y="609"/>
                  </a:cubicBezTo>
                  <a:cubicBezTo>
                    <a:pt x="11" y="556"/>
                    <a:pt x="0" y="495"/>
                    <a:pt x="0" y="431"/>
                  </a:cubicBezTo>
                  <a:cubicBezTo>
                    <a:pt x="0" y="367"/>
                    <a:pt x="11" y="309"/>
                    <a:pt x="30" y="256"/>
                  </a:cubicBezTo>
                  <a:cubicBezTo>
                    <a:pt x="53" y="203"/>
                    <a:pt x="83" y="159"/>
                    <a:pt x="122" y="120"/>
                  </a:cubicBezTo>
                  <a:cubicBezTo>
                    <a:pt x="161" y="84"/>
                    <a:pt x="208" y="53"/>
                    <a:pt x="261" y="31"/>
                  </a:cubicBezTo>
                  <a:cubicBezTo>
                    <a:pt x="316" y="12"/>
                    <a:pt x="375" y="0"/>
                    <a:pt x="441" y="0"/>
                  </a:cubicBezTo>
                  <a:cubicBezTo>
                    <a:pt x="510" y="0"/>
                    <a:pt x="571" y="12"/>
                    <a:pt x="626" y="31"/>
                  </a:cubicBezTo>
                  <a:cubicBezTo>
                    <a:pt x="682" y="53"/>
                    <a:pt x="726" y="84"/>
                    <a:pt x="765" y="125"/>
                  </a:cubicBezTo>
                  <a:cubicBezTo>
                    <a:pt x="804" y="164"/>
                    <a:pt x="832" y="217"/>
                    <a:pt x="849" y="278"/>
                  </a:cubicBezTo>
                  <a:cubicBezTo>
                    <a:pt x="868" y="342"/>
                    <a:pt x="871" y="414"/>
                    <a:pt x="863" y="498"/>
                  </a:cubicBezTo>
                  <a:lnTo>
                    <a:pt x="186" y="353"/>
                  </a:lnTo>
                  <a:lnTo>
                    <a:pt x="186" y="353"/>
                  </a:lnTo>
                  <a:cubicBezTo>
                    <a:pt x="696" y="353"/>
                    <a:pt x="696" y="353"/>
                    <a:pt x="696" y="353"/>
                  </a:cubicBezTo>
                  <a:cubicBezTo>
                    <a:pt x="690" y="287"/>
                    <a:pt x="663" y="236"/>
                    <a:pt x="621" y="203"/>
                  </a:cubicBezTo>
                  <a:cubicBezTo>
                    <a:pt x="577" y="170"/>
                    <a:pt x="518" y="153"/>
                    <a:pt x="447" y="153"/>
                  </a:cubicBezTo>
                  <a:cubicBezTo>
                    <a:pt x="380" y="153"/>
                    <a:pt x="325" y="170"/>
                    <a:pt x="278" y="203"/>
                  </a:cubicBezTo>
                  <a:cubicBezTo>
                    <a:pt x="230" y="236"/>
                    <a:pt x="200" y="287"/>
                    <a:pt x="186" y="353"/>
                  </a:cubicBezTo>
                  <a:lnTo>
                    <a:pt x="863"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8" name="Freeform 10">
              <a:extLst>
                <a:ext uri="{FF2B5EF4-FFF2-40B4-BE49-F238E27FC236}">
                  <a16:creationId xmlns:a16="http://schemas.microsoft.com/office/drawing/2014/main" id="{166B0722-50E2-E342-900C-BA0A0A98A4F8}"/>
                </a:ext>
              </a:extLst>
            </p:cNvPr>
            <p:cNvSpPr>
              <a:spLocks noChangeArrowheads="1"/>
            </p:cNvSpPr>
            <p:nvPr userDrawn="1"/>
          </p:nvSpPr>
          <p:spPr bwMode="auto">
            <a:xfrm>
              <a:off x="5205413" y="3149600"/>
              <a:ext cx="301625" cy="296863"/>
            </a:xfrm>
            <a:custGeom>
              <a:avLst/>
              <a:gdLst>
                <a:gd name="T0" fmla="*/ 606 w 837"/>
                <a:gd name="T1" fmla="*/ 0 h 823"/>
                <a:gd name="T2" fmla="*/ 820 w 837"/>
                <a:gd name="T3" fmla="*/ 0 h 823"/>
                <a:gd name="T4" fmla="*/ 820 w 837"/>
                <a:gd name="T5" fmla="*/ 5 h 823"/>
                <a:gd name="T6" fmla="*/ 536 w 837"/>
                <a:gd name="T7" fmla="*/ 402 h 823"/>
                <a:gd name="T8" fmla="*/ 836 w 837"/>
                <a:gd name="T9" fmla="*/ 819 h 823"/>
                <a:gd name="T10" fmla="*/ 836 w 837"/>
                <a:gd name="T11" fmla="*/ 822 h 823"/>
                <a:gd name="T12" fmla="*/ 625 w 837"/>
                <a:gd name="T13" fmla="*/ 822 h 823"/>
                <a:gd name="T14" fmla="*/ 420 w 837"/>
                <a:gd name="T15" fmla="*/ 525 h 823"/>
                <a:gd name="T16" fmla="*/ 212 w 837"/>
                <a:gd name="T17" fmla="*/ 822 h 823"/>
                <a:gd name="T18" fmla="*/ 0 w 837"/>
                <a:gd name="T19" fmla="*/ 822 h 823"/>
                <a:gd name="T20" fmla="*/ 0 w 837"/>
                <a:gd name="T21" fmla="*/ 819 h 823"/>
                <a:gd name="T22" fmla="*/ 303 w 837"/>
                <a:gd name="T23" fmla="*/ 402 h 823"/>
                <a:gd name="T24" fmla="*/ 20 w 837"/>
                <a:gd name="T25" fmla="*/ 5 h 823"/>
                <a:gd name="T26" fmla="*/ 20 w 837"/>
                <a:gd name="T27" fmla="*/ 0 h 823"/>
                <a:gd name="T28" fmla="*/ 231 w 837"/>
                <a:gd name="T29" fmla="*/ 0 h 823"/>
                <a:gd name="T30" fmla="*/ 420 w 837"/>
                <a:gd name="T31" fmla="*/ 294 h 823"/>
                <a:gd name="T32" fmla="*/ 606 w 837"/>
                <a:gd name="T33"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7" h="823">
                  <a:moveTo>
                    <a:pt x="606" y="0"/>
                  </a:moveTo>
                  <a:lnTo>
                    <a:pt x="820" y="0"/>
                  </a:lnTo>
                  <a:lnTo>
                    <a:pt x="820" y="5"/>
                  </a:lnTo>
                  <a:lnTo>
                    <a:pt x="536" y="402"/>
                  </a:lnTo>
                  <a:lnTo>
                    <a:pt x="836" y="819"/>
                  </a:lnTo>
                  <a:lnTo>
                    <a:pt x="836" y="822"/>
                  </a:lnTo>
                  <a:lnTo>
                    <a:pt x="625" y="822"/>
                  </a:lnTo>
                  <a:lnTo>
                    <a:pt x="420" y="525"/>
                  </a:lnTo>
                  <a:lnTo>
                    <a:pt x="212" y="822"/>
                  </a:lnTo>
                  <a:lnTo>
                    <a:pt x="0" y="822"/>
                  </a:lnTo>
                  <a:lnTo>
                    <a:pt x="0" y="819"/>
                  </a:lnTo>
                  <a:lnTo>
                    <a:pt x="303" y="402"/>
                  </a:lnTo>
                  <a:lnTo>
                    <a:pt x="20" y="5"/>
                  </a:lnTo>
                  <a:lnTo>
                    <a:pt x="20" y="0"/>
                  </a:lnTo>
                  <a:lnTo>
                    <a:pt x="231" y="0"/>
                  </a:lnTo>
                  <a:lnTo>
                    <a:pt x="420" y="294"/>
                  </a:lnTo>
                  <a:lnTo>
                    <a:pt x="60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9" name="Freeform 11">
              <a:extLst>
                <a:ext uri="{FF2B5EF4-FFF2-40B4-BE49-F238E27FC236}">
                  <a16:creationId xmlns:a16="http://schemas.microsoft.com/office/drawing/2014/main" id="{4F9000D9-18C8-CF47-B624-BA0A83650CC9}"/>
                </a:ext>
              </a:extLst>
            </p:cNvPr>
            <p:cNvSpPr>
              <a:spLocks noChangeArrowheads="1"/>
            </p:cNvSpPr>
            <p:nvPr userDrawn="1"/>
          </p:nvSpPr>
          <p:spPr bwMode="auto">
            <a:xfrm>
              <a:off x="5557838" y="3143250"/>
              <a:ext cx="323850" cy="439738"/>
            </a:xfrm>
            <a:custGeom>
              <a:avLst/>
              <a:gdLst>
                <a:gd name="T0" fmla="*/ 0 w 898"/>
                <a:gd name="T1" fmla="*/ 1221 h 1222"/>
                <a:gd name="T2" fmla="*/ 0 w 898"/>
                <a:gd name="T3" fmla="*/ 1221 h 1222"/>
                <a:gd name="T4" fmla="*/ 0 w 898"/>
                <a:gd name="T5" fmla="*/ 17 h 1222"/>
                <a:gd name="T6" fmla="*/ 164 w 898"/>
                <a:gd name="T7" fmla="*/ 17 h 1222"/>
                <a:gd name="T8" fmla="*/ 175 w 898"/>
                <a:gd name="T9" fmla="*/ 150 h 1222"/>
                <a:gd name="T10" fmla="*/ 306 w 898"/>
                <a:gd name="T11" fmla="*/ 36 h 1222"/>
                <a:gd name="T12" fmla="*/ 472 w 898"/>
                <a:gd name="T13" fmla="*/ 0 h 1222"/>
                <a:gd name="T14" fmla="*/ 645 w 898"/>
                <a:gd name="T15" fmla="*/ 33 h 1222"/>
                <a:gd name="T16" fmla="*/ 781 w 898"/>
                <a:gd name="T17" fmla="*/ 122 h 1222"/>
                <a:gd name="T18" fmla="*/ 867 w 898"/>
                <a:gd name="T19" fmla="*/ 256 h 1222"/>
                <a:gd name="T20" fmla="*/ 897 w 898"/>
                <a:gd name="T21" fmla="*/ 428 h 1222"/>
                <a:gd name="T22" fmla="*/ 867 w 898"/>
                <a:gd name="T23" fmla="*/ 600 h 1222"/>
                <a:gd name="T24" fmla="*/ 783 w 898"/>
                <a:gd name="T25" fmla="*/ 736 h 1222"/>
                <a:gd name="T26" fmla="*/ 650 w 898"/>
                <a:gd name="T27" fmla="*/ 828 h 1222"/>
                <a:gd name="T28" fmla="*/ 472 w 898"/>
                <a:gd name="T29" fmla="*/ 858 h 1222"/>
                <a:gd name="T30" fmla="*/ 392 w 898"/>
                <a:gd name="T31" fmla="*/ 850 h 1222"/>
                <a:gd name="T32" fmla="*/ 308 w 898"/>
                <a:gd name="T33" fmla="*/ 828 h 1222"/>
                <a:gd name="T34" fmla="*/ 233 w 898"/>
                <a:gd name="T35" fmla="*/ 786 h 1222"/>
                <a:gd name="T36" fmla="*/ 175 w 898"/>
                <a:gd name="T37" fmla="*/ 719 h 1222"/>
                <a:gd name="T38" fmla="*/ 175 w 898"/>
                <a:gd name="T39" fmla="*/ 1221 h 1222"/>
                <a:gd name="T40" fmla="*/ 0 w 898"/>
                <a:gd name="T41" fmla="*/ 1221 h 1222"/>
                <a:gd name="T42" fmla="*/ 456 w 898"/>
                <a:gd name="T43" fmla="*/ 692 h 1222"/>
                <a:gd name="T44" fmla="*/ 456 w 898"/>
                <a:gd name="T45" fmla="*/ 692 h 1222"/>
                <a:gd name="T46" fmla="*/ 561 w 898"/>
                <a:gd name="T47" fmla="*/ 672 h 1222"/>
                <a:gd name="T48" fmla="*/ 647 w 898"/>
                <a:gd name="T49" fmla="*/ 617 h 1222"/>
                <a:gd name="T50" fmla="*/ 703 w 898"/>
                <a:gd name="T51" fmla="*/ 536 h 1222"/>
                <a:gd name="T52" fmla="*/ 722 w 898"/>
                <a:gd name="T53" fmla="*/ 428 h 1222"/>
                <a:gd name="T54" fmla="*/ 650 w 898"/>
                <a:gd name="T55" fmla="*/ 239 h 1222"/>
                <a:gd name="T56" fmla="*/ 456 w 898"/>
                <a:gd name="T57" fmla="*/ 167 h 1222"/>
                <a:gd name="T58" fmla="*/ 345 w 898"/>
                <a:gd name="T59" fmla="*/ 186 h 1222"/>
                <a:gd name="T60" fmla="*/ 261 w 898"/>
                <a:gd name="T61" fmla="*/ 242 h 1222"/>
                <a:gd name="T62" fmla="*/ 208 w 898"/>
                <a:gd name="T63" fmla="*/ 325 h 1222"/>
                <a:gd name="T64" fmla="*/ 192 w 898"/>
                <a:gd name="T65" fmla="*/ 428 h 1222"/>
                <a:gd name="T66" fmla="*/ 211 w 898"/>
                <a:gd name="T67" fmla="*/ 530 h 1222"/>
                <a:gd name="T68" fmla="*/ 264 w 898"/>
                <a:gd name="T69" fmla="*/ 617 h 1222"/>
                <a:gd name="T70" fmla="*/ 347 w 898"/>
                <a:gd name="T71" fmla="*/ 672 h 1222"/>
                <a:gd name="T72" fmla="*/ 456 w 898"/>
                <a:gd name="T73" fmla="*/ 69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8" h="1222">
                  <a:moveTo>
                    <a:pt x="0" y="1221"/>
                  </a:moveTo>
                  <a:lnTo>
                    <a:pt x="0" y="1221"/>
                  </a:lnTo>
                  <a:cubicBezTo>
                    <a:pt x="0" y="17"/>
                    <a:pt x="0" y="17"/>
                    <a:pt x="0" y="17"/>
                  </a:cubicBezTo>
                  <a:cubicBezTo>
                    <a:pt x="164" y="17"/>
                    <a:pt x="164" y="17"/>
                    <a:pt x="164" y="17"/>
                  </a:cubicBezTo>
                  <a:cubicBezTo>
                    <a:pt x="175" y="150"/>
                    <a:pt x="175" y="150"/>
                    <a:pt x="175" y="150"/>
                  </a:cubicBezTo>
                  <a:cubicBezTo>
                    <a:pt x="208" y="100"/>
                    <a:pt x="253" y="61"/>
                    <a:pt x="306" y="36"/>
                  </a:cubicBezTo>
                  <a:cubicBezTo>
                    <a:pt x="361" y="11"/>
                    <a:pt x="417" y="0"/>
                    <a:pt x="472" y="0"/>
                  </a:cubicBezTo>
                  <a:cubicBezTo>
                    <a:pt x="536" y="0"/>
                    <a:pt x="592" y="11"/>
                    <a:pt x="645" y="33"/>
                  </a:cubicBezTo>
                  <a:cubicBezTo>
                    <a:pt x="697" y="53"/>
                    <a:pt x="742" y="83"/>
                    <a:pt x="781" y="122"/>
                  </a:cubicBezTo>
                  <a:cubicBezTo>
                    <a:pt x="817" y="158"/>
                    <a:pt x="847" y="206"/>
                    <a:pt x="867" y="256"/>
                  </a:cubicBezTo>
                  <a:cubicBezTo>
                    <a:pt x="886" y="308"/>
                    <a:pt x="897" y="367"/>
                    <a:pt x="897" y="428"/>
                  </a:cubicBezTo>
                  <a:cubicBezTo>
                    <a:pt x="897" y="492"/>
                    <a:pt x="886" y="550"/>
                    <a:pt x="867" y="600"/>
                  </a:cubicBezTo>
                  <a:cubicBezTo>
                    <a:pt x="847" y="653"/>
                    <a:pt x="820" y="700"/>
                    <a:pt x="783" y="736"/>
                  </a:cubicBezTo>
                  <a:cubicBezTo>
                    <a:pt x="747" y="775"/>
                    <a:pt x="703" y="805"/>
                    <a:pt x="650" y="828"/>
                  </a:cubicBezTo>
                  <a:cubicBezTo>
                    <a:pt x="597" y="847"/>
                    <a:pt x="536" y="858"/>
                    <a:pt x="472" y="858"/>
                  </a:cubicBezTo>
                  <a:cubicBezTo>
                    <a:pt x="447" y="858"/>
                    <a:pt x="420" y="856"/>
                    <a:pt x="392" y="850"/>
                  </a:cubicBezTo>
                  <a:cubicBezTo>
                    <a:pt x="364" y="847"/>
                    <a:pt x="336" y="839"/>
                    <a:pt x="308" y="828"/>
                  </a:cubicBezTo>
                  <a:cubicBezTo>
                    <a:pt x="283" y="817"/>
                    <a:pt x="258" y="803"/>
                    <a:pt x="233" y="786"/>
                  </a:cubicBezTo>
                  <a:cubicBezTo>
                    <a:pt x="211" y="767"/>
                    <a:pt x="192" y="744"/>
                    <a:pt x="175" y="719"/>
                  </a:cubicBezTo>
                  <a:cubicBezTo>
                    <a:pt x="175" y="1221"/>
                    <a:pt x="175" y="1221"/>
                    <a:pt x="175" y="1221"/>
                  </a:cubicBezTo>
                  <a:lnTo>
                    <a:pt x="0" y="1221"/>
                  </a:lnTo>
                  <a:close/>
                  <a:moveTo>
                    <a:pt x="456" y="692"/>
                  </a:moveTo>
                  <a:lnTo>
                    <a:pt x="456" y="692"/>
                  </a:lnTo>
                  <a:cubicBezTo>
                    <a:pt x="495" y="692"/>
                    <a:pt x="531" y="686"/>
                    <a:pt x="561" y="672"/>
                  </a:cubicBezTo>
                  <a:cubicBezTo>
                    <a:pt x="595" y="658"/>
                    <a:pt x="622" y="642"/>
                    <a:pt x="647" y="617"/>
                  </a:cubicBezTo>
                  <a:cubicBezTo>
                    <a:pt x="669" y="594"/>
                    <a:pt x="689" y="567"/>
                    <a:pt x="703" y="536"/>
                  </a:cubicBezTo>
                  <a:cubicBezTo>
                    <a:pt x="714" y="503"/>
                    <a:pt x="722" y="467"/>
                    <a:pt x="722" y="428"/>
                  </a:cubicBezTo>
                  <a:cubicBezTo>
                    <a:pt x="722" y="350"/>
                    <a:pt x="697" y="289"/>
                    <a:pt x="650" y="239"/>
                  </a:cubicBezTo>
                  <a:cubicBezTo>
                    <a:pt x="600" y="192"/>
                    <a:pt x="536" y="167"/>
                    <a:pt x="456" y="167"/>
                  </a:cubicBezTo>
                  <a:cubicBezTo>
                    <a:pt x="414" y="167"/>
                    <a:pt x="378" y="172"/>
                    <a:pt x="345" y="186"/>
                  </a:cubicBezTo>
                  <a:cubicBezTo>
                    <a:pt x="314" y="200"/>
                    <a:pt x="286" y="219"/>
                    <a:pt x="261" y="242"/>
                  </a:cubicBezTo>
                  <a:cubicBezTo>
                    <a:pt x="239" y="267"/>
                    <a:pt x="222" y="294"/>
                    <a:pt x="208" y="325"/>
                  </a:cubicBezTo>
                  <a:cubicBezTo>
                    <a:pt x="197" y="358"/>
                    <a:pt x="192" y="392"/>
                    <a:pt x="192" y="428"/>
                  </a:cubicBezTo>
                  <a:cubicBezTo>
                    <a:pt x="192" y="467"/>
                    <a:pt x="197" y="500"/>
                    <a:pt x="211" y="530"/>
                  </a:cubicBezTo>
                  <a:cubicBezTo>
                    <a:pt x="222" y="564"/>
                    <a:pt x="242" y="592"/>
                    <a:pt x="264" y="617"/>
                  </a:cubicBezTo>
                  <a:cubicBezTo>
                    <a:pt x="289" y="639"/>
                    <a:pt x="317" y="658"/>
                    <a:pt x="347" y="672"/>
                  </a:cubicBezTo>
                  <a:cubicBezTo>
                    <a:pt x="381" y="683"/>
                    <a:pt x="417" y="692"/>
                    <a:pt x="456" y="692"/>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0" name="Freeform 12">
              <a:extLst>
                <a:ext uri="{FF2B5EF4-FFF2-40B4-BE49-F238E27FC236}">
                  <a16:creationId xmlns:a16="http://schemas.microsoft.com/office/drawing/2014/main" id="{AACAC10A-0EAB-D44A-B117-C2EC0A761838}"/>
                </a:ext>
              </a:extLst>
            </p:cNvPr>
            <p:cNvSpPr>
              <a:spLocks noChangeArrowheads="1"/>
            </p:cNvSpPr>
            <p:nvPr userDrawn="1"/>
          </p:nvSpPr>
          <p:spPr bwMode="auto">
            <a:xfrm>
              <a:off x="5929313" y="3141663"/>
              <a:ext cx="315912" cy="312737"/>
            </a:xfrm>
            <a:custGeom>
              <a:avLst/>
              <a:gdLst>
                <a:gd name="T0" fmla="*/ 867 w 876"/>
                <a:gd name="T1" fmla="*/ 498 h 868"/>
                <a:gd name="T2" fmla="*/ 867 w 876"/>
                <a:gd name="T3" fmla="*/ 498 h 868"/>
                <a:gd name="T4" fmla="*/ 184 w 876"/>
                <a:gd name="T5" fmla="*/ 498 h 868"/>
                <a:gd name="T6" fmla="*/ 270 w 876"/>
                <a:gd name="T7" fmla="*/ 650 h 868"/>
                <a:gd name="T8" fmla="*/ 459 w 876"/>
                <a:gd name="T9" fmla="*/ 706 h 868"/>
                <a:gd name="T10" fmla="*/ 595 w 876"/>
                <a:gd name="T11" fmla="*/ 684 h 868"/>
                <a:gd name="T12" fmla="*/ 703 w 876"/>
                <a:gd name="T13" fmla="*/ 617 h 868"/>
                <a:gd name="T14" fmla="*/ 817 w 876"/>
                <a:gd name="T15" fmla="*/ 725 h 868"/>
                <a:gd name="T16" fmla="*/ 742 w 876"/>
                <a:gd name="T17" fmla="*/ 786 h 868"/>
                <a:gd name="T18" fmla="*/ 653 w 876"/>
                <a:gd name="T19" fmla="*/ 831 h 868"/>
                <a:gd name="T20" fmla="*/ 553 w 876"/>
                <a:gd name="T21" fmla="*/ 859 h 868"/>
                <a:gd name="T22" fmla="*/ 456 w 876"/>
                <a:gd name="T23" fmla="*/ 867 h 868"/>
                <a:gd name="T24" fmla="*/ 267 w 876"/>
                <a:gd name="T25" fmla="*/ 836 h 868"/>
                <a:gd name="T26" fmla="*/ 125 w 876"/>
                <a:gd name="T27" fmla="*/ 748 h 868"/>
                <a:gd name="T28" fmla="*/ 34 w 876"/>
                <a:gd name="T29" fmla="*/ 609 h 868"/>
                <a:gd name="T30" fmla="*/ 0 w 876"/>
                <a:gd name="T31" fmla="*/ 431 h 868"/>
                <a:gd name="T32" fmla="*/ 34 w 876"/>
                <a:gd name="T33" fmla="*/ 256 h 868"/>
                <a:gd name="T34" fmla="*/ 125 w 876"/>
                <a:gd name="T35" fmla="*/ 120 h 868"/>
                <a:gd name="T36" fmla="*/ 264 w 876"/>
                <a:gd name="T37" fmla="*/ 31 h 868"/>
                <a:gd name="T38" fmla="*/ 442 w 876"/>
                <a:gd name="T39" fmla="*/ 0 h 868"/>
                <a:gd name="T40" fmla="*/ 628 w 876"/>
                <a:gd name="T41" fmla="*/ 31 h 868"/>
                <a:gd name="T42" fmla="*/ 770 w 876"/>
                <a:gd name="T43" fmla="*/ 125 h 868"/>
                <a:gd name="T44" fmla="*/ 853 w 876"/>
                <a:gd name="T45" fmla="*/ 278 h 868"/>
                <a:gd name="T46" fmla="*/ 867 w 876"/>
                <a:gd name="T47" fmla="*/ 498 h 868"/>
                <a:gd name="T48" fmla="*/ 186 w 876"/>
                <a:gd name="T49" fmla="*/ 353 h 868"/>
                <a:gd name="T50" fmla="*/ 186 w 876"/>
                <a:gd name="T51" fmla="*/ 353 h 868"/>
                <a:gd name="T52" fmla="*/ 698 w 876"/>
                <a:gd name="T53" fmla="*/ 353 h 868"/>
                <a:gd name="T54" fmla="*/ 623 w 876"/>
                <a:gd name="T55" fmla="*/ 203 h 868"/>
                <a:gd name="T56" fmla="*/ 448 w 876"/>
                <a:gd name="T57" fmla="*/ 153 h 868"/>
                <a:gd name="T58" fmla="*/ 278 w 876"/>
                <a:gd name="T59" fmla="*/ 203 h 868"/>
                <a:gd name="T60" fmla="*/ 186 w 876"/>
                <a:gd name="T61" fmla="*/ 353 h 868"/>
                <a:gd name="T62" fmla="*/ 867 w 876"/>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8">
                  <a:moveTo>
                    <a:pt x="867" y="498"/>
                  </a:moveTo>
                  <a:lnTo>
                    <a:pt x="867" y="498"/>
                  </a:lnTo>
                  <a:cubicBezTo>
                    <a:pt x="184" y="498"/>
                    <a:pt x="184" y="498"/>
                    <a:pt x="184" y="498"/>
                  </a:cubicBezTo>
                  <a:cubicBezTo>
                    <a:pt x="192" y="562"/>
                    <a:pt x="220" y="611"/>
                    <a:pt x="270" y="650"/>
                  </a:cubicBezTo>
                  <a:cubicBezTo>
                    <a:pt x="317" y="686"/>
                    <a:pt x="381" y="706"/>
                    <a:pt x="459" y="706"/>
                  </a:cubicBezTo>
                  <a:cubicBezTo>
                    <a:pt x="503" y="706"/>
                    <a:pt x="547" y="698"/>
                    <a:pt x="595" y="684"/>
                  </a:cubicBezTo>
                  <a:cubicBezTo>
                    <a:pt x="639" y="667"/>
                    <a:pt x="675" y="645"/>
                    <a:pt x="703" y="617"/>
                  </a:cubicBezTo>
                  <a:cubicBezTo>
                    <a:pt x="817" y="725"/>
                    <a:pt x="817" y="725"/>
                    <a:pt x="817" y="725"/>
                  </a:cubicBezTo>
                  <a:cubicBezTo>
                    <a:pt x="795" y="750"/>
                    <a:pt x="770" y="770"/>
                    <a:pt x="742" y="786"/>
                  </a:cubicBezTo>
                  <a:cubicBezTo>
                    <a:pt x="714" y="806"/>
                    <a:pt x="684" y="820"/>
                    <a:pt x="653" y="831"/>
                  </a:cubicBezTo>
                  <a:cubicBezTo>
                    <a:pt x="620" y="845"/>
                    <a:pt x="589" y="853"/>
                    <a:pt x="553" y="859"/>
                  </a:cubicBezTo>
                  <a:cubicBezTo>
                    <a:pt x="520" y="864"/>
                    <a:pt x="486" y="867"/>
                    <a:pt x="456" y="867"/>
                  </a:cubicBezTo>
                  <a:cubicBezTo>
                    <a:pt x="386" y="867"/>
                    <a:pt x="323" y="856"/>
                    <a:pt x="267" y="836"/>
                  </a:cubicBezTo>
                  <a:cubicBezTo>
                    <a:pt x="211" y="814"/>
                    <a:pt x="164" y="786"/>
                    <a:pt x="125" y="748"/>
                  </a:cubicBezTo>
                  <a:cubicBezTo>
                    <a:pt x="86" y="709"/>
                    <a:pt x="56" y="664"/>
                    <a:pt x="34" y="609"/>
                  </a:cubicBezTo>
                  <a:cubicBezTo>
                    <a:pt x="11" y="556"/>
                    <a:pt x="0" y="495"/>
                    <a:pt x="0" y="431"/>
                  </a:cubicBezTo>
                  <a:cubicBezTo>
                    <a:pt x="0" y="367"/>
                    <a:pt x="11" y="309"/>
                    <a:pt x="34" y="256"/>
                  </a:cubicBezTo>
                  <a:cubicBezTo>
                    <a:pt x="56" y="203"/>
                    <a:pt x="86" y="159"/>
                    <a:pt x="125" y="120"/>
                  </a:cubicBezTo>
                  <a:cubicBezTo>
                    <a:pt x="161" y="84"/>
                    <a:pt x="209" y="53"/>
                    <a:pt x="264" y="31"/>
                  </a:cubicBezTo>
                  <a:cubicBezTo>
                    <a:pt x="317" y="12"/>
                    <a:pt x="378" y="0"/>
                    <a:pt x="442" y="0"/>
                  </a:cubicBezTo>
                  <a:cubicBezTo>
                    <a:pt x="511" y="0"/>
                    <a:pt x="573" y="12"/>
                    <a:pt x="628" y="31"/>
                  </a:cubicBezTo>
                  <a:cubicBezTo>
                    <a:pt x="684" y="53"/>
                    <a:pt x="731" y="84"/>
                    <a:pt x="770" y="125"/>
                  </a:cubicBezTo>
                  <a:cubicBezTo>
                    <a:pt x="806" y="164"/>
                    <a:pt x="834" y="217"/>
                    <a:pt x="853" y="278"/>
                  </a:cubicBezTo>
                  <a:cubicBezTo>
                    <a:pt x="870" y="342"/>
                    <a:pt x="875" y="414"/>
                    <a:pt x="867" y="498"/>
                  </a:cubicBezTo>
                  <a:lnTo>
                    <a:pt x="186" y="353"/>
                  </a:lnTo>
                  <a:lnTo>
                    <a:pt x="186" y="353"/>
                  </a:lnTo>
                  <a:cubicBezTo>
                    <a:pt x="698" y="353"/>
                    <a:pt x="698" y="353"/>
                    <a:pt x="698" y="353"/>
                  </a:cubicBezTo>
                  <a:cubicBezTo>
                    <a:pt x="692" y="287"/>
                    <a:pt x="667" y="236"/>
                    <a:pt x="623" y="203"/>
                  </a:cubicBezTo>
                  <a:cubicBezTo>
                    <a:pt x="578" y="170"/>
                    <a:pt x="520" y="153"/>
                    <a:pt x="448" y="153"/>
                  </a:cubicBezTo>
                  <a:cubicBezTo>
                    <a:pt x="384" y="153"/>
                    <a:pt x="328" y="170"/>
                    <a:pt x="278" y="203"/>
                  </a:cubicBezTo>
                  <a:cubicBezTo>
                    <a:pt x="231" y="236"/>
                    <a:pt x="200" y="287"/>
                    <a:pt x="186" y="353"/>
                  </a:cubicBezTo>
                  <a:lnTo>
                    <a:pt x="867"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1" name="Freeform 13">
              <a:extLst>
                <a:ext uri="{FF2B5EF4-FFF2-40B4-BE49-F238E27FC236}">
                  <a16:creationId xmlns:a16="http://schemas.microsoft.com/office/drawing/2014/main" id="{4C41BA3A-A4DB-F045-B10F-E72F0B2BFAB7}"/>
                </a:ext>
              </a:extLst>
            </p:cNvPr>
            <p:cNvSpPr>
              <a:spLocks noChangeArrowheads="1"/>
            </p:cNvSpPr>
            <p:nvPr userDrawn="1"/>
          </p:nvSpPr>
          <p:spPr bwMode="auto">
            <a:xfrm>
              <a:off x="6305550" y="3141663"/>
              <a:ext cx="228600" cy="303212"/>
            </a:xfrm>
            <a:custGeom>
              <a:avLst/>
              <a:gdLst>
                <a:gd name="T0" fmla="*/ 164 w 634"/>
                <a:gd name="T1" fmla="*/ 20 h 843"/>
                <a:gd name="T2" fmla="*/ 164 w 634"/>
                <a:gd name="T3" fmla="*/ 20 h 843"/>
                <a:gd name="T4" fmla="*/ 177 w 634"/>
                <a:gd name="T5" fmla="*/ 128 h 843"/>
                <a:gd name="T6" fmla="*/ 289 w 634"/>
                <a:gd name="T7" fmla="*/ 25 h 843"/>
                <a:gd name="T8" fmla="*/ 425 w 634"/>
                <a:gd name="T9" fmla="*/ 0 h 843"/>
                <a:gd name="T10" fmla="*/ 541 w 634"/>
                <a:gd name="T11" fmla="*/ 20 h 843"/>
                <a:gd name="T12" fmla="*/ 633 w 634"/>
                <a:gd name="T13" fmla="*/ 70 h 843"/>
                <a:gd name="T14" fmla="*/ 552 w 634"/>
                <a:gd name="T15" fmla="*/ 222 h 843"/>
                <a:gd name="T16" fmla="*/ 486 w 634"/>
                <a:gd name="T17" fmla="*/ 184 h 843"/>
                <a:gd name="T18" fmla="*/ 405 w 634"/>
                <a:gd name="T19" fmla="*/ 172 h 843"/>
                <a:gd name="T20" fmla="*/ 316 w 634"/>
                <a:gd name="T21" fmla="*/ 186 h 843"/>
                <a:gd name="T22" fmla="*/ 244 w 634"/>
                <a:gd name="T23" fmla="*/ 228 h 843"/>
                <a:gd name="T24" fmla="*/ 197 w 634"/>
                <a:gd name="T25" fmla="*/ 297 h 843"/>
                <a:gd name="T26" fmla="*/ 177 w 634"/>
                <a:gd name="T27" fmla="*/ 397 h 843"/>
                <a:gd name="T28" fmla="*/ 177 w 634"/>
                <a:gd name="T29" fmla="*/ 842 h 843"/>
                <a:gd name="T30" fmla="*/ 0 w 634"/>
                <a:gd name="T31" fmla="*/ 842 h 843"/>
                <a:gd name="T32" fmla="*/ 0 w 634"/>
                <a:gd name="T33" fmla="*/ 20 h 843"/>
                <a:gd name="T34" fmla="*/ 164 w 634"/>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4" h="843">
                  <a:moveTo>
                    <a:pt x="164" y="20"/>
                  </a:moveTo>
                  <a:lnTo>
                    <a:pt x="164" y="20"/>
                  </a:lnTo>
                  <a:cubicBezTo>
                    <a:pt x="177" y="128"/>
                    <a:pt x="177" y="128"/>
                    <a:pt x="177" y="128"/>
                  </a:cubicBezTo>
                  <a:cubicBezTo>
                    <a:pt x="208" y="75"/>
                    <a:pt x="244" y="42"/>
                    <a:pt x="289" y="25"/>
                  </a:cubicBezTo>
                  <a:cubicBezTo>
                    <a:pt x="333" y="9"/>
                    <a:pt x="380" y="0"/>
                    <a:pt x="425" y="0"/>
                  </a:cubicBezTo>
                  <a:cubicBezTo>
                    <a:pt x="466" y="0"/>
                    <a:pt x="505" y="9"/>
                    <a:pt x="541" y="20"/>
                  </a:cubicBezTo>
                  <a:cubicBezTo>
                    <a:pt x="577" y="34"/>
                    <a:pt x="608" y="50"/>
                    <a:pt x="633" y="70"/>
                  </a:cubicBezTo>
                  <a:cubicBezTo>
                    <a:pt x="552" y="222"/>
                    <a:pt x="552" y="222"/>
                    <a:pt x="552" y="222"/>
                  </a:cubicBezTo>
                  <a:cubicBezTo>
                    <a:pt x="530" y="206"/>
                    <a:pt x="508" y="192"/>
                    <a:pt x="486" y="184"/>
                  </a:cubicBezTo>
                  <a:cubicBezTo>
                    <a:pt x="464" y="175"/>
                    <a:pt x="436" y="172"/>
                    <a:pt x="405" y="172"/>
                  </a:cubicBezTo>
                  <a:cubicBezTo>
                    <a:pt x="372" y="172"/>
                    <a:pt x="344" y="175"/>
                    <a:pt x="316" y="186"/>
                  </a:cubicBezTo>
                  <a:cubicBezTo>
                    <a:pt x="289" y="195"/>
                    <a:pt x="266" y="209"/>
                    <a:pt x="244" y="228"/>
                  </a:cubicBezTo>
                  <a:cubicBezTo>
                    <a:pt x="225" y="245"/>
                    <a:pt x="208" y="270"/>
                    <a:pt x="197" y="297"/>
                  </a:cubicBezTo>
                  <a:cubicBezTo>
                    <a:pt x="183" y="325"/>
                    <a:pt x="177" y="359"/>
                    <a:pt x="177" y="397"/>
                  </a:cubicBezTo>
                  <a:cubicBezTo>
                    <a:pt x="177" y="842"/>
                    <a:pt x="177" y="842"/>
                    <a:pt x="177"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2" name="Freeform 14">
              <a:extLst>
                <a:ext uri="{FF2B5EF4-FFF2-40B4-BE49-F238E27FC236}">
                  <a16:creationId xmlns:a16="http://schemas.microsoft.com/office/drawing/2014/main" id="{559AC273-9660-3B45-A5E2-82B2F5794AD7}"/>
                </a:ext>
              </a:extLst>
            </p:cNvPr>
            <p:cNvSpPr>
              <a:spLocks noChangeArrowheads="1"/>
            </p:cNvSpPr>
            <p:nvPr userDrawn="1"/>
          </p:nvSpPr>
          <p:spPr bwMode="auto">
            <a:xfrm>
              <a:off x="6577013" y="3148013"/>
              <a:ext cx="63500" cy="296862"/>
            </a:xfrm>
            <a:custGeom>
              <a:avLst/>
              <a:gdLst>
                <a:gd name="T0" fmla="*/ 175 w 176"/>
                <a:gd name="T1" fmla="*/ 825 h 826"/>
                <a:gd name="T2" fmla="*/ 0 w 176"/>
                <a:gd name="T3" fmla="*/ 825 h 826"/>
                <a:gd name="T4" fmla="*/ 0 w 176"/>
                <a:gd name="T5" fmla="*/ 0 h 826"/>
                <a:gd name="T6" fmla="*/ 175 w 176"/>
                <a:gd name="T7" fmla="*/ 0 h 826"/>
                <a:gd name="T8" fmla="*/ 175 w 176"/>
                <a:gd name="T9" fmla="*/ 825 h 826"/>
              </a:gdLst>
              <a:ahLst/>
              <a:cxnLst>
                <a:cxn ang="0">
                  <a:pos x="T0" y="T1"/>
                </a:cxn>
                <a:cxn ang="0">
                  <a:pos x="T2" y="T3"/>
                </a:cxn>
                <a:cxn ang="0">
                  <a:pos x="T4" y="T5"/>
                </a:cxn>
                <a:cxn ang="0">
                  <a:pos x="T6" y="T7"/>
                </a:cxn>
                <a:cxn ang="0">
                  <a:pos x="T8" y="T9"/>
                </a:cxn>
              </a:cxnLst>
              <a:rect l="0" t="0" r="r" b="b"/>
              <a:pathLst>
                <a:path w="176" h="826">
                  <a:moveTo>
                    <a:pt x="175" y="825"/>
                  </a:moveTo>
                  <a:lnTo>
                    <a:pt x="0" y="825"/>
                  </a:lnTo>
                  <a:lnTo>
                    <a:pt x="0" y="0"/>
                  </a:lnTo>
                  <a:lnTo>
                    <a:pt x="175" y="0"/>
                  </a:lnTo>
                  <a:lnTo>
                    <a:pt x="175" y="8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3" name="Freeform 15">
              <a:extLst>
                <a:ext uri="{FF2B5EF4-FFF2-40B4-BE49-F238E27FC236}">
                  <a16:creationId xmlns:a16="http://schemas.microsoft.com/office/drawing/2014/main" id="{38C239F3-BB46-6E4D-B9D1-F71EB91BF769}"/>
                </a:ext>
              </a:extLst>
            </p:cNvPr>
            <p:cNvSpPr>
              <a:spLocks noChangeArrowheads="1"/>
            </p:cNvSpPr>
            <p:nvPr userDrawn="1"/>
          </p:nvSpPr>
          <p:spPr bwMode="auto">
            <a:xfrm>
              <a:off x="6707188" y="3141663"/>
              <a:ext cx="314325" cy="312737"/>
            </a:xfrm>
            <a:custGeom>
              <a:avLst/>
              <a:gdLst>
                <a:gd name="T0" fmla="*/ 864 w 873"/>
                <a:gd name="T1" fmla="*/ 498 h 868"/>
                <a:gd name="T2" fmla="*/ 864 w 873"/>
                <a:gd name="T3" fmla="*/ 498 h 868"/>
                <a:gd name="T4" fmla="*/ 184 w 873"/>
                <a:gd name="T5" fmla="*/ 498 h 868"/>
                <a:gd name="T6" fmla="*/ 267 w 873"/>
                <a:gd name="T7" fmla="*/ 650 h 868"/>
                <a:gd name="T8" fmla="*/ 459 w 873"/>
                <a:gd name="T9" fmla="*/ 706 h 868"/>
                <a:gd name="T10" fmla="*/ 592 w 873"/>
                <a:gd name="T11" fmla="*/ 684 h 868"/>
                <a:gd name="T12" fmla="*/ 700 w 873"/>
                <a:gd name="T13" fmla="*/ 617 h 868"/>
                <a:gd name="T14" fmla="*/ 817 w 873"/>
                <a:gd name="T15" fmla="*/ 725 h 868"/>
                <a:gd name="T16" fmla="*/ 742 w 873"/>
                <a:gd name="T17" fmla="*/ 786 h 868"/>
                <a:gd name="T18" fmla="*/ 650 w 873"/>
                <a:gd name="T19" fmla="*/ 831 h 868"/>
                <a:gd name="T20" fmla="*/ 553 w 873"/>
                <a:gd name="T21" fmla="*/ 859 h 868"/>
                <a:gd name="T22" fmla="*/ 453 w 873"/>
                <a:gd name="T23" fmla="*/ 867 h 868"/>
                <a:gd name="T24" fmla="*/ 267 w 873"/>
                <a:gd name="T25" fmla="*/ 836 h 868"/>
                <a:gd name="T26" fmla="*/ 123 w 873"/>
                <a:gd name="T27" fmla="*/ 748 h 868"/>
                <a:gd name="T28" fmla="*/ 34 w 873"/>
                <a:gd name="T29" fmla="*/ 609 h 868"/>
                <a:gd name="T30" fmla="*/ 0 w 873"/>
                <a:gd name="T31" fmla="*/ 431 h 868"/>
                <a:gd name="T32" fmla="*/ 34 w 873"/>
                <a:gd name="T33" fmla="*/ 256 h 868"/>
                <a:gd name="T34" fmla="*/ 123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7 w 873"/>
                <a:gd name="T53" fmla="*/ 353 h 868"/>
                <a:gd name="T54" fmla="*/ 622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4" y="498"/>
                    <a:pt x="184" y="498"/>
                    <a:pt x="184" y="498"/>
                  </a:cubicBezTo>
                  <a:cubicBezTo>
                    <a:pt x="189" y="562"/>
                    <a:pt x="220" y="611"/>
                    <a:pt x="267" y="650"/>
                  </a:cubicBezTo>
                  <a:cubicBezTo>
                    <a:pt x="317" y="686"/>
                    <a:pt x="381" y="706"/>
                    <a:pt x="459" y="706"/>
                  </a:cubicBezTo>
                  <a:cubicBezTo>
                    <a:pt x="500" y="706"/>
                    <a:pt x="545" y="698"/>
                    <a:pt x="592" y="684"/>
                  </a:cubicBezTo>
                  <a:cubicBezTo>
                    <a:pt x="639" y="667"/>
                    <a:pt x="675" y="645"/>
                    <a:pt x="700" y="617"/>
                  </a:cubicBezTo>
                  <a:cubicBezTo>
                    <a:pt x="817" y="725"/>
                    <a:pt x="817" y="725"/>
                    <a:pt x="817" y="725"/>
                  </a:cubicBezTo>
                  <a:cubicBezTo>
                    <a:pt x="795" y="750"/>
                    <a:pt x="770" y="770"/>
                    <a:pt x="742" y="786"/>
                  </a:cubicBezTo>
                  <a:cubicBezTo>
                    <a:pt x="711" y="806"/>
                    <a:pt x="684" y="820"/>
                    <a:pt x="650" y="831"/>
                  </a:cubicBezTo>
                  <a:cubicBezTo>
                    <a:pt x="620" y="845"/>
                    <a:pt x="586" y="853"/>
                    <a:pt x="553" y="859"/>
                  </a:cubicBezTo>
                  <a:cubicBezTo>
                    <a:pt x="520" y="864"/>
                    <a:pt x="486" y="867"/>
                    <a:pt x="453" y="867"/>
                  </a:cubicBezTo>
                  <a:cubicBezTo>
                    <a:pt x="384" y="867"/>
                    <a:pt x="322" y="856"/>
                    <a:pt x="267" y="836"/>
                  </a:cubicBezTo>
                  <a:cubicBezTo>
                    <a:pt x="211" y="814"/>
                    <a:pt x="164" y="786"/>
                    <a:pt x="123" y="748"/>
                  </a:cubicBezTo>
                  <a:cubicBezTo>
                    <a:pt x="84" y="709"/>
                    <a:pt x="53" y="664"/>
                    <a:pt x="34" y="609"/>
                  </a:cubicBezTo>
                  <a:cubicBezTo>
                    <a:pt x="11" y="556"/>
                    <a:pt x="0" y="495"/>
                    <a:pt x="0" y="431"/>
                  </a:cubicBezTo>
                  <a:cubicBezTo>
                    <a:pt x="0" y="367"/>
                    <a:pt x="11" y="309"/>
                    <a:pt x="34" y="256"/>
                  </a:cubicBezTo>
                  <a:cubicBezTo>
                    <a:pt x="53" y="203"/>
                    <a:pt x="84" y="159"/>
                    <a:pt x="123" y="120"/>
                  </a:cubicBezTo>
                  <a:cubicBezTo>
                    <a:pt x="161" y="84"/>
                    <a:pt x="209" y="53"/>
                    <a:pt x="261" y="31"/>
                  </a:cubicBezTo>
                  <a:cubicBezTo>
                    <a:pt x="317" y="12"/>
                    <a:pt x="375" y="0"/>
                    <a:pt x="442" y="0"/>
                  </a:cubicBezTo>
                  <a:cubicBezTo>
                    <a:pt x="511" y="0"/>
                    <a:pt x="572" y="12"/>
                    <a:pt x="628" y="31"/>
                  </a:cubicBezTo>
                  <a:cubicBezTo>
                    <a:pt x="684" y="53"/>
                    <a:pt x="728" y="84"/>
                    <a:pt x="767" y="125"/>
                  </a:cubicBezTo>
                  <a:cubicBezTo>
                    <a:pt x="806" y="164"/>
                    <a:pt x="834" y="217"/>
                    <a:pt x="850" y="278"/>
                  </a:cubicBezTo>
                  <a:cubicBezTo>
                    <a:pt x="870" y="342"/>
                    <a:pt x="872" y="414"/>
                    <a:pt x="864" y="498"/>
                  </a:cubicBezTo>
                  <a:lnTo>
                    <a:pt x="186" y="353"/>
                  </a:lnTo>
                  <a:lnTo>
                    <a:pt x="186" y="353"/>
                  </a:lnTo>
                  <a:cubicBezTo>
                    <a:pt x="697" y="353"/>
                    <a:pt x="697" y="353"/>
                    <a:pt x="697" y="353"/>
                  </a:cubicBezTo>
                  <a:cubicBezTo>
                    <a:pt x="692" y="287"/>
                    <a:pt x="667" y="236"/>
                    <a:pt x="622" y="203"/>
                  </a:cubicBezTo>
                  <a:cubicBezTo>
                    <a:pt x="578" y="170"/>
                    <a:pt x="520" y="153"/>
                    <a:pt x="447" y="153"/>
                  </a:cubicBezTo>
                  <a:cubicBezTo>
                    <a:pt x="384"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4" name="Freeform 16">
              <a:extLst>
                <a:ext uri="{FF2B5EF4-FFF2-40B4-BE49-F238E27FC236}">
                  <a16:creationId xmlns:a16="http://schemas.microsoft.com/office/drawing/2014/main" id="{0DA4B23E-440D-2643-885B-7E35139CFB7F}"/>
                </a:ext>
              </a:extLst>
            </p:cNvPr>
            <p:cNvSpPr>
              <a:spLocks noChangeArrowheads="1"/>
            </p:cNvSpPr>
            <p:nvPr userDrawn="1"/>
          </p:nvSpPr>
          <p:spPr bwMode="auto">
            <a:xfrm>
              <a:off x="7083425" y="3144838"/>
              <a:ext cx="293688" cy="301625"/>
            </a:xfrm>
            <a:custGeom>
              <a:avLst/>
              <a:gdLst>
                <a:gd name="T0" fmla="*/ 638 w 817"/>
                <a:gd name="T1" fmla="*/ 836 h 837"/>
                <a:gd name="T2" fmla="*/ 638 w 817"/>
                <a:gd name="T3" fmla="*/ 836 h 837"/>
                <a:gd name="T4" fmla="*/ 638 w 817"/>
                <a:gd name="T5" fmla="*/ 397 h 837"/>
                <a:gd name="T6" fmla="*/ 580 w 817"/>
                <a:gd name="T7" fmla="*/ 225 h 837"/>
                <a:gd name="T8" fmla="*/ 411 w 817"/>
                <a:gd name="T9" fmla="*/ 161 h 837"/>
                <a:gd name="T10" fmla="*/ 313 w 817"/>
                <a:gd name="T11" fmla="*/ 180 h 837"/>
                <a:gd name="T12" fmla="*/ 241 w 817"/>
                <a:gd name="T13" fmla="*/ 233 h 837"/>
                <a:gd name="T14" fmla="*/ 194 w 817"/>
                <a:gd name="T15" fmla="*/ 311 h 837"/>
                <a:gd name="T16" fmla="*/ 175 w 817"/>
                <a:gd name="T17" fmla="*/ 408 h 837"/>
                <a:gd name="T18" fmla="*/ 175 w 817"/>
                <a:gd name="T19" fmla="*/ 836 h 837"/>
                <a:gd name="T20" fmla="*/ 0 w 817"/>
                <a:gd name="T21" fmla="*/ 836 h 837"/>
                <a:gd name="T22" fmla="*/ 0 w 817"/>
                <a:gd name="T23" fmla="*/ 11 h 837"/>
                <a:gd name="T24" fmla="*/ 161 w 817"/>
                <a:gd name="T25" fmla="*/ 11 h 837"/>
                <a:gd name="T26" fmla="*/ 172 w 817"/>
                <a:gd name="T27" fmla="*/ 133 h 837"/>
                <a:gd name="T28" fmla="*/ 455 w 817"/>
                <a:gd name="T29" fmla="*/ 0 h 837"/>
                <a:gd name="T30" fmla="*/ 597 w 817"/>
                <a:gd name="T31" fmla="*/ 25 h 837"/>
                <a:gd name="T32" fmla="*/ 711 w 817"/>
                <a:gd name="T33" fmla="*/ 103 h 837"/>
                <a:gd name="T34" fmla="*/ 788 w 817"/>
                <a:gd name="T35" fmla="*/ 225 h 837"/>
                <a:gd name="T36" fmla="*/ 816 w 817"/>
                <a:gd name="T37" fmla="*/ 394 h 837"/>
                <a:gd name="T38" fmla="*/ 816 w 817"/>
                <a:gd name="T39" fmla="*/ 836 h 837"/>
                <a:gd name="T40" fmla="*/ 638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8" y="836"/>
                  </a:moveTo>
                  <a:lnTo>
                    <a:pt x="638" y="836"/>
                  </a:lnTo>
                  <a:cubicBezTo>
                    <a:pt x="638" y="397"/>
                    <a:pt x="638" y="397"/>
                    <a:pt x="638" y="397"/>
                  </a:cubicBezTo>
                  <a:cubicBezTo>
                    <a:pt x="638" y="325"/>
                    <a:pt x="619" y="269"/>
                    <a:pt x="580" y="225"/>
                  </a:cubicBezTo>
                  <a:cubicBezTo>
                    <a:pt x="541" y="183"/>
                    <a:pt x="483" y="161"/>
                    <a:pt x="411" y="161"/>
                  </a:cubicBezTo>
                  <a:cubicBezTo>
                    <a:pt x="375" y="161"/>
                    <a:pt x="344" y="166"/>
                    <a:pt x="313" y="180"/>
                  </a:cubicBezTo>
                  <a:cubicBezTo>
                    <a:pt x="286" y="191"/>
                    <a:pt x="261" y="211"/>
                    <a:pt x="241" y="233"/>
                  </a:cubicBezTo>
                  <a:cubicBezTo>
                    <a:pt x="219" y="255"/>
                    <a:pt x="205" y="283"/>
                    <a:pt x="194" y="311"/>
                  </a:cubicBezTo>
                  <a:cubicBezTo>
                    <a:pt x="180" y="341"/>
                    <a:pt x="175" y="375"/>
                    <a:pt x="175" y="408"/>
                  </a:cubicBezTo>
                  <a:cubicBezTo>
                    <a:pt x="175" y="836"/>
                    <a:pt x="175" y="836"/>
                    <a:pt x="175" y="836"/>
                  </a:cubicBezTo>
                  <a:cubicBezTo>
                    <a:pt x="0" y="836"/>
                    <a:pt x="0" y="836"/>
                    <a:pt x="0" y="836"/>
                  </a:cubicBezTo>
                  <a:cubicBezTo>
                    <a:pt x="0" y="11"/>
                    <a:pt x="0" y="11"/>
                    <a:pt x="0" y="11"/>
                  </a:cubicBezTo>
                  <a:cubicBezTo>
                    <a:pt x="161" y="11"/>
                    <a:pt x="161" y="11"/>
                    <a:pt x="161" y="11"/>
                  </a:cubicBezTo>
                  <a:cubicBezTo>
                    <a:pt x="172" y="133"/>
                    <a:pt x="172" y="133"/>
                    <a:pt x="172" y="133"/>
                  </a:cubicBezTo>
                  <a:cubicBezTo>
                    <a:pt x="250" y="44"/>
                    <a:pt x="344" y="0"/>
                    <a:pt x="455" y="0"/>
                  </a:cubicBezTo>
                  <a:cubicBezTo>
                    <a:pt x="505" y="0"/>
                    <a:pt x="552" y="8"/>
                    <a:pt x="597" y="25"/>
                  </a:cubicBezTo>
                  <a:cubicBezTo>
                    <a:pt x="641" y="44"/>
                    <a:pt x="677" y="69"/>
                    <a:pt x="711" y="103"/>
                  </a:cubicBezTo>
                  <a:cubicBezTo>
                    <a:pt x="744" y="136"/>
                    <a:pt x="769" y="178"/>
                    <a:pt x="788" y="225"/>
                  </a:cubicBezTo>
                  <a:cubicBezTo>
                    <a:pt x="808" y="275"/>
                    <a:pt x="816" y="330"/>
                    <a:pt x="816" y="394"/>
                  </a:cubicBezTo>
                  <a:cubicBezTo>
                    <a:pt x="816" y="836"/>
                    <a:pt x="816" y="836"/>
                    <a:pt x="816" y="836"/>
                  </a:cubicBezTo>
                  <a:lnTo>
                    <a:pt x="638"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5" name="Freeform 17">
              <a:extLst>
                <a:ext uri="{FF2B5EF4-FFF2-40B4-BE49-F238E27FC236}">
                  <a16:creationId xmlns:a16="http://schemas.microsoft.com/office/drawing/2014/main" id="{D1BD48BC-2964-5441-9E9A-FEE10A153817}"/>
                </a:ext>
              </a:extLst>
            </p:cNvPr>
            <p:cNvSpPr>
              <a:spLocks noChangeArrowheads="1"/>
            </p:cNvSpPr>
            <p:nvPr userDrawn="1"/>
          </p:nvSpPr>
          <p:spPr bwMode="auto">
            <a:xfrm>
              <a:off x="7440613" y="3141663"/>
              <a:ext cx="274637" cy="311150"/>
            </a:xfrm>
            <a:custGeom>
              <a:avLst/>
              <a:gdLst>
                <a:gd name="T0" fmla="*/ 761 w 762"/>
                <a:gd name="T1" fmla="*/ 736 h 865"/>
                <a:gd name="T2" fmla="*/ 761 w 762"/>
                <a:gd name="T3" fmla="*/ 736 h 865"/>
                <a:gd name="T4" fmla="*/ 614 w 762"/>
                <a:gd name="T5" fmla="*/ 833 h 865"/>
                <a:gd name="T6" fmla="*/ 442 w 762"/>
                <a:gd name="T7" fmla="*/ 864 h 865"/>
                <a:gd name="T8" fmla="*/ 272 w 762"/>
                <a:gd name="T9" fmla="*/ 836 h 865"/>
                <a:gd name="T10" fmla="*/ 131 w 762"/>
                <a:gd name="T11" fmla="*/ 756 h 865"/>
                <a:gd name="T12" fmla="*/ 34 w 762"/>
                <a:gd name="T13" fmla="*/ 620 h 865"/>
                <a:gd name="T14" fmla="*/ 0 w 762"/>
                <a:gd name="T15" fmla="*/ 431 h 865"/>
                <a:gd name="T16" fmla="*/ 34 w 762"/>
                <a:gd name="T17" fmla="*/ 245 h 865"/>
                <a:gd name="T18" fmla="*/ 131 w 762"/>
                <a:gd name="T19" fmla="*/ 109 h 865"/>
                <a:gd name="T20" fmla="*/ 270 w 762"/>
                <a:gd name="T21" fmla="*/ 28 h 865"/>
                <a:gd name="T22" fmla="*/ 442 w 762"/>
                <a:gd name="T23" fmla="*/ 0 h 865"/>
                <a:gd name="T24" fmla="*/ 603 w 762"/>
                <a:gd name="T25" fmla="*/ 28 h 865"/>
                <a:gd name="T26" fmla="*/ 747 w 762"/>
                <a:gd name="T27" fmla="*/ 122 h 865"/>
                <a:gd name="T28" fmla="*/ 633 w 762"/>
                <a:gd name="T29" fmla="*/ 236 h 865"/>
                <a:gd name="T30" fmla="*/ 545 w 762"/>
                <a:gd name="T31" fmla="*/ 181 h 865"/>
                <a:gd name="T32" fmla="*/ 445 w 762"/>
                <a:gd name="T33" fmla="*/ 164 h 865"/>
                <a:gd name="T34" fmla="*/ 339 w 762"/>
                <a:gd name="T35" fmla="*/ 181 h 865"/>
                <a:gd name="T36" fmla="*/ 253 w 762"/>
                <a:gd name="T37" fmla="*/ 236 h 865"/>
                <a:gd name="T38" fmla="*/ 195 w 762"/>
                <a:gd name="T39" fmla="*/ 320 h 865"/>
                <a:gd name="T40" fmla="*/ 175 w 762"/>
                <a:gd name="T41" fmla="*/ 431 h 865"/>
                <a:gd name="T42" fmla="*/ 197 w 762"/>
                <a:gd name="T43" fmla="*/ 547 h 865"/>
                <a:gd name="T44" fmla="*/ 253 w 762"/>
                <a:gd name="T45" fmla="*/ 631 h 865"/>
                <a:gd name="T46" fmla="*/ 339 w 762"/>
                <a:gd name="T47" fmla="*/ 681 h 865"/>
                <a:gd name="T48" fmla="*/ 442 w 762"/>
                <a:gd name="T49" fmla="*/ 697 h 865"/>
                <a:gd name="T50" fmla="*/ 550 w 762"/>
                <a:gd name="T51" fmla="*/ 681 h 865"/>
                <a:gd name="T52" fmla="*/ 642 w 762"/>
                <a:gd name="T53" fmla="*/ 620 h 865"/>
                <a:gd name="T54" fmla="*/ 761 w 762"/>
                <a:gd name="T55" fmla="*/ 736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62" h="865">
                  <a:moveTo>
                    <a:pt x="761" y="736"/>
                  </a:moveTo>
                  <a:lnTo>
                    <a:pt x="761" y="736"/>
                  </a:lnTo>
                  <a:cubicBezTo>
                    <a:pt x="714" y="781"/>
                    <a:pt x="664" y="814"/>
                    <a:pt x="614" y="833"/>
                  </a:cubicBezTo>
                  <a:cubicBezTo>
                    <a:pt x="561" y="856"/>
                    <a:pt x="503" y="864"/>
                    <a:pt x="442" y="864"/>
                  </a:cubicBezTo>
                  <a:cubicBezTo>
                    <a:pt x="383" y="864"/>
                    <a:pt x="325" y="856"/>
                    <a:pt x="272" y="836"/>
                  </a:cubicBezTo>
                  <a:cubicBezTo>
                    <a:pt x="217" y="820"/>
                    <a:pt x="170" y="792"/>
                    <a:pt x="131" y="756"/>
                  </a:cubicBezTo>
                  <a:cubicBezTo>
                    <a:pt x="89" y="720"/>
                    <a:pt x="58" y="675"/>
                    <a:pt x="34" y="620"/>
                  </a:cubicBezTo>
                  <a:cubicBezTo>
                    <a:pt x="11" y="567"/>
                    <a:pt x="0" y="503"/>
                    <a:pt x="0" y="431"/>
                  </a:cubicBezTo>
                  <a:cubicBezTo>
                    <a:pt x="0" y="361"/>
                    <a:pt x="11" y="297"/>
                    <a:pt x="34" y="245"/>
                  </a:cubicBezTo>
                  <a:cubicBezTo>
                    <a:pt x="58" y="189"/>
                    <a:pt x="89" y="145"/>
                    <a:pt x="131" y="109"/>
                  </a:cubicBezTo>
                  <a:cubicBezTo>
                    <a:pt x="170" y="72"/>
                    <a:pt x="217" y="45"/>
                    <a:pt x="270" y="28"/>
                  </a:cubicBezTo>
                  <a:cubicBezTo>
                    <a:pt x="325" y="9"/>
                    <a:pt x="381" y="0"/>
                    <a:pt x="442" y="0"/>
                  </a:cubicBezTo>
                  <a:cubicBezTo>
                    <a:pt x="500" y="0"/>
                    <a:pt x="556" y="9"/>
                    <a:pt x="603" y="28"/>
                  </a:cubicBezTo>
                  <a:cubicBezTo>
                    <a:pt x="653" y="47"/>
                    <a:pt x="700" y="78"/>
                    <a:pt x="747" y="122"/>
                  </a:cubicBezTo>
                  <a:cubicBezTo>
                    <a:pt x="633" y="236"/>
                    <a:pt x="633" y="236"/>
                    <a:pt x="633" y="236"/>
                  </a:cubicBezTo>
                  <a:cubicBezTo>
                    <a:pt x="608" y="211"/>
                    <a:pt x="578" y="192"/>
                    <a:pt x="545" y="181"/>
                  </a:cubicBezTo>
                  <a:cubicBezTo>
                    <a:pt x="511" y="170"/>
                    <a:pt x="478" y="164"/>
                    <a:pt x="445" y="164"/>
                  </a:cubicBezTo>
                  <a:cubicBezTo>
                    <a:pt x="406" y="164"/>
                    <a:pt x="372" y="170"/>
                    <a:pt x="339" y="181"/>
                  </a:cubicBezTo>
                  <a:cubicBezTo>
                    <a:pt x="306" y="195"/>
                    <a:pt x="278" y="214"/>
                    <a:pt x="253" y="236"/>
                  </a:cubicBezTo>
                  <a:cubicBezTo>
                    <a:pt x="228" y="259"/>
                    <a:pt x="209" y="289"/>
                    <a:pt x="195" y="320"/>
                  </a:cubicBezTo>
                  <a:cubicBezTo>
                    <a:pt x="181" y="353"/>
                    <a:pt x="175" y="392"/>
                    <a:pt x="175" y="431"/>
                  </a:cubicBezTo>
                  <a:cubicBezTo>
                    <a:pt x="175" y="475"/>
                    <a:pt x="181" y="514"/>
                    <a:pt x="197" y="547"/>
                  </a:cubicBezTo>
                  <a:cubicBezTo>
                    <a:pt x="211" y="578"/>
                    <a:pt x="231" y="606"/>
                    <a:pt x="253" y="631"/>
                  </a:cubicBezTo>
                  <a:cubicBezTo>
                    <a:pt x="278" y="653"/>
                    <a:pt x="309" y="670"/>
                    <a:pt x="339" y="681"/>
                  </a:cubicBezTo>
                  <a:cubicBezTo>
                    <a:pt x="372" y="692"/>
                    <a:pt x="406" y="697"/>
                    <a:pt x="442" y="697"/>
                  </a:cubicBezTo>
                  <a:cubicBezTo>
                    <a:pt x="478" y="697"/>
                    <a:pt x="514" y="692"/>
                    <a:pt x="550" y="681"/>
                  </a:cubicBezTo>
                  <a:cubicBezTo>
                    <a:pt x="583" y="670"/>
                    <a:pt x="614" y="647"/>
                    <a:pt x="642" y="620"/>
                  </a:cubicBezTo>
                  <a:lnTo>
                    <a:pt x="761" y="7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6" name="Freeform 18">
              <a:extLst>
                <a:ext uri="{FF2B5EF4-FFF2-40B4-BE49-F238E27FC236}">
                  <a16:creationId xmlns:a16="http://schemas.microsoft.com/office/drawing/2014/main" id="{886255A4-B10E-2445-B296-96E4A1394BAD}"/>
                </a:ext>
              </a:extLst>
            </p:cNvPr>
            <p:cNvSpPr>
              <a:spLocks noChangeArrowheads="1"/>
            </p:cNvSpPr>
            <p:nvPr userDrawn="1"/>
          </p:nvSpPr>
          <p:spPr bwMode="auto">
            <a:xfrm>
              <a:off x="7747000" y="3141663"/>
              <a:ext cx="314325" cy="312737"/>
            </a:xfrm>
            <a:custGeom>
              <a:avLst/>
              <a:gdLst>
                <a:gd name="T0" fmla="*/ 864 w 873"/>
                <a:gd name="T1" fmla="*/ 498 h 868"/>
                <a:gd name="T2" fmla="*/ 864 w 873"/>
                <a:gd name="T3" fmla="*/ 498 h 868"/>
                <a:gd name="T4" fmla="*/ 181 w 873"/>
                <a:gd name="T5" fmla="*/ 498 h 868"/>
                <a:gd name="T6" fmla="*/ 267 w 873"/>
                <a:gd name="T7" fmla="*/ 650 h 868"/>
                <a:gd name="T8" fmla="*/ 456 w 873"/>
                <a:gd name="T9" fmla="*/ 706 h 868"/>
                <a:gd name="T10" fmla="*/ 592 w 873"/>
                <a:gd name="T11" fmla="*/ 684 h 868"/>
                <a:gd name="T12" fmla="*/ 700 w 873"/>
                <a:gd name="T13" fmla="*/ 617 h 868"/>
                <a:gd name="T14" fmla="*/ 817 w 873"/>
                <a:gd name="T15" fmla="*/ 725 h 868"/>
                <a:gd name="T16" fmla="*/ 739 w 873"/>
                <a:gd name="T17" fmla="*/ 786 h 868"/>
                <a:gd name="T18" fmla="*/ 650 w 873"/>
                <a:gd name="T19" fmla="*/ 831 h 868"/>
                <a:gd name="T20" fmla="*/ 553 w 873"/>
                <a:gd name="T21" fmla="*/ 859 h 868"/>
                <a:gd name="T22" fmla="*/ 453 w 873"/>
                <a:gd name="T23" fmla="*/ 867 h 868"/>
                <a:gd name="T24" fmla="*/ 267 w 873"/>
                <a:gd name="T25" fmla="*/ 836 h 868"/>
                <a:gd name="T26" fmla="*/ 122 w 873"/>
                <a:gd name="T27" fmla="*/ 748 h 868"/>
                <a:gd name="T28" fmla="*/ 31 w 873"/>
                <a:gd name="T29" fmla="*/ 609 h 868"/>
                <a:gd name="T30" fmla="*/ 0 w 873"/>
                <a:gd name="T31" fmla="*/ 431 h 868"/>
                <a:gd name="T32" fmla="*/ 31 w 873"/>
                <a:gd name="T33" fmla="*/ 256 h 868"/>
                <a:gd name="T34" fmla="*/ 122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4 w 873"/>
                <a:gd name="T53" fmla="*/ 353 h 868"/>
                <a:gd name="T54" fmla="*/ 619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1" y="498"/>
                    <a:pt x="181" y="498"/>
                    <a:pt x="181" y="498"/>
                  </a:cubicBezTo>
                  <a:cubicBezTo>
                    <a:pt x="189" y="562"/>
                    <a:pt x="219" y="611"/>
                    <a:pt x="267" y="650"/>
                  </a:cubicBezTo>
                  <a:cubicBezTo>
                    <a:pt x="317" y="686"/>
                    <a:pt x="381" y="706"/>
                    <a:pt x="456" y="706"/>
                  </a:cubicBezTo>
                  <a:cubicBezTo>
                    <a:pt x="500" y="706"/>
                    <a:pt x="544" y="698"/>
                    <a:pt x="592" y="684"/>
                  </a:cubicBezTo>
                  <a:cubicBezTo>
                    <a:pt x="639" y="667"/>
                    <a:pt x="675" y="645"/>
                    <a:pt x="700" y="617"/>
                  </a:cubicBezTo>
                  <a:cubicBezTo>
                    <a:pt x="817" y="725"/>
                    <a:pt x="817" y="725"/>
                    <a:pt x="817" y="725"/>
                  </a:cubicBezTo>
                  <a:cubicBezTo>
                    <a:pt x="794" y="750"/>
                    <a:pt x="769" y="770"/>
                    <a:pt x="739" y="786"/>
                  </a:cubicBezTo>
                  <a:cubicBezTo>
                    <a:pt x="711" y="806"/>
                    <a:pt x="681" y="820"/>
                    <a:pt x="650" y="831"/>
                  </a:cubicBezTo>
                  <a:cubicBezTo>
                    <a:pt x="619" y="845"/>
                    <a:pt x="586" y="853"/>
                    <a:pt x="553" y="859"/>
                  </a:cubicBezTo>
                  <a:cubicBezTo>
                    <a:pt x="519" y="864"/>
                    <a:pt x="486" y="867"/>
                    <a:pt x="453" y="867"/>
                  </a:cubicBezTo>
                  <a:cubicBezTo>
                    <a:pt x="383" y="867"/>
                    <a:pt x="322" y="856"/>
                    <a:pt x="267" y="836"/>
                  </a:cubicBezTo>
                  <a:cubicBezTo>
                    <a:pt x="208" y="814"/>
                    <a:pt x="161" y="786"/>
                    <a:pt x="122" y="748"/>
                  </a:cubicBezTo>
                  <a:cubicBezTo>
                    <a:pt x="83" y="709"/>
                    <a:pt x="53" y="664"/>
                    <a:pt x="31" y="609"/>
                  </a:cubicBezTo>
                  <a:cubicBezTo>
                    <a:pt x="11" y="556"/>
                    <a:pt x="0" y="495"/>
                    <a:pt x="0" y="431"/>
                  </a:cubicBezTo>
                  <a:cubicBezTo>
                    <a:pt x="0" y="367"/>
                    <a:pt x="11" y="309"/>
                    <a:pt x="31" y="256"/>
                  </a:cubicBezTo>
                  <a:cubicBezTo>
                    <a:pt x="53" y="203"/>
                    <a:pt x="83" y="159"/>
                    <a:pt x="122" y="120"/>
                  </a:cubicBezTo>
                  <a:cubicBezTo>
                    <a:pt x="161" y="84"/>
                    <a:pt x="208" y="53"/>
                    <a:pt x="261" y="31"/>
                  </a:cubicBezTo>
                  <a:cubicBezTo>
                    <a:pt x="314" y="12"/>
                    <a:pt x="375" y="0"/>
                    <a:pt x="442" y="0"/>
                  </a:cubicBezTo>
                  <a:cubicBezTo>
                    <a:pt x="508" y="0"/>
                    <a:pt x="572" y="12"/>
                    <a:pt x="628" y="31"/>
                  </a:cubicBezTo>
                  <a:cubicBezTo>
                    <a:pt x="681" y="53"/>
                    <a:pt x="728" y="84"/>
                    <a:pt x="767" y="125"/>
                  </a:cubicBezTo>
                  <a:cubicBezTo>
                    <a:pt x="806" y="164"/>
                    <a:pt x="833" y="217"/>
                    <a:pt x="850" y="278"/>
                  </a:cubicBezTo>
                  <a:cubicBezTo>
                    <a:pt x="867" y="342"/>
                    <a:pt x="872" y="414"/>
                    <a:pt x="864" y="498"/>
                  </a:cubicBezTo>
                  <a:lnTo>
                    <a:pt x="186" y="353"/>
                  </a:lnTo>
                  <a:lnTo>
                    <a:pt x="186" y="353"/>
                  </a:lnTo>
                  <a:cubicBezTo>
                    <a:pt x="694" y="353"/>
                    <a:pt x="694" y="353"/>
                    <a:pt x="694" y="353"/>
                  </a:cubicBezTo>
                  <a:cubicBezTo>
                    <a:pt x="689" y="287"/>
                    <a:pt x="664" y="236"/>
                    <a:pt x="619" y="203"/>
                  </a:cubicBezTo>
                  <a:cubicBezTo>
                    <a:pt x="575" y="170"/>
                    <a:pt x="519" y="153"/>
                    <a:pt x="447" y="153"/>
                  </a:cubicBezTo>
                  <a:cubicBezTo>
                    <a:pt x="381"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7" name="Freeform 19">
              <a:extLst>
                <a:ext uri="{FF2B5EF4-FFF2-40B4-BE49-F238E27FC236}">
                  <a16:creationId xmlns:a16="http://schemas.microsoft.com/office/drawing/2014/main" id="{6BFAD720-95FA-884E-929C-46D517982443}"/>
                </a:ext>
              </a:extLst>
            </p:cNvPr>
            <p:cNvSpPr>
              <a:spLocks noChangeArrowheads="1"/>
            </p:cNvSpPr>
            <p:nvPr userDrawn="1"/>
          </p:nvSpPr>
          <p:spPr bwMode="auto">
            <a:xfrm>
              <a:off x="1828800" y="3743325"/>
              <a:ext cx="323850" cy="311150"/>
            </a:xfrm>
            <a:custGeom>
              <a:avLst/>
              <a:gdLst>
                <a:gd name="T0" fmla="*/ 722 w 901"/>
                <a:gd name="T1" fmla="*/ 147 h 865"/>
                <a:gd name="T2" fmla="*/ 722 w 901"/>
                <a:gd name="T3" fmla="*/ 147 h 865"/>
                <a:gd name="T4" fmla="*/ 728 w 901"/>
                <a:gd name="T5" fmla="*/ 17 h 865"/>
                <a:gd name="T6" fmla="*/ 900 w 901"/>
                <a:gd name="T7" fmla="*/ 17 h 865"/>
                <a:gd name="T8" fmla="*/ 900 w 901"/>
                <a:gd name="T9" fmla="*/ 842 h 865"/>
                <a:gd name="T10" fmla="*/ 731 w 901"/>
                <a:gd name="T11" fmla="*/ 842 h 865"/>
                <a:gd name="T12" fmla="*/ 722 w 901"/>
                <a:gd name="T13" fmla="*/ 709 h 865"/>
                <a:gd name="T14" fmla="*/ 669 w 901"/>
                <a:gd name="T15" fmla="*/ 778 h 865"/>
                <a:gd name="T16" fmla="*/ 597 w 901"/>
                <a:gd name="T17" fmla="*/ 825 h 865"/>
                <a:gd name="T18" fmla="*/ 514 w 901"/>
                <a:gd name="T19" fmla="*/ 856 h 865"/>
                <a:gd name="T20" fmla="*/ 433 w 901"/>
                <a:gd name="T21" fmla="*/ 864 h 865"/>
                <a:gd name="T22" fmla="*/ 261 w 901"/>
                <a:gd name="T23" fmla="*/ 836 h 865"/>
                <a:gd name="T24" fmla="*/ 125 w 901"/>
                <a:gd name="T25" fmla="*/ 753 h 865"/>
                <a:gd name="T26" fmla="*/ 33 w 901"/>
                <a:gd name="T27" fmla="*/ 617 h 865"/>
                <a:gd name="T28" fmla="*/ 0 w 901"/>
                <a:gd name="T29" fmla="*/ 428 h 865"/>
                <a:gd name="T30" fmla="*/ 36 w 901"/>
                <a:gd name="T31" fmla="*/ 245 h 865"/>
                <a:gd name="T32" fmla="*/ 128 w 901"/>
                <a:gd name="T33" fmla="*/ 111 h 865"/>
                <a:gd name="T34" fmla="*/ 267 w 901"/>
                <a:gd name="T35" fmla="*/ 28 h 865"/>
                <a:gd name="T36" fmla="*/ 436 w 901"/>
                <a:gd name="T37" fmla="*/ 0 h 865"/>
                <a:gd name="T38" fmla="*/ 606 w 901"/>
                <a:gd name="T39" fmla="*/ 39 h 865"/>
                <a:gd name="T40" fmla="*/ 722 w 901"/>
                <a:gd name="T41" fmla="*/ 147 h 865"/>
                <a:gd name="T42" fmla="*/ 450 w 901"/>
                <a:gd name="T43" fmla="*/ 156 h 865"/>
                <a:gd name="T44" fmla="*/ 450 w 901"/>
                <a:gd name="T45" fmla="*/ 156 h 865"/>
                <a:gd name="T46" fmla="*/ 344 w 901"/>
                <a:gd name="T47" fmla="*/ 175 h 865"/>
                <a:gd name="T48" fmla="*/ 258 w 901"/>
                <a:gd name="T49" fmla="*/ 231 h 865"/>
                <a:gd name="T50" fmla="*/ 197 w 901"/>
                <a:gd name="T51" fmla="*/ 317 h 865"/>
                <a:gd name="T52" fmla="*/ 178 w 901"/>
                <a:gd name="T53" fmla="*/ 428 h 865"/>
                <a:gd name="T54" fmla="*/ 197 w 901"/>
                <a:gd name="T55" fmla="*/ 545 h 865"/>
                <a:gd name="T56" fmla="*/ 258 w 901"/>
                <a:gd name="T57" fmla="*/ 631 h 865"/>
                <a:gd name="T58" fmla="*/ 344 w 901"/>
                <a:gd name="T59" fmla="*/ 684 h 865"/>
                <a:gd name="T60" fmla="*/ 450 w 901"/>
                <a:gd name="T61" fmla="*/ 703 h 865"/>
                <a:gd name="T62" fmla="*/ 600 w 901"/>
                <a:gd name="T63" fmla="*/ 664 h 865"/>
                <a:gd name="T64" fmla="*/ 692 w 901"/>
                <a:gd name="T65" fmla="*/ 561 h 865"/>
                <a:gd name="T66" fmla="*/ 722 w 901"/>
                <a:gd name="T67" fmla="*/ 431 h 865"/>
                <a:gd name="T68" fmla="*/ 692 w 901"/>
                <a:gd name="T69" fmla="*/ 298 h 865"/>
                <a:gd name="T70" fmla="*/ 600 w 901"/>
                <a:gd name="T71" fmla="*/ 198 h 865"/>
                <a:gd name="T72" fmla="*/ 450 w 901"/>
                <a:gd name="T73" fmla="*/ 156 h 865"/>
                <a:gd name="T74" fmla="*/ 722 w 901"/>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1" h="865">
                  <a:moveTo>
                    <a:pt x="722" y="147"/>
                  </a:moveTo>
                  <a:lnTo>
                    <a:pt x="722" y="147"/>
                  </a:lnTo>
                  <a:cubicBezTo>
                    <a:pt x="728" y="17"/>
                    <a:pt x="728" y="17"/>
                    <a:pt x="728" y="17"/>
                  </a:cubicBezTo>
                  <a:cubicBezTo>
                    <a:pt x="900" y="17"/>
                    <a:pt x="900" y="17"/>
                    <a:pt x="900" y="17"/>
                  </a:cubicBezTo>
                  <a:cubicBezTo>
                    <a:pt x="900" y="842"/>
                    <a:pt x="900" y="842"/>
                    <a:pt x="900" y="842"/>
                  </a:cubicBezTo>
                  <a:cubicBezTo>
                    <a:pt x="731" y="842"/>
                    <a:pt x="731" y="842"/>
                    <a:pt x="731" y="842"/>
                  </a:cubicBezTo>
                  <a:cubicBezTo>
                    <a:pt x="722" y="709"/>
                    <a:pt x="722" y="709"/>
                    <a:pt x="722" y="709"/>
                  </a:cubicBezTo>
                  <a:cubicBezTo>
                    <a:pt x="708" y="736"/>
                    <a:pt x="692" y="759"/>
                    <a:pt x="669" y="778"/>
                  </a:cubicBezTo>
                  <a:cubicBezTo>
                    <a:pt x="647" y="797"/>
                    <a:pt x="622" y="814"/>
                    <a:pt x="597" y="825"/>
                  </a:cubicBezTo>
                  <a:cubicBezTo>
                    <a:pt x="569" y="839"/>
                    <a:pt x="542" y="847"/>
                    <a:pt x="514" y="856"/>
                  </a:cubicBezTo>
                  <a:cubicBezTo>
                    <a:pt x="486" y="861"/>
                    <a:pt x="458" y="864"/>
                    <a:pt x="433" y="864"/>
                  </a:cubicBezTo>
                  <a:cubicBezTo>
                    <a:pt x="372" y="864"/>
                    <a:pt x="314" y="853"/>
                    <a:pt x="261" y="836"/>
                  </a:cubicBezTo>
                  <a:cubicBezTo>
                    <a:pt x="208" y="817"/>
                    <a:pt x="164" y="789"/>
                    <a:pt x="125" y="753"/>
                  </a:cubicBezTo>
                  <a:cubicBezTo>
                    <a:pt x="86" y="714"/>
                    <a:pt x="56" y="670"/>
                    <a:pt x="33" y="617"/>
                  </a:cubicBezTo>
                  <a:cubicBezTo>
                    <a:pt x="11" y="561"/>
                    <a:pt x="0" y="500"/>
                    <a:pt x="0" y="428"/>
                  </a:cubicBezTo>
                  <a:cubicBezTo>
                    <a:pt x="0" y="361"/>
                    <a:pt x="11" y="300"/>
                    <a:pt x="36" y="245"/>
                  </a:cubicBezTo>
                  <a:cubicBezTo>
                    <a:pt x="58" y="192"/>
                    <a:pt x="89" y="147"/>
                    <a:pt x="128" y="111"/>
                  </a:cubicBezTo>
                  <a:cubicBezTo>
                    <a:pt x="167" y="75"/>
                    <a:pt x="214" y="48"/>
                    <a:pt x="267" y="28"/>
                  </a:cubicBezTo>
                  <a:cubicBezTo>
                    <a:pt x="319" y="9"/>
                    <a:pt x="375" y="0"/>
                    <a:pt x="436" y="0"/>
                  </a:cubicBezTo>
                  <a:cubicBezTo>
                    <a:pt x="497" y="0"/>
                    <a:pt x="553" y="14"/>
                    <a:pt x="606" y="39"/>
                  </a:cubicBezTo>
                  <a:cubicBezTo>
                    <a:pt x="658" y="64"/>
                    <a:pt x="697" y="103"/>
                    <a:pt x="722" y="147"/>
                  </a:cubicBezTo>
                  <a:lnTo>
                    <a:pt x="450" y="156"/>
                  </a:lnTo>
                  <a:lnTo>
                    <a:pt x="450" y="156"/>
                  </a:lnTo>
                  <a:cubicBezTo>
                    <a:pt x="414" y="156"/>
                    <a:pt x="378" y="164"/>
                    <a:pt x="344" y="175"/>
                  </a:cubicBezTo>
                  <a:cubicBezTo>
                    <a:pt x="311" y="189"/>
                    <a:pt x="283" y="206"/>
                    <a:pt x="258" y="231"/>
                  </a:cubicBezTo>
                  <a:cubicBezTo>
                    <a:pt x="233" y="253"/>
                    <a:pt x="211" y="284"/>
                    <a:pt x="197" y="317"/>
                  </a:cubicBezTo>
                  <a:cubicBezTo>
                    <a:pt x="183" y="350"/>
                    <a:pt x="178" y="386"/>
                    <a:pt x="178" y="428"/>
                  </a:cubicBezTo>
                  <a:cubicBezTo>
                    <a:pt x="178" y="472"/>
                    <a:pt x="183" y="509"/>
                    <a:pt x="197" y="545"/>
                  </a:cubicBezTo>
                  <a:cubicBezTo>
                    <a:pt x="211" y="578"/>
                    <a:pt x="233" y="606"/>
                    <a:pt x="258" y="631"/>
                  </a:cubicBezTo>
                  <a:cubicBezTo>
                    <a:pt x="283" y="653"/>
                    <a:pt x="311" y="672"/>
                    <a:pt x="344" y="684"/>
                  </a:cubicBezTo>
                  <a:cubicBezTo>
                    <a:pt x="378" y="698"/>
                    <a:pt x="414" y="703"/>
                    <a:pt x="450" y="703"/>
                  </a:cubicBezTo>
                  <a:cubicBezTo>
                    <a:pt x="511" y="703"/>
                    <a:pt x="561" y="689"/>
                    <a:pt x="600" y="664"/>
                  </a:cubicBezTo>
                  <a:cubicBezTo>
                    <a:pt x="642" y="636"/>
                    <a:pt x="672" y="603"/>
                    <a:pt x="692" y="561"/>
                  </a:cubicBezTo>
                  <a:cubicBezTo>
                    <a:pt x="714" y="522"/>
                    <a:pt x="722" y="478"/>
                    <a:pt x="722" y="431"/>
                  </a:cubicBezTo>
                  <a:cubicBezTo>
                    <a:pt x="722" y="384"/>
                    <a:pt x="714" y="339"/>
                    <a:pt x="692" y="298"/>
                  </a:cubicBezTo>
                  <a:cubicBezTo>
                    <a:pt x="672" y="259"/>
                    <a:pt x="642" y="223"/>
                    <a:pt x="600" y="198"/>
                  </a:cubicBezTo>
                  <a:cubicBezTo>
                    <a:pt x="561" y="170"/>
                    <a:pt x="511"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8" name="Freeform 20">
              <a:extLst>
                <a:ext uri="{FF2B5EF4-FFF2-40B4-BE49-F238E27FC236}">
                  <a16:creationId xmlns:a16="http://schemas.microsoft.com/office/drawing/2014/main" id="{B09D0BD1-E6E3-C841-A4D8-6FF9A8C141DB}"/>
                </a:ext>
              </a:extLst>
            </p:cNvPr>
            <p:cNvSpPr>
              <a:spLocks noChangeArrowheads="1"/>
            </p:cNvSpPr>
            <p:nvPr userDrawn="1"/>
          </p:nvSpPr>
          <p:spPr bwMode="auto">
            <a:xfrm>
              <a:off x="2214563" y="3743325"/>
              <a:ext cx="266700" cy="312738"/>
            </a:xfrm>
            <a:custGeom>
              <a:avLst/>
              <a:gdLst>
                <a:gd name="T0" fmla="*/ 603 w 743"/>
                <a:gd name="T1" fmla="*/ 222 h 870"/>
                <a:gd name="T2" fmla="*/ 603 w 743"/>
                <a:gd name="T3" fmla="*/ 222 h 870"/>
                <a:gd name="T4" fmla="*/ 500 w 743"/>
                <a:gd name="T5" fmla="*/ 161 h 870"/>
                <a:gd name="T6" fmla="*/ 381 w 743"/>
                <a:gd name="T7" fmla="*/ 147 h 870"/>
                <a:gd name="T8" fmla="*/ 250 w 743"/>
                <a:gd name="T9" fmla="*/ 169 h 870"/>
                <a:gd name="T10" fmla="*/ 203 w 743"/>
                <a:gd name="T11" fmla="*/ 244 h 870"/>
                <a:gd name="T12" fmla="*/ 253 w 743"/>
                <a:gd name="T13" fmla="*/ 319 h 870"/>
                <a:gd name="T14" fmla="*/ 386 w 743"/>
                <a:gd name="T15" fmla="*/ 349 h 870"/>
                <a:gd name="T16" fmla="*/ 506 w 743"/>
                <a:gd name="T17" fmla="*/ 366 h 870"/>
                <a:gd name="T18" fmla="*/ 622 w 743"/>
                <a:gd name="T19" fmla="*/ 405 h 870"/>
                <a:gd name="T20" fmla="*/ 708 w 743"/>
                <a:gd name="T21" fmla="*/ 480 h 870"/>
                <a:gd name="T22" fmla="*/ 742 w 743"/>
                <a:gd name="T23" fmla="*/ 608 h 870"/>
                <a:gd name="T24" fmla="*/ 717 w 743"/>
                <a:gd name="T25" fmla="*/ 713 h 870"/>
                <a:gd name="T26" fmla="*/ 645 w 743"/>
                <a:gd name="T27" fmla="*/ 797 h 870"/>
                <a:gd name="T28" fmla="*/ 531 w 743"/>
                <a:gd name="T29" fmla="*/ 849 h 870"/>
                <a:gd name="T30" fmla="*/ 383 w 743"/>
                <a:gd name="T31" fmla="*/ 869 h 870"/>
                <a:gd name="T32" fmla="*/ 184 w 743"/>
                <a:gd name="T33" fmla="*/ 838 h 870"/>
                <a:gd name="T34" fmla="*/ 0 w 743"/>
                <a:gd name="T35" fmla="*/ 716 h 870"/>
                <a:gd name="T36" fmla="*/ 92 w 743"/>
                <a:gd name="T37" fmla="*/ 597 h 870"/>
                <a:gd name="T38" fmla="*/ 231 w 743"/>
                <a:gd name="T39" fmla="*/ 688 h 870"/>
                <a:gd name="T40" fmla="*/ 386 w 743"/>
                <a:gd name="T41" fmla="*/ 719 h 870"/>
                <a:gd name="T42" fmla="*/ 450 w 743"/>
                <a:gd name="T43" fmla="*/ 713 h 870"/>
                <a:gd name="T44" fmla="*/ 506 w 743"/>
                <a:gd name="T45" fmla="*/ 694 h 870"/>
                <a:gd name="T46" fmla="*/ 550 w 743"/>
                <a:gd name="T47" fmla="*/ 661 h 870"/>
                <a:gd name="T48" fmla="*/ 567 w 743"/>
                <a:gd name="T49" fmla="*/ 611 h 870"/>
                <a:gd name="T50" fmla="*/ 517 w 743"/>
                <a:gd name="T51" fmla="*/ 530 h 870"/>
                <a:gd name="T52" fmla="*/ 372 w 743"/>
                <a:gd name="T53" fmla="*/ 497 h 870"/>
                <a:gd name="T54" fmla="*/ 250 w 743"/>
                <a:gd name="T55" fmla="*/ 477 h 870"/>
                <a:gd name="T56" fmla="*/ 142 w 743"/>
                <a:gd name="T57" fmla="*/ 436 h 870"/>
                <a:gd name="T58" fmla="*/ 61 w 743"/>
                <a:gd name="T59" fmla="*/ 363 h 870"/>
                <a:gd name="T60" fmla="*/ 28 w 743"/>
                <a:gd name="T61" fmla="*/ 249 h 870"/>
                <a:gd name="T62" fmla="*/ 61 w 743"/>
                <a:gd name="T63" fmla="*/ 133 h 870"/>
                <a:gd name="T64" fmla="*/ 145 w 743"/>
                <a:gd name="T65" fmla="*/ 55 h 870"/>
                <a:gd name="T66" fmla="*/ 258 w 743"/>
                <a:gd name="T67" fmla="*/ 11 h 870"/>
                <a:gd name="T68" fmla="*/ 378 w 743"/>
                <a:gd name="T69" fmla="*/ 0 h 870"/>
                <a:gd name="T70" fmla="*/ 553 w 743"/>
                <a:gd name="T71" fmla="*/ 22 h 870"/>
                <a:gd name="T72" fmla="*/ 703 w 743"/>
                <a:gd name="T73" fmla="*/ 108 h 870"/>
                <a:gd name="T74" fmla="*/ 603 w 743"/>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3" h="870">
                  <a:moveTo>
                    <a:pt x="603" y="222"/>
                  </a:moveTo>
                  <a:lnTo>
                    <a:pt x="603" y="222"/>
                  </a:lnTo>
                  <a:cubicBezTo>
                    <a:pt x="572" y="191"/>
                    <a:pt x="536" y="172"/>
                    <a:pt x="500" y="161"/>
                  </a:cubicBezTo>
                  <a:cubicBezTo>
                    <a:pt x="464" y="149"/>
                    <a:pt x="425" y="147"/>
                    <a:pt x="381" y="147"/>
                  </a:cubicBezTo>
                  <a:cubicBezTo>
                    <a:pt x="328" y="144"/>
                    <a:pt x="284" y="152"/>
                    <a:pt x="250" y="169"/>
                  </a:cubicBezTo>
                  <a:cubicBezTo>
                    <a:pt x="220" y="188"/>
                    <a:pt x="203" y="211"/>
                    <a:pt x="203" y="244"/>
                  </a:cubicBezTo>
                  <a:cubicBezTo>
                    <a:pt x="203" y="280"/>
                    <a:pt x="220" y="302"/>
                    <a:pt x="253" y="319"/>
                  </a:cubicBezTo>
                  <a:cubicBezTo>
                    <a:pt x="286" y="333"/>
                    <a:pt x="331" y="344"/>
                    <a:pt x="386" y="349"/>
                  </a:cubicBezTo>
                  <a:cubicBezTo>
                    <a:pt x="425" y="352"/>
                    <a:pt x="464" y="358"/>
                    <a:pt x="506" y="366"/>
                  </a:cubicBezTo>
                  <a:cubicBezTo>
                    <a:pt x="550" y="372"/>
                    <a:pt x="586" y="386"/>
                    <a:pt x="622" y="405"/>
                  </a:cubicBezTo>
                  <a:cubicBezTo>
                    <a:pt x="658" y="422"/>
                    <a:pt x="686" y="447"/>
                    <a:pt x="708" y="480"/>
                  </a:cubicBezTo>
                  <a:cubicBezTo>
                    <a:pt x="731" y="513"/>
                    <a:pt x="742" y="555"/>
                    <a:pt x="742" y="608"/>
                  </a:cubicBezTo>
                  <a:cubicBezTo>
                    <a:pt x="742" y="647"/>
                    <a:pt x="733" y="683"/>
                    <a:pt x="717" y="713"/>
                  </a:cubicBezTo>
                  <a:cubicBezTo>
                    <a:pt x="700" y="747"/>
                    <a:pt x="675" y="774"/>
                    <a:pt x="645" y="797"/>
                  </a:cubicBezTo>
                  <a:cubicBezTo>
                    <a:pt x="614" y="819"/>
                    <a:pt x="575" y="838"/>
                    <a:pt x="531" y="849"/>
                  </a:cubicBezTo>
                  <a:cubicBezTo>
                    <a:pt x="486" y="863"/>
                    <a:pt x="439" y="869"/>
                    <a:pt x="383" y="869"/>
                  </a:cubicBezTo>
                  <a:cubicBezTo>
                    <a:pt x="317" y="869"/>
                    <a:pt x="247" y="858"/>
                    <a:pt x="184" y="838"/>
                  </a:cubicBezTo>
                  <a:cubicBezTo>
                    <a:pt x="117" y="819"/>
                    <a:pt x="56" y="777"/>
                    <a:pt x="0" y="716"/>
                  </a:cubicBezTo>
                  <a:cubicBezTo>
                    <a:pt x="92" y="597"/>
                    <a:pt x="92" y="597"/>
                    <a:pt x="92" y="597"/>
                  </a:cubicBezTo>
                  <a:cubicBezTo>
                    <a:pt x="131" y="638"/>
                    <a:pt x="178" y="669"/>
                    <a:pt x="231" y="688"/>
                  </a:cubicBezTo>
                  <a:cubicBezTo>
                    <a:pt x="286" y="708"/>
                    <a:pt x="336" y="719"/>
                    <a:pt x="386" y="719"/>
                  </a:cubicBezTo>
                  <a:cubicBezTo>
                    <a:pt x="408" y="719"/>
                    <a:pt x="428" y="716"/>
                    <a:pt x="450" y="713"/>
                  </a:cubicBezTo>
                  <a:cubicBezTo>
                    <a:pt x="470" y="708"/>
                    <a:pt x="489" y="702"/>
                    <a:pt x="506" y="694"/>
                  </a:cubicBezTo>
                  <a:cubicBezTo>
                    <a:pt x="522" y="686"/>
                    <a:pt x="539" y="674"/>
                    <a:pt x="550" y="661"/>
                  </a:cubicBezTo>
                  <a:cubicBezTo>
                    <a:pt x="561" y="647"/>
                    <a:pt x="567" y="630"/>
                    <a:pt x="567" y="611"/>
                  </a:cubicBezTo>
                  <a:cubicBezTo>
                    <a:pt x="567" y="574"/>
                    <a:pt x="550" y="547"/>
                    <a:pt x="517" y="530"/>
                  </a:cubicBezTo>
                  <a:cubicBezTo>
                    <a:pt x="483" y="513"/>
                    <a:pt x="433" y="502"/>
                    <a:pt x="372" y="497"/>
                  </a:cubicBezTo>
                  <a:cubicBezTo>
                    <a:pt x="331" y="494"/>
                    <a:pt x="292" y="486"/>
                    <a:pt x="250" y="477"/>
                  </a:cubicBezTo>
                  <a:cubicBezTo>
                    <a:pt x="211" y="469"/>
                    <a:pt x="175" y="455"/>
                    <a:pt x="142" y="436"/>
                  </a:cubicBezTo>
                  <a:cubicBezTo>
                    <a:pt x="109" y="416"/>
                    <a:pt x="81" y="394"/>
                    <a:pt x="61" y="363"/>
                  </a:cubicBezTo>
                  <a:cubicBezTo>
                    <a:pt x="39" y="333"/>
                    <a:pt x="28" y="294"/>
                    <a:pt x="28" y="249"/>
                  </a:cubicBezTo>
                  <a:cubicBezTo>
                    <a:pt x="28" y="202"/>
                    <a:pt x="39" y="166"/>
                    <a:pt x="61" y="133"/>
                  </a:cubicBezTo>
                  <a:cubicBezTo>
                    <a:pt x="84" y="102"/>
                    <a:pt x="111" y="74"/>
                    <a:pt x="145" y="55"/>
                  </a:cubicBezTo>
                  <a:cubicBezTo>
                    <a:pt x="178" y="36"/>
                    <a:pt x="217" y="22"/>
                    <a:pt x="258" y="11"/>
                  </a:cubicBezTo>
                  <a:cubicBezTo>
                    <a:pt x="297" y="2"/>
                    <a:pt x="339" y="0"/>
                    <a:pt x="378" y="0"/>
                  </a:cubicBezTo>
                  <a:cubicBezTo>
                    <a:pt x="445" y="0"/>
                    <a:pt x="503" y="8"/>
                    <a:pt x="553" y="22"/>
                  </a:cubicBezTo>
                  <a:cubicBezTo>
                    <a:pt x="606" y="38"/>
                    <a:pt x="656" y="66"/>
                    <a:pt x="703" y="108"/>
                  </a:cubicBezTo>
                  <a:lnTo>
                    <a:pt x="603"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9" name="Freeform 21">
              <a:extLst>
                <a:ext uri="{FF2B5EF4-FFF2-40B4-BE49-F238E27FC236}">
                  <a16:creationId xmlns:a16="http://schemas.microsoft.com/office/drawing/2014/main" id="{CDC3DBC6-A575-D149-AABD-9E08C54467A2}"/>
                </a:ext>
              </a:extLst>
            </p:cNvPr>
            <p:cNvSpPr>
              <a:spLocks noChangeArrowheads="1"/>
            </p:cNvSpPr>
            <p:nvPr userDrawn="1"/>
          </p:nvSpPr>
          <p:spPr bwMode="auto">
            <a:xfrm>
              <a:off x="2698750" y="3749675"/>
              <a:ext cx="63500" cy="298450"/>
            </a:xfrm>
            <a:custGeom>
              <a:avLst/>
              <a:gdLst>
                <a:gd name="T0" fmla="*/ 175 w 176"/>
                <a:gd name="T1" fmla="*/ 828 h 829"/>
                <a:gd name="T2" fmla="*/ 0 w 176"/>
                <a:gd name="T3" fmla="*/ 828 h 829"/>
                <a:gd name="T4" fmla="*/ 0 w 176"/>
                <a:gd name="T5" fmla="*/ 0 h 829"/>
                <a:gd name="T6" fmla="*/ 175 w 176"/>
                <a:gd name="T7" fmla="*/ 0 h 829"/>
                <a:gd name="T8" fmla="*/ 175 w 176"/>
                <a:gd name="T9" fmla="*/ 828 h 829"/>
              </a:gdLst>
              <a:ahLst/>
              <a:cxnLst>
                <a:cxn ang="0">
                  <a:pos x="T0" y="T1"/>
                </a:cxn>
                <a:cxn ang="0">
                  <a:pos x="T2" y="T3"/>
                </a:cxn>
                <a:cxn ang="0">
                  <a:pos x="T4" y="T5"/>
                </a:cxn>
                <a:cxn ang="0">
                  <a:pos x="T6" y="T7"/>
                </a:cxn>
                <a:cxn ang="0">
                  <a:pos x="T8" y="T9"/>
                </a:cxn>
              </a:cxnLst>
              <a:rect l="0" t="0" r="r" b="b"/>
              <a:pathLst>
                <a:path w="176" h="829">
                  <a:moveTo>
                    <a:pt x="175" y="828"/>
                  </a:moveTo>
                  <a:lnTo>
                    <a:pt x="0" y="828"/>
                  </a:lnTo>
                  <a:lnTo>
                    <a:pt x="0" y="0"/>
                  </a:lnTo>
                  <a:lnTo>
                    <a:pt x="175" y="0"/>
                  </a:lnTo>
                  <a:lnTo>
                    <a:pt x="175" y="82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0" name="Freeform 22">
              <a:extLst>
                <a:ext uri="{FF2B5EF4-FFF2-40B4-BE49-F238E27FC236}">
                  <a16:creationId xmlns:a16="http://schemas.microsoft.com/office/drawing/2014/main" id="{BB7BEBB9-4E5B-9046-AF7B-CA749F1D796E}"/>
                </a:ext>
              </a:extLst>
            </p:cNvPr>
            <p:cNvSpPr>
              <a:spLocks noChangeArrowheads="1"/>
            </p:cNvSpPr>
            <p:nvPr userDrawn="1"/>
          </p:nvSpPr>
          <p:spPr bwMode="auto">
            <a:xfrm>
              <a:off x="2822575" y="3665538"/>
              <a:ext cx="223838" cy="385762"/>
            </a:xfrm>
            <a:custGeom>
              <a:avLst/>
              <a:gdLst>
                <a:gd name="T0" fmla="*/ 342 w 620"/>
                <a:gd name="T1" fmla="*/ 0 h 1073"/>
                <a:gd name="T2" fmla="*/ 342 w 620"/>
                <a:gd name="T3" fmla="*/ 0 h 1073"/>
                <a:gd name="T4" fmla="*/ 342 w 620"/>
                <a:gd name="T5" fmla="*/ 239 h 1073"/>
                <a:gd name="T6" fmla="*/ 586 w 620"/>
                <a:gd name="T7" fmla="*/ 239 h 1073"/>
                <a:gd name="T8" fmla="*/ 586 w 620"/>
                <a:gd name="T9" fmla="*/ 389 h 1073"/>
                <a:gd name="T10" fmla="*/ 339 w 620"/>
                <a:gd name="T11" fmla="*/ 389 h 1073"/>
                <a:gd name="T12" fmla="*/ 339 w 620"/>
                <a:gd name="T13" fmla="*/ 780 h 1073"/>
                <a:gd name="T14" fmla="*/ 369 w 620"/>
                <a:gd name="T15" fmla="*/ 880 h 1073"/>
                <a:gd name="T16" fmla="*/ 461 w 620"/>
                <a:gd name="T17" fmla="*/ 917 h 1073"/>
                <a:gd name="T18" fmla="*/ 514 w 620"/>
                <a:gd name="T19" fmla="*/ 908 h 1073"/>
                <a:gd name="T20" fmla="*/ 566 w 620"/>
                <a:gd name="T21" fmla="*/ 886 h 1073"/>
                <a:gd name="T22" fmla="*/ 619 w 620"/>
                <a:gd name="T23" fmla="*/ 1033 h 1073"/>
                <a:gd name="T24" fmla="*/ 533 w 620"/>
                <a:gd name="T25" fmla="*/ 1061 h 1073"/>
                <a:gd name="T26" fmla="*/ 450 w 620"/>
                <a:gd name="T27" fmla="*/ 1072 h 1073"/>
                <a:gd name="T28" fmla="*/ 236 w 620"/>
                <a:gd name="T29" fmla="*/ 1000 h 1073"/>
                <a:gd name="T30" fmla="*/ 164 w 620"/>
                <a:gd name="T31" fmla="*/ 780 h 1073"/>
                <a:gd name="T32" fmla="*/ 164 w 620"/>
                <a:gd name="T33" fmla="*/ 389 h 1073"/>
                <a:gd name="T34" fmla="*/ 0 w 620"/>
                <a:gd name="T35" fmla="*/ 389 h 1073"/>
                <a:gd name="T36" fmla="*/ 0 w 620"/>
                <a:gd name="T37" fmla="*/ 239 h 1073"/>
                <a:gd name="T38" fmla="*/ 164 w 620"/>
                <a:gd name="T39" fmla="*/ 239 h 1073"/>
                <a:gd name="T40" fmla="*/ 164 w 620"/>
                <a:gd name="T41" fmla="*/ 19 h 1073"/>
                <a:gd name="T42" fmla="*/ 342 w 620"/>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0" h="1073">
                  <a:moveTo>
                    <a:pt x="342" y="0"/>
                  </a:moveTo>
                  <a:lnTo>
                    <a:pt x="342" y="0"/>
                  </a:lnTo>
                  <a:cubicBezTo>
                    <a:pt x="342" y="239"/>
                    <a:pt x="342" y="239"/>
                    <a:pt x="342" y="239"/>
                  </a:cubicBezTo>
                  <a:cubicBezTo>
                    <a:pt x="586" y="239"/>
                    <a:pt x="586" y="239"/>
                    <a:pt x="586" y="239"/>
                  </a:cubicBezTo>
                  <a:cubicBezTo>
                    <a:pt x="586" y="389"/>
                    <a:pt x="586" y="389"/>
                    <a:pt x="586" y="389"/>
                  </a:cubicBezTo>
                  <a:cubicBezTo>
                    <a:pt x="339" y="389"/>
                    <a:pt x="339" y="389"/>
                    <a:pt x="339" y="389"/>
                  </a:cubicBezTo>
                  <a:cubicBezTo>
                    <a:pt x="339" y="780"/>
                    <a:pt x="339" y="780"/>
                    <a:pt x="339" y="780"/>
                  </a:cubicBezTo>
                  <a:cubicBezTo>
                    <a:pt x="339" y="825"/>
                    <a:pt x="350" y="858"/>
                    <a:pt x="369" y="880"/>
                  </a:cubicBezTo>
                  <a:cubicBezTo>
                    <a:pt x="389" y="905"/>
                    <a:pt x="419" y="917"/>
                    <a:pt x="461" y="917"/>
                  </a:cubicBezTo>
                  <a:cubicBezTo>
                    <a:pt x="478" y="917"/>
                    <a:pt x="494" y="914"/>
                    <a:pt x="514" y="908"/>
                  </a:cubicBezTo>
                  <a:cubicBezTo>
                    <a:pt x="533" y="903"/>
                    <a:pt x="550" y="897"/>
                    <a:pt x="566" y="886"/>
                  </a:cubicBezTo>
                  <a:cubicBezTo>
                    <a:pt x="619" y="1033"/>
                    <a:pt x="619" y="1033"/>
                    <a:pt x="619" y="1033"/>
                  </a:cubicBezTo>
                  <a:cubicBezTo>
                    <a:pt x="589" y="1047"/>
                    <a:pt x="561" y="1055"/>
                    <a:pt x="533" y="1061"/>
                  </a:cubicBezTo>
                  <a:cubicBezTo>
                    <a:pt x="508" y="1069"/>
                    <a:pt x="480" y="1072"/>
                    <a:pt x="450" y="1072"/>
                  </a:cubicBezTo>
                  <a:cubicBezTo>
                    <a:pt x="358" y="1072"/>
                    <a:pt x="286" y="1050"/>
                    <a:pt x="236" y="1000"/>
                  </a:cubicBezTo>
                  <a:cubicBezTo>
                    <a:pt x="189" y="953"/>
                    <a:pt x="164" y="878"/>
                    <a:pt x="164" y="780"/>
                  </a:cubicBezTo>
                  <a:cubicBezTo>
                    <a:pt x="164" y="389"/>
                    <a:pt x="164" y="389"/>
                    <a:pt x="164" y="389"/>
                  </a:cubicBezTo>
                  <a:cubicBezTo>
                    <a:pt x="0" y="389"/>
                    <a:pt x="0" y="389"/>
                    <a:pt x="0" y="389"/>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1" name="Freeform 23">
              <a:extLst>
                <a:ext uri="{FF2B5EF4-FFF2-40B4-BE49-F238E27FC236}">
                  <a16:creationId xmlns:a16="http://schemas.microsoft.com/office/drawing/2014/main" id="{080B661A-CE54-F54E-89D2-212018C0C8D6}"/>
                </a:ext>
              </a:extLst>
            </p:cNvPr>
            <p:cNvSpPr>
              <a:spLocks noChangeArrowheads="1"/>
            </p:cNvSpPr>
            <p:nvPr userDrawn="1"/>
          </p:nvSpPr>
          <p:spPr bwMode="auto">
            <a:xfrm>
              <a:off x="3208338" y="3749675"/>
              <a:ext cx="492125" cy="298450"/>
            </a:xfrm>
            <a:custGeom>
              <a:avLst/>
              <a:gdLst>
                <a:gd name="T0" fmla="*/ 761 w 1368"/>
                <a:gd name="T1" fmla="*/ 0 h 829"/>
                <a:gd name="T2" fmla="*/ 961 w 1368"/>
                <a:gd name="T3" fmla="*/ 647 h 829"/>
                <a:gd name="T4" fmla="*/ 1169 w 1368"/>
                <a:gd name="T5" fmla="*/ 0 h 829"/>
                <a:gd name="T6" fmla="*/ 1367 w 1368"/>
                <a:gd name="T7" fmla="*/ 0 h 829"/>
                <a:gd name="T8" fmla="*/ 1072 w 1368"/>
                <a:gd name="T9" fmla="*/ 828 h 829"/>
                <a:gd name="T10" fmla="*/ 867 w 1368"/>
                <a:gd name="T11" fmla="*/ 828 h 829"/>
                <a:gd name="T12" fmla="*/ 767 w 1368"/>
                <a:gd name="T13" fmla="*/ 555 h 829"/>
                <a:gd name="T14" fmla="*/ 686 w 1368"/>
                <a:gd name="T15" fmla="*/ 267 h 829"/>
                <a:gd name="T16" fmla="*/ 603 w 1368"/>
                <a:gd name="T17" fmla="*/ 555 h 829"/>
                <a:gd name="T18" fmla="*/ 503 w 1368"/>
                <a:gd name="T19" fmla="*/ 828 h 829"/>
                <a:gd name="T20" fmla="*/ 297 w 1368"/>
                <a:gd name="T21" fmla="*/ 828 h 829"/>
                <a:gd name="T22" fmla="*/ 0 w 1368"/>
                <a:gd name="T23" fmla="*/ 0 h 829"/>
                <a:gd name="T24" fmla="*/ 200 w 1368"/>
                <a:gd name="T25" fmla="*/ 0 h 829"/>
                <a:gd name="T26" fmla="*/ 408 w 1368"/>
                <a:gd name="T27" fmla="*/ 647 h 829"/>
                <a:gd name="T28" fmla="*/ 608 w 1368"/>
                <a:gd name="T29" fmla="*/ 0 h 829"/>
                <a:gd name="T30" fmla="*/ 761 w 1368"/>
                <a:gd name="T31" fmla="*/ 0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8" h="829">
                  <a:moveTo>
                    <a:pt x="761" y="0"/>
                  </a:moveTo>
                  <a:lnTo>
                    <a:pt x="961" y="647"/>
                  </a:lnTo>
                  <a:lnTo>
                    <a:pt x="1169" y="0"/>
                  </a:lnTo>
                  <a:lnTo>
                    <a:pt x="1367" y="0"/>
                  </a:lnTo>
                  <a:lnTo>
                    <a:pt x="1072" y="828"/>
                  </a:lnTo>
                  <a:lnTo>
                    <a:pt x="867" y="828"/>
                  </a:lnTo>
                  <a:lnTo>
                    <a:pt x="767" y="555"/>
                  </a:lnTo>
                  <a:lnTo>
                    <a:pt x="686" y="267"/>
                  </a:lnTo>
                  <a:lnTo>
                    <a:pt x="603" y="555"/>
                  </a:lnTo>
                  <a:lnTo>
                    <a:pt x="503" y="828"/>
                  </a:lnTo>
                  <a:lnTo>
                    <a:pt x="297" y="828"/>
                  </a:lnTo>
                  <a:lnTo>
                    <a:pt x="0" y="0"/>
                  </a:lnTo>
                  <a:lnTo>
                    <a:pt x="200" y="0"/>
                  </a:lnTo>
                  <a:lnTo>
                    <a:pt x="408" y="647"/>
                  </a:lnTo>
                  <a:lnTo>
                    <a:pt x="608" y="0"/>
                  </a:lnTo>
                  <a:lnTo>
                    <a:pt x="761"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2" name="Freeform 24">
              <a:extLst>
                <a:ext uri="{FF2B5EF4-FFF2-40B4-BE49-F238E27FC236}">
                  <a16:creationId xmlns:a16="http://schemas.microsoft.com/office/drawing/2014/main" id="{176133A4-9D10-AA46-B5A3-49049F4D5C9B}"/>
                </a:ext>
              </a:extLst>
            </p:cNvPr>
            <p:cNvSpPr>
              <a:spLocks noChangeArrowheads="1"/>
            </p:cNvSpPr>
            <p:nvPr userDrawn="1"/>
          </p:nvSpPr>
          <p:spPr bwMode="auto">
            <a:xfrm>
              <a:off x="37322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3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8" y="147"/>
                    <a:pt x="127" y="111"/>
                  </a:cubicBezTo>
                  <a:cubicBezTo>
                    <a:pt x="166" y="75"/>
                    <a:pt x="211" y="48"/>
                    <a:pt x="263"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38" y="636"/>
                    <a:pt x="669" y="603"/>
                    <a:pt x="691" y="561"/>
                  </a:cubicBezTo>
                  <a:cubicBezTo>
                    <a:pt x="711" y="522"/>
                    <a:pt x="722" y="478"/>
                    <a:pt x="722" y="431"/>
                  </a:cubicBezTo>
                  <a:cubicBezTo>
                    <a:pt x="722" y="384"/>
                    <a:pt x="711" y="339"/>
                    <a:pt x="691" y="298"/>
                  </a:cubicBezTo>
                  <a:cubicBezTo>
                    <a:pt x="669" y="259"/>
                    <a:pt x="638"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3" name="Freeform 25">
              <a:extLst>
                <a:ext uri="{FF2B5EF4-FFF2-40B4-BE49-F238E27FC236}">
                  <a16:creationId xmlns:a16="http://schemas.microsoft.com/office/drawing/2014/main" id="{EBC0571E-ABB8-FC44-97F2-8FDE6EF0A93B}"/>
                </a:ext>
              </a:extLst>
            </p:cNvPr>
            <p:cNvSpPr>
              <a:spLocks noChangeArrowheads="1"/>
            </p:cNvSpPr>
            <p:nvPr userDrawn="1"/>
          </p:nvSpPr>
          <p:spPr bwMode="auto">
            <a:xfrm>
              <a:off x="4116388" y="3743325"/>
              <a:ext cx="268287" cy="312738"/>
            </a:xfrm>
            <a:custGeom>
              <a:avLst/>
              <a:gdLst>
                <a:gd name="T0" fmla="*/ 605 w 745"/>
                <a:gd name="T1" fmla="*/ 222 h 870"/>
                <a:gd name="T2" fmla="*/ 605 w 745"/>
                <a:gd name="T3" fmla="*/ 222 h 870"/>
                <a:gd name="T4" fmla="*/ 500 w 745"/>
                <a:gd name="T5" fmla="*/ 161 h 870"/>
                <a:gd name="T6" fmla="*/ 383 w 745"/>
                <a:gd name="T7" fmla="*/ 147 h 870"/>
                <a:gd name="T8" fmla="*/ 253 w 745"/>
                <a:gd name="T9" fmla="*/ 169 h 870"/>
                <a:gd name="T10" fmla="*/ 203 w 745"/>
                <a:gd name="T11" fmla="*/ 244 h 870"/>
                <a:gd name="T12" fmla="*/ 256 w 745"/>
                <a:gd name="T13" fmla="*/ 319 h 870"/>
                <a:gd name="T14" fmla="*/ 386 w 745"/>
                <a:gd name="T15" fmla="*/ 349 h 870"/>
                <a:gd name="T16" fmla="*/ 508 w 745"/>
                <a:gd name="T17" fmla="*/ 366 h 870"/>
                <a:gd name="T18" fmla="*/ 625 w 745"/>
                <a:gd name="T19" fmla="*/ 405 h 870"/>
                <a:gd name="T20" fmla="*/ 711 w 745"/>
                <a:gd name="T21" fmla="*/ 480 h 870"/>
                <a:gd name="T22" fmla="*/ 744 w 745"/>
                <a:gd name="T23" fmla="*/ 608 h 870"/>
                <a:gd name="T24" fmla="*/ 717 w 745"/>
                <a:gd name="T25" fmla="*/ 713 h 870"/>
                <a:gd name="T26" fmla="*/ 644 w 745"/>
                <a:gd name="T27" fmla="*/ 797 h 870"/>
                <a:gd name="T28" fmla="*/ 533 w 745"/>
                <a:gd name="T29" fmla="*/ 849 h 870"/>
                <a:gd name="T30" fmla="*/ 386 w 745"/>
                <a:gd name="T31" fmla="*/ 869 h 870"/>
                <a:gd name="T32" fmla="*/ 183 w 745"/>
                <a:gd name="T33" fmla="*/ 838 h 870"/>
                <a:gd name="T34" fmla="*/ 0 w 745"/>
                <a:gd name="T35" fmla="*/ 716 h 870"/>
                <a:gd name="T36" fmla="*/ 92 w 745"/>
                <a:gd name="T37" fmla="*/ 597 h 870"/>
                <a:gd name="T38" fmla="*/ 233 w 745"/>
                <a:gd name="T39" fmla="*/ 688 h 870"/>
                <a:gd name="T40" fmla="*/ 389 w 745"/>
                <a:gd name="T41" fmla="*/ 719 h 870"/>
                <a:gd name="T42" fmla="*/ 450 w 745"/>
                <a:gd name="T43" fmla="*/ 713 h 870"/>
                <a:gd name="T44" fmla="*/ 508 w 745"/>
                <a:gd name="T45" fmla="*/ 694 h 870"/>
                <a:gd name="T46" fmla="*/ 550 w 745"/>
                <a:gd name="T47" fmla="*/ 661 h 870"/>
                <a:gd name="T48" fmla="*/ 567 w 745"/>
                <a:gd name="T49" fmla="*/ 611 h 870"/>
                <a:gd name="T50" fmla="*/ 519 w 745"/>
                <a:gd name="T51" fmla="*/ 530 h 870"/>
                <a:gd name="T52" fmla="*/ 372 w 745"/>
                <a:gd name="T53" fmla="*/ 497 h 870"/>
                <a:gd name="T54" fmla="*/ 253 w 745"/>
                <a:gd name="T55" fmla="*/ 477 h 870"/>
                <a:gd name="T56" fmla="*/ 142 w 745"/>
                <a:gd name="T57" fmla="*/ 436 h 870"/>
                <a:gd name="T58" fmla="*/ 61 w 745"/>
                <a:gd name="T59" fmla="*/ 363 h 870"/>
                <a:gd name="T60" fmla="*/ 30 w 745"/>
                <a:gd name="T61" fmla="*/ 249 h 870"/>
                <a:gd name="T62" fmla="*/ 61 w 745"/>
                <a:gd name="T63" fmla="*/ 133 h 870"/>
                <a:gd name="T64" fmla="*/ 147 w 745"/>
                <a:gd name="T65" fmla="*/ 55 h 870"/>
                <a:gd name="T66" fmla="*/ 258 w 745"/>
                <a:gd name="T67" fmla="*/ 11 h 870"/>
                <a:gd name="T68" fmla="*/ 381 w 745"/>
                <a:gd name="T69" fmla="*/ 0 h 870"/>
                <a:gd name="T70" fmla="*/ 556 w 745"/>
                <a:gd name="T71" fmla="*/ 22 h 870"/>
                <a:gd name="T72" fmla="*/ 705 w 745"/>
                <a:gd name="T73" fmla="*/ 108 h 870"/>
                <a:gd name="T74" fmla="*/ 605 w 745"/>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5" h="870">
                  <a:moveTo>
                    <a:pt x="605" y="222"/>
                  </a:moveTo>
                  <a:lnTo>
                    <a:pt x="605" y="222"/>
                  </a:lnTo>
                  <a:cubicBezTo>
                    <a:pt x="572" y="191"/>
                    <a:pt x="536" y="172"/>
                    <a:pt x="500" y="161"/>
                  </a:cubicBezTo>
                  <a:cubicBezTo>
                    <a:pt x="464" y="149"/>
                    <a:pt x="425" y="147"/>
                    <a:pt x="383" y="147"/>
                  </a:cubicBezTo>
                  <a:cubicBezTo>
                    <a:pt x="328" y="144"/>
                    <a:pt x="286" y="152"/>
                    <a:pt x="253" y="169"/>
                  </a:cubicBezTo>
                  <a:cubicBezTo>
                    <a:pt x="219" y="188"/>
                    <a:pt x="203" y="211"/>
                    <a:pt x="203" y="244"/>
                  </a:cubicBezTo>
                  <a:cubicBezTo>
                    <a:pt x="206" y="280"/>
                    <a:pt x="222" y="302"/>
                    <a:pt x="256" y="319"/>
                  </a:cubicBezTo>
                  <a:cubicBezTo>
                    <a:pt x="289" y="333"/>
                    <a:pt x="333" y="344"/>
                    <a:pt x="386" y="349"/>
                  </a:cubicBezTo>
                  <a:cubicBezTo>
                    <a:pt x="425" y="352"/>
                    <a:pt x="467" y="358"/>
                    <a:pt x="508" y="366"/>
                  </a:cubicBezTo>
                  <a:cubicBezTo>
                    <a:pt x="550" y="372"/>
                    <a:pt x="589" y="386"/>
                    <a:pt x="625" y="405"/>
                  </a:cubicBezTo>
                  <a:cubicBezTo>
                    <a:pt x="658" y="422"/>
                    <a:pt x="689" y="447"/>
                    <a:pt x="711" y="480"/>
                  </a:cubicBezTo>
                  <a:cubicBezTo>
                    <a:pt x="733" y="513"/>
                    <a:pt x="744" y="555"/>
                    <a:pt x="744" y="608"/>
                  </a:cubicBezTo>
                  <a:cubicBezTo>
                    <a:pt x="744" y="647"/>
                    <a:pt x="736" y="683"/>
                    <a:pt x="717" y="713"/>
                  </a:cubicBezTo>
                  <a:cubicBezTo>
                    <a:pt x="700" y="747"/>
                    <a:pt x="678" y="774"/>
                    <a:pt x="644" y="797"/>
                  </a:cubicBezTo>
                  <a:cubicBezTo>
                    <a:pt x="614" y="819"/>
                    <a:pt x="578" y="838"/>
                    <a:pt x="533" y="849"/>
                  </a:cubicBezTo>
                  <a:cubicBezTo>
                    <a:pt x="489" y="863"/>
                    <a:pt x="439" y="869"/>
                    <a:pt x="386" y="869"/>
                  </a:cubicBezTo>
                  <a:cubicBezTo>
                    <a:pt x="317" y="869"/>
                    <a:pt x="250" y="858"/>
                    <a:pt x="183" y="838"/>
                  </a:cubicBezTo>
                  <a:cubicBezTo>
                    <a:pt x="117" y="819"/>
                    <a:pt x="56" y="777"/>
                    <a:pt x="0" y="716"/>
                  </a:cubicBezTo>
                  <a:cubicBezTo>
                    <a:pt x="92" y="597"/>
                    <a:pt x="92" y="597"/>
                    <a:pt x="92" y="597"/>
                  </a:cubicBezTo>
                  <a:cubicBezTo>
                    <a:pt x="133" y="638"/>
                    <a:pt x="181" y="669"/>
                    <a:pt x="233" y="688"/>
                  </a:cubicBezTo>
                  <a:cubicBezTo>
                    <a:pt x="286" y="708"/>
                    <a:pt x="339" y="719"/>
                    <a:pt x="389" y="719"/>
                  </a:cubicBezTo>
                  <a:cubicBezTo>
                    <a:pt x="408" y="719"/>
                    <a:pt x="430" y="716"/>
                    <a:pt x="450" y="713"/>
                  </a:cubicBezTo>
                  <a:cubicBezTo>
                    <a:pt x="472" y="708"/>
                    <a:pt x="492" y="702"/>
                    <a:pt x="508" y="694"/>
                  </a:cubicBezTo>
                  <a:cubicBezTo>
                    <a:pt x="525" y="686"/>
                    <a:pt x="539" y="674"/>
                    <a:pt x="550" y="661"/>
                  </a:cubicBezTo>
                  <a:cubicBezTo>
                    <a:pt x="561" y="647"/>
                    <a:pt x="567" y="630"/>
                    <a:pt x="567" y="611"/>
                  </a:cubicBezTo>
                  <a:cubicBezTo>
                    <a:pt x="569" y="574"/>
                    <a:pt x="553" y="547"/>
                    <a:pt x="519" y="530"/>
                  </a:cubicBezTo>
                  <a:cubicBezTo>
                    <a:pt x="483" y="513"/>
                    <a:pt x="436" y="502"/>
                    <a:pt x="372" y="497"/>
                  </a:cubicBezTo>
                  <a:cubicBezTo>
                    <a:pt x="333" y="494"/>
                    <a:pt x="292" y="486"/>
                    <a:pt x="253" y="477"/>
                  </a:cubicBezTo>
                  <a:cubicBezTo>
                    <a:pt x="211" y="469"/>
                    <a:pt x="175" y="455"/>
                    <a:pt x="142" y="436"/>
                  </a:cubicBezTo>
                  <a:cubicBezTo>
                    <a:pt x="108" y="416"/>
                    <a:pt x="83" y="394"/>
                    <a:pt x="61" y="363"/>
                  </a:cubicBezTo>
                  <a:cubicBezTo>
                    <a:pt x="42" y="333"/>
                    <a:pt x="30" y="294"/>
                    <a:pt x="30" y="249"/>
                  </a:cubicBezTo>
                  <a:cubicBezTo>
                    <a:pt x="30" y="202"/>
                    <a:pt x="42" y="166"/>
                    <a:pt x="61" y="133"/>
                  </a:cubicBezTo>
                  <a:cubicBezTo>
                    <a:pt x="83" y="102"/>
                    <a:pt x="111" y="74"/>
                    <a:pt x="147" y="55"/>
                  </a:cubicBezTo>
                  <a:cubicBezTo>
                    <a:pt x="181" y="36"/>
                    <a:pt x="217" y="22"/>
                    <a:pt x="258" y="11"/>
                  </a:cubicBezTo>
                  <a:cubicBezTo>
                    <a:pt x="300" y="2"/>
                    <a:pt x="339" y="0"/>
                    <a:pt x="381" y="0"/>
                  </a:cubicBezTo>
                  <a:cubicBezTo>
                    <a:pt x="444" y="0"/>
                    <a:pt x="503" y="8"/>
                    <a:pt x="556" y="22"/>
                  </a:cubicBezTo>
                  <a:cubicBezTo>
                    <a:pt x="605" y="38"/>
                    <a:pt x="656" y="66"/>
                    <a:pt x="705" y="108"/>
                  </a:cubicBezTo>
                  <a:lnTo>
                    <a:pt x="605"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4" name="Freeform 26">
              <a:extLst>
                <a:ext uri="{FF2B5EF4-FFF2-40B4-BE49-F238E27FC236}">
                  <a16:creationId xmlns:a16="http://schemas.microsoft.com/office/drawing/2014/main" id="{FDEA2832-C625-8640-8016-1488753EFEDD}"/>
                </a:ext>
              </a:extLst>
            </p:cNvPr>
            <p:cNvSpPr>
              <a:spLocks noChangeArrowheads="1"/>
            </p:cNvSpPr>
            <p:nvPr userDrawn="1"/>
          </p:nvSpPr>
          <p:spPr bwMode="auto">
            <a:xfrm>
              <a:off x="4600575" y="3744913"/>
              <a:ext cx="476250" cy="301625"/>
            </a:xfrm>
            <a:custGeom>
              <a:avLst/>
              <a:gdLst>
                <a:gd name="T0" fmla="*/ 575 w 1322"/>
                <a:gd name="T1" fmla="*/ 839 h 840"/>
                <a:gd name="T2" fmla="*/ 575 w 1322"/>
                <a:gd name="T3" fmla="*/ 839 h 840"/>
                <a:gd name="T4" fmla="*/ 575 w 1322"/>
                <a:gd name="T5" fmla="*/ 386 h 840"/>
                <a:gd name="T6" fmla="*/ 564 w 1322"/>
                <a:gd name="T7" fmla="*/ 300 h 840"/>
                <a:gd name="T8" fmla="*/ 525 w 1322"/>
                <a:gd name="T9" fmla="*/ 228 h 840"/>
                <a:gd name="T10" fmla="*/ 461 w 1322"/>
                <a:gd name="T11" fmla="*/ 178 h 840"/>
                <a:gd name="T12" fmla="*/ 381 w 1322"/>
                <a:gd name="T13" fmla="*/ 161 h 840"/>
                <a:gd name="T14" fmla="*/ 295 w 1322"/>
                <a:gd name="T15" fmla="*/ 178 h 840"/>
                <a:gd name="T16" fmla="*/ 231 w 1322"/>
                <a:gd name="T17" fmla="*/ 228 h 840"/>
                <a:gd name="T18" fmla="*/ 192 w 1322"/>
                <a:gd name="T19" fmla="*/ 300 h 840"/>
                <a:gd name="T20" fmla="*/ 175 w 1322"/>
                <a:gd name="T21" fmla="*/ 386 h 840"/>
                <a:gd name="T22" fmla="*/ 175 w 1322"/>
                <a:gd name="T23" fmla="*/ 839 h 840"/>
                <a:gd name="T24" fmla="*/ 0 w 1322"/>
                <a:gd name="T25" fmla="*/ 839 h 840"/>
                <a:gd name="T26" fmla="*/ 0 w 1322"/>
                <a:gd name="T27" fmla="*/ 14 h 840"/>
                <a:gd name="T28" fmla="*/ 164 w 1322"/>
                <a:gd name="T29" fmla="*/ 14 h 840"/>
                <a:gd name="T30" fmla="*/ 175 w 1322"/>
                <a:gd name="T31" fmla="*/ 125 h 840"/>
                <a:gd name="T32" fmla="*/ 278 w 1322"/>
                <a:gd name="T33" fmla="*/ 28 h 840"/>
                <a:gd name="T34" fmla="*/ 411 w 1322"/>
                <a:gd name="T35" fmla="*/ 0 h 840"/>
                <a:gd name="T36" fmla="*/ 492 w 1322"/>
                <a:gd name="T37" fmla="*/ 8 h 840"/>
                <a:gd name="T38" fmla="*/ 567 w 1322"/>
                <a:gd name="T39" fmla="*/ 36 h 840"/>
                <a:gd name="T40" fmla="*/ 631 w 1322"/>
                <a:gd name="T41" fmla="*/ 89 h 840"/>
                <a:gd name="T42" fmla="*/ 675 w 1322"/>
                <a:gd name="T43" fmla="*/ 167 h 840"/>
                <a:gd name="T44" fmla="*/ 803 w 1322"/>
                <a:gd name="T45" fmla="*/ 39 h 840"/>
                <a:gd name="T46" fmla="*/ 964 w 1322"/>
                <a:gd name="T47" fmla="*/ 3 h 840"/>
                <a:gd name="T48" fmla="*/ 1230 w 1322"/>
                <a:gd name="T49" fmla="*/ 103 h 840"/>
                <a:gd name="T50" fmla="*/ 1321 w 1322"/>
                <a:gd name="T51" fmla="*/ 383 h 840"/>
                <a:gd name="T52" fmla="*/ 1321 w 1322"/>
                <a:gd name="T53" fmla="*/ 839 h 840"/>
                <a:gd name="T54" fmla="*/ 1145 w 1322"/>
                <a:gd name="T55" fmla="*/ 839 h 840"/>
                <a:gd name="T56" fmla="*/ 1145 w 1322"/>
                <a:gd name="T57" fmla="*/ 381 h 840"/>
                <a:gd name="T58" fmla="*/ 1134 w 1322"/>
                <a:gd name="T59" fmla="*/ 297 h 840"/>
                <a:gd name="T60" fmla="*/ 1097 w 1322"/>
                <a:gd name="T61" fmla="*/ 225 h 840"/>
                <a:gd name="T62" fmla="*/ 1039 w 1322"/>
                <a:gd name="T63" fmla="*/ 178 h 840"/>
                <a:gd name="T64" fmla="*/ 959 w 1322"/>
                <a:gd name="T65" fmla="*/ 161 h 840"/>
                <a:gd name="T66" fmla="*/ 872 w 1322"/>
                <a:gd name="T67" fmla="*/ 181 h 840"/>
                <a:gd name="T68" fmla="*/ 809 w 1322"/>
                <a:gd name="T69" fmla="*/ 228 h 840"/>
                <a:gd name="T70" fmla="*/ 767 w 1322"/>
                <a:gd name="T71" fmla="*/ 300 h 840"/>
                <a:gd name="T72" fmla="*/ 753 w 1322"/>
                <a:gd name="T73" fmla="*/ 386 h 840"/>
                <a:gd name="T74" fmla="*/ 753 w 1322"/>
                <a:gd name="T75" fmla="*/ 839 h 840"/>
                <a:gd name="T76" fmla="*/ 575 w 1322"/>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2" h="840">
                  <a:moveTo>
                    <a:pt x="575" y="839"/>
                  </a:moveTo>
                  <a:lnTo>
                    <a:pt x="575" y="839"/>
                  </a:lnTo>
                  <a:cubicBezTo>
                    <a:pt x="575" y="386"/>
                    <a:pt x="575" y="386"/>
                    <a:pt x="575" y="386"/>
                  </a:cubicBezTo>
                  <a:cubicBezTo>
                    <a:pt x="575" y="356"/>
                    <a:pt x="572" y="325"/>
                    <a:pt x="564" y="300"/>
                  </a:cubicBezTo>
                  <a:cubicBezTo>
                    <a:pt x="556" y="272"/>
                    <a:pt x="542" y="247"/>
                    <a:pt x="525" y="228"/>
                  </a:cubicBezTo>
                  <a:cubicBezTo>
                    <a:pt x="509" y="206"/>
                    <a:pt x="486" y="189"/>
                    <a:pt x="461" y="178"/>
                  </a:cubicBezTo>
                  <a:cubicBezTo>
                    <a:pt x="436" y="167"/>
                    <a:pt x="411" y="161"/>
                    <a:pt x="381" y="161"/>
                  </a:cubicBezTo>
                  <a:cubicBezTo>
                    <a:pt x="347" y="161"/>
                    <a:pt x="320" y="167"/>
                    <a:pt x="295" y="178"/>
                  </a:cubicBezTo>
                  <a:cubicBezTo>
                    <a:pt x="270" y="189"/>
                    <a:pt x="250" y="206"/>
                    <a:pt x="231" y="228"/>
                  </a:cubicBezTo>
                  <a:cubicBezTo>
                    <a:pt x="214" y="247"/>
                    <a:pt x="200" y="272"/>
                    <a:pt x="192" y="300"/>
                  </a:cubicBezTo>
                  <a:cubicBezTo>
                    <a:pt x="181" y="325"/>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200" y="78"/>
                    <a:pt x="234" y="47"/>
                    <a:pt x="278" y="28"/>
                  </a:cubicBezTo>
                  <a:cubicBezTo>
                    <a:pt x="323" y="8"/>
                    <a:pt x="367" y="0"/>
                    <a:pt x="411" y="0"/>
                  </a:cubicBezTo>
                  <a:cubicBezTo>
                    <a:pt x="439" y="0"/>
                    <a:pt x="467" y="3"/>
                    <a:pt x="492" y="8"/>
                  </a:cubicBezTo>
                  <a:cubicBezTo>
                    <a:pt x="520" y="14"/>
                    <a:pt x="542" y="22"/>
                    <a:pt x="567" y="36"/>
                  </a:cubicBezTo>
                  <a:cubicBezTo>
                    <a:pt x="589" y="50"/>
                    <a:pt x="611" y="67"/>
                    <a:pt x="631" y="89"/>
                  </a:cubicBezTo>
                  <a:cubicBezTo>
                    <a:pt x="647" y="111"/>
                    <a:pt x="664" y="136"/>
                    <a:pt x="675" y="167"/>
                  </a:cubicBezTo>
                  <a:cubicBezTo>
                    <a:pt x="711" y="106"/>
                    <a:pt x="753" y="61"/>
                    <a:pt x="803" y="39"/>
                  </a:cubicBezTo>
                  <a:cubicBezTo>
                    <a:pt x="853" y="14"/>
                    <a:pt x="906" y="3"/>
                    <a:pt x="964" y="3"/>
                  </a:cubicBezTo>
                  <a:cubicBezTo>
                    <a:pt x="1084" y="3"/>
                    <a:pt x="1172" y="36"/>
                    <a:pt x="1230" y="103"/>
                  </a:cubicBezTo>
                  <a:cubicBezTo>
                    <a:pt x="1291" y="169"/>
                    <a:pt x="1321" y="264"/>
                    <a:pt x="1321" y="383"/>
                  </a:cubicBezTo>
                  <a:cubicBezTo>
                    <a:pt x="1321" y="839"/>
                    <a:pt x="1321" y="839"/>
                    <a:pt x="1321" y="839"/>
                  </a:cubicBezTo>
                  <a:cubicBezTo>
                    <a:pt x="1145" y="839"/>
                    <a:pt x="1145" y="839"/>
                    <a:pt x="1145" y="839"/>
                  </a:cubicBezTo>
                  <a:cubicBezTo>
                    <a:pt x="1145" y="381"/>
                    <a:pt x="1145" y="381"/>
                    <a:pt x="1145" y="381"/>
                  </a:cubicBezTo>
                  <a:cubicBezTo>
                    <a:pt x="1145" y="353"/>
                    <a:pt x="1139" y="322"/>
                    <a:pt x="1134" y="297"/>
                  </a:cubicBezTo>
                  <a:cubicBezTo>
                    <a:pt x="1125" y="269"/>
                    <a:pt x="1114" y="247"/>
                    <a:pt x="1097" y="225"/>
                  </a:cubicBezTo>
                  <a:cubicBezTo>
                    <a:pt x="1081" y="206"/>
                    <a:pt x="1061" y="189"/>
                    <a:pt x="1039" y="178"/>
                  </a:cubicBezTo>
                  <a:cubicBezTo>
                    <a:pt x="1017" y="167"/>
                    <a:pt x="989" y="161"/>
                    <a:pt x="959" y="161"/>
                  </a:cubicBezTo>
                  <a:cubicBezTo>
                    <a:pt x="928" y="161"/>
                    <a:pt x="900" y="169"/>
                    <a:pt x="872" y="181"/>
                  </a:cubicBezTo>
                  <a:cubicBezTo>
                    <a:pt x="847" y="192"/>
                    <a:pt x="825" y="208"/>
                    <a:pt x="809" y="228"/>
                  </a:cubicBezTo>
                  <a:cubicBezTo>
                    <a:pt x="792" y="247"/>
                    <a:pt x="778" y="272"/>
                    <a:pt x="767" y="300"/>
                  </a:cubicBezTo>
                  <a:cubicBezTo>
                    <a:pt x="759" y="325"/>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5" name="Freeform 27">
              <a:extLst>
                <a:ext uri="{FF2B5EF4-FFF2-40B4-BE49-F238E27FC236}">
                  <a16:creationId xmlns:a16="http://schemas.microsoft.com/office/drawing/2014/main" id="{0548D9CC-3EC1-9441-B598-EE5063BE6918}"/>
                </a:ext>
              </a:extLst>
            </p:cNvPr>
            <p:cNvSpPr>
              <a:spLocks noChangeArrowheads="1"/>
            </p:cNvSpPr>
            <p:nvPr userDrawn="1"/>
          </p:nvSpPr>
          <p:spPr bwMode="auto">
            <a:xfrm>
              <a:off x="5138738" y="3743325"/>
              <a:ext cx="315912"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2 w 876"/>
                <a:gd name="T11" fmla="*/ 680 h 864"/>
                <a:gd name="T12" fmla="*/ 703 w 876"/>
                <a:gd name="T13" fmla="*/ 616 h 864"/>
                <a:gd name="T14" fmla="*/ 817 w 876"/>
                <a:gd name="T15" fmla="*/ 724 h 864"/>
                <a:gd name="T16" fmla="*/ 742 w 876"/>
                <a:gd name="T17" fmla="*/ 786 h 864"/>
                <a:gd name="T18" fmla="*/ 653 w 876"/>
                <a:gd name="T19" fmla="*/ 830 h 864"/>
                <a:gd name="T20" fmla="*/ 553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3 w 876"/>
                <a:gd name="T35" fmla="*/ 119 h 864"/>
                <a:gd name="T36" fmla="*/ 261 w 876"/>
                <a:gd name="T37" fmla="*/ 30 h 864"/>
                <a:gd name="T38" fmla="*/ 442 w 876"/>
                <a:gd name="T39" fmla="*/ 0 h 864"/>
                <a:gd name="T40" fmla="*/ 628 w 876"/>
                <a:gd name="T41" fmla="*/ 30 h 864"/>
                <a:gd name="T42" fmla="*/ 767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2 w 876"/>
                <a:gd name="T55" fmla="*/ 202 h 864"/>
                <a:gd name="T56" fmla="*/ 448 w 876"/>
                <a:gd name="T57" fmla="*/ 152 h 864"/>
                <a:gd name="T58" fmla="*/ 278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17" y="686"/>
                    <a:pt x="381" y="705"/>
                    <a:pt x="459" y="705"/>
                  </a:cubicBezTo>
                  <a:cubicBezTo>
                    <a:pt x="500" y="705"/>
                    <a:pt x="548" y="697"/>
                    <a:pt x="592" y="680"/>
                  </a:cubicBezTo>
                  <a:cubicBezTo>
                    <a:pt x="639" y="666"/>
                    <a:pt x="675" y="644"/>
                    <a:pt x="703" y="616"/>
                  </a:cubicBezTo>
                  <a:cubicBezTo>
                    <a:pt x="817" y="724"/>
                    <a:pt x="817" y="724"/>
                    <a:pt x="817" y="724"/>
                  </a:cubicBezTo>
                  <a:cubicBezTo>
                    <a:pt x="795" y="747"/>
                    <a:pt x="770" y="769"/>
                    <a:pt x="742" y="786"/>
                  </a:cubicBezTo>
                  <a:cubicBezTo>
                    <a:pt x="714" y="802"/>
                    <a:pt x="684" y="819"/>
                    <a:pt x="653" y="830"/>
                  </a:cubicBezTo>
                  <a:cubicBezTo>
                    <a:pt x="620" y="841"/>
                    <a:pt x="589" y="849"/>
                    <a:pt x="553" y="855"/>
                  </a:cubicBezTo>
                  <a:cubicBezTo>
                    <a:pt x="520" y="861"/>
                    <a:pt x="486" y="863"/>
                    <a:pt x="456" y="863"/>
                  </a:cubicBezTo>
                  <a:cubicBezTo>
                    <a:pt x="386" y="863"/>
                    <a:pt x="323" y="855"/>
                    <a:pt x="267" y="833"/>
                  </a:cubicBezTo>
                  <a:cubicBezTo>
                    <a:pt x="211" y="813"/>
                    <a:pt x="164" y="783"/>
                    <a:pt x="125" y="747"/>
                  </a:cubicBezTo>
                  <a:cubicBezTo>
                    <a:pt x="86" y="708"/>
                    <a:pt x="56" y="661"/>
                    <a:pt x="34" y="608"/>
                  </a:cubicBezTo>
                  <a:cubicBezTo>
                    <a:pt x="11" y="552"/>
                    <a:pt x="0" y="494"/>
                    <a:pt x="0" y="427"/>
                  </a:cubicBezTo>
                  <a:cubicBezTo>
                    <a:pt x="0" y="366"/>
                    <a:pt x="11" y="308"/>
                    <a:pt x="34" y="255"/>
                  </a:cubicBezTo>
                  <a:cubicBezTo>
                    <a:pt x="56" y="202"/>
                    <a:pt x="84" y="158"/>
                    <a:pt x="123" y="119"/>
                  </a:cubicBezTo>
                  <a:cubicBezTo>
                    <a:pt x="161" y="80"/>
                    <a:pt x="209" y="52"/>
                    <a:pt x="261" y="30"/>
                  </a:cubicBezTo>
                  <a:cubicBezTo>
                    <a:pt x="317" y="8"/>
                    <a:pt x="378" y="0"/>
                    <a:pt x="442" y="0"/>
                  </a:cubicBezTo>
                  <a:cubicBezTo>
                    <a:pt x="511" y="0"/>
                    <a:pt x="573" y="8"/>
                    <a:pt x="628" y="30"/>
                  </a:cubicBezTo>
                  <a:cubicBezTo>
                    <a:pt x="684" y="50"/>
                    <a:pt x="731" y="80"/>
                    <a:pt x="767" y="122"/>
                  </a:cubicBezTo>
                  <a:cubicBezTo>
                    <a:pt x="806" y="163"/>
                    <a:pt x="834" y="216"/>
                    <a:pt x="853" y="277"/>
                  </a:cubicBezTo>
                  <a:cubicBezTo>
                    <a:pt x="870" y="341"/>
                    <a:pt x="875" y="413"/>
                    <a:pt x="867" y="497"/>
                  </a:cubicBezTo>
                  <a:lnTo>
                    <a:pt x="186" y="352"/>
                  </a:lnTo>
                  <a:lnTo>
                    <a:pt x="186" y="352"/>
                  </a:lnTo>
                  <a:cubicBezTo>
                    <a:pt x="698" y="352"/>
                    <a:pt x="698" y="352"/>
                    <a:pt x="698" y="352"/>
                  </a:cubicBezTo>
                  <a:cubicBezTo>
                    <a:pt x="692" y="286"/>
                    <a:pt x="667" y="236"/>
                    <a:pt x="622" y="202"/>
                  </a:cubicBezTo>
                  <a:cubicBezTo>
                    <a:pt x="578" y="169"/>
                    <a:pt x="520" y="152"/>
                    <a:pt x="448" y="152"/>
                  </a:cubicBezTo>
                  <a:cubicBezTo>
                    <a:pt x="384" y="152"/>
                    <a:pt x="328" y="169"/>
                    <a:pt x="278"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6" name="Freeform 28">
              <a:extLst>
                <a:ext uri="{FF2B5EF4-FFF2-40B4-BE49-F238E27FC236}">
                  <a16:creationId xmlns:a16="http://schemas.microsoft.com/office/drawing/2014/main" id="{8288F8F9-9E4D-134A-99B6-CDD99B829A8B}"/>
                </a:ext>
              </a:extLst>
            </p:cNvPr>
            <p:cNvSpPr>
              <a:spLocks noChangeArrowheads="1"/>
            </p:cNvSpPr>
            <p:nvPr userDrawn="1"/>
          </p:nvSpPr>
          <p:spPr bwMode="auto">
            <a:xfrm>
              <a:off x="54975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4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9" y="147"/>
                    <a:pt x="127" y="111"/>
                  </a:cubicBezTo>
                  <a:cubicBezTo>
                    <a:pt x="166" y="75"/>
                    <a:pt x="211" y="48"/>
                    <a:pt x="264"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41" y="636"/>
                    <a:pt x="669" y="603"/>
                    <a:pt x="691" y="561"/>
                  </a:cubicBezTo>
                  <a:cubicBezTo>
                    <a:pt x="711" y="522"/>
                    <a:pt x="722" y="478"/>
                    <a:pt x="722" y="431"/>
                  </a:cubicBezTo>
                  <a:cubicBezTo>
                    <a:pt x="722" y="384"/>
                    <a:pt x="711" y="339"/>
                    <a:pt x="691" y="298"/>
                  </a:cubicBezTo>
                  <a:cubicBezTo>
                    <a:pt x="669" y="259"/>
                    <a:pt x="641"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7" name="Freeform 29">
              <a:extLst>
                <a:ext uri="{FF2B5EF4-FFF2-40B4-BE49-F238E27FC236}">
                  <a16:creationId xmlns:a16="http://schemas.microsoft.com/office/drawing/2014/main" id="{274353FC-31DB-5549-87F8-4A2A81EFD979}"/>
                </a:ext>
              </a:extLst>
            </p:cNvPr>
            <p:cNvSpPr>
              <a:spLocks noChangeArrowheads="1"/>
            </p:cNvSpPr>
            <p:nvPr userDrawn="1"/>
          </p:nvSpPr>
          <p:spPr bwMode="auto">
            <a:xfrm>
              <a:off x="5905500" y="3746500"/>
              <a:ext cx="293688" cy="301625"/>
            </a:xfrm>
            <a:custGeom>
              <a:avLst/>
              <a:gdLst>
                <a:gd name="T0" fmla="*/ 639 w 817"/>
                <a:gd name="T1" fmla="*/ 836 h 837"/>
                <a:gd name="T2" fmla="*/ 639 w 817"/>
                <a:gd name="T3" fmla="*/ 836 h 837"/>
                <a:gd name="T4" fmla="*/ 639 w 817"/>
                <a:gd name="T5" fmla="*/ 397 h 837"/>
                <a:gd name="T6" fmla="*/ 580 w 817"/>
                <a:gd name="T7" fmla="*/ 225 h 837"/>
                <a:gd name="T8" fmla="*/ 411 w 817"/>
                <a:gd name="T9" fmla="*/ 158 h 837"/>
                <a:gd name="T10" fmla="*/ 316 w 817"/>
                <a:gd name="T11" fmla="*/ 178 h 837"/>
                <a:gd name="T12" fmla="*/ 241 w 817"/>
                <a:gd name="T13" fmla="*/ 230 h 837"/>
                <a:gd name="T14" fmla="*/ 194 w 817"/>
                <a:gd name="T15" fmla="*/ 311 h 837"/>
                <a:gd name="T16" fmla="*/ 177 w 817"/>
                <a:gd name="T17" fmla="*/ 405 h 837"/>
                <a:gd name="T18" fmla="*/ 177 w 817"/>
                <a:gd name="T19" fmla="*/ 836 h 837"/>
                <a:gd name="T20" fmla="*/ 0 w 817"/>
                <a:gd name="T21" fmla="*/ 836 h 837"/>
                <a:gd name="T22" fmla="*/ 0 w 817"/>
                <a:gd name="T23" fmla="*/ 11 h 837"/>
                <a:gd name="T24" fmla="*/ 161 w 817"/>
                <a:gd name="T25" fmla="*/ 11 h 837"/>
                <a:gd name="T26" fmla="*/ 172 w 817"/>
                <a:gd name="T27" fmla="*/ 130 h 837"/>
                <a:gd name="T28" fmla="*/ 455 w 817"/>
                <a:gd name="T29" fmla="*/ 0 h 837"/>
                <a:gd name="T30" fmla="*/ 597 w 817"/>
                <a:gd name="T31" fmla="*/ 25 h 837"/>
                <a:gd name="T32" fmla="*/ 711 w 817"/>
                <a:gd name="T33" fmla="*/ 100 h 837"/>
                <a:gd name="T34" fmla="*/ 789 w 817"/>
                <a:gd name="T35" fmla="*/ 225 h 837"/>
                <a:gd name="T36" fmla="*/ 816 w 817"/>
                <a:gd name="T37" fmla="*/ 394 h 837"/>
                <a:gd name="T38" fmla="*/ 816 w 817"/>
                <a:gd name="T39" fmla="*/ 836 h 837"/>
                <a:gd name="T40" fmla="*/ 639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9" y="836"/>
                  </a:moveTo>
                  <a:lnTo>
                    <a:pt x="639" y="836"/>
                  </a:lnTo>
                  <a:cubicBezTo>
                    <a:pt x="639" y="397"/>
                    <a:pt x="639" y="397"/>
                    <a:pt x="639" y="397"/>
                  </a:cubicBezTo>
                  <a:cubicBezTo>
                    <a:pt x="639" y="325"/>
                    <a:pt x="619" y="266"/>
                    <a:pt x="580" y="225"/>
                  </a:cubicBezTo>
                  <a:cubicBezTo>
                    <a:pt x="541" y="180"/>
                    <a:pt x="486" y="158"/>
                    <a:pt x="411" y="158"/>
                  </a:cubicBezTo>
                  <a:cubicBezTo>
                    <a:pt x="377" y="158"/>
                    <a:pt x="344" y="166"/>
                    <a:pt x="316" y="178"/>
                  </a:cubicBezTo>
                  <a:cubicBezTo>
                    <a:pt x="286" y="192"/>
                    <a:pt x="261" y="208"/>
                    <a:pt x="241" y="230"/>
                  </a:cubicBezTo>
                  <a:cubicBezTo>
                    <a:pt x="222" y="255"/>
                    <a:pt x="205" y="280"/>
                    <a:pt x="194" y="311"/>
                  </a:cubicBezTo>
                  <a:cubicBezTo>
                    <a:pt x="183" y="341"/>
                    <a:pt x="177" y="372"/>
                    <a:pt x="177" y="405"/>
                  </a:cubicBezTo>
                  <a:cubicBezTo>
                    <a:pt x="177" y="836"/>
                    <a:pt x="177" y="836"/>
                    <a:pt x="177" y="836"/>
                  </a:cubicBezTo>
                  <a:cubicBezTo>
                    <a:pt x="0" y="836"/>
                    <a:pt x="0" y="836"/>
                    <a:pt x="0" y="836"/>
                  </a:cubicBezTo>
                  <a:cubicBezTo>
                    <a:pt x="0" y="11"/>
                    <a:pt x="0" y="11"/>
                    <a:pt x="0" y="11"/>
                  </a:cubicBezTo>
                  <a:cubicBezTo>
                    <a:pt x="161" y="11"/>
                    <a:pt x="161" y="11"/>
                    <a:pt x="161" y="11"/>
                  </a:cubicBezTo>
                  <a:cubicBezTo>
                    <a:pt x="172" y="130"/>
                    <a:pt x="172" y="130"/>
                    <a:pt x="172" y="130"/>
                  </a:cubicBezTo>
                  <a:cubicBezTo>
                    <a:pt x="250" y="42"/>
                    <a:pt x="344" y="0"/>
                    <a:pt x="455" y="0"/>
                  </a:cubicBezTo>
                  <a:cubicBezTo>
                    <a:pt x="505" y="0"/>
                    <a:pt x="552" y="8"/>
                    <a:pt x="597" y="25"/>
                  </a:cubicBezTo>
                  <a:cubicBezTo>
                    <a:pt x="641" y="42"/>
                    <a:pt x="680" y="66"/>
                    <a:pt x="711" y="100"/>
                  </a:cubicBezTo>
                  <a:cubicBezTo>
                    <a:pt x="744" y="133"/>
                    <a:pt x="769" y="175"/>
                    <a:pt x="789" y="225"/>
                  </a:cubicBezTo>
                  <a:cubicBezTo>
                    <a:pt x="808" y="275"/>
                    <a:pt x="816" y="330"/>
                    <a:pt x="816" y="394"/>
                  </a:cubicBezTo>
                  <a:cubicBezTo>
                    <a:pt x="816" y="836"/>
                    <a:pt x="816" y="836"/>
                    <a:pt x="816" y="836"/>
                  </a:cubicBezTo>
                  <a:lnTo>
                    <a:pt x="639"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8" name="Freeform 30">
              <a:extLst>
                <a:ext uri="{FF2B5EF4-FFF2-40B4-BE49-F238E27FC236}">
                  <a16:creationId xmlns:a16="http://schemas.microsoft.com/office/drawing/2014/main" id="{F782A6AE-CC62-714E-B942-7562D0C7A70D}"/>
                </a:ext>
              </a:extLst>
            </p:cNvPr>
            <p:cNvSpPr>
              <a:spLocks noChangeArrowheads="1"/>
            </p:cNvSpPr>
            <p:nvPr userDrawn="1"/>
          </p:nvSpPr>
          <p:spPr bwMode="auto">
            <a:xfrm>
              <a:off x="6251575"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9" name="Freeform 31">
              <a:extLst>
                <a:ext uri="{FF2B5EF4-FFF2-40B4-BE49-F238E27FC236}">
                  <a16:creationId xmlns:a16="http://schemas.microsoft.com/office/drawing/2014/main" id="{897CFE7D-07BA-C547-BCA5-BF0F26AEF64C}"/>
                </a:ext>
              </a:extLst>
            </p:cNvPr>
            <p:cNvSpPr>
              <a:spLocks noChangeArrowheads="1"/>
            </p:cNvSpPr>
            <p:nvPr userDrawn="1"/>
          </p:nvSpPr>
          <p:spPr bwMode="auto">
            <a:xfrm>
              <a:off x="6643688"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0" name="Freeform 32">
              <a:extLst>
                <a:ext uri="{FF2B5EF4-FFF2-40B4-BE49-F238E27FC236}">
                  <a16:creationId xmlns:a16="http://schemas.microsoft.com/office/drawing/2014/main" id="{36DE97C1-D4D9-5D44-AD49-6F177A46985A}"/>
                </a:ext>
              </a:extLst>
            </p:cNvPr>
            <p:cNvSpPr>
              <a:spLocks noChangeArrowheads="1"/>
            </p:cNvSpPr>
            <p:nvPr userDrawn="1"/>
          </p:nvSpPr>
          <p:spPr bwMode="auto">
            <a:xfrm>
              <a:off x="6897688" y="3743325"/>
              <a:ext cx="314325" cy="309563"/>
            </a:xfrm>
            <a:custGeom>
              <a:avLst/>
              <a:gdLst>
                <a:gd name="T0" fmla="*/ 436 w 873"/>
                <a:gd name="T1" fmla="*/ 0 h 860"/>
                <a:gd name="T2" fmla="*/ 436 w 873"/>
                <a:gd name="T3" fmla="*/ 0 h 860"/>
                <a:gd name="T4" fmla="*/ 611 w 873"/>
                <a:gd name="T5" fmla="*/ 34 h 860"/>
                <a:gd name="T6" fmla="*/ 750 w 873"/>
                <a:gd name="T7" fmla="*/ 125 h 860"/>
                <a:gd name="T8" fmla="*/ 842 w 873"/>
                <a:gd name="T9" fmla="*/ 261 h 860"/>
                <a:gd name="T10" fmla="*/ 872 w 873"/>
                <a:gd name="T11" fmla="*/ 431 h 860"/>
                <a:gd name="T12" fmla="*/ 842 w 873"/>
                <a:gd name="T13" fmla="*/ 600 h 860"/>
                <a:gd name="T14" fmla="*/ 753 w 873"/>
                <a:gd name="T15" fmla="*/ 736 h 860"/>
                <a:gd name="T16" fmla="*/ 614 w 873"/>
                <a:gd name="T17" fmla="*/ 825 h 860"/>
                <a:gd name="T18" fmla="*/ 436 w 873"/>
                <a:gd name="T19" fmla="*/ 859 h 860"/>
                <a:gd name="T20" fmla="*/ 256 w 873"/>
                <a:gd name="T21" fmla="*/ 825 h 860"/>
                <a:gd name="T22" fmla="*/ 119 w 873"/>
                <a:gd name="T23" fmla="*/ 736 h 860"/>
                <a:gd name="T24" fmla="*/ 31 w 873"/>
                <a:gd name="T25" fmla="*/ 600 h 860"/>
                <a:gd name="T26" fmla="*/ 0 w 873"/>
                <a:gd name="T27" fmla="*/ 431 h 860"/>
                <a:gd name="T28" fmla="*/ 31 w 873"/>
                <a:gd name="T29" fmla="*/ 261 h 860"/>
                <a:gd name="T30" fmla="*/ 119 w 873"/>
                <a:gd name="T31" fmla="*/ 125 h 860"/>
                <a:gd name="T32" fmla="*/ 258 w 873"/>
                <a:gd name="T33" fmla="*/ 34 h 860"/>
                <a:gd name="T34" fmla="*/ 436 w 873"/>
                <a:gd name="T35" fmla="*/ 0 h 860"/>
                <a:gd name="T36" fmla="*/ 436 w 873"/>
                <a:gd name="T37" fmla="*/ 161 h 860"/>
                <a:gd name="T38" fmla="*/ 436 w 873"/>
                <a:gd name="T39" fmla="*/ 161 h 860"/>
                <a:gd name="T40" fmla="*/ 328 w 873"/>
                <a:gd name="T41" fmla="*/ 184 h 860"/>
                <a:gd name="T42" fmla="*/ 247 w 873"/>
                <a:gd name="T43" fmla="*/ 242 h 860"/>
                <a:gd name="T44" fmla="*/ 194 w 873"/>
                <a:gd name="T45" fmla="*/ 328 h 860"/>
                <a:gd name="T46" fmla="*/ 178 w 873"/>
                <a:gd name="T47" fmla="*/ 431 h 860"/>
                <a:gd name="T48" fmla="*/ 194 w 873"/>
                <a:gd name="T49" fmla="*/ 536 h 860"/>
                <a:gd name="T50" fmla="*/ 247 w 873"/>
                <a:gd name="T51" fmla="*/ 620 h 860"/>
                <a:gd name="T52" fmla="*/ 328 w 873"/>
                <a:gd name="T53" fmla="*/ 678 h 860"/>
                <a:gd name="T54" fmla="*/ 436 w 873"/>
                <a:gd name="T55" fmla="*/ 698 h 860"/>
                <a:gd name="T56" fmla="*/ 544 w 873"/>
                <a:gd name="T57" fmla="*/ 678 h 860"/>
                <a:gd name="T58" fmla="*/ 625 w 873"/>
                <a:gd name="T59" fmla="*/ 620 h 860"/>
                <a:gd name="T60" fmla="*/ 678 w 873"/>
                <a:gd name="T61" fmla="*/ 536 h 860"/>
                <a:gd name="T62" fmla="*/ 694 w 873"/>
                <a:gd name="T63" fmla="*/ 431 h 860"/>
                <a:gd name="T64" fmla="*/ 675 w 873"/>
                <a:gd name="T65" fmla="*/ 328 h 860"/>
                <a:gd name="T66" fmla="*/ 622 w 873"/>
                <a:gd name="T67" fmla="*/ 242 h 860"/>
                <a:gd name="T68" fmla="*/ 542 w 873"/>
                <a:gd name="T69" fmla="*/ 184 h 860"/>
                <a:gd name="T70" fmla="*/ 436 w 873"/>
                <a:gd name="T71" fmla="*/ 161 h 860"/>
                <a:gd name="T72" fmla="*/ 436 w 873"/>
                <a:gd name="T73"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60">
                  <a:moveTo>
                    <a:pt x="436" y="0"/>
                  </a:moveTo>
                  <a:lnTo>
                    <a:pt x="436" y="0"/>
                  </a:lnTo>
                  <a:cubicBezTo>
                    <a:pt x="500" y="0"/>
                    <a:pt x="558" y="11"/>
                    <a:pt x="611" y="34"/>
                  </a:cubicBezTo>
                  <a:cubicBezTo>
                    <a:pt x="667" y="59"/>
                    <a:pt x="711" y="86"/>
                    <a:pt x="750" y="125"/>
                  </a:cubicBezTo>
                  <a:cubicBezTo>
                    <a:pt x="789" y="164"/>
                    <a:pt x="819" y="209"/>
                    <a:pt x="842" y="261"/>
                  </a:cubicBezTo>
                  <a:cubicBezTo>
                    <a:pt x="861" y="314"/>
                    <a:pt x="872" y="370"/>
                    <a:pt x="872" y="431"/>
                  </a:cubicBezTo>
                  <a:cubicBezTo>
                    <a:pt x="872" y="492"/>
                    <a:pt x="861" y="547"/>
                    <a:pt x="842" y="600"/>
                  </a:cubicBezTo>
                  <a:cubicBezTo>
                    <a:pt x="819" y="653"/>
                    <a:pt x="792" y="698"/>
                    <a:pt x="753" y="736"/>
                  </a:cubicBezTo>
                  <a:cubicBezTo>
                    <a:pt x="714" y="775"/>
                    <a:pt x="669" y="806"/>
                    <a:pt x="614" y="825"/>
                  </a:cubicBezTo>
                  <a:cubicBezTo>
                    <a:pt x="561" y="847"/>
                    <a:pt x="500" y="859"/>
                    <a:pt x="436" y="859"/>
                  </a:cubicBezTo>
                  <a:cubicBezTo>
                    <a:pt x="369" y="859"/>
                    <a:pt x="308" y="847"/>
                    <a:pt x="256" y="825"/>
                  </a:cubicBezTo>
                  <a:cubicBezTo>
                    <a:pt x="203" y="806"/>
                    <a:pt x="156" y="775"/>
                    <a:pt x="119" y="736"/>
                  </a:cubicBezTo>
                  <a:cubicBezTo>
                    <a:pt x="80" y="698"/>
                    <a:pt x="53" y="653"/>
                    <a:pt x="31" y="600"/>
                  </a:cubicBezTo>
                  <a:cubicBezTo>
                    <a:pt x="11" y="547"/>
                    <a:pt x="0" y="492"/>
                    <a:pt x="0" y="431"/>
                  </a:cubicBezTo>
                  <a:cubicBezTo>
                    <a:pt x="0" y="370"/>
                    <a:pt x="11" y="314"/>
                    <a:pt x="31" y="261"/>
                  </a:cubicBezTo>
                  <a:cubicBezTo>
                    <a:pt x="53" y="209"/>
                    <a:pt x="80" y="164"/>
                    <a:pt x="119" y="125"/>
                  </a:cubicBezTo>
                  <a:cubicBezTo>
                    <a:pt x="158" y="86"/>
                    <a:pt x="203" y="59"/>
                    <a:pt x="258" y="34"/>
                  </a:cubicBezTo>
                  <a:cubicBezTo>
                    <a:pt x="311" y="11"/>
                    <a:pt x="369" y="0"/>
                    <a:pt x="436" y="0"/>
                  </a:cubicBezTo>
                  <a:lnTo>
                    <a:pt x="436" y="161"/>
                  </a:lnTo>
                  <a:lnTo>
                    <a:pt x="436" y="161"/>
                  </a:lnTo>
                  <a:cubicBezTo>
                    <a:pt x="394" y="161"/>
                    <a:pt x="358" y="170"/>
                    <a:pt x="328" y="184"/>
                  </a:cubicBezTo>
                  <a:cubicBezTo>
                    <a:pt x="294" y="198"/>
                    <a:pt x="269" y="217"/>
                    <a:pt x="247" y="242"/>
                  </a:cubicBezTo>
                  <a:cubicBezTo>
                    <a:pt x="225" y="267"/>
                    <a:pt x="206" y="298"/>
                    <a:pt x="194" y="328"/>
                  </a:cubicBezTo>
                  <a:cubicBezTo>
                    <a:pt x="183" y="361"/>
                    <a:pt x="178" y="395"/>
                    <a:pt x="178" y="431"/>
                  </a:cubicBezTo>
                  <a:cubicBezTo>
                    <a:pt x="178" y="470"/>
                    <a:pt x="183" y="503"/>
                    <a:pt x="194" y="536"/>
                  </a:cubicBezTo>
                  <a:cubicBezTo>
                    <a:pt x="206" y="567"/>
                    <a:pt x="225" y="595"/>
                    <a:pt x="247" y="620"/>
                  </a:cubicBezTo>
                  <a:cubicBezTo>
                    <a:pt x="269" y="645"/>
                    <a:pt x="294" y="664"/>
                    <a:pt x="328" y="678"/>
                  </a:cubicBezTo>
                  <a:cubicBezTo>
                    <a:pt x="358" y="692"/>
                    <a:pt x="394" y="698"/>
                    <a:pt x="436" y="698"/>
                  </a:cubicBezTo>
                  <a:cubicBezTo>
                    <a:pt x="475" y="698"/>
                    <a:pt x="511" y="692"/>
                    <a:pt x="544" y="678"/>
                  </a:cubicBezTo>
                  <a:cubicBezTo>
                    <a:pt x="575" y="664"/>
                    <a:pt x="603" y="645"/>
                    <a:pt x="625" y="620"/>
                  </a:cubicBezTo>
                  <a:cubicBezTo>
                    <a:pt x="647" y="595"/>
                    <a:pt x="664" y="567"/>
                    <a:pt x="678" y="536"/>
                  </a:cubicBezTo>
                  <a:cubicBezTo>
                    <a:pt x="689" y="503"/>
                    <a:pt x="694" y="470"/>
                    <a:pt x="694" y="431"/>
                  </a:cubicBezTo>
                  <a:cubicBezTo>
                    <a:pt x="694" y="395"/>
                    <a:pt x="689" y="361"/>
                    <a:pt x="675" y="328"/>
                  </a:cubicBezTo>
                  <a:cubicBezTo>
                    <a:pt x="664" y="298"/>
                    <a:pt x="644" y="267"/>
                    <a:pt x="622" y="242"/>
                  </a:cubicBezTo>
                  <a:cubicBezTo>
                    <a:pt x="600" y="217"/>
                    <a:pt x="572" y="198"/>
                    <a:pt x="542" y="184"/>
                  </a:cubicBezTo>
                  <a:cubicBezTo>
                    <a:pt x="508" y="170"/>
                    <a:pt x="472" y="161"/>
                    <a:pt x="436" y="161"/>
                  </a:cubicBezTo>
                  <a:lnTo>
                    <a:pt x="43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1" name="Freeform 33">
              <a:extLst>
                <a:ext uri="{FF2B5EF4-FFF2-40B4-BE49-F238E27FC236}">
                  <a16:creationId xmlns:a16="http://schemas.microsoft.com/office/drawing/2014/main" id="{CAD1180B-782F-CA44-9537-DE1F113C3D6E}"/>
                </a:ext>
              </a:extLst>
            </p:cNvPr>
            <p:cNvSpPr>
              <a:spLocks noChangeArrowheads="1"/>
            </p:cNvSpPr>
            <p:nvPr userDrawn="1"/>
          </p:nvSpPr>
          <p:spPr bwMode="auto">
            <a:xfrm>
              <a:off x="7431088" y="3627438"/>
              <a:ext cx="323850" cy="427037"/>
            </a:xfrm>
            <a:custGeom>
              <a:avLst/>
              <a:gdLst>
                <a:gd name="T0" fmla="*/ 175 w 898"/>
                <a:gd name="T1" fmla="*/ 0 h 1185"/>
                <a:gd name="T2" fmla="*/ 175 w 898"/>
                <a:gd name="T3" fmla="*/ 0 h 1185"/>
                <a:gd name="T4" fmla="*/ 175 w 898"/>
                <a:gd name="T5" fmla="*/ 472 h 1185"/>
                <a:gd name="T6" fmla="*/ 231 w 898"/>
                <a:gd name="T7" fmla="*/ 409 h 1185"/>
                <a:gd name="T8" fmla="*/ 306 w 898"/>
                <a:gd name="T9" fmla="*/ 361 h 1185"/>
                <a:gd name="T10" fmla="*/ 389 w 898"/>
                <a:gd name="T11" fmla="*/ 334 h 1185"/>
                <a:gd name="T12" fmla="*/ 472 w 898"/>
                <a:gd name="T13" fmla="*/ 325 h 1185"/>
                <a:gd name="T14" fmla="*/ 639 w 898"/>
                <a:gd name="T15" fmla="*/ 353 h 1185"/>
                <a:gd name="T16" fmla="*/ 775 w 898"/>
                <a:gd name="T17" fmla="*/ 434 h 1185"/>
                <a:gd name="T18" fmla="*/ 867 w 898"/>
                <a:gd name="T19" fmla="*/ 570 h 1185"/>
                <a:gd name="T20" fmla="*/ 897 w 898"/>
                <a:gd name="T21" fmla="*/ 753 h 1185"/>
                <a:gd name="T22" fmla="*/ 864 w 898"/>
                <a:gd name="T23" fmla="*/ 936 h 1185"/>
                <a:gd name="T24" fmla="*/ 775 w 898"/>
                <a:gd name="T25" fmla="*/ 1072 h 1185"/>
                <a:gd name="T26" fmla="*/ 639 w 898"/>
                <a:gd name="T27" fmla="*/ 1156 h 1185"/>
                <a:gd name="T28" fmla="*/ 467 w 898"/>
                <a:gd name="T29" fmla="*/ 1184 h 1185"/>
                <a:gd name="T30" fmla="*/ 303 w 898"/>
                <a:gd name="T31" fmla="*/ 1150 h 1185"/>
                <a:gd name="T32" fmla="*/ 175 w 898"/>
                <a:gd name="T33" fmla="*/ 1036 h 1185"/>
                <a:gd name="T34" fmla="*/ 167 w 898"/>
                <a:gd name="T35" fmla="*/ 1167 h 1185"/>
                <a:gd name="T36" fmla="*/ 0 w 898"/>
                <a:gd name="T37" fmla="*/ 1167 h 1185"/>
                <a:gd name="T38" fmla="*/ 0 w 898"/>
                <a:gd name="T39" fmla="*/ 0 h 1185"/>
                <a:gd name="T40" fmla="*/ 175 w 898"/>
                <a:gd name="T41" fmla="*/ 0 h 1185"/>
                <a:gd name="T42" fmla="*/ 456 w 898"/>
                <a:gd name="T43" fmla="*/ 486 h 1185"/>
                <a:gd name="T44" fmla="*/ 456 w 898"/>
                <a:gd name="T45" fmla="*/ 486 h 1185"/>
                <a:gd name="T46" fmla="*/ 353 w 898"/>
                <a:gd name="T47" fmla="*/ 506 h 1185"/>
                <a:gd name="T48" fmla="*/ 267 w 898"/>
                <a:gd name="T49" fmla="*/ 559 h 1185"/>
                <a:gd name="T50" fmla="*/ 208 w 898"/>
                <a:gd name="T51" fmla="*/ 645 h 1185"/>
                <a:gd name="T52" fmla="*/ 186 w 898"/>
                <a:gd name="T53" fmla="*/ 753 h 1185"/>
                <a:gd name="T54" fmla="*/ 208 w 898"/>
                <a:gd name="T55" fmla="*/ 864 h 1185"/>
                <a:gd name="T56" fmla="*/ 267 w 898"/>
                <a:gd name="T57" fmla="*/ 950 h 1185"/>
                <a:gd name="T58" fmla="*/ 350 w 898"/>
                <a:gd name="T59" fmla="*/ 1003 h 1185"/>
                <a:gd name="T60" fmla="*/ 456 w 898"/>
                <a:gd name="T61" fmla="*/ 1023 h 1185"/>
                <a:gd name="T62" fmla="*/ 558 w 898"/>
                <a:gd name="T63" fmla="*/ 1006 h 1185"/>
                <a:gd name="T64" fmla="*/ 645 w 898"/>
                <a:gd name="T65" fmla="*/ 950 h 1185"/>
                <a:gd name="T66" fmla="*/ 700 w 898"/>
                <a:gd name="T67" fmla="*/ 867 h 1185"/>
                <a:gd name="T68" fmla="*/ 722 w 898"/>
                <a:gd name="T69" fmla="*/ 753 h 1185"/>
                <a:gd name="T70" fmla="*/ 700 w 898"/>
                <a:gd name="T71" fmla="*/ 639 h 1185"/>
                <a:gd name="T72" fmla="*/ 645 w 898"/>
                <a:gd name="T73" fmla="*/ 556 h 1185"/>
                <a:gd name="T74" fmla="*/ 558 w 898"/>
                <a:gd name="T75" fmla="*/ 503 h 1185"/>
                <a:gd name="T76" fmla="*/ 456 w 898"/>
                <a:gd name="T77" fmla="*/ 48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8" h="1185">
                  <a:moveTo>
                    <a:pt x="175" y="0"/>
                  </a:moveTo>
                  <a:lnTo>
                    <a:pt x="175" y="0"/>
                  </a:lnTo>
                  <a:cubicBezTo>
                    <a:pt x="175" y="472"/>
                    <a:pt x="175" y="472"/>
                    <a:pt x="175" y="472"/>
                  </a:cubicBezTo>
                  <a:cubicBezTo>
                    <a:pt x="189" y="448"/>
                    <a:pt x="208" y="425"/>
                    <a:pt x="231" y="409"/>
                  </a:cubicBezTo>
                  <a:cubicBezTo>
                    <a:pt x="253" y="389"/>
                    <a:pt x="278" y="373"/>
                    <a:pt x="306" y="361"/>
                  </a:cubicBezTo>
                  <a:cubicBezTo>
                    <a:pt x="334" y="350"/>
                    <a:pt x="361" y="339"/>
                    <a:pt x="389" y="334"/>
                  </a:cubicBezTo>
                  <a:cubicBezTo>
                    <a:pt x="417" y="328"/>
                    <a:pt x="445" y="325"/>
                    <a:pt x="472" y="325"/>
                  </a:cubicBezTo>
                  <a:cubicBezTo>
                    <a:pt x="531" y="325"/>
                    <a:pt x="589" y="334"/>
                    <a:pt x="639" y="353"/>
                  </a:cubicBezTo>
                  <a:cubicBezTo>
                    <a:pt x="692" y="370"/>
                    <a:pt x="739" y="397"/>
                    <a:pt x="775" y="434"/>
                  </a:cubicBezTo>
                  <a:cubicBezTo>
                    <a:pt x="814" y="470"/>
                    <a:pt x="845" y="514"/>
                    <a:pt x="867" y="570"/>
                  </a:cubicBezTo>
                  <a:cubicBezTo>
                    <a:pt x="886" y="623"/>
                    <a:pt x="897" y="684"/>
                    <a:pt x="897" y="753"/>
                  </a:cubicBezTo>
                  <a:cubicBezTo>
                    <a:pt x="897" y="823"/>
                    <a:pt x="886" y="884"/>
                    <a:pt x="864" y="936"/>
                  </a:cubicBezTo>
                  <a:cubicBezTo>
                    <a:pt x="842" y="989"/>
                    <a:pt x="811" y="1036"/>
                    <a:pt x="775" y="1072"/>
                  </a:cubicBezTo>
                  <a:cubicBezTo>
                    <a:pt x="736" y="1109"/>
                    <a:pt x="692" y="1136"/>
                    <a:pt x="639" y="1156"/>
                  </a:cubicBezTo>
                  <a:cubicBezTo>
                    <a:pt x="586" y="1175"/>
                    <a:pt x="531" y="1184"/>
                    <a:pt x="467" y="1184"/>
                  </a:cubicBezTo>
                  <a:cubicBezTo>
                    <a:pt x="411" y="1184"/>
                    <a:pt x="356" y="1172"/>
                    <a:pt x="303" y="1150"/>
                  </a:cubicBezTo>
                  <a:cubicBezTo>
                    <a:pt x="253" y="1128"/>
                    <a:pt x="208" y="1089"/>
                    <a:pt x="175" y="1036"/>
                  </a:cubicBezTo>
                  <a:cubicBezTo>
                    <a:pt x="167" y="1167"/>
                    <a:pt x="167" y="1167"/>
                    <a:pt x="167" y="1167"/>
                  </a:cubicBezTo>
                  <a:cubicBezTo>
                    <a:pt x="0" y="1167"/>
                    <a:pt x="0" y="1167"/>
                    <a:pt x="0" y="1167"/>
                  </a:cubicBezTo>
                  <a:cubicBezTo>
                    <a:pt x="0" y="0"/>
                    <a:pt x="0" y="0"/>
                    <a:pt x="0" y="0"/>
                  </a:cubicBezTo>
                  <a:lnTo>
                    <a:pt x="175" y="0"/>
                  </a:lnTo>
                  <a:close/>
                  <a:moveTo>
                    <a:pt x="456" y="486"/>
                  </a:moveTo>
                  <a:lnTo>
                    <a:pt x="456" y="486"/>
                  </a:lnTo>
                  <a:cubicBezTo>
                    <a:pt x="420" y="486"/>
                    <a:pt x="383" y="492"/>
                    <a:pt x="353" y="506"/>
                  </a:cubicBezTo>
                  <a:cubicBezTo>
                    <a:pt x="320" y="517"/>
                    <a:pt x="289" y="536"/>
                    <a:pt x="267" y="559"/>
                  </a:cubicBezTo>
                  <a:cubicBezTo>
                    <a:pt x="242" y="584"/>
                    <a:pt x="222" y="611"/>
                    <a:pt x="208" y="645"/>
                  </a:cubicBezTo>
                  <a:cubicBezTo>
                    <a:pt x="195" y="678"/>
                    <a:pt x="186" y="714"/>
                    <a:pt x="186" y="753"/>
                  </a:cubicBezTo>
                  <a:cubicBezTo>
                    <a:pt x="186" y="795"/>
                    <a:pt x="195" y="831"/>
                    <a:pt x="208" y="864"/>
                  </a:cubicBezTo>
                  <a:cubicBezTo>
                    <a:pt x="222" y="897"/>
                    <a:pt x="242" y="925"/>
                    <a:pt x="267" y="950"/>
                  </a:cubicBezTo>
                  <a:cubicBezTo>
                    <a:pt x="289" y="972"/>
                    <a:pt x="320" y="992"/>
                    <a:pt x="350" y="1003"/>
                  </a:cubicBezTo>
                  <a:cubicBezTo>
                    <a:pt x="383" y="1017"/>
                    <a:pt x="420" y="1023"/>
                    <a:pt x="456" y="1023"/>
                  </a:cubicBezTo>
                  <a:cubicBezTo>
                    <a:pt x="492" y="1023"/>
                    <a:pt x="528" y="1017"/>
                    <a:pt x="558" y="1006"/>
                  </a:cubicBezTo>
                  <a:cubicBezTo>
                    <a:pt x="592" y="992"/>
                    <a:pt x="620" y="975"/>
                    <a:pt x="645" y="950"/>
                  </a:cubicBezTo>
                  <a:cubicBezTo>
                    <a:pt x="667" y="928"/>
                    <a:pt x="686" y="900"/>
                    <a:pt x="700" y="867"/>
                  </a:cubicBezTo>
                  <a:cubicBezTo>
                    <a:pt x="714" y="834"/>
                    <a:pt x="722" y="795"/>
                    <a:pt x="722" y="753"/>
                  </a:cubicBezTo>
                  <a:cubicBezTo>
                    <a:pt x="722" y="711"/>
                    <a:pt x="714" y="672"/>
                    <a:pt x="700" y="639"/>
                  </a:cubicBezTo>
                  <a:cubicBezTo>
                    <a:pt x="686" y="609"/>
                    <a:pt x="667" y="581"/>
                    <a:pt x="645" y="556"/>
                  </a:cubicBezTo>
                  <a:cubicBezTo>
                    <a:pt x="620" y="534"/>
                    <a:pt x="592" y="517"/>
                    <a:pt x="558" y="503"/>
                  </a:cubicBezTo>
                  <a:cubicBezTo>
                    <a:pt x="528" y="492"/>
                    <a:pt x="492" y="486"/>
                    <a:pt x="456" y="486"/>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2" name="Freeform 34">
              <a:extLst>
                <a:ext uri="{FF2B5EF4-FFF2-40B4-BE49-F238E27FC236}">
                  <a16:creationId xmlns:a16="http://schemas.microsoft.com/office/drawing/2014/main" id="{8FC7084D-8F17-1E40-964A-6858DD031189}"/>
                </a:ext>
              </a:extLst>
            </p:cNvPr>
            <p:cNvSpPr>
              <a:spLocks noChangeArrowheads="1"/>
            </p:cNvSpPr>
            <p:nvPr userDrawn="1"/>
          </p:nvSpPr>
          <p:spPr bwMode="auto">
            <a:xfrm>
              <a:off x="7804150" y="3743325"/>
              <a:ext cx="315913"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5 w 876"/>
                <a:gd name="T11" fmla="*/ 680 h 864"/>
                <a:gd name="T12" fmla="*/ 703 w 876"/>
                <a:gd name="T13" fmla="*/ 616 h 864"/>
                <a:gd name="T14" fmla="*/ 817 w 876"/>
                <a:gd name="T15" fmla="*/ 724 h 864"/>
                <a:gd name="T16" fmla="*/ 742 w 876"/>
                <a:gd name="T17" fmla="*/ 786 h 864"/>
                <a:gd name="T18" fmla="*/ 653 w 876"/>
                <a:gd name="T19" fmla="*/ 830 h 864"/>
                <a:gd name="T20" fmla="*/ 556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5 w 876"/>
                <a:gd name="T35" fmla="*/ 119 h 864"/>
                <a:gd name="T36" fmla="*/ 264 w 876"/>
                <a:gd name="T37" fmla="*/ 30 h 864"/>
                <a:gd name="T38" fmla="*/ 445 w 876"/>
                <a:gd name="T39" fmla="*/ 0 h 864"/>
                <a:gd name="T40" fmla="*/ 628 w 876"/>
                <a:gd name="T41" fmla="*/ 30 h 864"/>
                <a:gd name="T42" fmla="*/ 770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3 w 876"/>
                <a:gd name="T55" fmla="*/ 202 h 864"/>
                <a:gd name="T56" fmla="*/ 450 w 876"/>
                <a:gd name="T57" fmla="*/ 152 h 864"/>
                <a:gd name="T58" fmla="*/ 281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20" y="686"/>
                    <a:pt x="381" y="705"/>
                    <a:pt x="459" y="705"/>
                  </a:cubicBezTo>
                  <a:cubicBezTo>
                    <a:pt x="503" y="705"/>
                    <a:pt x="548" y="697"/>
                    <a:pt x="595" y="680"/>
                  </a:cubicBezTo>
                  <a:cubicBezTo>
                    <a:pt x="642" y="666"/>
                    <a:pt x="678" y="644"/>
                    <a:pt x="703" y="616"/>
                  </a:cubicBezTo>
                  <a:cubicBezTo>
                    <a:pt x="817" y="724"/>
                    <a:pt x="817" y="724"/>
                    <a:pt x="817" y="724"/>
                  </a:cubicBezTo>
                  <a:cubicBezTo>
                    <a:pt x="798" y="747"/>
                    <a:pt x="770" y="769"/>
                    <a:pt x="742" y="786"/>
                  </a:cubicBezTo>
                  <a:cubicBezTo>
                    <a:pt x="714" y="802"/>
                    <a:pt x="684" y="819"/>
                    <a:pt x="653" y="830"/>
                  </a:cubicBezTo>
                  <a:cubicBezTo>
                    <a:pt x="623" y="841"/>
                    <a:pt x="589" y="849"/>
                    <a:pt x="556" y="855"/>
                  </a:cubicBezTo>
                  <a:cubicBezTo>
                    <a:pt x="520" y="861"/>
                    <a:pt x="486" y="863"/>
                    <a:pt x="456" y="863"/>
                  </a:cubicBezTo>
                  <a:cubicBezTo>
                    <a:pt x="386" y="863"/>
                    <a:pt x="323" y="855"/>
                    <a:pt x="267" y="833"/>
                  </a:cubicBezTo>
                  <a:cubicBezTo>
                    <a:pt x="212" y="813"/>
                    <a:pt x="164" y="783"/>
                    <a:pt x="125" y="747"/>
                  </a:cubicBezTo>
                  <a:cubicBezTo>
                    <a:pt x="86" y="708"/>
                    <a:pt x="56" y="661"/>
                    <a:pt x="34" y="608"/>
                  </a:cubicBezTo>
                  <a:cubicBezTo>
                    <a:pt x="12" y="552"/>
                    <a:pt x="0" y="494"/>
                    <a:pt x="0" y="427"/>
                  </a:cubicBezTo>
                  <a:cubicBezTo>
                    <a:pt x="0" y="366"/>
                    <a:pt x="12" y="308"/>
                    <a:pt x="34" y="255"/>
                  </a:cubicBezTo>
                  <a:cubicBezTo>
                    <a:pt x="56" y="202"/>
                    <a:pt x="86" y="158"/>
                    <a:pt x="125" y="119"/>
                  </a:cubicBezTo>
                  <a:cubicBezTo>
                    <a:pt x="164" y="80"/>
                    <a:pt x="209" y="52"/>
                    <a:pt x="264" y="30"/>
                  </a:cubicBezTo>
                  <a:cubicBezTo>
                    <a:pt x="317" y="8"/>
                    <a:pt x="378" y="0"/>
                    <a:pt x="445" y="0"/>
                  </a:cubicBezTo>
                  <a:cubicBezTo>
                    <a:pt x="511" y="0"/>
                    <a:pt x="573" y="8"/>
                    <a:pt x="628" y="30"/>
                  </a:cubicBezTo>
                  <a:cubicBezTo>
                    <a:pt x="684" y="50"/>
                    <a:pt x="731" y="80"/>
                    <a:pt x="770" y="122"/>
                  </a:cubicBezTo>
                  <a:cubicBezTo>
                    <a:pt x="809" y="163"/>
                    <a:pt x="836" y="216"/>
                    <a:pt x="853" y="277"/>
                  </a:cubicBezTo>
                  <a:cubicBezTo>
                    <a:pt x="870" y="341"/>
                    <a:pt x="875" y="413"/>
                    <a:pt x="867" y="497"/>
                  </a:cubicBezTo>
                  <a:lnTo>
                    <a:pt x="186" y="352"/>
                  </a:lnTo>
                  <a:lnTo>
                    <a:pt x="186" y="352"/>
                  </a:lnTo>
                  <a:cubicBezTo>
                    <a:pt x="698" y="352"/>
                    <a:pt x="698" y="352"/>
                    <a:pt x="698" y="352"/>
                  </a:cubicBezTo>
                  <a:cubicBezTo>
                    <a:pt x="692" y="286"/>
                    <a:pt x="667" y="236"/>
                    <a:pt x="623" y="202"/>
                  </a:cubicBezTo>
                  <a:cubicBezTo>
                    <a:pt x="578" y="169"/>
                    <a:pt x="520" y="152"/>
                    <a:pt x="450" y="152"/>
                  </a:cubicBezTo>
                  <a:cubicBezTo>
                    <a:pt x="384" y="152"/>
                    <a:pt x="328" y="169"/>
                    <a:pt x="281"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4" name="Freeform 36">
              <a:extLst>
                <a:ext uri="{FF2B5EF4-FFF2-40B4-BE49-F238E27FC236}">
                  <a16:creationId xmlns:a16="http://schemas.microsoft.com/office/drawing/2014/main" id="{239010D6-7A4A-A04B-8A14-10DC67DC9B37}"/>
                </a:ext>
              </a:extLst>
            </p:cNvPr>
            <p:cNvSpPr>
              <a:spLocks noChangeArrowheads="1"/>
            </p:cNvSpPr>
            <p:nvPr userDrawn="1"/>
          </p:nvSpPr>
          <p:spPr bwMode="auto">
            <a:xfrm>
              <a:off x="6570663" y="3024188"/>
              <a:ext cx="77787" cy="76200"/>
            </a:xfrm>
            <a:custGeom>
              <a:avLst/>
              <a:gdLst>
                <a:gd name="T0" fmla="*/ 0 w 218"/>
                <a:gd name="T1" fmla="*/ 106 h 213"/>
                <a:gd name="T2" fmla="*/ 0 w 218"/>
                <a:gd name="T3" fmla="*/ 106 h 213"/>
                <a:gd name="T4" fmla="*/ 33 w 218"/>
                <a:gd name="T5" fmla="*/ 25 h 213"/>
                <a:gd name="T6" fmla="*/ 108 w 218"/>
                <a:gd name="T7" fmla="*/ 0 h 213"/>
                <a:gd name="T8" fmla="*/ 183 w 218"/>
                <a:gd name="T9" fmla="*/ 25 h 213"/>
                <a:gd name="T10" fmla="*/ 217 w 218"/>
                <a:gd name="T11" fmla="*/ 106 h 213"/>
                <a:gd name="T12" fmla="*/ 183 w 218"/>
                <a:gd name="T13" fmla="*/ 184 h 213"/>
                <a:gd name="T14" fmla="*/ 108 w 218"/>
                <a:gd name="T15" fmla="*/ 212 h 213"/>
                <a:gd name="T16" fmla="*/ 33 w 218"/>
                <a:gd name="T17" fmla="*/ 184 h 213"/>
                <a:gd name="T18" fmla="*/ 0 w 218"/>
                <a:gd name="T19" fmla="*/ 10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3">
                  <a:moveTo>
                    <a:pt x="0" y="106"/>
                  </a:moveTo>
                  <a:lnTo>
                    <a:pt x="0" y="106"/>
                  </a:lnTo>
                  <a:cubicBezTo>
                    <a:pt x="0" y="70"/>
                    <a:pt x="11" y="42"/>
                    <a:pt x="33" y="25"/>
                  </a:cubicBezTo>
                  <a:cubicBezTo>
                    <a:pt x="56" y="9"/>
                    <a:pt x="80" y="0"/>
                    <a:pt x="108" y="0"/>
                  </a:cubicBezTo>
                  <a:cubicBezTo>
                    <a:pt x="136" y="0"/>
                    <a:pt x="161" y="9"/>
                    <a:pt x="183" y="25"/>
                  </a:cubicBezTo>
                  <a:cubicBezTo>
                    <a:pt x="206" y="42"/>
                    <a:pt x="217" y="70"/>
                    <a:pt x="217" y="106"/>
                  </a:cubicBezTo>
                  <a:cubicBezTo>
                    <a:pt x="217" y="139"/>
                    <a:pt x="206" y="167"/>
                    <a:pt x="183" y="184"/>
                  </a:cubicBezTo>
                  <a:cubicBezTo>
                    <a:pt x="161" y="203"/>
                    <a:pt x="136" y="212"/>
                    <a:pt x="108" y="212"/>
                  </a:cubicBezTo>
                  <a:cubicBezTo>
                    <a:pt x="80" y="212"/>
                    <a:pt x="56" y="203"/>
                    <a:pt x="33" y="184"/>
                  </a:cubicBezTo>
                  <a:cubicBezTo>
                    <a:pt x="11" y="167"/>
                    <a:pt x="0" y="139"/>
                    <a:pt x="0" y="106"/>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5" name="Freeform 37">
              <a:extLst>
                <a:ext uri="{FF2B5EF4-FFF2-40B4-BE49-F238E27FC236}">
                  <a16:creationId xmlns:a16="http://schemas.microsoft.com/office/drawing/2014/main" id="{081ED96C-9800-784E-A107-02AF481AA11A}"/>
                </a:ext>
              </a:extLst>
            </p:cNvPr>
            <p:cNvSpPr>
              <a:spLocks noChangeArrowheads="1"/>
            </p:cNvSpPr>
            <p:nvPr userDrawn="1"/>
          </p:nvSpPr>
          <p:spPr bwMode="auto">
            <a:xfrm>
              <a:off x="2690813" y="3625850"/>
              <a:ext cx="79375" cy="77788"/>
            </a:xfrm>
            <a:custGeom>
              <a:avLst/>
              <a:gdLst>
                <a:gd name="T0" fmla="*/ 0 w 221"/>
                <a:gd name="T1" fmla="*/ 105 h 215"/>
                <a:gd name="T2" fmla="*/ 0 w 221"/>
                <a:gd name="T3" fmla="*/ 105 h 215"/>
                <a:gd name="T4" fmla="*/ 34 w 221"/>
                <a:gd name="T5" fmla="*/ 28 h 215"/>
                <a:gd name="T6" fmla="*/ 111 w 221"/>
                <a:gd name="T7" fmla="*/ 0 h 215"/>
                <a:gd name="T8" fmla="*/ 186 w 221"/>
                <a:gd name="T9" fmla="*/ 28 h 215"/>
                <a:gd name="T10" fmla="*/ 220 w 221"/>
                <a:gd name="T11" fmla="*/ 105 h 215"/>
                <a:gd name="T12" fmla="*/ 186 w 221"/>
                <a:gd name="T13" fmla="*/ 186 h 215"/>
                <a:gd name="T14" fmla="*/ 111 w 221"/>
                <a:gd name="T15" fmla="*/ 214 h 215"/>
                <a:gd name="T16" fmla="*/ 34 w 221"/>
                <a:gd name="T17" fmla="*/ 186 h 215"/>
                <a:gd name="T18" fmla="*/ 0 w 221"/>
                <a:gd name="T19" fmla="*/ 10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215">
                  <a:moveTo>
                    <a:pt x="0" y="105"/>
                  </a:moveTo>
                  <a:lnTo>
                    <a:pt x="0" y="105"/>
                  </a:lnTo>
                  <a:cubicBezTo>
                    <a:pt x="0" y="69"/>
                    <a:pt x="11" y="44"/>
                    <a:pt x="34" y="28"/>
                  </a:cubicBezTo>
                  <a:cubicBezTo>
                    <a:pt x="59" y="8"/>
                    <a:pt x="84" y="0"/>
                    <a:pt x="111" y="0"/>
                  </a:cubicBezTo>
                  <a:cubicBezTo>
                    <a:pt x="136" y="0"/>
                    <a:pt x="161" y="8"/>
                    <a:pt x="186" y="28"/>
                  </a:cubicBezTo>
                  <a:cubicBezTo>
                    <a:pt x="209" y="44"/>
                    <a:pt x="220" y="69"/>
                    <a:pt x="220" y="105"/>
                  </a:cubicBezTo>
                  <a:cubicBezTo>
                    <a:pt x="220" y="141"/>
                    <a:pt x="209" y="169"/>
                    <a:pt x="186" y="186"/>
                  </a:cubicBezTo>
                  <a:cubicBezTo>
                    <a:pt x="161" y="202"/>
                    <a:pt x="136" y="214"/>
                    <a:pt x="111" y="214"/>
                  </a:cubicBezTo>
                  <a:cubicBezTo>
                    <a:pt x="84" y="214"/>
                    <a:pt x="59" y="202"/>
                    <a:pt x="34" y="186"/>
                  </a:cubicBezTo>
                  <a:cubicBezTo>
                    <a:pt x="11" y="169"/>
                    <a:pt x="0" y="141"/>
                    <a:pt x="0" y="105"/>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Tree>
    <p:extLst>
      <p:ext uri="{BB962C8B-B14F-4D97-AF65-F5344CB8AC3E}">
        <p14:creationId xmlns:p14="http://schemas.microsoft.com/office/powerpoint/2010/main" val="13589001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digo-Divider_3-white">
    <p:bg>
      <p:bgRef idx="1001">
        <a:schemeClr val="bg1"/>
      </p:bgRef>
    </p:bg>
    <p:spTree>
      <p:nvGrpSpPr>
        <p:cNvPr id="1" name=""/>
        <p:cNvGrpSpPr/>
        <p:nvPr/>
      </p:nvGrpSpPr>
      <p:grpSpPr>
        <a:xfrm>
          <a:off x="0" y="0"/>
          <a:ext cx="0" cy="0"/>
          <a:chOff x="0" y="0"/>
          <a:chExt cx="0" cy="0"/>
        </a:xfrm>
      </p:grpSpPr>
      <p:sp>
        <p:nvSpPr>
          <p:cNvPr id="7" name="Freeform 2">
            <a:extLst>
              <a:ext uri="{FF2B5EF4-FFF2-40B4-BE49-F238E27FC236}">
                <a16:creationId xmlns:a16="http://schemas.microsoft.com/office/drawing/2014/main" id="{C35F59C1-8A33-7A4B-8741-E077DB132D18}"/>
              </a:ext>
            </a:extLst>
          </p:cNvPr>
          <p:cNvSpPr>
            <a:spLocks noChangeArrowheads="1"/>
          </p:cNvSpPr>
          <p:nvPr userDrawn="1"/>
        </p:nvSpPr>
        <p:spPr bwMode="auto">
          <a:xfrm>
            <a:off x="3455988" y="411163"/>
            <a:ext cx="5256212" cy="5146214"/>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 name="Title 1">
            <a:extLst>
              <a:ext uri="{FF2B5EF4-FFF2-40B4-BE49-F238E27FC236}">
                <a16:creationId xmlns:a16="http://schemas.microsoft.com/office/drawing/2014/main" id="{0D402FA9-5415-A549-AA59-7A032EE6A06E}"/>
              </a:ext>
            </a:extLst>
          </p:cNvPr>
          <p:cNvSpPr>
            <a:spLocks noGrp="1"/>
          </p:cNvSpPr>
          <p:nvPr>
            <p:ph type="title" hasCustomPrompt="1"/>
          </p:nvPr>
        </p:nvSpPr>
        <p:spPr>
          <a:xfrm>
            <a:off x="1" y="808039"/>
            <a:ext cx="3455988" cy="1187449"/>
          </a:xfrm>
          <a:prstGeom prst="rect">
            <a:avLst/>
          </a:prstGeom>
        </p:spPr>
        <p:txBody>
          <a:bodyPr lIns="432000" tIns="180000" rIns="72000" bIns="0"/>
          <a:lstStyle>
            <a:lvl1pPr>
              <a:defRPr lang="pl-PL" dirty="0"/>
            </a:lvl1pPr>
          </a:lstStyle>
          <a:p>
            <a:pPr lvl="0"/>
            <a:r>
              <a:rPr lang="en-US" noProof="0"/>
              <a:t>Section break title</a:t>
            </a:r>
          </a:p>
        </p:txBody>
      </p:sp>
      <p:sp>
        <p:nvSpPr>
          <p:cNvPr id="20" name="Text Placeholder 19">
            <a:extLst>
              <a:ext uri="{FF2B5EF4-FFF2-40B4-BE49-F238E27FC236}">
                <a16:creationId xmlns:a16="http://schemas.microsoft.com/office/drawing/2014/main" id="{E9BFB6C4-08A5-BA43-A8EE-6725DD021A57}"/>
              </a:ext>
            </a:extLst>
          </p:cNvPr>
          <p:cNvSpPr>
            <a:spLocks noGrp="1"/>
          </p:cNvSpPr>
          <p:nvPr>
            <p:ph type="body" sz="quarter" idx="10" hasCustomPrompt="1"/>
          </p:nvPr>
        </p:nvSpPr>
        <p:spPr>
          <a:xfrm>
            <a:off x="1" y="1995488"/>
            <a:ext cx="3455987" cy="455087"/>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sp>
        <p:nvSpPr>
          <p:cNvPr id="3" name="Rectangle 2">
            <a:extLst>
              <a:ext uri="{FF2B5EF4-FFF2-40B4-BE49-F238E27FC236}">
                <a16:creationId xmlns:a16="http://schemas.microsoft.com/office/drawing/2014/main" id="{9062B014-5F8B-0749-BC7C-D1FA44472174}"/>
              </a:ext>
            </a:extLst>
          </p:cNvPr>
          <p:cNvSpPr/>
          <p:nvPr userDrawn="1"/>
        </p:nvSpPr>
        <p:spPr>
          <a:xfrm>
            <a:off x="0" y="4189956"/>
            <a:ext cx="1152395" cy="9535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28419989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digo-Divider_3-dark">
    <p:bg>
      <p:bgRef idx="1001">
        <a:schemeClr val="bg2"/>
      </p:bgRef>
    </p:bg>
    <p:spTree>
      <p:nvGrpSpPr>
        <p:cNvPr id="1" name=""/>
        <p:cNvGrpSpPr/>
        <p:nvPr/>
      </p:nvGrpSpPr>
      <p:grpSpPr>
        <a:xfrm>
          <a:off x="0" y="0"/>
          <a:ext cx="0" cy="0"/>
          <a:chOff x="0" y="0"/>
          <a:chExt cx="0" cy="0"/>
        </a:xfrm>
      </p:grpSpPr>
      <p:sp>
        <p:nvSpPr>
          <p:cNvPr id="6" name="Freeform 2">
            <a:extLst>
              <a:ext uri="{FF2B5EF4-FFF2-40B4-BE49-F238E27FC236}">
                <a16:creationId xmlns:a16="http://schemas.microsoft.com/office/drawing/2014/main" id="{9B0C9128-C328-E84A-BD6A-F680C7D098CB}"/>
              </a:ext>
            </a:extLst>
          </p:cNvPr>
          <p:cNvSpPr>
            <a:spLocks noChangeArrowheads="1"/>
          </p:cNvSpPr>
          <p:nvPr userDrawn="1"/>
        </p:nvSpPr>
        <p:spPr bwMode="auto">
          <a:xfrm>
            <a:off x="3455988" y="411163"/>
            <a:ext cx="5256212" cy="5146214"/>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chemeClr val="tx1"/>
          </a:solidFill>
          <a:ln>
            <a:noFill/>
          </a:ln>
          <a:effectLst/>
        </p:spPr>
        <p:txBody>
          <a:bodyPr wrap="none" anchor="ctr"/>
          <a:lstStyle/>
          <a:p>
            <a:endParaRPr lang="en-US" noProof="0"/>
          </a:p>
        </p:txBody>
      </p:sp>
      <p:sp>
        <p:nvSpPr>
          <p:cNvPr id="2" name="Title 1">
            <a:extLst>
              <a:ext uri="{FF2B5EF4-FFF2-40B4-BE49-F238E27FC236}">
                <a16:creationId xmlns:a16="http://schemas.microsoft.com/office/drawing/2014/main" id="{0D402FA9-5415-A549-AA59-7A032EE6A06E}"/>
              </a:ext>
            </a:extLst>
          </p:cNvPr>
          <p:cNvSpPr>
            <a:spLocks noGrp="1"/>
          </p:cNvSpPr>
          <p:nvPr>
            <p:ph type="title" hasCustomPrompt="1"/>
          </p:nvPr>
        </p:nvSpPr>
        <p:spPr>
          <a:xfrm>
            <a:off x="1" y="808039"/>
            <a:ext cx="3455988" cy="1187449"/>
          </a:xfrm>
          <a:prstGeom prst="rect">
            <a:avLst/>
          </a:prstGeom>
        </p:spPr>
        <p:txBody>
          <a:bodyPr lIns="432000" tIns="180000" rIns="72000" bIns="0"/>
          <a:lstStyle>
            <a:lvl1pPr>
              <a:defRPr lang="pl-PL" dirty="0"/>
            </a:lvl1pPr>
          </a:lstStyle>
          <a:p>
            <a:pPr lvl="0"/>
            <a:r>
              <a:rPr lang="en-US" noProof="0"/>
              <a:t>Section break title</a:t>
            </a:r>
          </a:p>
        </p:txBody>
      </p:sp>
      <p:sp>
        <p:nvSpPr>
          <p:cNvPr id="20" name="Text Placeholder 19">
            <a:extLst>
              <a:ext uri="{FF2B5EF4-FFF2-40B4-BE49-F238E27FC236}">
                <a16:creationId xmlns:a16="http://schemas.microsoft.com/office/drawing/2014/main" id="{E9BFB6C4-08A5-BA43-A8EE-6725DD021A57}"/>
              </a:ext>
            </a:extLst>
          </p:cNvPr>
          <p:cNvSpPr>
            <a:spLocks noGrp="1"/>
          </p:cNvSpPr>
          <p:nvPr>
            <p:ph type="body" sz="quarter" idx="10" hasCustomPrompt="1"/>
          </p:nvPr>
        </p:nvSpPr>
        <p:spPr>
          <a:xfrm>
            <a:off x="1" y="1995488"/>
            <a:ext cx="3455987" cy="455087"/>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sp>
        <p:nvSpPr>
          <p:cNvPr id="3" name="Rectangle 2">
            <a:extLst>
              <a:ext uri="{FF2B5EF4-FFF2-40B4-BE49-F238E27FC236}">
                <a16:creationId xmlns:a16="http://schemas.microsoft.com/office/drawing/2014/main" id="{9062B014-5F8B-0749-BC7C-D1FA44472174}"/>
              </a:ext>
            </a:extLst>
          </p:cNvPr>
          <p:cNvSpPr/>
          <p:nvPr userDrawn="1"/>
        </p:nvSpPr>
        <p:spPr>
          <a:xfrm>
            <a:off x="0" y="4189956"/>
            <a:ext cx="1152395" cy="9535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277905323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digo-Content_Agenda">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3EF4C9C-BB30-C046-870D-B4AE71D8A577}"/>
              </a:ext>
            </a:extLst>
          </p:cNvPr>
          <p:cNvSpPr>
            <a:spLocks noGrp="1"/>
          </p:cNvSpPr>
          <p:nvPr>
            <p:ph type="body" idx="10" hasCustomPrompt="1"/>
          </p:nvPr>
        </p:nvSpPr>
        <p:spPr>
          <a:xfrm>
            <a:off x="827243" y="1745290"/>
            <a:ext cx="3744757"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8" name="Text Placeholder 7">
            <a:extLst>
              <a:ext uri="{FF2B5EF4-FFF2-40B4-BE49-F238E27FC236}">
                <a16:creationId xmlns:a16="http://schemas.microsoft.com/office/drawing/2014/main" id="{BFA29C67-DFBB-0D46-9C5F-8A8249874D05}"/>
              </a:ext>
            </a:extLst>
          </p:cNvPr>
          <p:cNvSpPr>
            <a:spLocks noGrp="1"/>
          </p:cNvSpPr>
          <p:nvPr>
            <p:ph type="body" sz="quarter" idx="11" hasCustomPrompt="1"/>
          </p:nvPr>
        </p:nvSpPr>
        <p:spPr>
          <a:xfrm>
            <a:off x="9525" y="808038"/>
            <a:ext cx="5678488" cy="785650"/>
          </a:xfrm>
          <a:prstGeom prst="rect">
            <a:avLst/>
          </a:prstGeom>
        </p:spPr>
        <p:txBody>
          <a:bodyPr lIns="432000" tIns="72000" rIns="180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Day 1, day of the week, date</a:t>
            </a:r>
          </a:p>
        </p:txBody>
      </p:sp>
      <p:sp>
        <p:nvSpPr>
          <p:cNvPr id="13" name="Title 5">
            <a:extLst>
              <a:ext uri="{FF2B5EF4-FFF2-40B4-BE49-F238E27FC236}">
                <a16:creationId xmlns:a16="http://schemas.microsoft.com/office/drawing/2014/main" id="{37FB9D5A-B533-CB42-8370-27694DAAFFEA}"/>
              </a:ext>
            </a:extLst>
          </p:cNvPr>
          <p:cNvSpPr>
            <a:spLocks noGrp="1"/>
          </p:cNvSpPr>
          <p:nvPr>
            <p:ph type="title" hasCustomPrompt="1"/>
          </p:nvPr>
        </p:nvSpPr>
        <p:spPr>
          <a:xfrm>
            <a:off x="9525" y="1"/>
            <a:ext cx="6975475" cy="808037"/>
          </a:xfrm>
          <a:prstGeom prst="rect">
            <a:avLst/>
          </a:prstGeom>
        </p:spPr>
        <p:txBody>
          <a:bodyPr vert="horz" lIns="432000" tIns="180000" rIns="36000" bIns="0" rtlCol="0" anchor="t" anchorCtr="0">
            <a:normAutofit/>
          </a:bodyPr>
          <a:lstStyle>
            <a:lvl1pPr>
              <a:defRPr lang="pl-PL" dirty="0"/>
            </a:lvl1pPr>
          </a:lstStyle>
          <a:p>
            <a:pPr lvl="0"/>
            <a:r>
              <a:rPr lang="en-US" noProof="0"/>
              <a:t>Agenda placeholder</a:t>
            </a:r>
          </a:p>
        </p:txBody>
      </p:sp>
      <p:sp>
        <p:nvSpPr>
          <p:cNvPr id="22" name="Text Placeholder 5">
            <a:extLst>
              <a:ext uri="{FF2B5EF4-FFF2-40B4-BE49-F238E27FC236}">
                <a16:creationId xmlns:a16="http://schemas.microsoft.com/office/drawing/2014/main" id="{B2113164-52D8-C34B-9141-FED527FA8C32}"/>
              </a:ext>
            </a:extLst>
          </p:cNvPr>
          <p:cNvSpPr>
            <a:spLocks noGrp="1"/>
          </p:cNvSpPr>
          <p:nvPr>
            <p:ph type="body" idx="12" hasCustomPrompt="1"/>
          </p:nvPr>
        </p:nvSpPr>
        <p:spPr>
          <a:xfrm>
            <a:off x="827243" y="2281588"/>
            <a:ext cx="3744757"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24" name="Text Placeholder 5">
            <a:extLst>
              <a:ext uri="{FF2B5EF4-FFF2-40B4-BE49-F238E27FC236}">
                <a16:creationId xmlns:a16="http://schemas.microsoft.com/office/drawing/2014/main" id="{26D05B39-27E1-314A-A1A9-43E6911F8231}"/>
              </a:ext>
            </a:extLst>
          </p:cNvPr>
          <p:cNvSpPr>
            <a:spLocks noGrp="1"/>
          </p:cNvSpPr>
          <p:nvPr>
            <p:ph type="body" idx="13" hasCustomPrompt="1"/>
          </p:nvPr>
        </p:nvSpPr>
        <p:spPr>
          <a:xfrm>
            <a:off x="827243" y="2817886"/>
            <a:ext cx="3744757"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26" name="Text Placeholder 5">
            <a:extLst>
              <a:ext uri="{FF2B5EF4-FFF2-40B4-BE49-F238E27FC236}">
                <a16:creationId xmlns:a16="http://schemas.microsoft.com/office/drawing/2014/main" id="{67FAA2C2-F768-7F41-AEBE-9D1C8EAA7541}"/>
              </a:ext>
            </a:extLst>
          </p:cNvPr>
          <p:cNvSpPr>
            <a:spLocks noGrp="1"/>
          </p:cNvSpPr>
          <p:nvPr>
            <p:ph type="body" idx="14" hasCustomPrompt="1"/>
          </p:nvPr>
        </p:nvSpPr>
        <p:spPr>
          <a:xfrm>
            <a:off x="827243" y="3354184"/>
            <a:ext cx="3744757"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28" name="Text Placeholder 5">
            <a:extLst>
              <a:ext uri="{FF2B5EF4-FFF2-40B4-BE49-F238E27FC236}">
                <a16:creationId xmlns:a16="http://schemas.microsoft.com/office/drawing/2014/main" id="{66774C2A-FA3E-F44A-A4C5-B3125FCBE296}"/>
              </a:ext>
            </a:extLst>
          </p:cNvPr>
          <p:cNvSpPr>
            <a:spLocks noGrp="1"/>
          </p:cNvSpPr>
          <p:nvPr>
            <p:ph type="body" idx="15" hasCustomPrompt="1"/>
          </p:nvPr>
        </p:nvSpPr>
        <p:spPr>
          <a:xfrm>
            <a:off x="827243" y="3890483"/>
            <a:ext cx="3744757"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30" name="Text Placeholder 5">
            <a:extLst>
              <a:ext uri="{FF2B5EF4-FFF2-40B4-BE49-F238E27FC236}">
                <a16:creationId xmlns:a16="http://schemas.microsoft.com/office/drawing/2014/main" id="{8B71ACC3-3FA7-6C4D-9009-029E0B147E2E}"/>
              </a:ext>
            </a:extLst>
          </p:cNvPr>
          <p:cNvSpPr>
            <a:spLocks noGrp="1"/>
          </p:cNvSpPr>
          <p:nvPr>
            <p:ph type="body" idx="16" hasCustomPrompt="1"/>
          </p:nvPr>
        </p:nvSpPr>
        <p:spPr>
          <a:xfrm>
            <a:off x="4967443" y="1745290"/>
            <a:ext cx="3744757"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32" name="Text Placeholder 5">
            <a:extLst>
              <a:ext uri="{FF2B5EF4-FFF2-40B4-BE49-F238E27FC236}">
                <a16:creationId xmlns:a16="http://schemas.microsoft.com/office/drawing/2014/main" id="{EF8B02B0-85F4-8C4A-9194-8F646D8730E9}"/>
              </a:ext>
            </a:extLst>
          </p:cNvPr>
          <p:cNvSpPr>
            <a:spLocks noGrp="1"/>
          </p:cNvSpPr>
          <p:nvPr>
            <p:ph type="body" idx="17" hasCustomPrompt="1"/>
          </p:nvPr>
        </p:nvSpPr>
        <p:spPr>
          <a:xfrm>
            <a:off x="4967443" y="2281588"/>
            <a:ext cx="3744757"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34" name="Text Placeholder 5">
            <a:extLst>
              <a:ext uri="{FF2B5EF4-FFF2-40B4-BE49-F238E27FC236}">
                <a16:creationId xmlns:a16="http://schemas.microsoft.com/office/drawing/2014/main" id="{187B1997-BB2F-E84C-91BB-70F7F21E8023}"/>
              </a:ext>
            </a:extLst>
          </p:cNvPr>
          <p:cNvSpPr>
            <a:spLocks noGrp="1"/>
          </p:cNvSpPr>
          <p:nvPr>
            <p:ph type="body" idx="18" hasCustomPrompt="1"/>
          </p:nvPr>
        </p:nvSpPr>
        <p:spPr>
          <a:xfrm>
            <a:off x="4967443" y="2817886"/>
            <a:ext cx="3744757"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36" name="Text Placeholder 5">
            <a:extLst>
              <a:ext uri="{FF2B5EF4-FFF2-40B4-BE49-F238E27FC236}">
                <a16:creationId xmlns:a16="http://schemas.microsoft.com/office/drawing/2014/main" id="{1AF185AB-8AA7-254E-9755-65671833057F}"/>
              </a:ext>
            </a:extLst>
          </p:cNvPr>
          <p:cNvSpPr>
            <a:spLocks noGrp="1"/>
          </p:cNvSpPr>
          <p:nvPr>
            <p:ph type="body" idx="19" hasCustomPrompt="1"/>
          </p:nvPr>
        </p:nvSpPr>
        <p:spPr>
          <a:xfrm>
            <a:off x="4967443" y="3354184"/>
            <a:ext cx="3744757"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38" name="Text Placeholder 5">
            <a:extLst>
              <a:ext uri="{FF2B5EF4-FFF2-40B4-BE49-F238E27FC236}">
                <a16:creationId xmlns:a16="http://schemas.microsoft.com/office/drawing/2014/main" id="{D6259EEB-A35E-3640-AE58-0398CA796630}"/>
              </a:ext>
            </a:extLst>
          </p:cNvPr>
          <p:cNvSpPr>
            <a:spLocks noGrp="1"/>
          </p:cNvSpPr>
          <p:nvPr>
            <p:ph type="body" idx="20" hasCustomPrompt="1"/>
          </p:nvPr>
        </p:nvSpPr>
        <p:spPr>
          <a:xfrm>
            <a:off x="4967443" y="3890483"/>
            <a:ext cx="3744757"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Tree>
    <p:extLst>
      <p:ext uri="{BB962C8B-B14F-4D97-AF65-F5344CB8AC3E}">
        <p14:creationId xmlns:p14="http://schemas.microsoft.com/office/powerpoint/2010/main" val="1095933902"/>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Odigo-Content_Agenda">
    <p:bg>
      <p:bgRef idx="1001">
        <a:schemeClr val="bg1"/>
      </p:bgRef>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3EF4C9C-BB30-C046-870D-B4AE71D8A577}"/>
              </a:ext>
            </a:extLst>
          </p:cNvPr>
          <p:cNvSpPr>
            <a:spLocks noGrp="1"/>
          </p:cNvSpPr>
          <p:nvPr>
            <p:ph type="body" idx="10" hasCustomPrompt="1"/>
          </p:nvPr>
        </p:nvSpPr>
        <p:spPr>
          <a:xfrm>
            <a:off x="827243" y="1745290"/>
            <a:ext cx="3744757"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8" name="Text Placeholder 7">
            <a:extLst>
              <a:ext uri="{FF2B5EF4-FFF2-40B4-BE49-F238E27FC236}">
                <a16:creationId xmlns:a16="http://schemas.microsoft.com/office/drawing/2014/main" id="{BFA29C67-DFBB-0D46-9C5F-8A8249874D05}"/>
              </a:ext>
            </a:extLst>
          </p:cNvPr>
          <p:cNvSpPr>
            <a:spLocks noGrp="1"/>
          </p:cNvSpPr>
          <p:nvPr>
            <p:ph type="body" sz="quarter" idx="11" hasCustomPrompt="1"/>
          </p:nvPr>
        </p:nvSpPr>
        <p:spPr>
          <a:xfrm>
            <a:off x="9525" y="808038"/>
            <a:ext cx="5678488" cy="785650"/>
          </a:xfrm>
          <a:prstGeom prst="rect">
            <a:avLst/>
          </a:prstGeom>
        </p:spPr>
        <p:txBody>
          <a:bodyPr lIns="432000" tIns="72000" rIns="180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Day 1, day of the week, date</a:t>
            </a:r>
          </a:p>
        </p:txBody>
      </p:sp>
      <p:sp>
        <p:nvSpPr>
          <p:cNvPr id="13" name="Title 5">
            <a:extLst>
              <a:ext uri="{FF2B5EF4-FFF2-40B4-BE49-F238E27FC236}">
                <a16:creationId xmlns:a16="http://schemas.microsoft.com/office/drawing/2014/main" id="{37FB9D5A-B533-CB42-8370-27694DAAFFEA}"/>
              </a:ext>
            </a:extLst>
          </p:cNvPr>
          <p:cNvSpPr>
            <a:spLocks noGrp="1"/>
          </p:cNvSpPr>
          <p:nvPr>
            <p:ph type="title" hasCustomPrompt="1"/>
          </p:nvPr>
        </p:nvSpPr>
        <p:spPr>
          <a:xfrm>
            <a:off x="9525" y="1"/>
            <a:ext cx="6975475" cy="808037"/>
          </a:xfrm>
          <a:prstGeom prst="rect">
            <a:avLst/>
          </a:prstGeom>
        </p:spPr>
        <p:txBody>
          <a:bodyPr vert="horz" lIns="432000" tIns="180000" rIns="36000" bIns="0" rtlCol="0" anchor="t" anchorCtr="0">
            <a:normAutofit/>
          </a:bodyPr>
          <a:lstStyle>
            <a:lvl1pPr>
              <a:defRPr lang="pl-PL" dirty="0"/>
            </a:lvl1pPr>
          </a:lstStyle>
          <a:p>
            <a:pPr lvl="0"/>
            <a:r>
              <a:rPr lang="en-US" noProof="0"/>
              <a:t>Agenda placeholder</a:t>
            </a:r>
          </a:p>
        </p:txBody>
      </p:sp>
      <p:sp>
        <p:nvSpPr>
          <p:cNvPr id="22" name="Text Placeholder 5">
            <a:extLst>
              <a:ext uri="{FF2B5EF4-FFF2-40B4-BE49-F238E27FC236}">
                <a16:creationId xmlns:a16="http://schemas.microsoft.com/office/drawing/2014/main" id="{B2113164-52D8-C34B-9141-FED527FA8C32}"/>
              </a:ext>
            </a:extLst>
          </p:cNvPr>
          <p:cNvSpPr>
            <a:spLocks noGrp="1"/>
          </p:cNvSpPr>
          <p:nvPr>
            <p:ph type="body" idx="12" hasCustomPrompt="1"/>
          </p:nvPr>
        </p:nvSpPr>
        <p:spPr>
          <a:xfrm>
            <a:off x="827243" y="2281588"/>
            <a:ext cx="3744757"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24" name="Text Placeholder 5">
            <a:extLst>
              <a:ext uri="{FF2B5EF4-FFF2-40B4-BE49-F238E27FC236}">
                <a16:creationId xmlns:a16="http://schemas.microsoft.com/office/drawing/2014/main" id="{26D05B39-27E1-314A-A1A9-43E6911F8231}"/>
              </a:ext>
            </a:extLst>
          </p:cNvPr>
          <p:cNvSpPr>
            <a:spLocks noGrp="1"/>
          </p:cNvSpPr>
          <p:nvPr>
            <p:ph type="body" idx="13" hasCustomPrompt="1"/>
          </p:nvPr>
        </p:nvSpPr>
        <p:spPr>
          <a:xfrm>
            <a:off x="827243" y="2817886"/>
            <a:ext cx="3744757"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26" name="Text Placeholder 5">
            <a:extLst>
              <a:ext uri="{FF2B5EF4-FFF2-40B4-BE49-F238E27FC236}">
                <a16:creationId xmlns:a16="http://schemas.microsoft.com/office/drawing/2014/main" id="{67FAA2C2-F768-7F41-AEBE-9D1C8EAA7541}"/>
              </a:ext>
            </a:extLst>
          </p:cNvPr>
          <p:cNvSpPr>
            <a:spLocks noGrp="1"/>
          </p:cNvSpPr>
          <p:nvPr>
            <p:ph type="body" idx="14" hasCustomPrompt="1"/>
          </p:nvPr>
        </p:nvSpPr>
        <p:spPr>
          <a:xfrm>
            <a:off x="827243" y="3354184"/>
            <a:ext cx="3744757"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28" name="Text Placeholder 5">
            <a:extLst>
              <a:ext uri="{FF2B5EF4-FFF2-40B4-BE49-F238E27FC236}">
                <a16:creationId xmlns:a16="http://schemas.microsoft.com/office/drawing/2014/main" id="{66774C2A-FA3E-F44A-A4C5-B3125FCBE296}"/>
              </a:ext>
            </a:extLst>
          </p:cNvPr>
          <p:cNvSpPr>
            <a:spLocks noGrp="1"/>
          </p:cNvSpPr>
          <p:nvPr>
            <p:ph type="body" idx="15" hasCustomPrompt="1"/>
          </p:nvPr>
        </p:nvSpPr>
        <p:spPr>
          <a:xfrm>
            <a:off x="827243" y="3890483"/>
            <a:ext cx="3744757"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30" name="Text Placeholder 5">
            <a:extLst>
              <a:ext uri="{FF2B5EF4-FFF2-40B4-BE49-F238E27FC236}">
                <a16:creationId xmlns:a16="http://schemas.microsoft.com/office/drawing/2014/main" id="{8B71ACC3-3FA7-6C4D-9009-029E0B147E2E}"/>
              </a:ext>
            </a:extLst>
          </p:cNvPr>
          <p:cNvSpPr>
            <a:spLocks noGrp="1"/>
          </p:cNvSpPr>
          <p:nvPr>
            <p:ph type="body" idx="16" hasCustomPrompt="1"/>
          </p:nvPr>
        </p:nvSpPr>
        <p:spPr>
          <a:xfrm>
            <a:off x="4967443" y="1745290"/>
            <a:ext cx="3744757"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32" name="Text Placeholder 5">
            <a:extLst>
              <a:ext uri="{FF2B5EF4-FFF2-40B4-BE49-F238E27FC236}">
                <a16:creationId xmlns:a16="http://schemas.microsoft.com/office/drawing/2014/main" id="{EF8B02B0-85F4-8C4A-9194-8F646D8730E9}"/>
              </a:ext>
            </a:extLst>
          </p:cNvPr>
          <p:cNvSpPr>
            <a:spLocks noGrp="1"/>
          </p:cNvSpPr>
          <p:nvPr>
            <p:ph type="body" idx="17" hasCustomPrompt="1"/>
          </p:nvPr>
        </p:nvSpPr>
        <p:spPr>
          <a:xfrm>
            <a:off x="4967443" y="2281588"/>
            <a:ext cx="3744757"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34" name="Text Placeholder 5">
            <a:extLst>
              <a:ext uri="{FF2B5EF4-FFF2-40B4-BE49-F238E27FC236}">
                <a16:creationId xmlns:a16="http://schemas.microsoft.com/office/drawing/2014/main" id="{187B1997-BB2F-E84C-91BB-70F7F21E8023}"/>
              </a:ext>
            </a:extLst>
          </p:cNvPr>
          <p:cNvSpPr>
            <a:spLocks noGrp="1"/>
          </p:cNvSpPr>
          <p:nvPr>
            <p:ph type="body" idx="18" hasCustomPrompt="1"/>
          </p:nvPr>
        </p:nvSpPr>
        <p:spPr>
          <a:xfrm>
            <a:off x="4967443" y="2817886"/>
            <a:ext cx="3744757"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36" name="Text Placeholder 5">
            <a:extLst>
              <a:ext uri="{FF2B5EF4-FFF2-40B4-BE49-F238E27FC236}">
                <a16:creationId xmlns:a16="http://schemas.microsoft.com/office/drawing/2014/main" id="{1AF185AB-8AA7-254E-9755-65671833057F}"/>
              </a:ext>
            </a:extLst>
          </p:cNvPr>
          <p:cNvSpPr>
            <a:spLocks noGrp="1"/>
          </p:cNvSpPr>
          <p:nvPr>
            <p:ph type="body" idx="19" hasCustomPrompt="1"/>
          </p:nvPr>
        </p:nvSpPr>
        <p:spPr>
          <a:xfrm>
            <a:off x="4967443" y="3354184"/>
            <a:ext cx="3744757"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38" name="Text Placeholder 5">
            <a:extLst>
              <a:ext uri="{FF2B5EF4-FFF2-40B4-BE49-F238E27FC236}">
                <a16:creationId xmlns:a16="http://schemas.microsoft.com/office/drawing/2014/main" id="{D6259EEB-A35E-3640-AE58-0398CA796630}"/>
              </a:ext>
            </a:extLst>
          </p:cNvPr>
          <p:cNvSpPr>
            <a:spLocks noGrp="1"/>
          </p:cNvSpPr>
          <p:nvPr>
            <p:ph type="body" idx="20" hasCustomPrompt="1"/>
          </p:nvPr>
        </p:nvSpPr>
        <p:spPr>
          <a:xfrm>
            <a:off x="4967443" y="3890483"/>
            <a:ext cx="3744757"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Tree>
    <p:extLst>
      <p:ext uri="{BB962C8B-B14F-4D97-AF65-F5344CB8AC3E}">
        <p14:creationId xmlns:p14="http://schemas.microsoft.com/office/powerpoint/2010/main" val="374461004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digo-Content_Agenda-circ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3EF4C9C-BB30-C046-870D-B4AE71D8A577}"/>
              </a:ext>
            </a:extLst>
          </p:cNvPr>
          <p:cNvSpPr>
            <a:spLocks noGrp="1"/>
          </p:cNvSpPr>
          <p:nvPr>
            <p:ph type="body" idx="10" hasCustomPrompt="1"/>
          </p:nvPr>
        </p:nvSpPr>
        <p:spPr>
          <a:xfrm>
            <a:off x="2818788" y="1745290"/>
            <a:ext cx="5893411"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8" name="Text Placeholder 7">
            <a:extLst>
              <a:ext uri="{FF2B5EF4-FFF2-40B4-BE49-F238E27FC236}">
                <a16:creationId xmlns:a16="http://schemas.microsoft.com/office/drawing/2014/main" id="{BFA29C67-DFBB-0D46-9C5F-8A8249874D05}"/>
              </a:ext>
            </a:extLst>
          </p:cNvPr>
          <p:cNvSpPr>
            <a:spLocks noGrp="1"/>
          </p:cNvSpPr>
          <p:nvPr>
            <p:ph type="body" sz="quarter" idx="11" hasCustomPrompt="1"/>
          </p:nvPr>
        </p:nvSpPr>
        <p:spPr>
          <a:xfrm>
            <a:off x="9525" y="808038"/>
            <a:ext cx="5678488" cy="785650"/>
          </a:xfrm>
          <a:prstGeom prst="rect">
            <a:avLst/>
          </a:prstGeom>
        </p:spPr>
        <p:txBody>
          <a:bodyPr lIns="432000" tIns="72000" rIns="180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Day 1, day of the week, date</a:t>
            </a:r>
          </a:p>
        </p:txBody>
      </p:sp>
      <p:sp>
        <p:nvSpPr>
          <p:cNvPr id="13" name="Title 5">
            <a:extLst>
              <a:ext uri="{FF2B5EF4-FFF2-40B4-BE49-F238E27FC236}">
                <a16:creationId xmlns:a16="http://schemas.microsoft.com/office/drawing/2014/main" id="{37FB9D5A-B533-CB42-8370-27694DAAFFEA}"/>
              </a:ext>
            </a:extLst>
          </p:cNvPr>
          <p:cNvSpPr>
            <a:spLocks noGrp="1"/>
          </p:cNvSpPr>
          <p:nvPr>
            <p:ph type="title" hasCustomPrompt="1"/>
          </p:nvPr>
        </p:nvSpPr>
        <p:spPr>
          <a:xfrm>
            <a:off x="9525" y="1"/>
            <a:ext cx="6975475" cy="808037"/>
          </a:xfrm>
          <a:prstGeom prst="rect">
            <a:avLst/>
          </a:prstGeom>
        </p:spPr>
        <p:txBody>
          <a:bodyPr vert="horz" lIns="432000" tIns="180000" rIns="36000" bIns="0" rtlCol="0" anchor="t" anchorCtr="0">
            <a:normAutofit/>
          </a:bodyPr>
          <a:lstStyle>
            <a:lvl1pPr>
              <a:defRPr lang="pl-PL" dirty="0"/>
            </a:lvl1pPr>
          </a:lstStyle>
          <a:p>
            <a:pPr lvl="0"/>
            <a:r>
              <a:rPr lang="en-US" noProof="0"/>
              <a:t>Agenda placeholder</a:t>
            </a:r>
          </a:p>
        </p:txBody>
      </p:sp>
      <p:sp>
        <p:nvSpPr>
          <p:cNvPr id="22" name="Text Placeholder 5">
            <a:extLst>
              <a:ext uri="{FF2B5EF4-FFF2-40B4-BE49-F238E27FC236}">
                <a16:creationId xmlns:a16="http://schemas.microsoft.com/office/drawing/2014/main" id="{B2113164-52D8-C34B-9141-FED527FA8C32}"/>
              </a:ext>
            </a:extLst>
          </p:cNvPr>
          <p:cNvSpPr>
            <a:spLocks noGrp="1"/>
          </p:cNvSpPr>
          <p:nvPr>
            <p:ph type="body" idx="12" hasCustomPrompt="1"/>
          </p:nvPr>
        </p:nvSpPr>
        <p:spPr>
          <a:xfrm>
            <a:off x="2758943" y="2281588"/>
            <a:ext cx="5953255"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24" name="Text Placeholder 5">
            <a:extLst>
              <a:ext uri="{FF2B5EF4-FFF2-40B4-BE49-F238E27FC236}">
                <a16:creationId xmlns:a16="http://schemas.microsoft.com/office/drawing/2014/main" id="{26D05B39-27E1-314A-A1A9-43E6911F8231}"/>
              </a:ext>
            </a:extLst>
          </p:cNvPr>
          <p:cNvSpPr>
            <a:spLocks noGrp="1"/>
          </p:cNvSpPr>
          <p:nvPr>
            <p:ph type="body" idx="13" hasCustomPrompt="1"/>
          </p:nvPr>
        </p:nvSpPr>
        <p:spPr>
          <a:xfrm>
            <a:off x="2588171" y="2817886"/>
            <a:ext cx="6124027"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26" name="Text Placeholder 5">
            <a:extLst>
              <a:ext uri="{FF2B5EF4-FFF2-40B4-BE49-F238E27FC236}">
                <a16:creationId xmlns:a16="http://schemas.microsoft.com/office/drawing/2014/main" id="{67FAA2C2-F768-7F41-AEBE-9D1C8EAA7541}"/>
              </a:ext>
            </a:extLst>
          </p:cNvPr>
          <p:cNvSpPr>
            <a:spLocks noGrp="1"/>
          </p:cNvSpPr>
          <p:nvPr>
            <p:ph type="body" idx="14" hasCustomPrompt="1"/>
          </p:nvPr>
        </p:nvSpPr>
        <p:spPr>
          <a:xfrm>
            <a:off x="2303358" y="3354184"/>
            <a:ext cx="6408840"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28" name="Text Placeholder 5">
            <a:extLst>
              <a:ext uri="{FF2B5EF4-FFF2-40B4-BE49-F238E27FC236}">
                <a16:creationId xmlns:a16="http://schemas.microsoft.com/office/drawing/2014/main" id="{66774C2A-FA3E-F44A-A4C5-B3125FCBE296}"/>
              </a:ext>
            </a:extLst>
          </p:cNvPr>
          <p:cNvSpPr>
            <a:spLocks noGrp="1"/>
          </p:cNvSpPr>
          <p:nvPr>
            <p:ph type="body" idx="15" hasCustomPrompt="1"/>
          </p:nvPr>
        </p:nvSpPr>
        <p:spPr>
          <a:xfrm>
            <a:off x="1814446" y="3890483"/>
            <a:ext cx="6897753"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14" name="Freeform 2">
            <a:extLst>
              <a:ext uri="{FF2B5EF4-FFF2-40B4-BE49-F238E27FC236}">
                <a16:creationId xmlns:a16="http://schemas.microsoft.com/office/drawing/2014/main" id="{9FAC9CC6-08E6-844D-957E-0E0B7E910BAF}"/>
              </a:ext>
            </a:extLst>
          </p:cNvPr>
          <p:cNvSpPr>
            <a:spLocks noChangeArrowheads="1"/>
          </p:cNvSpPr>
          <p:nvPr userDrawn="1"/>
        </p:nvSpPr>
        <p:spPr bwMode="auto">
          <a:xfrm>
            <a:off x="-2961712" y="-927193"/>
            <a:ext cx="5780501" cy="5659531"/>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Tree>
    <p:extLst>
      <p:ext uri="{BB962C8B-B14F-4D97-AF65-F5344CB8AC3E}">
        <p14:creationId xmlns:p14="http://schemas.microsoft.com/office/powerpoint/2010/main" val="4034385671"/>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Odigo-Content_Agenda-circle">
    <p:bg>
      <p:bgRef idx="1001">
        <a:schemeClr val="bg1"/>
      </p:bgRef>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3EF4C9C-BB30-C046-870D-B4AE71D8A577}"/>
              </a:ext>
            </a:extLst>
          </p:cNvPr>
          <p:cNvSpPr>
            <a:spLocks noGrp="1"/>
          </p:cNvSpPr>
          <p:nvPr>
            <p:ph type="body" idx="10" hasCustomPrompt="1"/>
          </p:nvPr>
        </p:nvSpPr>
        <p:spPr>
          <a:xfrm>
            <a:off x="2818788" y="1745290"/>
            <a:ext cx="5893411"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8" name="Text Placeholder 7">
            <a:extLst>
              <a:ext uri="{FF2B5EF4-FFF2-40B4-BE49-F238E27FC236}">
                <a16:creationId xmlns:a16="http://schemas.microsoft.com/office/drawing/2014/main" id="{BFA29C67-DFBB-0D46-9C5F-8A8249874D05}"/>
              </a:ext>
            </a:extLst>
          </p:cNvPr>
          <p:cNvSpPr>
            <a:spLocks noGrp="1"/>
          </p:cNvSpPr>
          <p:nvPr>
            <p:ph type="body" sz="quarter" idx="11" hasCustomPrompt="1"/>
          </p:nvPr>
        </p:nvSpPr>
        <p:spPr>
          <a:xfrm>
            <a:off x="9525" y="808038"/>
            <a:ext cx="5678488" cy="785650"/>
          </a:xfrm>
          <a:prstGeom prst="rect">
            <a:avLst/>
          </a:prstGeom>
        </p:spPr>
        <p:txBody>
          <a:bodyPr lIns="432000" tIns="72000" rIns="180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Day 1, day of the week, date</a:t>
            </a:r>
          </a:p>
        </p:txBody>
      </p:sp>
      <p:sp>
        <p:nvSpPr>
          <p:cNvPr id="13" name="Title 5">
            <a:extLst>
              <a:ext uri="{FF2B5EF4-FFF2-40B4-BE49-F238E27FC236}">
                <a16:creationId xmlns:a16="http://schemas.microsoft.com/office/drawing/2014/main" id="{37FB9D5A-B533-CB42-8370-27694DAAFFEA}"/>
              </a:ext>
            </a:extLst>
          </p:cNvPr>
          <p:cNvSpPr>
            <a:spLocks noGrp="1"/>
          </p:cNvSpPr>
          <p:nvPr>
            <p:ph type="title" hasCustomPrompt="1"/>
          </p:nvPr>
        </p:nvSpPr>
        <p:spPr>
          <a:xfrm>
            <a:off x="9525" y="1"/>
            <a:ext cx="6975475" cy="808037"/>
          </a:xfrm>
          <a:prstGeom prst="rect">
            <a:avLst/>
          </a:prstGeom>
        </p:spPr>
        <p:txBody>
          <a:bodyPr vert="horz" lIns="432000" tIns="180000" rIns="36000" bIns="0" rtlCol="0" anchor="t" anchorCtr="0">
            <a:normAutofit/>
          </a:bodyPr>
          <a:lstStyle>
            <a:lvl1pPr>
              <a:defRPr lang="pl-PL" dirty="0"/>
            </a:lvl1pPr>
          </a:lstStyle>
          <a:p>
            <a:pPr lvl="0"/>
            <a:r>
              <a:rPr lang="en-US" noProof="0"/>
              <a:t>Agenda placeholder</a:t>
            </a:r>
          </a:p>
        </p:txBody>
      </p:sp>
      <p:sp>
        <p:nvSpPr>
          <p:cNvPr id="22" name="Text Placeholder 5">
            <a:extLst>
              <a:ext uri="{FF2B5EF4-FFF2-40B4-BE49-F238E27FC236}">
                <a16:creationId xmlns:a16="http://schemas.microsoft.com/office/drawing/2014/main" id="{B2113164-52D8-C34B-9141-FED527FA8C32}"/>
              </a:ext>
            </a:extLst>
          </p:cNvPr>
          <p:cNvSpPr>
            <a:spLocks noGrp="1"/>
          </p:cNvSpPr>
          <p:nvPr>
            <p:ph type="body" idx="12" hasCustomPrompt="1"/>
          </p:nvPr>
        </p:nvSpPr>
        <p:spPr>
          <a:xfrm>
            <a:off x="2758943" y="2281588"/>
            <a:ext cx="5953255"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24" name="Text Placeholder 5">
            <a:extLst>
              <a:ext uri="{FF2B5EF4-FFF2-40B4-BE49-F238E27FC236}">
                <a16:creationId xmlns:a16="http://schemas.microsoft.com/office/drawing/2014/main" id="{26D05B39-27E1-314A-A1A9-43E6911F8231}"/>
              </a:ext>
            </a:extLst>
          </p:cNvPr>
          <p:cNvSpPr>
            <a:spLocks noGrp="1"/>
          </p:cNvSpPr>
          <p:nvPr>
            <p:ph type="body" idx="13" hasCustomPrompt="1"/>
          </p:nvPr>
        </p:nvSpPr>
        <p:spPr>
          <a:xfrm>
            <a:off x="2588171" y="2817886"/>
            <a:ext cx="6124027"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26" name="Text Placeholder 5">
            <a:extLst>
              <a:ext uri="{FF2B5EF4-FFF2-40B4-BE49-F238E27FC236}">
                <a16:creationId xmlns:a16="http://schemas.microsoft.com/office/drawing/2014/main" id="{67FAA2C2-F768-7F41-AEBE-9D1C8EAA7541}"/>
              </a:ext>
            </a:extLst>
          </p:cNvPr>
          <p:cNvSpPr>
            <a:spLocks noGrp="1"/>
          </p:cNvSpPr>
          <p:nvPr>
            <p:ph type="body" idx="14" hasCustomPrompt="1"/>
          </p:nvPr>
        </p:nvSpPr>
        <p:spPr>
          <a:xfrm>
            <a:off x="2303358" y="3354184"/>
            <a:ext cx="6408840"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28" name="Text Placeholder 5">
            <a:extLst>
              <a:ext uri="{FF2B5EF4-FFF2-40B4-BE49-F238E27FC236}">
                <a16:creationId xmlns:a16="http://schemas.microsoft.com/office/drawing/2014/main" id="{66774C2A-FA3E-F44A-A4C5-B3125FCBE296}"/>
              </a:ext>
            </a:extLst>
          </p:cNvPr>
          <p:cNvSpPr>
            <a:spLocks noGrp="1"/>
          </p:cNvSpPr>
          <p:nvPr>
            <p:ph type="body" idx="15" hasCustomPrompt="1"/>
          </p:nvPr>
        </p:nvSpPr>
        <p:spPr>
          <a:xfrm>
            <a:off x="1814446" y="3890483"/>
            <a:ext cx="6897753" cy="395288"/>
          </a:xfrm>
          <a:prstGeom prst="rect">
            <a:avLst/>
          </a:prstGeom>
        </p:spPr>
        <p:txBody>
          <a:bodyPr lIns="180000" tIns="72000" rIns="288000" bIns="72000" anchor="ctr" anchorCtr="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Click to insert text</a:t>
            </a:r>
          </a:p>
        </p:txBody>
      </p:sp>
      <p:sp>
        <p:nvSpPr>
          <p:cNvPr id="14" name="Freeform 2">
            <a:extLst>
              <a:ext uri="{FF2B5EF4-FFF2-40B4-BE49-F238E27FC236}">
                <a16:creationId xmlns:a16="http://schemas.microsoft.com/office/drawing/2014/main" id="{9FAC9CC6-08E6-844D-957E-0E0B7E910BAF}"/>
              </a:ext>
            </a:extLst>
          </p:cNvPr>
          <p:cNvSpPr>
            <a:spLocks noChangeArrowheads="1"/>
          </p:cNvSpPr>
          <p:nvPr userDrawn="1"/>
        </p:nvSpPr>
        <p:spPr bwMode="auto">
          <a:xfrm>
            <a:off x="-2961712" y="-927193"/>
            <a:ext cx="5780501" cy="5659531"/>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Tree>
    <p:extLst>
      <p:ext uri="{BB962C8B-B14F-4D97-AF65-F5344CB8AC3E}">
        <p14:creationId xmlns:p14="http://schemas.microsoft.com/office/powerpoint/2010/main" val="24584342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digo-Content_General">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3EF4C9C-BB30-C046-870D-B4AE71D8A577}"/>
              </a:ext>
            </a:extLst>
          </p:cNvPr>
          <p:cNvSpPr>
            <a:spLocks noGrp="1"/>
          </p:cNvSpPr>
          <p:nvPr>
            <p:ph type="body" idx="10"/>
          </p:nvPr>
        </p:nvSpPr>
        <p:spPr>
          <a:xfrm>
            <a:off x="9525" y="1600200"/>
            <a:ext cx="5678488" cy="3132138"/>
          </a:xfrm>
          <a:prstGeom prst="rect">
            <a:avLst/>
          </a:prstGeom>
        </p:spPr>
        <p:txBody>
          <a:bodyPr lIns="432000" tIns="72000" rIns="180000" bIns="18000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7">
            <a:extLst>
              <a:ext uri="{FF2B5EF4-FFF2-40B4-BE49-F238E27FC236}">
                <a16:creationId xmlns:a16="http://schemas.microsoft.com/office/drawing/2014/main" id="{BFA29C67-DFBB-0D46-9C5F-8A8249874D05}"/>
              </a:ext>
            </a:extLst>
          </p:cNvPr>
          <p:cNvSpPr>
            <a:spLocks noGrp="1"/>
          </p:cNvSpPr>
          <p:nvPr>
            <p:ph type="body" sz="quarter" idx="11" hasCustomPrompt="1"/>
          </p:nvPr>
        </p:nvSpPr>
        <p:spPr>
          <a:xfrm>
            <a:off x="9525" y="808038"/>
            <a:ext cx="5678488" cy="785650"/>
          </a:xfrm>
          <a:prstGeom prst="rect">
            <a:avLst/>
          </a:prstGeom>
        </p:spPr>
        <p:txBody>
          <a:bodyPr lIns="432000" tIns="72000" rIns="180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
        <p:nvSpPr>
          <p:cNvPr id="13" name="Title 5">
            <a:extLst>
              <a:ext uri="{FF2B5EF4-FFF2-40B4-BE49-F238E27FC236}">
                <a16:creationId xmlns:a16="http://schemas.microsoft.com/office/drawing/2014/main" id="{37FB9D5A-B533-CB42-8370-27694DAAFFEA}"/>
              </a:ext>
            </a:extLst>
          </p:cNvPr>
          <p:cNvSpPr>
            <a:spLocks noGrp="1"/>
          </p:cNvSpPr>
          <p:nvPr>
            <p:ph type="title"/>
          </p:nvPr>
        </p:nvSpPr>
        <p:spPr>
          <a:xfrm>
            <a:off x="9525" y="1"/>
            <a:ext cx="6975475"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Tree>
    <p:extLst>
      <p:ext uri="{BB962C8B-B14F-4D97-AF65-F5344CB8AC3E}">
        <p14:creationId xmlns:p14="http://schemas.microsoft.com/office/powerpoint/2010/main" val="256044247"/>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digo-Content_General-white">
    <p:bg>
      <p:bgRef idx="1001">
        <a:schemeClr val="bg1"/>
      </p:bgRef>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3EF4C9C-BB30-C046-870D-B4AE71D8A577}"/>
              </a:ext>
            </a:extLst>
          </p:cNvPr>
          <p:cNvSpPr>
            <a:spLocks noGrp="1"/>
          </p:cNvSpPr>
          <p:nvPr>
            <p:ph type="body" idx="10"/>
          </p:nvPr>
        </p:nvSpPr>
        <p:spPr>
          <a:xfrm>
            <a:off x="9525" y="1600200"/>
            <a:ext cx="5678488" cy="3132138"/>
          </a:xfrm>
          <a:prstGeom prst="rect">
            <a:avLst/>
          </a:prstGeom>
        </p:spPr>
        <p:txBody>
          <a:bodyPr lIns="432000" tIns="72000" rIns="180000" bIns="18000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7">
            <a:extLst>
              <a:ext uri="{FF2B5EF4-FFF2-40B4-BE49-F238E27FC236}">
                <a16:creationId xmlns:a16="http://schemas.microsoft.com/office/drawing/2014/main" id="{BFA29C67-DFBB-0D46-9C5F-8A8249874D05}"/>
              </a:ext>
            </a:extLst>
          </p:cNvPr>
          <p:cNvSpPr>
            <a:spLocks noGrp="1"/>
          </p:cNvSpPr>
          <p:nvPr>
            <p:ph type="body" sz="quarter" idx="11" hasCustomPrompt="1"/>
          </p:nvPr>
        </p:nvSpPr>
        <p:spPr>
          <a:xfrm>
            <a:off x="9525" y="808038"/>
            <a:ext cx="5678488" cy="785650"/>
          </a:xfrm>
          <a:prstGeom prst="rect">
            <a:avLst/>
          </a:prstGeom>
        </p:spPr>
        <p:txBody>
          <a:bodyPr lIns="432000" tIns="72000" rIns="180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
        <p:nvSpPr>
          <p:cNvPr id="13" name="Title 5">
            <a:extLst>
              <a:ext uri="{FF2B5EF4-FFF2-40B4-BE49-F238E27FC236}">
                <a16:creationId xmlns:a16="http://schemas.microsoft.com/office/drawing/2014/main" id="{37FB9D5A-B533-CB42-8370-27694DAAFFEA}"/>
              </a:ext>
            </a:extLst>
          </p:cNvPr>
          <p:cNvSpPr>
            <a:spLocks noGrp="1"/>
          </p:cNvSpPr>
          <p:nvPr>
            <p:ph type="title"/>
          </p:nvPr>
        </p:nvSpPr>
        <p:spPr>
          <a:xfrm>
            <a:off x="9525" y="1"/>
            <a:ext cx="6975475"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Tree>
    <p:extLst>
      <p:ext uri="{BB962C8B-B14F-4D97-AF65-F5344CB8AC3E}">
        <p14:creationId xmlns:p14="http://schemas.microsoft.com/office/powerpoint/2010/main" val="19961240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digo-Content_Double-headin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BFA29C67-DFBB-0D46-9C5F-8A8249874D05}"/>
              </a:ext>
            </a:extLst>
          </p:cNvPr>
          <p:cNvSpPr>
            <a:spLocks noGrp="1"/>
          </p:cNvSpPr>
          <p:nvPr>
            <p:ph type="body" sz="quarter" idx="11" hasCustomPrompt="1"/>
          </p:nvPr>
        </p:nvSpPr>
        <p:spPr>
          <a:xfrm>
            <a:off x="9526" y="808038"/>
            <a:ext cx="3250836" cy="785650"/>
          </a:xfrm>
          <a:prstGeom prst="rect">
            <a:avLst/>
          </a:prstGeom>
        </p:spPr>
        <p:txBody>
          <a:bodyPr lIns="432000" tIns="72000" rIns="180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
        <p:nvSpPr>
          <p:cNvPr id="13" name="Title 5">
            <a:extLst>
              <a:ext uri="{FF2B5EF4-FFF2-40B4-BE49-F238E27FC236}">
                <a16:creationId xmlns:a16="http://schemas.microsoft.com/office/drawing/2014/main" id="{37FB9D5A-B533-CB42-8370-27694DAAFFEA}"/>
              </a:ext>
            </a:extLst>
          </p:cNvPr>
          <p:cNvSpPr>
            <a:spLocks noGrp="1"/>
          </p:cNvSpPr>
          <p:nvPr>
            <p:ph type="title"/>
          </p:nvPr>
        </p:nvSpPr>
        <p:spPr>
          <a:xfrm>
            <a:off x="9525" y="1"/>
            <a:ext cx="6975475"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
        <p:nvSpPr>
          <p:cNvPr id="5" name="Text Placeholder 7">
            <a:extLst>
              <a:ext uri="{FF2B5EF4-FFF2-40B4-BE49-F238E27FC236}">
                <a16:creationId xmlns:a16="http://schemas.microsoft.com/office/drawing/2014/main" id="{8A04B370-DCAE-9F48-88B7-D55BA76873D8}"/>
              </a:ext>
            </a:extLst>
          </p:cNvPr>
          <p:cNvSpPr>
            <a:spLocks noGrp="1"/>
          </p:cNvSpPr>
          <p:nvPr>
            <p:ph type="body" sz="quarter" idx="12" hasCustomPrompt="1"/>
          </p:nvPr>
        </p:nvSpPr>
        <p:spPr>
          <a:xfrm>
            <a:off x="3260362" y="808038"/>
            <a:ext cx="5451838" cy="785650"/>
          </a:xfrm>
          <a:prstGeom prst="rect">
            <a:avLst/>
          </a:prstGeom>
        </p:spPr>
        <p:txBody>
          <a:bodyPr lIns="180000" tIns="72000" rIns="180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Tree>
    <p:extLst>
      <p:ext uri="{BB962C8B-B14F-4D97-AF65-F5344CB8AC3E}">
        <p14:creationId xmlns:p14="http://schemas.microsoft.com/office/powerpoint/2010/main" val="343385730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digo-Content_Double-heading-white">
    <p:bg>
      <p:bgRef idx="1001">
        <a:schemeClr val="bg1"/>
      </p:bgRef>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BFA29C67-DFBB-0D46-9C5F-8A8249874D05}"/>
              </a:ext>
            </a:extLst>
          </p:cNvPr>
          <p:cNvSpPr>
            <a:spLocks noGrp="1"/>
          </p:cNvSpPr>
          <p:nvPr>
            <p:ph type="body" sz="quarter" idx="11" hasCustomPrompt="1"/>
          </p:nvPr>
        </p:nvSpPr>
        <p:spPr>
          <a:xfrm>
            <a:off x="9526" y="808038"/>
            <a:ext cx="3250836" cy="785650"/>
          </a:xfrm>
          <a:prstGeom prst="rect">
            <a:avLst/>
          </a:prstGeom>
        </p:spPr>
        <p:txBody>
          <a:bodyPr lIns="432000" tIns="72000" rIns="180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
        <p:nvSpPr>
          <p:cNvPr id="13" name="Title 5">
            <a:extLst>
              <a:ext uri="{FF2B5EF4-FFF2-40B4-BE49-F238E27FC236}">
                <a16:creationId xmlns:a16="http://schemas.microsoft.com/office/drawing/2014/main" id="{37FB9D5A-B533-CB42-8370-27694DAAFFEA}"/>
              </a:ext>
            </a:extLst>
          </p:cNvPr>
          <p:cNvSpPr>
            <a:spLocks noGrp="1"/>
          </p:cNvSpPr>
          <p:nvPr>
            <p:ph type="title"/>
          </p:nvPr>
        </p:nvSpPr>
        <p:spPr>
          <a:xfrm>
            <a:off x="9525" y="1"/>
            <a:ext cx="6975475"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
        <p:nvSpPr>
          <p:cNvPr id="5" name="Text Placeholder 7">
            <a:extLst>
              <a:ext uri="{FF2B5EF4-FFF2-40B4-BE49-F238E27FC236}">
                <a16:creationId xmlns:a16="http://schemas.microsoft.com/office/drawing/2014/main" id="{8A04B370-DCAE-9F48-88B7-D55BA76873D8}"/>
              </a:ext>
            </a:extLst>
          </p:cNvPr>
          <p:cNvSpPr>
            <a:spLocks noGrp="1"/>
          </p:cNvSpPr>
          <p:nvPr>
            <p:ph type="body" sz="quarter" idx="12" hasCustomPrompt="1"/>
          </p:nvPr>
        </p:nvSpPr>
        <p:spPr>
          <a:xfrm>
            <a:off x="3260362" y="808038"/>
            <a:ext cx="5451838" cy="785650"/>
          </a:xfrm>
          <a:prstGeom prst="rect">
            <a:avLst/>
          </a:prstGeom>
        </p:spPr>
        <p:txBody>
          <a:bodyPr lIns="180000" tIns="72000" rIns="180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Tree>
    <p:extLst>
      <p:ext uri="{BB962C8B-B14F-4D97-AF65-F5344CB8AC3E}">
        <p14:creationId xmlns:p14="http://schemas.microsoft.com/office/powerpoint/2010/main" val="27516038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digo-Cover_General-dark">
    <p:bg>
      <p:bgRef idx="1001">
        <a:schemeClr val="bg2"/>
      </p:bgRef>
    </p:bg>
    <p:spTree>
      <p:nvGrpSpPr>
        <p:cNvPr id="1" name=""/>
        <p:cNvGrpSpPr/>
        <p:nvPr/>
      </p:nvGrpSpPr>
      <p:grpSpPr>
        <a:xfrm>
          <a:off x="0" y="0"/>
          <a:ext cx="0" cy="0"/>
          <a:chOff x="0" y="0"/>
          <a:chExt cx="0" cy="0"/>
        </a:xfrm>
      </p:grpSpPr>
      <p:grpSp>
        <p:nvGrpSpPr>
          <p:cNvPr id="53" name="Group 1">
            <a:extLst>
              <a:ext uri="{FF2B5EF4-FFF2-40B4-BE49-F238E27FC236}">
                <a16:creationId xmlns:a16="http://schemas.microsoft.com/office/drawing/2014/main" id="{9CFEE7E5-E596-EF4D-A161-5C31938DB5B4}"/>
              </a:ext>
            </a:extLst>
          </p:cNvPr>
          <p:cNvGrpSpPr>
            <a:grpSpLocks/>
          </p:cNvGrpSpPr>
          <p:nvPr userDrawn="1"/>
        </p:nvGrpSpPr>
        <p:grpSpPr bwMode="auto">
          <a:xfrm>
            <a:off x="1209941" y="1995487"/>
            <a:ext cx="4480635" cy="4565012"/>
            <a:chOff x="1584325" y="-192088"/>
            <a:chExt cx="7423150" cy="7559676"/>
          </a:xfrm>
        </p:grpSpPr>
        <p:sp>
          <p:nvSpPr>
            <p:cNvPr id="54" name="Freeform 1">
              <a:extLst>
                <a:ext uri="{FF2B5EF4-FFF2-40B4-BE49-F238E27FC236}">
                  <a16:creationId xmlns:a16="http://schemas.microsoft.com/office/drawing/2014/main" id="{5F56B782-A1EB-4049-A3BE-7C71D9EDE19F}"/>
                </a:ext>
              </a:extLst>
            </p:cNvPr>
            <p:cNvSpPr>
              <a:spLocks noChangeArrowheads="1"/>
            </p:cNvSpPr>
            <p:nvPr/>
          </p:nvSpPr>
          <p:spPr bwMode="auto">
            <a:xfrm>
              <a:off x="5702300" y="-192088"/>
              <a:ext cx="3305175" cy="3165476"/>
            </a:xfrm>
            <a:custGeom>
              <a:avLst/>
              <a:gdLst>
                <a:gd name="T0" fmla="*/ 0 w 9182"/>
                <a:gd name="T1" fmla="*/ 0 h 8794"/>
                <a:gd name="T2" fmla="*/ 0 w 9182"/>
                <a:gd name="T3" fmla="*/ 1368563 h 8794"/>
                <a:gd name="T4" fmla="*/ 1796572 w 9182"/>
                <a:gd name="T5" fmla="*/ 1368563 h 8794"/>
                <a:gd name="T6" fmla="*/ 1796572 w 9182"/>
                <a:gd name="T7" fmla="*/ 3165116 h 8794"/>
                <a:gd name="T8" fmla="*/ 3304815 w 9182"/>
                <a:gd name="T9" fmla="*/ 3165116 h 8794"/>
                <a:gd name="T10" fmla="*/ 3304815 w 9182"/>
                <a:gd name="T11" fmla="*/ 0 h 8794"/>
                <a:gd name="T12" fmla="*/ 0 w 9182"/>
                <a:gd name="T13" fmla="*/ 0 h 87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182" h="8794">
                  <a:moveTo>
                    <a:pt x="0" y="0"/>
                  </a:moveTo>
                  <a:lnTo>
                    <a:pt x="0" y="3802"/>
                  </a:lnTo>
                  <a:lnTo>
                    <a:pt x="4991" y="3802"/>
                  </a:lnTo>
                  <a:lnTo>
                    <a:pt x="4991" y="8793"/>
                  </a:lnTo>
                  <a:lnTo>
                    <a:pt x="9181" y="8793"/>
                  </a:lnTo>
                  <a:lnTo>
                    <a:pt x="9181"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3" name="Freeform 2">
              <a:extLst>
                <a:ext uri="{FF2B5EF4-FFF2-40B4-BE49-F238E27FC236}">
                  <a16:creationId xmlns:a16="http://schemas.microsoft.com/office/drawing/2014/main" id="{BD5879B9-29EF-FB44-B9F2-A99106C4560B}"/>
                </a:ext>
              </a:extLst>
            </p:cNvPr>
            <p:cNvSpPr>
              <a:spLocks noChangeArrowheads="1"/>
            </p:cNvSpPr>
            <p:nvPr/>
          </p:nvSpPr>
          <p:spPr bwMode="auto">
            <a:xfrm>
              <a:off x="1584325" y="1036638"/>
              <a:ext cx="6469062" cy="6330950"/>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
        <p:nvSpPr>
          <p:cNvPr id="2" name="Title 1">
            <a:extLst>
              <a:ext uri="{FF2B5EF4-FFF2-40B4-BE49-F238E27FC236}">
                <a16:creationId xmlns:a16="http://schemas.microsoft.com/office/drawing/2014/main" id="{0D402FA9-5415-A549-AA59-7A032EE6A06E}"/>
              </a:ext>
            </a:extLst>
          </p:cNvPr>
          <p:cNvSpPr>
            <a:spLocks noGrp="1"/>
          </p:cNvSpPr>
          <p:nvPr>
            <p:ph type="title" hasCustomPrompt="1"/>
          </p:nvPr>
        </p:nvSpPr>
        <p:spPr>
          <a:xfrm>
            <a:off x="-1" y="808038"/>
            <a:ext cx="4812237" cy="1187449"/>
          </a:xfrm>
          <a:prstGeom prst="rect">
            <a:avLst/>
          </a:prstGeom>
        </p:spPr>
        <p:txBody>
          <a:bodyPr lIns="432000" tIns="180000" rIns="72000" bIns="0"/>
          <a:lstStyle>
            <a:lvl1pPr>
              <a:defRPr lang="pl-PL" dirty="0">
                <a:solidFill>
                  <a:schemeClr val="tx1"/>
                </a:solidFill>
              </a:defRPr>
            </a:lvl1pPr>
          </a:lstStyle>
          <a:p>
            <a:pPr lvl="0"/>
            <a:r>
              <a:rPr lang="en-US" noProof="0"/>
              <a:t>Sample presentation title</a:t>
            </a:r>
          </a:p>
        </p:txBody>
      </p:sp>
      <p:sp>
        <p:nvSpPr>
          <p:cNvPr id="20" name="Text Placeholder 19">
            <a:extLst>
              <a:ext uri="{FF2B5EF4-FFF2-40B4-BE49-F238E27FC236}">
                <a16:creationId xmlns:a16="http://schemas.microsoft.com/office/drawing/2014/main" id="{E9BFB6C4-08A5-BA43-A8EE-6725DD021A57}"/>
              </a:ext>
            </a:extLst>
          </p:cNvPr>
          <p:cNvSpPr>
            <a:spLocks noGrp="1"/>
          </p:cNvSpPr>
          <p:nvPr>
            <p:ph type="body" sz="quarter" idx="10" hasCustomPrompt="1"/>
          </p:nvPr>
        </p:nvSpPr>
        <p:spPr>
          <a:xfrm>
            <a:off x="0" y="1995488"/>
            <a:ext cx="5688012" cy="455087"/>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grpSp>
        <p:nvGrpSpPr>
          <p:cNvPr id="55" name="Group 54">
            <a:extLst>
              <a:ext uri="{FF2B5EF4-FFF2-40B4-BE49-F238E27FC236}">
                <a16:creationId xmlns:a16="http://schemas.microsoft.com/office/drawing/2014/main" id="{25B40363-92CB-7948-BB33-C6A2603EE666}"/>
              </a:ext>
            </a:extLst>
          </p:cNvPr>
          <p:cNvGrpSpPr/>
          <p:nvPr userDrawn="1"/>
        </p:nvGrpSpPr>
        <p:grpSpPr>
          <a:xfrm>
            <a:off x="7017699" y="4447762"/>
            <a:ext cx="1692983" cy="279387"/>
            <a:chOff x="1828800" y="3017838"/>
            <a:chExt cx="6291263" cy="1038225"/>
          </a:xfrm>
          <a:solidFill>
            <a:schemeClr val="tx1"/>
          </a:solidFill>
        </p:grpSpPr>
        <p:sp>
          <p:nvSpPr>
            <p:cNvPr id="56" name="Freeform 1">
              <a:extLst>
                <a:ext uri="{FF2B5EF4-FFF2-40B4-BE49-F238E27FC236}">
                  <a16:creationId xmlns:a16="http://schemas.microsoft.com/office/drawing/2014/main" id="{E359CF9F-07DA-A14C-B013-BEB5FDF298AD}"/>
                </a:ext>
              </a:extLst>
            </p:cNvPr>
            <p:cNvSpPr>
              <a:spLocks noChangeArrowheads="1"/>
            </p:cNvSpPr>
            <p:nvPr userDrawn="1"/>
          </p:nvSpPr>
          <p:spPr bwMode="auto">
            <a:xfrm>
              <a:off x="1831975" y="3017838"/>
              <a:ext cx="388938" cy="438150"/>
            </a:xfrm>
            <a:custGeom>
              <a:avLst/>
              <a:gdLst>
                <a:gd name="T0" fmla="*/ 1081 w 1082"/>
                <a:gd name="T1" fmla="*/ 1042 h 1215"/>
                <a:gd name="T2" fmla="*/ 1081 w 1082"/>
                <a:gd name="T3" fmla="*/ 1042 h 1215"/>
                <a:gd name="T4" fmla="*/ 873 w 1082"/>
                <a:gd name="T5" fmla="*/ 1172 h 1215"/>
                <a:gd name="T6" fmla="*/ 631 w 1082"/>
                <a:gd name="T7" fmla="*/ 1214 h 1215"/>
                <a:gd name="T8" fmla="*/ 350 w 1082"/>
                <a:gd name="T9" fmla="*/ 1164 h 1215"/>
                <a:gd name="T10" fmla="*/ 153 w 1082"/>
                <a:gd name="T11" fmla="*/ 1028 h 1215"/>
                <a:gd name="T12" fmla="*/ 39 w 1082"/>
                <a:gd name="T13" fmla="*/ 836 h 1215"/>
                <a:gd name="T14" fmla="*/ 0 w 1082"/>
                <a:gd name="T15" fmla="*/ 614 h 1215"/>
                <a:gd name="T16" fmla="*/ 39 w 1082"/>
                <a:gd name="T17" fmla="*/ 389 h 1215"/>
                <a:gd name="T18" fmla="*/ 156 w 1082"/>
                <a:gd name="T19" fmla="*/ 192 h 1215"/>
                <a:gd name="T20" fmla="*/ 353 w 1082"/>
                <a:gd name="T21" fmla="*/ 53 h 1215"/>
                <a:gd name="T22" fmla="*/ 631 w 1082"/>
                <a:gd name="T23" fmla="*/ 0 h 1215"/>
                <a:gd name="T24" fmla="*/ 864 w 1082"/>
                <a:gd name="T25" fmla="*/ 44 h 1215"/>
                <a:gd name="T26" fmla="*/ 1070 w 1082"/>
                <a:gd name="T27" fmla="*/ 178 h 1215"/>
                <a:gd name="T28" fmla="*/ 942 w 1082"/>
                <a:gd name="T29" fmla="*/ 297 h 1215"/>
                <a:gd name="T30" fmla="*/ 795 w 1082"/>
                <a:gd name="T31" fmla="*/ 206 h 1215"/>
                <a:gd name="T32" fmla="*/ 631 w 1082"/>
                <a:gd name="T33" fmla="*/ 178 h 1215"/>
                <a:gd name="T34" fmla="*/ 434 w 1082"/>
                <a:gd name="T35" fmla="*/ 214 h 1215"/>
                <a:gd name="T36" fmla="*/ 298 w 1082"/>
                <a:gd name="T37" fmla="*/ 314 h 1215"/>
                <a:gd name="T38" fmla="*/ 217 w 1082"/>
                <a:gd name="T39" fmla="*/ 453 h 1215"/>
                <a:gd name="T40" fmla="*/ 192 w 1082"/>
                <a:gd name="T41" fmla="*/ 614 h 1215"/>
                <a:gd name="T42" fmla="*/ 217 w 1082"/>
                <a:gd name="T43" fmla="*/ 769 h 1215"/>
                <a:gd name="T44" fmla="*/ 295 w 1082"/>
                <a:gd name="T45" fmla="*/ 906 h 1215"/>
                <a:gd name="T46" fmla="*/ 434 w 1082"/>
                <a:gd name="T47" fmla="*/ 1003 h 1215"/>
                <a:gd name="T48" fmla="*/ 631 w 1082"/>
                <a:gd name="T49" fmla="*/ 1039 h 1215"/>
                <a:gd name="T50" fmla="*/ 800 w 1082"/>
                <a:gd name="T51" fmla="*/ 1008 h 1215"/>
                <a:gd name="T52" fmla="*/ 950 w 1082"/>
                <a:gd name="T53" fmla="*/ 911 h 1215"/>
                <a:gd name="T54" fmla="*/ 1081 w 1082"/>
                <a:gd name="T55" fmla="*/ 1042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2" h="1215">
                  <a:moveTo>
                    <a:pt x="1081" y="1042"/>
                  </a:moveTo>
                  <a:lnTo>
                    <a:pt x="1081" y="1042"/>
                  </a:lnTo>
                  <a:cubicBezTo>
                    <a:pt x="1020" y="1100"/>
                    <a:pt x="950" y="1144"/>
                    <a:pt x="873" y="1172"/>
                  </a:cubicBezTo>
                  <a:cubicBezTo>
                    <a:pt x="798" y="1200"/>
                    <a:pt x="717" y="1214"/>
                    <a:pt x="631" y="1214"/>
                  </a:cubicBezTo>
                  <a:cubicBezTo>
                    <a:pt x="523" y="1214"/>
                    <a:pt x="431" y="1197"/>
                    <a:pt x="350" y="1164"/>
                  </a:cubicBezTo>
                  <a:cubicBezTo>
                    <a:pt x="273" y="1130"/>
                    <a:pt x="206" y="1086"/>
                    <a:pt x="153" y="1028"/>
                  </a:cubicBezTo>
                  <a:cubicBezTo>
                    <a:pt x="103" y="972"/>
                    <a:pt x="64" y="908"/>
                    <a:pt x="39" y="836"/>
                  </a:cubicBezTo>
                  <a:cubicBezTo>
                    <a:pt x="14" y="764"/>
                    <a:pt x="0" y="692"/>
                    <a:pt x="0" y="614"/>
                  </a:cubicBezTo>
                  <a:cubicBezTo>
                    <a:pt x="0" y="536"/>
                    <a:pt x="14" y="461"/>
                    <a:pt x="39" y="389"/>
                  </a:cubicBezTo>
                  <a:cubicBezTo>
                    <a:pt x="67" y="314"/>
                    <a:pt x="103" y="250"/>
                    <a:pt x="156" y="192"/>
                  </a:cubicBezTo>
                  <a:cubicBezTo>
                    <a:pt x="209" y="133"/>
                    <a:pt x="273" y="89"/>
                    <a:pt x="353" y="53"/>
                  </a:cubicBezTo>
                  <a:cubicBezTo>
                    <a:pt x="431" y="17"/>
                    <a:pt x="525" y="0"/>
                    <a:pt x="631" y="0"/>
                  </a:cubicBezTo>
                  <a:cubicBezTo>
                    <a:pt x="711" y="0"/>
                    <a:pt x="789" y="14"/>
                    <a:pt x="864" y="44"/>
                  </a:cubicBezTo>
                  <a:cubicBezTo>
                    <a:pt x="939" y="72"/>
                    <a:pt x="1009" y="117"/>
                    <a:pt x="1070" y="178"/>
                  </a:cubicBezTo>
                  <a:cubicBezTo>
                    <a:pt x="942" y="297"/>
                    <a:pt x="942" y="297"/>
                    <a:pt x="942" y="297"/>
                  </a:cubicBezTo>
                  <a:cubicBezTo>
                    <a:pt x="898" y="256"/>
                    <a:pt x="850" y="225"/>
                    <a:pt x="795" y="206"/>
                  </a:cubicBezTo>
                  <a:cubicBezTo>
                    <a:pt x="742" y="186"/>
                    <a:pt x="686" y="178"/>
                    <a:pt x="631" y="178"/>
                  </a:cubicBezTo>
                  <a:cubicBezTo>
                    <a:pt x="556" y="178"/>
                    <a:pt x="489" y="189"/>
                    <a:pt x="434" y="214"/>
                  </a:cubicBezTo>
                  <a:cubicBezTo>
                    <a:pt x="378" y="239"/>
                    <a:pt x="334" y="272"/>
                    <a:pt x="298" y="314"/>
                  </a:cubicBezTo>
                  <a:cubicBezTo>
                    <a:pt x="261" y="356"/>
                    <a:pt x="234" y="400"/>
                    <a:pt x="217" y="453"/>
                  </a:cubicBezTo>
                  <a:cubicBezTo>
                    <a:pt x="200" y="506"/>
                    <a:pt x="192" y="558"/>
                    <a:pt x="192" y="614"/>
                  </a:cubicBezTo>
                  <a:cubicBezTo>
                    <a:pt x="192" y="667"/>
                    <a:pt x="200" y="719"/>
                    <a:pt x="217" y="769"/>
                  </a:cubicBezTo>
                  <a:cubicBezTo>
                    <a:pt x="234" y="822"/>
                    <a:pt x="261" y="867"/>
                    <a:pt x="295" y="906"/>
                  </a:cubicBezTo>
                  <a:cubicBezTo>
                    <a:pt x="331" y="947"/>
                    <a:pt x="378" y="978"/>
                    <a:pt x="434" y="1003"/>
                  </a:cubicBezTo>
                  <a:cubicBezTo>
                    <a:pt x="489" y="1028"/>
                    <a:pt x="553" y="1039"/>
                    <a:pt x="631" y="1039"/>
                  </a:cubicBezTo>
                  <a:cubicBezTo>
                    <a:pt x="686" y="1039"/>
                    <a:pt x="745" y="1028"/>
                    <a:pt x="800" y="1008"/>
                  </a:cubicBezTo>
                  <a:cubicBezTo>
                    <a:pt x="859" y="986"/>
                    <a:pt x="906" y="953"/>
                    <a:pt x="950" y="911"/>
                  </a:cubicBezTo>
                  <a:lnTo>
                    <a:pt x="1081" y="104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7" name="Freeform 2">
              <a:extLst>
                <a:ext uri="{FF2B5EF4-FFF2-40B4-BE49-F238E27FC236}">
                  <a16:creationId xmlns:a16="http://schemas.microsoft.com/office/drawing/2014/main" id="{16D4A348-4574-7143-B088-D84D17A82C8A}"/>
                </a:ext>
              </a:extLst>
            </p:cNvPr>
            <p:cNvSpPr>
              <a:spLocks noChangeArrowheads="1"/>
            </p:cNvSpPr>
            <p:nvPr userDrawn="1"/>
          </p:nvSpPr>
          <p:spPr bwMode="auto">
            <a:xfrm>
              <a:off x="2268538" y="3149600"/>
              <a:ext cx="293687" cy="301625"/>
            </a:xfrm>
            <a:custGeom>
              <a:avLst/>
              <a:gdLst>
                <a:gd name="T0" fmla="*/ 175 w 815"/>
                <a:gd name="T1" fmla="*/ 0 h 837"/>
                <a:gd name="T2" fmla="*/ 175 w 815"/>
                <a:gd name="T3" fmla="*/ 0 h 837"/>
                <a:gd name="T4" fmla="*/ 175 w 815"/>
                <a:gd name="T5" fmla="*/ 439 h 837"/>
                <a:gd name="T6" fmla="*/ 233 w 815"/>
                <a:gd name="T7" fmla="*/ 611 h 837"/>
                <a:gd name="T8" fmla="*/ 406 w 815"/>
                <a:gd name="T9" fmla="*/ 675 h 837"/>
                <a:gd name="T10" fmla="*/ 500 w 815"/>
                <a:gd name="T11" fmla="*/ 658 h 837"/>
                <a:gd name="T12" fmla="*/ 572 w 815"/>
                <a:gd name="T13" fmla="*/ 602 h 837"/>
                <a:gd name="T14" fmla="*/ 622 w 815"/>
                <a:gd name="T15" fmla="*/ 525 h 837"/>
                <a:gd name="T16" fmla="*/ 639 w 815"/>
                <a:gd name="T17" fmla="*/ 427 h 837"/>
                <a:gd name="T18" fmla="*/ 639 w 815"/>
                <a:gd name="T19" fmla="*/ 0 h 837"/>
                <a:gd name="T20" fmla="*/ 814 w 815"/>
                <a:gd name="T21" fmla="*/ 0 h 837"/>
                <a:gd name="T22" fmla="*/ 814 w 815"/>
                <a:gd name="T23" fmla="*/ 825 h 837"/>
                <a:gd name="T24" fmla="*/ 656 w 815"/>
                <a:gd name="T25" fmla="*/ 825 h 837"/>
                <a:gd name="T26" fmla="*/ 645 w 815"/>
                <a:gd name="T27" fmla="*/ 702 h 837"/>
                <a:gd name="T28" fmla="*/ 514 w 815"/>
                <a:gd name="T29" fmla="*/ 805 h 837"/>
                <a:gd name="T30" fmla="*/ 356 w 815"/>
                <a:gd name="T31" fmla="*/ 836 h 837"/>
                <a:gd name="T32" fmla="*/ 211 w 815"/>
                <a:gd name="T33" fmla="*/ 811 h 837"/>
                <a:gd name="T34" fmla="*/ 100 w 815"/>
                <a:gd name="T35" fmla="*/ 733 h 837"/>
                <a:gd name="T36" fmla="*/ 25 w 815"/>
                <a:gd name="T37" fmla="*/ 608 h 837"/>
                <a:gd name="T38" fmla="*/ 0 w 815"/>
                <a:gd name="T39" fmla="*/ 441 h 837"/>
                <a:gd name="T40" fmla="*/ 0 w 815"/>
                <a:gd name="T41" fmla="*/ 0 h 837"/>
                <a:gd name="T42" fmla="*/ 175 w 815"/>
                <a:gd name="T43" fmla="*/ 0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5" h="837">
                  <a:moveTo>
                    <a:pt x="175" y="0"/>
                  </a:moveTo>
                  <a:lnTo>
                    <a:pt x="175" y="0"/>
                  </a:lnTo>
                  <a:cubicBezTo>
                    <a:pt x="175" y="439"/>
                    <a:pt x="175" y="439"/>
                    <a:pt x="175" y="439"/>
                  </a:cubicBezTo>
                  <a:cubicBezTo>
                    <a:pt x="175" y="508"/>
                    <a:pt x="195" y="566"/>
                    <a:pt x="233" y="611"/>
                  </a:cubicBezTo>
                  <a:cubicBezTo>
                    <a:pt x="275" y="655"/>
                    <a:pt x="331" y="675"/>
                    <a:pt x="406" y="675"/>
                  </a:cubicBezTo>
                  <a:cubicBezTo>
                    <a:pt x="439" y="675"/>
                    <a:pt x="470" y="669"/>
                    <a:pt x="500" y="658"/>
                  </a:cubicBezTo>
                  <a:cubicBezTo>
                    <a:pt x="528" y="644"/>
                    <a:pt x="553" y="627"/>
                    <a:pt x="572" y="602"/>
                  </a:cubicBezTo>
                  <a:cubicBezTo>
                    <a:pt x="595" y="580"/>
                    <a:pt x="611" y="555"/>
                    <a:pt x="622" y="525"/>
                  </a:cubicBezTo>
                  <a:cubicBezTo>
                    <a:pt x="633" y="494"/>
                    <a:pt x="639" y="461"/>
                    <a:pt x="639" y="427"/>
                  </a:cubicBezTo>
                  <a:cubicBezTo>
                    <a:pt x="639" y="0"/>
                    <a:pt x="639" y="0"/>
                    <a:pt x="639" y="0"/>
                  </a:cubicBezTo>
                  <a:cubicBezTo>
                    <a:pt x="814" y="0"/>
                    <a:pt x="814" y="0"/>
                    <a:pt x="814" y="0"/>
                  </a:cubicBezTo>
                  <a:cubicBezTo>
                    <a:pt x="814" y="825"/>
                    <a:pt x="814" y="825"/>
                    <a:pt x="814" y="825"/>
                  </a:cubicBezTo>
                  <a:cubicBezTo>
                    <a:pt x="656" y="825"/>
                    <a:pt x="656" y="825"/>
                    <a:pt x="656" y="825"/>
                  </a:cubicBezTo>
                  <a:cubicBezTo>
                    <a:pt x="645" y="702"/>
                    <a:pt x="645" y="702"/>
                    <a:pt x="645" y="702"/>
                  </a:cubicBezTo>
                  <a:cubicBezTo>
                    <a:pt x="603" y="750"/>
                    <a:pt x="561" y="783"/>
                    <a:pt x="514" y="805"/>
                  </a:cubicBezTo>
                  <a:cubicBezTo>
                    <a:pt x="467" y="825"/>
                    <a:pt x="414" y="836"/>
                    <a:pt x="356" y="836"/>
                  </a:cubicBezTo>
                  <a:cubicBezTo>
                    <a:pt x="303" y="836"/>
                    <a:pt x="256" y="827"/>
                    <a:pt x="211" y="811"/>
                  </a:cubicBezTo>
                  <a:cubicBezTo>
                    <a:pt x="170" y="791"/>
                    <a:pt x="131" y="766"/>
                    <a:pt x="100" y="733"/>
                  </a:cubicBezTo>
                  <a:cubicBezTo>
                    <a:pt x="70" y="700"/>
                    <a:pt x="45" y="658"/>
                    <a:pt x="25" y="608"/>
                  </a:cubicBezTo>
                  <a:cubicBezTo>
                    <a:pt x="8" y="561"/>
                    <a:pt x="0" y="505"/>
                    <a:pt x="0" y="441"/>
                  </a:cubicBezTo>
                  <a:cubicBezTo>
                    <a:pt x="0" y="0"/>
                    <a:pt x="0" y="0"/>
                    <a:pt x="0" y="0"/>
                  </a:cubicBezTo>
                  <a:lnTo>
                    <a:pt x="17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8" name="Freeform 3">
              <a:extLst>
                <a:ext uri="{FF2B5EF4-FFF2-40B4-BE49-F238E27FC236}">
                  <a16:creationId xmlns:a16="http://schemas.microsoft.com/office/drawing/2014/main" id="{72C02C22-A92E-6C43-A59E-5117D2C7729F}"/>
                </a:ext>
              </a:extLst>
            </p:cNvPr>
            <p:cNvSpPr>
              <a:spLocks noChangeArrowheads="1"/>
            </p:cNvSpPr>
            <p:nvPr userDrawn="1"/>
          </p:nvSpPr>
          <p:spPr bwMode="auto">
            <a:xfrm>
              <a:off x="2624138" y="3141663"/>
              <a:ext cx="268287" cy="314325"/>
            </a:xfrm>
            <a:custGeom>
              <a:avLst/>
              <a:gdLst>
                <a:gd name="T0" fmla="*/ 606 w 746"/>
                <a:gd name="T1" fmla="*/ 225 h 871"/>
                <a:gd name="T2" fmla="*/ 606 w 746"/>
                <a:gd name="T3" fmla="*/ 225 h 871"/>
                <a:gd name="T4" fmla="*/ 500 w 746"/>
                <a:gd name="T5" fmla="*/ 164 h 871"/>
                <a:gd name="T6" fmla="*/ 383 w 746"/>
                <a:gd name="T7" fmla="*/ 148 h 871"/>
                <a:gd name="T8" fmla="*/ 253 w 746"/>
                <a:gd name="T9" fmla="*/ 173 h 871"/>
                <a:gd name="T10" fmla="*/ 203 w 746"/>
                <a:gd name="T11" fmla="*/ 245 h 871"/>
                <a:gd name="T12" fmla="*/ 256 w 746"/>
                <a:gd name="T13" fmla="*/ 320 h 871"/>
                <a:gd name="T14" fmla="*/ 386 w 746"/>
                <a:gd name="T15" fmla="*/ 350 h 871"/>
                <a:gd name="T16" fmla="*/ 508 w 746"/>
                <a:gd name="T17" fmla="*/ 367 h 871"/>
                <a:gd name="T18" fmla="*/ 625 w 746"/>
                <a:gd name="T19" fmla="*/ 406 h 871"/>
                <a:gd name="T20" fmla="*/ 711 w 746"/>
                <a:gd name="T21" fmla="*/ 481 h 871"/>
                <a:gd name="T22" fmla="*/ 745 w 746"/>
                <a:gd name="T23" fmla="*/ 611 h 871"/>
                <a:gd name="T24" fmla="*/ 717 w 746"/>
                <a:gd name="T25" fmla="*/ 717 h 871"/>
                <a:gd name="T26" fmla="*/ 645 w 746"/>
                <a:gd name="T27" fmla="*/ 798 h 871"/>
                <a:gd name="T28" fmla="*/ 533 w 746"/>
                <a:gd name="T29" fmla="*/ 853 h 871"/>
                <a:gd name="T30" fmla="*/ 383 w 746"/>
                <a:gd name="T31" fmla="*/ 870 h 871"/>
                <a:gd name="T32" fmla="*/ 183 w 746"/>
                <a:gd name="T33" fmla="*/ 842 h 871"/>
                <a:gd name="T34" fmla="*/ 0 w 746"/>
                <a:gd name="T35" fmla="*/ 720 h 871"/>
                <a:gd name="T36" fmla="*/ 92 w 746"/>
                <a:gd name="T37" fmla="*/ 598 h 871"/>
                <a:gd name="T38" fmla="*/ 233 w 746"/>
                <a:gd name="T39" fmla="*/ 689 h 871"/>
                <a:gd name="T40" fmla="*/ 389 w 746"/>
                <a:gd name="T41" fmla="*/ 720 h 871"/>
                <a:gd name="T42" fmla="*/ 450 w 746"/>
                <a:gd name="T43" fmla="*/ 714 h 871"/>
                <a:gd name="T44" fmla="*/ 508 w 746"/>
                <a:gd name="T45" fmla="*/ 698 h 871"/>
                <a:gd name="T46" fmla="*/ 550 w 746"/>
                <a:gd name="T47" fmla="*/ 662 h 871"/>
                <a:gd name="T48" fmla="*/ 567 w 746"/>
                <a:gd name="T49" fmla="*/ 614 h 871"/>
                <a:gd name="T50" fmla="*/ 517 w 746"/>
                <a:gd name="T51" fmla="*/ 531 h 871"/>
                <a:gd name="T52" fmla="*/ 372 w 746"/>
                <a:gd name="T53" fmla="*/ 498 h 871"/>
                <a:gd name="T54" fmla="*/ 253 w 746"/>
                <a:gd name="T55" fmla="*/ 478 h 871"/>
                <a:gd name="T56" fmla="*/ 142 w 746"/>
                <a:gd name="T57" fmla="*/ 436 h 871"/>
                <a:gd name="T58" fmla="*/ 61 w 746"/>
                <a:gd name="T59" fmla="*/ 364 h 871"/>
                <a:gd name="T60" fmla="*/ 31 w 746"/>
                <a:gd name="T61" fmla="*/ 250 h 871"/>
                <a:gd name="T62" fmla="*/ 61 w 746"/>
                <a:gd name="T63" fmla="*/ 134 h 871"/>
                <a:gd name="T64" fmla="*/ 145 w 746"/>
                <a:gd name="T65" fmla="*/ 56 h 871"/>
                <a:gd name="T66" fmla="*/ 259 w 746"/>
                <a:gd name="T67" fmla="*/ 14 h 871"/>
                <a:gd name="T68" fmla="*/ 381 w 746"/>
                <a:gd name="T69" fmla="*/ 0 h 871"/>
                <a:gd name="T70" fmla="*/ 556 w 746"/>
                <a:gd name="T71" fmla="*/ 25 h 871"/>
                <a:gd name="T72" fmla="*/ 703 w 746"/>
                <a:gd name="T73" fmla="*/ 112 h 871"/>
                <a:gd name="T74" fmla="*/ 606 w 746"/>
                <a:gd name="T75" fmla="*/ 225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6" h="871">
                  <a:moveTo>
                    <a:pt x="606" y="225"/>
                  </a:moveTo>
                  <a:lnTo>
                    <a:pt x="606" y="225"/>
                  </a:lnTo>
                  <a:cubicBezTo>
                    <a:pt x="572" y="195"/>
                    <a:pt x="536" y="173"/>
                    <a:pt x="500" y="164"/>
                  </a:cubicBezTo>
                  <a:cubicBezTo>
                    <a:pt x="464" y="153"/>
                    <a:pt x="425" y="148"/>
                    <a:pt x="383" y="148"/>
                  </a:cubicBezTo>
                  <a:cubicBezTo>
                    <a:pt x="328" y="148"/>
                    <a:pt x="286" y="153"/>
                    <a:pt x="253" y="173"/>
                  </a:cubicBezTo>
                  <a:cubicBezTo>
                    <a:pt x="220" y="189"/>
                    <a:pt x="203" y="214"/>
                    <a:pt x="203" y="245"/>
                  </a:cubicBezTo>
                  <a:cubicBezTo>
                    <a:pt x="206" y="281"/>
                    <a:pt x="222" y="306"/>
                    <a:pt x="256" y="320"/>
                  </a:cubicBezTo>
                  <a:cubicBezTo>
                    <a:pt x="289" y="336"/>
                    <a:pt x="331" y="345"/>
                    <a:pt x="386" y="350"/>
                  </a:cubicBezTo>
                  <a:cubicBezTo>
                    <a:pt x="425" y="356"/>
                    <a:pt x="467" y="359"/>
                    <a:pt x="508" y="367"/>
                  </a:cubicBezTo>
                  <a:cubicBezTo>
                    <a:pt x="550" y="375"/>
                    <a:pt x="589" y="387"/>
                    <a:pt x="625" y="406"/>
                  </a:cubicBezTo>
                  <a:cubicBezTo>
                    <a:pt x="658" y="425"/>
                    <a:pt x="689" y="450"/>
                    <a:pt x="711" y="481"/>
                  </a:cubicBezTo>
                  <a:cubicBezTo>
                    <a:pt x="733" y="514"/>
                    <a:pt x="745" y="556"/>
                    <a:pt x="745" y="611"/>
                  </a:cubicBezTo>
                  <a:cubicBezTo>
                    <a:pt x="745" y="650"/>
                    <a:pt x="736" y="684"/>
                    <a:pt x="717" y="717"/>
                  </a:cubicBezTo>
                  <a:cubicBezTo>
                    <a:pt x="700" y="748"/>
                    <a:pt x="675" y="775"/>
                    <a:pt x="645" y="798"/>
                  </a:cubicBezTo>
                  <a:cubicBezTo>
                    <a:pt x="614" y="823"/>
                    <a:pt x="575" y="839"/>
                    <a:pt x="533" y="853"/>
                  </a:cubicBezTo>
                  <a:cubicBezTo>
                    <a:pt x="489" y="864"/>
                    <a:pt x="439" y="870"/>
                    <a:pt x="383" y="870"/>
                  </a:cubicBezTo>
                  <a:cubicBezTo>
                    <a:pt x="317" y="870"/>
                    <a:pt x="250" y="862"/>
                    <a:pt x="183" y="842"/>
                  </a:cubicBezTo>
                  <a:cubicBezTo>
                    <a:pt x="117" y="820"/>
                    <a:pt x="56" y="781"/>
                    <a:pt x="0" y="720"/>
                  </a:cubicBezTo>
                  <a:cubicBezTo>
                    <a:pt x="92" y="598"/>
                    <a:pt x="92" y="598"/>
                    <a:pt x="92" y="598"/>
                  </a:cubicBezTo>
                  <a:cubicBezTo>
                    <a:pt x="133" y="639"/>
                    <a:pt x="181" y="673"/>
                    <a:pt x="233" y="689"/>
                  </a:cubicBezTo>
                  <a:cubicBezTo>
                    <a:pt x="286" y="709"/>
                    <a:pt x="339" y="720"/>
                    <a:pt x="389" y="720"/>
                  </a:cubicBezTo>
                  <a:cubicBezTo>
                    <a:pt x="408" y="720"/>
                    <a:pt x="431" y="720"/>
                    <a:pt x="450" y="714"/>
                  </a:cubicBezTo>
                  <a:cubicBezTo>
                    <a:pt x="472" y="711"/>
                    <a:pt x="492" y="706"/>
                    <a:pt x="508" y="698"/>
                  </a:cubicBezTo>
                  <a:cubicBezTo>
                    <a:pt x="525" y="686"/>
                    <a:pt x="539" y="675"/>
                    <a:pt x="550" y="662"/>
                  </a:cubicBezTo>
                  <a:cubicBezTo>
                    <a:pt x="561" y="648"/>
                    <a:pt x="567" y="631"/>
                    <a:pt x="567" y="614"/>
                  </a:cubicBezTo>
                  <a:cubicBezTo>
                    <a:pt x="570" y="575"/>
                    <a:pt x="553" y="548"/>
                    <a:pt x="517" y="531"/>
                  </a:cubicBezTo>
                  <a:cubicBezTo>
                    <a:pt x="483" y="514"/>
                    <a:pt x="436" y="503"/>
                    <a:pt x="372" y="498"/>
                  </a:cubicBezTo>
                  <a:cubicBezTo>
                    <a:pt x="333" y="495"/>
                    <a:pt x="292" y="489"/>
                    <a:pt x="253" y="478"/>
                  </a:cubicBezTo>
                  <a:cubicBezTo>
                    <a:pt x="211" y="470"/>
                    <a:pt x="175" y="456"/>
                    <a:pt x="142" y="436"/>
                  </a:cubicBezTo>
                  <a:cubicBezTo>
                    <a:pt x="108" y="420"/>
                    <a:pt x="84" y="395"/>
                    <a:pt x="61" y="364"/>
                  </a:cubicBezTo>
                  <a:cubicBezTo>
                    <a:pt x="39" y="334"/>
                    <a:pt x="31" y="298"/>
                    <a:pt x="31" y="250"/>
                  </a:cubicBezTo>
                  <a:cubicBezTo>
                    <a:pt x="31" y="206"/>
                    <a:pt x="42" y="167"/>
                    <a:pt x="61" y="134"/>
                  </a:cubicBezTo>
                  <a:cubicBezTo>
                    <a:pt x="84" y="103"/>
                    <a:pt x="111" y="78"/>
                    <a:pt x="145" y="56"/>
                  </a:cubicBezTo>
                  <a:cubicBezTo>
                    <a:pt x="181" y="37"/>
                    <a:pt x="217" y="23"/>
                    <a:pt x="259" y="14"/>
                  </a:cubicBezTo>
                  <a:cubicBezTo>
                    <a:pt x="300" y="6"/>
                    <a:pt x="339" y="0"/>
                    <a:pt x="381" y="0"/>
                  </a:cubicBezTo>
                  <a:cubicBezTo>
                    <a:pt x="445" y="0"/>
                    <a:pt x="503" y="9"/>
                    <a:pt x="556" y="25"/>
                  </a:cubicBezTo>
                  <a:cubicBezTo>
                    <a:pt x="606" y="42"/>
                    <a:pt x="656" y="70"/>
                    <a:pt x="703" y="112"/>
                  </a:cubicBezTo>
                  <a:lnTo>
                    <a:pt x="606" y="22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9" name="Freeform 4">
              <a:extLst>
                <a:ext uri="{FF2B5EF4-FFF2-40B4-BE49-F238E27FC236}">
                  <a16:creationId xmlns:a16="http://schemas.microsoft.com/office/drawing/2014/main" id="{A2476855-E5FA-3743-A47B-CAA96759C72F}"/>
                </a:ext>
              </a:extLst>
            </p:cNvPr>
            <p:cNvSpPr>
              <a:spLocks noChangeArrowheads="1"/>
            </p:cNvSpPr>
            <p:nvPr userDrawn="1"/>
          </p:nvSpPr>
          <p:spPr bwMode="auto">
            <a:xfrm>
              <a:off x="2928938" y="3063875"/>
              <a:ext cx="223837" cy="387350"/>
            </a:xfrm>
            <a:custGeom>
              <a:avLst/>
              <a:gdLst>
                <a:gd name="T0" fmla="*/ 342 w 621"/>
                <a:gd name="T1" fmla="*/ 0 h 1076"/>
                <a:gd name="T2" fmla="*/ 342 w 621"/>
                <a:gd name="T3" fmla="*/ 0 h 1076"/>
                <a:gd name="T4" fmla="*/ 342 w 621"/>
                <a:gd name="T5" fmla="*/ 239 h 1076"/>
                <a:gd name="T6" fmla="*/ 586 w 621"/>
                <a:gd name="T7" fmla="*/ 239 h 1076"/>
                <a:gd name="T8" fmla="*/ 586 w 621"/>
                <a:gd name="T9" fmla="*/ 391 h 1076"/>
                <a:gd name="T10" fmla="*/ 339 w 621"/>
                <a:gd name="T11" fmla="*/ 391 h 1076"/>
                <a:gd name="T12" fmla="*/ 339 w 621"/>
                <a:gd name="T13" fmla="*/ 780 h 1076"/>
                <a:gd name="T14" fmla="*/ 369 w 621"/>
                <a:gd name="T15" fmla="*/ 880 h 1076"/>
                <a:gd name="T16" fmla="*/ 461 w 621"/>
                <a:gd name="T17" fmla="*/ 916 h 1076"/>
                <a:gd name="T18" fmla="*/ 514 w 621"/>
                <a:gd name="T19" fmla="*/ 908 h 1076"/>
                <a:gd name="T20" fmla="*/ 567 w 621"/>
                <a:gd name="T21" fmla="*/ 889 h 1076"/>
                <a:gd name="T22" fmla="*/ 620 w 621"/>
                <a:gd name="T23" fmla="*/ 1036 h 1076"/>
                <a:gd name="T24" fmla="*/ 533 w 621"/>
                <a:gd name="T25" fmla="*/ 1064 h 1076"/>
                <a:gd name="T26" fmla="*/ 450 w 621"/>
                <a:gd name="T27" fmla="*/ 1072 h 1076"/>
                <a:gd name="T28" fmla="*/ 236 w 621"/>
                <a:gd name="T29" fmla="*/ 1002 h 1076"/>
                <a:gd name="T30" fmla="*/ 164 w 621"/>
                <a:gd name="T31" fmla="*/ 783 h 1076"/>
                <a:gd name="T32" fmla="*/ 164 w 621"/>
                <a:gd name="T33" fmla="*/ 391 h 1076"/>
                <a:gd name="T34" fmla="*/ 0 w 621"/>
                <a:gd name="T35" fmla="*/ 391 h 1076"/>
                <a:gd name="T36" fmla="*/ 0 w 621"/>
                <a:gd name="T37" fmla="*/ 239 h 1076"/>
                <a:gd name="T38" fmla="*/ 164 w 621"/>
                <a:gd name="T39" fmla="*/ 239 h 1076"/>
                <a:gd name="T40" fmla="*/ 164 w 621"/>
                <a:gd name="T41" fmla="*/ 19 h 1076"/>
                <a:gd name="T42" fmla="*/ 342 w 621"/>
                <a:gd name="T43" fmla="*/ 0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1" h="1076">
                  <a:moveTo>
                    <a:pt x="342" y="0"/>
                  </a:moveTo>
                  <a:lnTo>
                    <a:pt x="342" y="0"/>
                  </a:lnTo>
                  <a:cubicBezTo>
                    <a:pt x="342" y="239"/>
                    <a:pt x="342" y="239"/>
                    <a:pt x="342" y="239"/>
                  </a:cubicBezTo>
                  <a:cubicBezTo>
                    <a:pt x="586" y="239"/>
                    <a:pt x="586" y="239"/>
                    <a:pt x="586" y="239"/>
                  </a:cubicBezTo>
                  <a:cubicBezTo>
                    <a:pt x="586" y="391"/>
                    <a:pt x="586" y="391"/>
                    <a:pt x="586" y="391"/>
                  </a:cubicBezTo>
                  <a:cubicBezTo>
                    <a:pt x="339" y="391"/>
                    <a:pt x="339" y="391"/>
                    <a:pt x="339" y="391"/>
                  </a:cubicBezTo>
                  <a:cubicBezTo>
                    <a:pt x="339" y="780"/>
                    <a:pt x="339" y="780"/>
                    <a:pt x="339" y="780"/>
                  </a:cubicBezTo>
                  <a:cubicBezTo>
                    <a:pt x="339" y="825"/>
                    <a:pt x="350" y="858"/>
                    <a:pt x="369" y="880"/>
                  </a:cubicBezTo>
                  <a:cubicBezTo>
                    <a:pt x="389" y="905"/>
                    <a:pt x="420" y="916"/>
                    <a:pt x="461" y="916"/>
                  </a:cubicBezTo>
                  <a:cubicBezTo>
                    <a:pt x="478" y="916"/>
                    <a:pt x="494" y="914"/>
                    <a:pt x="514" y="908"/>
                  </a:cubicBezTo>
                  <a:cubicBezTo>
                    <a:pt x="533" y="905"/>
                    <a:pt x="550" y="897"/>
                    <a:pt x="567" y="889"/>
                  </a:cubicBezTo>
                  <a:cubicBezTo>
                    <a:pt x="620" y="1036"/>
                    <a:pt x="620" y="1036"/>
                    <a:pt x="620" y="1036"/>
                  </a:cubicBezTo>
                  <a:cubicBezTo>
                    <a:pt x="589" y="1047"/>
                    <a:pt x="561" y="1058"/>
                    <a:pt x="533" y="1064"/>
                  </a:cubicBezTo>
                  <a:cubicBezTo>
                    <a:pt x="508" y="1069"/>
                    <a:pt x="481" y="1072"/>
                    <a:pt x="450" y="1072"/>
                  </a:cubicBezTo>
                  <a:cubicBezTo>
                    <a:pt x="358" y="1075"/>
                    <a:pt x="286" y="1050"/>
                    <a:pt x="236" y="1002"/>
                  </a:cubicBezTo>
                  <a:cubicBezTo>
                    <a:pt x="189" y="952"/>
                    <a:pt x="164" y="880"/>
                    <a:pt x="164" y="783"/>
                  </a:cubicBezTo>
                  <a:cubicBezTo>
                    <a:pt x="164" y="391"/>
                    <a:pt x="164" y="391"/>
                    <a:pt x="164" y="391"/>
                  </a:cubicBezTo>
                  <a:cubicBezTo>
                    <a:pt x="0" y="391"/>
                    <a:pt x="0" y="391"/>
                    <a:pt x="0" y="391"/>
                  </a:cubicBezTo>
                  <a:cubicBezTo>
                    <a:pt x="0" y="239"/>
                    <a:pt x="0" y="239"/>
                    <a:pt x="0" y="239"/>
                  </a:cubicBezTo>
                  <a:cubicBezTo>
                    <a:pt x="164" y="239"/>
                    <a:pt x="164" y="239"/>
                    <a:pt x="164" y="239"/>
                  </a:cubicBezTo>
                  <a:cubicBezTo>
                    <a:pt x="164" y="19"/>
                    <a:pt x="164" y="19"/>
                    <a:pt x="164" y="19"/>
                  </a:cubicBezTo>
                  <a:lnTo>
                    <a:pt x="34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0" name="Freeform 5">
              <a:extLst>
                <a:ext uri="{FF2B5EF4-FFF2-40B4-BE49-F238E27FC236}">
                  <a16:creationId xmlns:a16="http://schemas.microsoft.com/office/drawing/2014/main" id="{B4AA53F8-FEBE-8D46-8D67-2877A270F938}"/>
                </a:ext>
              </a:extLst>
            </p:cNvPr>
            <p:cNvSpPr>
              <a:spLocks noChangeArrowheads="1"/>
            </p:cNvSpPr>
            <p:nvPr userDrawn="1"/>
          </p:nvSpPr>
          <p:spPr bwMode="auto">
            <a:xfrm>
              <a:off x="3186113" y="3143250"/>
              <a:ext cx="314325" cy="307975"/>
            </a:xfrm>
            <a:custGeom>
              <a:avLst/>
              <a:gdLst>
                <a:gd name="T0" fmla="*/ 433 w 873"/>
                <a:gd name="T1" fmla="*/ 0 h 857"/>
                <a:gd name="T2" fmla="*/ 433 w 873"/>
                <a:gd name="T3" fmla="*/ 0 h 857"/>
                <a:gd name="T4" fmla="*/ 611 w 873"/>
                <a:gd name="T5" fmla="*/ 33 h 857"/>
                <a:gd name="T6" fmla="*/ 750 w 873"/>
                <a:gd name="T7" fmla="*/ 125 h 857"/>
                <a:gd name="T8" fmla="*/ 839 w 873"/>
                <a:gd name="T9" fmla="*/ 261 h 857"/>
                <a:gd name="T10" fmla="*/ 872 w 873"/>
                <a:gd name="T11" fmla="*/ 428 h 857"/>
                <a:gd name="T12" fmla="*/ 839 w 873"/>
                <a:gd name="T13" fmla="*/ 597 h 857"/>
                <a:gd name="T14" fmla="*/ 753 w 873"/>
                <a:gd name="T15" fmla="*/ 733 h 857"/>
                <a:gd name="T16" fmla="*/ 614 w 873"/>
                <a:gd name="T17" fmla="*/ 825 h 857"/>
                <a:gd name="T18" fmla="*/ 433 w 873"/>
                <a:gd name="T19" fmla="*/ 856 h 857"/>
                <a:gd name="T20" fmla="*/ 256 w 873"/>
                <a:gd name="T21" fmla="*/ 825 h 857"/>
                <a:gd name="T22" fmla="*/ 117 w 873"/>
                <a:gd name="T23" fmla="*/ 733 h 857"/>
                <a:gd name="T24" fmla="*/ 31 w 873"/>
                <a:gd name="T25" fmla="*/ 597 h 857"/>
                <a:gd name="T26" fmla="*/ 0 w 873"/>
                <a:gd name="T27" fmla="*/ 428 h 857"/>
                <a:gd name="T28" fmla="*/ 31 w 873"/>
                <a:gd name="T29" fmla="*/ 261 h 857"/>
                <a:gd name="T30" fmla="*/ 120 w 873"/>
                <a:gd name="T31" fmla="*/ 125 h 857"/>
                <a:gd name="T32" fmla="*/ 256 w 873"/>
                <a:gd name="T33" fmla="*/ 33 h 857"/>
                <a:gd name="T34" fmla="*/ 433 w 873"/>
                <a:gd name="T35" fmla="*/ 0 h 857"/>
                <a:gd name="T36" fmla="*/ 433 w 873"/>
                <a:gd name="T37" fmla="*/ 161 h 857"/>
                <a:gd name="T38" fmla="*/ 433 w 873"/>
                <a:gd name="T39" fmla="*/ 161 h 857"/>
                <a:gd name="T40" fmla="*/ 325 w 873"/>
                <a:gd name="T41" fmla="*/ 181 h 857"/>
                <a:gd name="T42" fmla="*/ 245 w 873"/>
                <a:gd name="T43" fmla="*/ 242 h 857"/>
                <a:gd name="T44" fmla="*/ 195 w 873"/>
                <a:gd name="T45" fmla="*/ 328 h 857"/>
                <a:gd name="T46" fmla="*/ 175 w 873"/>
                <a:gd name="T47" fmla="*/ 430 h 857"/>
                <a:gd name="T48" fmla="*/ 195 w 873"/>
                <a:gd name="T49" fmla="*/ 533 h 857"/>
                <a:gd name="T50" fmla="*/ 245 w 873"/>
                <a:gd name="T51" fmla="*/ 617 h 857"/>
                <a:gd name="T52" fmla="*/ 325 w 873"/>
                <a:gd name="T53" fmla="*/ 675 h 857"/>
                <a:gd name="T54" fmla="*/ 433 w 873"/>
                <a:gd name="T55" fmla="*/ 697 h 857"/>
                <a:gd name="T56" fmla="*/ 542 w 873"/>
                <a:gd name="T57" fmla="*/ 675 h 857"/>
                <a:gd name="T58" fmla="*/ 625 w 873"/>
                <a:gd name="T59" fmla="*/ 617 h 857"/>
                <a:gd name="T60" fmla="*/ 675 w 873"/>
                <a:gd name="T61" fmla="*/ 533 h 857"/>
                <a:gd name="T62" fmla="*/ 694 w 873"/>
                <a:gd name="T63" fmla="*/ 430 h 857"/>
                <a:gd name="T64" fmla="*/ 675 w 873"/>
                <a:gd name="T65" fmla="*/ 328 h 857"/>
                <a:gd name="T66" fmla="*/ 622 w 873"/>
                <a:gd name="T67" fmla="*/ 242 h 857"/>
                <a:gd name="T68" fmla="*/ 539 w 873"/>
                <a:gd name="T69" fmla="*/ 181 h 857"/>
                <a:gd name="T70" fmla="*/ 433 w 873"/>
                <a:gd name="T71" fmla="*/ 161 h 857"/>
                <a:gd name="T72" fmla="*/ 433 w 873"/>
                <a:gd name="T73"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57">
                  <a:moveTo>
                    <a:pt x="433" y="0"/>
                  </a:moveTo>
                  <a:lnTo>
                    <a:pt x="433" y="0"/>
                  </a:lnTo>
                  <a:cubicBezTo>
                    <a:pt x="500" y="0"/>
                    <a:pt x="558" y="11"/>
                    <a:pt x="611" y="33"/>
                  </a:cubicBezTo>
                  <a:cubicBezTo>
                    <a:pt x="664" y="56"/>
                    <a:pt x="711" y="86"/>
                    <a:pt x="750" y="125"/>
                  </a:cubicBezTo>
                  <a:cubicBezTo>
                    <a:pt x="789" y="161"/>
                    <a:pt x="820" y="208"/>
                    <a:pt x="839" y="261"/>
                  </a:cubicBezTo>
                  <a:cubicBezTo>
                    <a:pt x="861" y="314"/>
                    <a:pt x="872" y="369"/>
                    <a:pt x="872" y="428"/>
                  </a:cubicBezTo>
                  <a:cubicBezTo>
                    <a:pt x="872" y="489"/>
                    <a:pt x="861" y="547"/>
                    <a:pt x="839" y="597"/>
                  </a:cubicBezTo>
                  <a:cubicBezTo>
                    <a:pt x="820" y="650"/>
                    <a:pt x="792" y="694"/>
                    <a:pt x="753" y="733"/>
                  </a:cubicBezTo>
                  <a:cubicBezTo>
                    <a:pt x="714" y="772"/>
                    <a:pt x="667" y="803"/>
                    <a:pt x="614" y="825"/>
                  </a:cubicBezTo>
                  <a:cubicBezTo>
                    <a:pt x="561" y="847"/>
                    <a:pt x="500" y="856"/>
                    <a:pt x="433" y="856"/>
                  </a:cubicBezTo>
                  <a:cubicBezTo>
                    <a:pt x="367" y="856"/>
                    <a:pt x="308" y="847"/>
                    <a:pt x="256" y="825"/>
                  </a:cubicBezTo>
                  <a:cubicBezTo>
                    <a:pt x="200" y="803"/>
                    <a:pt x="156" y="772"/>
                    <a:pt x="117" y="733"/>
                  </a:cubicBezTo>
                  <a:cubicBezTo>
                    <a:pt x="81" y="694"/>
                    <a:pt x="50" y="650"/>
                    <a:pt x="31" y="597"/>
                  </a:cubicBezTo>
                  <a:cubicBezTo>
                    <a:pt x="11" y="547"/>
                    <a:pt x="0" y="489"/>
                    <a:pt x="0" y="428"/>
                  </a:cubicBezTo>
                  <a:cubicBezTo>
                    <a:pt x="0" y="369"/>
                    <a:pt x="11" y="314"/>
                    <a:pt x="31" y="261"/>
                  </a:cubicBezTo>
                  <a:cubicBezTo>
                    <a:pt x="50" y="208"/>
                    <a:pt x="81" y="161"/>
                    <a:pt x="120" y="125"/>
                  </a:cubicBezTo>
                  <a:cubicBezTo>
                    <a:pt x="156" y="86"/>
                    <a:pt x="203" y="56"/>
                    <a:pt x="256" y="33"/>
                  </a:cubicBezTo>
                  <a:cubicBezTo>
                    <a:pt x="308" y="11"/>
                    <a:pt x="370" y="0"/>
                    <a:pt x="433" y="0"/>
                  </a:cubicBezTo>
                  <a:lnTo>
                    <a:pt x="433" y="161"/>
                  </a:lnTo>
                  <a:lnTo>
                    <a:pt x="433" y="161"/>
                  </a:lnTo>
                  <a:cubicBezTo>
                    <a:pt x="394" y="161"/>
                    <a:pt x="358" y="167"/>
                    <a:pt x="325" y="181"/>
                  </a:cubicBezTo>
                  <a:cubicBezTo>
                    <a:pt x="295" y="197"/>
                    <a:pt x="267" y="217"/>
                    <a:pt x="245" y="242"/>
                  </a:cubicBezTo>
                  <a:cubicBezTo>
                    <a:pt x="222" y="267"/>
                    <a:pt x="206" y="294"/>
                    <a:pt x="195" y="328"/>
                  </a:cubicBezTo>
                  <a:cubicBezTo>
                    <a:pt x="181" y="358"/>
                    <a:pt x="175" y="394"/>
                    <a:pt x="175" y="430"/>
                  </a:cubicBezTo>
                  <a:cubicBezTo>
                    <a:pt x="175" y="467"/>
                    <a:pt x="181" y="500"/>
                    <a:pt x="195" y="533"/>
                  </a:cubicBezTo>
                  <a:cubicBezTo>
                    <a:pt x="206" y="567"/>
                    <a:pt x="222" y="594"/>
                    <a:pt x="245" y="617"/>
                  </a:cubicBezTo>
                  <a:cubicBezTo>
                    <a:pt x="267" y="642"/>
                    <a:pt x="295" y="661"/>
                    <a:pt x="325" y="675"/>
                  </a:cubicBezTo>
                  <a:cubicBezTo>
                    <a:pt x="358" y="689"/>
                    <a:pt x="394" y="697"/>
                    <a:pt x="433" y="697"/>
                  </a:cubicBezTo>
                  <a:cubicBezTo>
                    <a:pt x="475" y="697"/>
                    <a:pt x="511" y="689"/>
                    <a:pt x="542" y="675"/>
                  </a:cubicBezTo>
                  <a:cubicBezTo>
                    <a:pt x="575" y="661"/>
                    <a:pt x="603" y="642"/>
                    <a:pt x="625" y="617"/>
                  </a:cubicBezTo>
                  <a:cubicBezTo>
                    <a:pt x="647" y="594"/>
                    <a:pt x="664" y="567"/>
                    <a:pt x="675" y="533"/>
                  </a:cubicBezTo>
                  <a:cubicBezTo>
                    <a:pt x="686" y="500"/>
                    <a:pt x="694" y="467"/>
                    <a:pt x="694" y="430"/>
                  </a:cubicBezTo>
                  <a:cubicBezTo>
                    <a:pt x="694" y="394"/>
                    <a:pt x="686" y="358"/>
                    <a:pt x="675" y="328"/>
                  </a:cubicBezTo>
                  <a:cubicBezTo>
                    <a:pt x="661" y="294"/>
                    <a:pt x="645" y="267"/>
                    <a:pt x="622" y="242"/>
                  </a:cubicBezTo>
                  <a:cubicBezTo>
                    <a:pt x="600" y="217"/>
                    <a:pt x="572" y="197"/>
                    <a:pt x="539" y="181"/>
                  </a:cubicBezTo>
                  <a:cubicBezTo>
                    <a:pt x="508" y="167"/>
                    <a:pt x="472" y="161"/>
                    <a:pt x="433" y="161"/>
                  </a:cubicBezTo>
                  <a:lnTo>
                    <a:pt x="4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1" name="Freeform 6">
              <a:extLst>
                <a:ext uri="{FF2B5EF4-FFF2-40B4-BE49-F238E27FC236}">
                  <a16:creationId xmlns:a16="http://schemas.microsoft.com/office/drawing/2014/main" id="{51070FE7-71BC-6B45-BDDE-48F0B544F7ED}"/>
                </a:ext>
              </a:extLst>
            </p:cNvPr>
            <p:cNvSpPr>
              <a:spLocks noChangeArrowheads="1"/>
            </p:cNvSpPr>
            <p:nvPr userDrawn="1"/>
          </p:nvSpPr>
          <p:spPr bwMode="auto">
            <a:xfrm>
              <a:off x="3567113" y="3143250"/>
              <a:ext cx="476250" cy="301625"/>
            </a:xfrm>
            <a:custGeom>
              <a:avLst/>
              <a:gdLst>
                <a:gd name="T0" fmla="*/ 575 w 1321"/>
                <a:gd name="T1" fmla="*/ 839 h 840"/>
                <a:gd name="T2" fmla="*/ 575 w 1321"/>
                <a:gd name="T3" fmla="*/ 839 h 840"/>
                <a:gd name="T4" fmla="*/ 575 w 1321"/>
                <a:gd name="T5" fmla="*/ 386 h 840"/>
                <a:gd name="T6" fmla="*/ 561 w 1321"/>
                <a:gd name="T7" fmla="*/ 300 h 840"/>
                <a:gd name="T8" fmla="*/ 523 w 1321"/>
                <a:gd name="T9" fmla="*/ 228 h 840"/>
                <a:gd name="T10" fmla="*/ 461 w 1321"/>
                <a:gd name="T11" fmla="*/ 181 h 840"/>
                <a:gd name="T12" fmla="*/ 378 w 1321"/>
                <a:gd name="T13" fmla="*/ 161 h 840"/>
                <a:gd name="T14" fmla="*/ 295 w 1321"/>
                <a:gd name="T15" fmla="*/ 181 h 840"/>
                <a:gd name="T16" fmla="*/ 231 w 1321"/>
                <a:gd name="T17" fmla="*/ 228 h 840"/>
                <a:gd name="T18" fmla="*/ 189 w 1321"/>
                <a:gd name="T19" fmla="*/ 300 h 840"/>
                <a:gd name="T20" fmla="*/ 175 w 1321"/>
                <a:gd name="T21" fmla="*/ 386 h 840"/>
                <a:gd name="T22" fmla="*/ 175 w 1321"/>
                <a:gd name="T23" fmla="*/ 839 h 840"/>
                <a:gd name="T24" fmla="*/ 0 w 1321"/>
                <a:gd name="T25" fmla="*/ 839 h 840"/>
                <a:gd name="T26" fmla="*/ 0 w 1321"/>
                <a:gd name="T27" fmla="*/ 14 h 840"/>
                <a:gd name="T28" fmla="*/ 164 w 1321"/>
                <a:gd name="T29" fmla="*/ 14 h 840"/>
                <a:gd name="T30" fmla="*/ 175 w 1321"/>
                <a:gd name="T31" fmla="*/ 125 h 840"/>
                <a:gd name="T32" fmla="*/ 278 w 1321"/>
                <a:gd name="T33" fmla="*/ 28 h 840"/>
                <a:gd name="T34" fmla="*/ 411 w 1321"/>
                <a:gd name="T35" fmla="*/ 0 h 840"/>
                <a:gd name="T36" fmla="*/ 492 w 1321"/>
                <a:gd name="T37" fmla="*/ 8 h 840"/>
                <a:gd name="T38" fmla="*/ 564 w 1321"/>
                <a:gd name="T39" fmla="*/ 39 h 840"/>
                <a:gd name="T40" fmla="*/ 628 w 1321"/>
                <a:gd name="T41" fmla="*/ 89 h 840"/>
                <a:gd name="T42" fmla="*/ 675 w 1321"/>
                <a:gd name="T43" fmla="*/ 167 h 840"/>
                <a:gd name="T44" fmla="*/ 800 w 1321"/>
                <a:gd name="T45" fmla="*/ 39 h 840"/>
                <a:gd name="T46" fmla="*/ 964 w 1321"/>
                <a:gd name="T47" fmla="*/ 3 h 840"/>
                <a:gd name="T48" fmla="*/ 1231 w 1321"/>
                <a:gd name="T49" fmla="*/ 103 h 840"/>
                <a:gd name="T50" fmla="*/ 1320 w 1321"/>
                <a:gd name="T51" fmla="*/ 383 h 840"/>
                <a:gd name="T52" fmla="*/ 1320 w 1321"/>
                <a:gd name="T53" fmla="*/ 839 h 840"/>
                <a:gd name="T54" fmla="*/ 1142 w 1321"/>
                <a:gd name="T55" fmla="*/ 839 h 840"/>
                <a:gd name="T56" fmla="*/ 1142 w 1321"/>
                <a:gd name="T57" fmla="*/ 383 h 840"/>
                <a:gd name="T58" fmla="*/ 1131 w 1321"/>
                <a:gd name="T59" fmla="*/ 297 h 840"/>
                <a:gd name="T60" fmla="*/ 1095 w 1321"/>
                <a:gd name="T61" fmla="*/ 228 h 840"/>
                <a:gd name="T62" fmla="*/ 1039 w 1321"/>
                <a:gd name="T63" fmla="*/ 181 h 840"/>
                <a:gd name="T64" fmla="*/ 956 w 1321"/>
                <a:gd name="T65" fmla="*/ 164 h 840"/>
                <a:gd name="T66" fmla="*/ 873 w 1321"/>
                <a:gd name="T67" fmla="*/ 181 h 840"/>
                <a:gd name="T68" fmla="*/ 809 w 1321"/>
                <a:gd name="T69" fmla="*/ 228 h 840"/>
                <a:gd name="T70" fmla="*/ 767 w 1321"/>
                <a:gd name="T71" fmla="*/ 300 h 840"/>
                <a:gd name="T72" fmla="*/ 753 w 1321"/>
                <a:gd name="T73" fmla="*/ 386 h 840"/>
                <a:gd name="T74" fmla="*/ 753 w 1321"/>
                <a:gd name="T75" fmla="*/ 839 h 840"/>
                <a:gd name="T76" fmla="*/ 575 w 1321"/>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1" h="840">
                  <a:moveTo>
                    <a:pt x="575" y="839"/>
                  </a:moveTo>
                  <a:lnTo>
                    <a:pt x="575" y="839"/>
                  </a:lnTo>
                  <a:cubicBezTo>
                    <a:pt x="575" y="386"/>
                    <a:pt x="575" y="386"/>
                    <a:pt x="575" y="386"/>
                  </a:cubicBezTo>
                  <a:cubicBezTo>
                    <a:pt x="575" y="356"/>
                    <a:pt x="570" y="328"/>
                    <a:pt x="561" y="300"/>
                  </a:cubicBezTo>
                  <a:cubicBezTo>
                    <a:pt x="553" y="272"/>
                    <a:pt x="539" y="247"/>
                    <a:pt x="523" y="228"/>
                  </a:cubicBezTo>
                  <a:cubicBezTo>
                    <a:pt x="506" y="208"/>
                    <a:pt x="486" y="192"/>
                    <a:pt x="461" y="181"/>
                  </a:cubicBezTo>
                  <a:cubicBezTo>
                    <a:pt x="436" y="167"/>
                    <a:pt x="409" y="161"/>
                    <a:pt x="378" y="161"/>
                  </a:cubicBezTo>
                  <a:cubicBezTo>
                    <a:pt x="348" y="161"/>
                    <a:pt x="320" y="167"/>
                    <a:pt x="295" y="181"/>
                  </a:cubicBezTo>
                  <a:cubicBezTo>
                    <a:pt x="270" y="192"/>
                    <a:pt x="248" y="208"/>
                    <a:pt x="231" y="228"/>
                  </a:cubicBezTo>
                  <a:cubicBezTo>
                    <a:pt x="211" y="247"/>
                    <a:pt x="200" y="272"/>
                    <a:pt x="189" y="300"/>
                  </a:cubicBezTo>
                  <a:cubicBezTo>
                    <a:pt x="181" y="328"/>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198" y="78"/>
                    <a:pt x="234" y="47"/>
                    <a:pt x="278" y="28"/>
                  </a:cubicBezTo>
                  <a:cubicBezTo>
                    <a:pt x="323" y="11"/>
                    <a:pt x="367" y="0"/>
                    <a:pt x="411" y="0"/>
                  </a:cubicBezTo>
                  <a:cubicBezTo>
                    <a:pt x="439" y="0"/>
                    <a:pt x="464" y="3"/>
                    <a:pt x="492" y="8"/>
                  </a:cubicBezTo>
                  <a:cubicBezTo>
                    <a:pt x="517" y="14"/>
                    <a:pt x="542" y="25"/>
                    <a:pt x="564" y="39"/>
                  </a:cubicBezTo>
                  <a:cubicBezTo>
                    <a:pt x="589" y="50"/>
                    <a:pt x="609" y="69"/>
                    <a:pt x="628" y="89"/>
                  </a:cubicBezTo>
                  <a:cubicBezTo>
                    <a:pt x="647" y="111"/>
                    <a:pt x="661" y="136"/>
                    <a:pt x="675" y="167"/>
                  </a:cubicBezTo>
                  <a:cubicBezTo>
                    <a:pt x="709" y="106"/>
                    <a:pt x="750" y="64"/>
                    <a:pt x="800" y="39"/>
                  </a:cubicBezTo>
                  <a:cubicBezTo>
                    <a:pt x="850" y="14"/>
                    <a:pt x="906" y="3"/>
                    <a:pt x="964" y="3"/>
                  </a:cubicBezTo>
                  <a:cubicBezTo>
                    <a:pt x="1081" y="3"/>
                    <a:pt x="1170" y="36"/>
                    <a:pt x="1231" y="103"/>
                  </a:cubicBezTo>
                  <a:cubicBezTo>
                    <a:pt x="1289" y="172"/>
                    <a:pt x="1320" y="264"/>
                    <a:pt x="1320" y="383"/>
                  </a:cubicBezTo>
                  <a:cubicBezTo>
                    <a:pt x="1320" y="839"/>
                    <a:pt x="1320" y="839"/>
                    <a:pt x="1320" y="839"/>
                  </a:cubicBezTo>
                  <a:cubicBezTo>
                    <a:pt x="1142" y="839"/>
                    <a:pt x="1142" y="839"/>
                    <a:pt x="1142" y="839"/>
                  </a:cubicBezTo>
                  <a:cubicBezTo>
                    <a:pt x="1142" y="383"/>
                    <a:pt x="1142" y="383"/>
                    <a:pt x="1142" y="383"/>
                  </a:cubicBezTo>
                  <a:cubicBezTo>
                    <a:pt x="1142" y="353"/>
                    <a:pt x="1139" y="325"/>
                    <a:pt x="1131" y="297"/>
                  </a:cubicBezTo>
                  <a:cubicBezTo>
                    <a:pt x="1122" y="269"/>
                    <a:pt x="1111" y="247"/>
                    <a:pt x="1095" y="228"/>
                  </a:cubicBezTo>
                  <a:cubicBezTo>
                    <a:pt x="1081" y="206"/>
                    <a:pt x="1061" y="192"/>
                    <a:pt x="1039" y="181"/>
                  </a:cubicBezTo>
                  <a:cubicBezTo>
                    <a:pt x="1014" y="169"/>
                    <a:pt x="986" y="164"/>
                    <a:pt x="956" y="164"/>
                  </a:cubicBezTo>
                  <a:cubicBezTo>
                    <a:pt x="925" y="164"/>
                    <a:pt x="897" y="169"/>
                    <a:pt x="873" y="181"/>
                  </a:cubicBezTo>
                  <a:cubicBezTo>
                    <a:pt x="847" y="192"/>
                    <a:pt x="825" y="208"/>
                    <a:pt x="809" y="228"/>
                  </a:cubicBezTo>
                  <a:cubicBezTo>
                    <a:pt x="789" y="250"/>
                    <a:pt x="775" y="272"/>
                    <a:pt x="767" y="300"/>
                  </a:cubicBezTo>
                  <a:cubicBezTo>
                    <a:pt x="756" y="328"/>
                    <a:pt x="753" y="356"/>
                    <a:pt x="753" y="386"/>
                  </a:cubicBezTo>
                  <a:cubicBezTo>
                    <a:pt x="753" y="839"/>
                    <a:pt x="753" y="839"/>
                    <a:pt x="753" y="839"/>
                  </a:cubicBezTo>
                  <a:lnTo>
                    <a:pt x="575" y="83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2" name="Freeform 7">
              <a:extLst>
                <a:ext uri="{FF2B5EF4-FFF2-40B4-BE49-F238E27FC236}">
                  <a16:creationId xmlns:a16="http://schemas.microsoft.com/office/drawing/2014/main" id="{B95AA7AB-4A1C-D042-8168-AD58D00AB477}"/>
                </a:ext>
              </a:extLst>
            </p:cNvPr>
            <p:cNvSpPr>
              <a:spLocks noChangeArrowheads="1"/>
            </p:cNvSpPr>
            <p:nvPr userDrawn="1"/>
          </p:nvSpPr>
          <p:spPr bwMode="auto">
            <a:xfrm>
              <a:off x="4105275" y="3141663"/>
              <a:ext cx="314325" cy="312737"/>
            </a:xfrm>
            <a:custGeom>
              <a:avLst/>
              <a:gdLst>
                <a:gd name="T0" fmla="*/ 864 w 874"/>
                <a:gd name="T1" fmla="*/ 498 h 868"/>
                <a:gd name="T2" fmla="*/ 864 w 874"/>
                <a:gd name="T3" fmla="*/ 498 h 868"/>
                <a:gd name="T4" fmla="*/ 181 w 874"/>
                <a:gd name="T5" fmla="*/ 498 h 868"/>
                <a:gd name="T6" fmla="*/ 267 w 874"/>
                <a:gd name="T7" fmla="*/ 650 h 868"/>
                <a:gd name="T8" fmla="*/ 456 w 874"/>
                <a:gd name="T9" fmla="*/ 706 h 868"/>
                <a:gd name="T10" fmla="*/ 592 w 874"/>
                <a:gd name="T11" fmla="*/ 684 h 868"/>
                <a:gd name="T12" fmla="*/ 700 w 874"/>
                <a:gd name="T13" fmla="*/ 617 h 868"/>
                <a:gd name="T14" fmla="*/ 814 w 874"/>
                <a:gd name="T15" fmla="*/ 725 h 868"/>
                <a:gd name="T16" fmla="*/ 739 w 874"/>
                <a:gd name="T17" fmla="*/ 786 h 868"/>
                <a:gd name="T18" fmla="*/ 650 w 874"/>
                <a:gd name="T19" fmla="*/ 831 h 868"/>
                <a:gd name="T20" fmla="*/ 553 w 874"/>
                <a:gd name="T21" fmla="*/ 859 h 868"/>
                <a:gd name="T22" fmla="*/ 453 w 874"/>
                <a:gd name="T23" fmla="*/ 867 h 868"/>
                <a:gd name="T24" fmla="*/ 267 w 874"/>
                <a:gd name="T25" fmla="*/ 836 h 868"/>
                <a:gd name="T26" fmla="*/ 123 w 874"/>
                <a:gd name="T27" fmla="*/ 748 h 868"/>
                <a:gd name="T28" fmla="*/ 31 w 874"/>
                <a:gd name="T29" fmla="*/ 609 h 868"/>
                <a:gd name="T30" fmla="*/ 0 w 874"/>
                <a:gd name="T31" fmla="*/ 431 h 868"/>
                <a:gd name="T32" fmla="*/ 31 w 874"/>
                <a:gd name="T33" fmla="*/ 256 h 868"/>
                <a:gd name="T34" fmla="*/ 123 w 874"/>
                <a:gd name="T35" fmla="*/ 120 h 868"/>
                <a:gd name="T36" fmla="*/ 261 w 874"/>
                <a:gd name="T37" fmla="*/ 31 h 868"/>
                <a:gd name="T38" fmla="*/ 442 w 874"/>
                <a:gd name="T39" fmla="*/ 0 h 868"/>
                <a:gd name="T40" fmla="*/ 628 w 874"/>
                <a:gd name="T41" fmla="*/ 31 h 868"/>
                <a:gd name="T42" fmla="*/ 767 w 874"/>
                <a:gd name="T43" fmla="*/ 125 h 868"/>
                <a:gd name="T44" fmla="*/ 850 w 874"/>
                <a:gd name="T45" fmla="*/ 278 h 868"/>
                <a:gd name="T46" fmla="*/ 864 w 874"/>
                <a:gd name="T47" fmla="*/ 498 h 868"/>
                <a:gd name="T48" fmla="*/ 187 w 874"/>
                <a:gd name="T49" fmla="*/ 353 h 868"/>
                <a:gd name="T50" fmla="*/ 187 w 874"/>
                <a:gd name="T51" fmla="*/ 353 h 868"/>
                <a:gd name="T52" fmla="*/ 695 w 874"/>
                <a:gd name="T53" fmla="*/ 353 h 868"/>
                <a:gd name="T54" fmla="*/ 620 w 874"/>
                <a:gd name="T55" fmla="*/ 203 h 868"/>
                <a:gd name="T56" fmla="*/ 448 w 874"/>
                <a:gd name="T57" fmla="*/ 153 h 868"/>
                <a:gd name="T58" fmla="*/ 278 w 874"/>
                <a:gd name="T59" fmla="*/ 203 h 868"/>
                <a:gd name="T60" fmla="*/ 187 w 874"/>
                <a:gd name="T61" fmla="*/ 353 h 868"/>
                <a:gd name="T62" fmla="*/ 864 w 874"/>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4" h="868">
                  <a:moveTo>
                    <a:pt x="864" y="498"/>
                  </a:moveTo>
                  <a:lnTo>
                    <a:pt x="864" y="498"/>
                  </a:lnTo>
                  <a:cubicBezTo>
                    <a:pt x="181" y="498"/>
                    <a:pt x="181" y="498"/>
                    <a:pt x="181" y="498"/>
                  </a:cubicBezTo>
                  <a:cubicBezTo>
                    <a:pt x="189" y="562"/>
                    <a:pt x="217" y="611"/>
                    <a:pt x="267" y="650"/>
                  </a:cubicBezTo>
                  <a:cubicBezTo>
                    <a:pt x="317" y="686"/>
                    <a:pt x="378" y="706"/>
                    <a:pt x="456" y="706"/>
                  </a:cubicBezTo>
                  <a:cubicBezTo>
                    <a:pt x="500" y="706"/>
                    <a:pt x="545" y="698"/>
                    <a:pt x="592" y="684"/>
                  </a:cubicBezTo>
                  <a:cubicBezTo>
                    <a:pt x="639" y="667"/>
                    <a:pt x="675" y="645"/>
                    <a:pt x="700" y="617"/>
                  </a:cubicBezTo>
                  <a:cubicBezTo>
                    <a:pt x="814" y="725"/>
                    <a:pt x="814" y="725"/>
                    <a:pt x="814" y="725"/>
                  </a:cubicBezTo>
                  <a:cubicBezTo>
                    <a:pt x="795" y="750"/>
                    <a:pt x="770" y="770"/>
                    <a:pt x="739" y="786"/>
                  </a:cubicBezTo>
                  <a:cubicBezTo>
                    <a:pt x="711" y="806"/>
                    <a:pt x="681" y="820"/>
                    <a:pt x="650" y="831"/>
                  </a:cubicBezTo>
                  <a:cubicBezTo>
                    <a:pt x="620" y="845"/>
                    <a:pt x="587" y="853"/>
                    <a:pt x="553" y="859"/>
                  </a:cubicBezTo>
                  <a:cubicBezTo>
                    <a:pt x="517" y="864"/>
                    <a:pt x="487" y="867"/>
                    <a:pt x="453" y="867"/>
                  </a:cubicBezTo>
                  <a:cubicBezTo>
                    <a:pt x="384" y="867"/>
                    <a:pt x="323" y="856"/>
                    <a:pt x="267" y="836"/>
                  </a:cubicBezTo>
                  <a:cubicBezTo>
                    <a:pt x="209" y="814"/>
                    <a:pt x="161" y="786"/>
                    <a:pt x="123" y="748"/>
                  </a:cubicBezTo>
                  <a:cubicBezTo>
                    <a:pt x="84" y="709"/>
                    <a:pt x="53" y="664"/>
                    <a:pt x="31" y="609"/>
                  </a:cubicBezTo>
                  <a:cubicBezTo>
                    <a:pt x="12" y="556"/>
                    <a:pt x="0" y="495"/>
                    <a:pt x="0" y="431"/>
                  </a:cubicBezTo>
                  <a:cubicBezTo>
                    <a:pt x="0" y="367"/>
                    <a:pt x="12" y="309"/>
                    <a:pt x="31" y="256"/>
                  </a:cubicBezTo>
                  <a:cubicBezTo>
                    <a:pt x="53" y="203"/>
                    <a:pt x="84" y="159"/>
                    <a:pt x="123" y="120"/>
                  </a:cubicBezTo>
                  <a:cubicBezTo>
                    <a:pt x="161" y="84"/>
                    <a:pt x="209" y="53"/>
                    <a:pt x="261" y="31"/>
                  </a:cubicBezTo>
                  <a:cubicBezTo>
                    <a:pt x="314" y="12"/>
                    <a:pt x="375" y="0"/>
                    <a:pt x="442" y="0"/>
                  </a:cubicBezTo>
                  <a:cubicBezTo>
                    <a:pt x="509" y="0"/>
                    <a:pt x="573" y="12"/>
                    <a:pt x="628" y="31"/>
                  </a:cubicBezTo>
                  <a:cubicBezTo>
                    <a:pt x="681" y="53"/>
                    <a:pt x="728" y="84"/>
                    <a:pt x="767" y="125"/>
                  </a:cubicBezTo>
                  <a:cubicBezTo>
                    <a:pt x="806" y="164"/>
                    <a:pt x="834" y="217"/>
                    <a:pt x="850" y="278"/>
                  </a:cubicBezTo>
                  <a:cubicBezTo>
                    <a:pt x="867" y="342"/>
                    <a:pt x="873" y="414"/>
                    <a:pt x="864" y="498"/>
                  </a:cubicBezTo>
                  <a:lnTo>
                    <a:pt x="187" y="353"/>
                  </a:lnTo>
                  <a:lnTo>
                    <a:pt x="187" y="353"/>
                  </a:lnTo>
                  <a:cubicBezTo>
                    <a:pt x="695" y="353"/>
                    <a:pt x="695" y="353"/>
                    <a:pt x="695" y="353"/>
                  </a:cubicBezTo>
                  <a:cubicBezTo>
                    <a:pt x="689" y="287"/>
                    <a:pt x="664" y="236"/>
                    <a:pt x="620" y="203"/>
                  </a:cubicBezTo>
                  <a:cubicBezTo>
                    <a:pt x="575" y="170"/>
                    <a:pt x="517" y="153"/>
                    <a:pt x="448" y="153"/>
                  </a:cubicBezTo>
                  <a:cubicBezTo>
                    <a:pt x="381" y="153"/>
                    <a:pt x="325" y="170"/>
                    <a:pt x="278" y="203"/>
                  </a:cubicBezTo>
                  <a:cubicBezTo>
                    <a:pt x="231" y="236"/>
                    <a:pt x="200" y="287"/>
                    <a:pt x="187" y="353"/>
                  </a:cubicBezTo>
                  <a:lnTo>
                    <a:pt x="864"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3" name="Freeform 8">
              <a:extLst>
                <a:ext uri="{FF2B5EF4-FFF2-40B4-BE49-F238E27FC236}">
                  <a16:creationId xmlns:a16="http://schemas.microsoft.com/office/drawing/2014/main" id="{203B30D4-3326-734C-8C93-2B36CCC7568B}"/>
                </a:ext>
              </a:extLst>
            </p:cNvPr>
            <p:cNvSpPr>
              <a:spLocks noChangeArrowheads="1"/>
            </p:cNvSpPr>
            <p:nvPr userDrawn="1"/>
          </p:nvSpPr>
          <p:spPr bwMode="auto">
            <a:xfrm>
              <a:off x="4481513" y="3141663"/>
              <a:ext cx="227012" cy="303212"/>
            </a:xfrm>
            <a:custGeom>
              <a:avLst/>
              <a:gdLst>
                <a:gd name="T0" fmla="*/ 164 w 631"/>
                <a:gd name="T1" fmla="*/ 20 h 843"/>
                <a:gd name="T2" fmla="*/ 164 w 631"/>
                <a:gd name="T3" fmla="*/ 20 h 843"/>
                <a:gd name="T4" fmla="*/ 175 w 631"/>
                <a:gd name="T5" fmla="*/ 128 h 843"/>
                <a:gd name="T6" fmla="*/ 289 w 631"/>
                <a:gd name="T7" fmla="*/ 25 h 843"/>
                <a:gd name="T8" fmla="*/ 422 w 631"/>
                <a:gd name="T9" fmla="*/ 0 h 843"/>
                <a:gd name="T10" fmla="*/ 539 w 631"/>
                <a:gd name="T11" fmla="*/ 20 h 843"/>
                <a:gd name="T12" fmla="*/ 630 w 631"/>
                <a:gd name="T13" fmla="*/ 70 h 843"/>
                <a:gd name="T14" fmla="*/ 550 w 631"/>
                <a:gd name="T15" fmla="*/ 222 h 843"/>
                <a:gd name="T16" fmla="*/ 486 w 631"/>
                <a:gd name="T17" fmla="*/ 184 h 843"/>
                <a:gd name="T18" fmla="*/ 402 w 631"/>
                <a:gd name="T19" fmla="*/ 172 h 843"/>
                <a:gd name="T20" fmla="*/ 316 w 631"/>
                <a:gd name="T21" fmla="*/ 186 h 843"/>
                <a:gd name="T22" fmla="*/ 244 w 631"/>
                <a:gd name="T23" fmla="*/ 228 h 843"/>
                <a:gd name="T24" fmla="*/ 194 w 631"/>
                <a:gd name="T25" fmla="*/ 297 h 843"/>
                <a:gd name="T26" fmla="*/ 175 w 631"/>
                <a:gd name="T27" fmla="*/ 397 h 843"/>
                <a:gd name="T28" fmla="*/ 175 w 631"/>
                <a:gd name="T29" fmla="*/ 842 h 843"/>
                <a:gd name="T30" fmla="*/ 0 w 631"/>
                <a:gd name="T31" fmla="*/ 842 h 843"/>
                <a:gd name="T32" fmla="*/ 0 w 631"/>
                <a:gd name="T33" fmla="*/ 20 h 843"/>
                <a:gd name="T34" fmla="*/ 164 w 631"/>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1" h="843">
                  <a:moveTo>
                    <a:pt x="164" y="20"/>
                  </a:moveTo>
                  <a:lnTo>
                    <a:pt x="164" y="20"/>
                  </a:lnTo>
                  <a:cubicBezTo>
                    <a:pt x="175" y="128"/>
                    <a:pt x="175" y="128"/>
                    <a:pt x="175" y="128"/>
                  </a:cubicBezTo>
                  <a:cubicBezTo>
                    <a:pt x="205" y="75"/>
                    <a:pt x="244" y="42"/>
                    <a:pt x="289" y="25"/>
                  </a:cubicBezTo>
                  <a:cubicBezTo>
                    <a:pt x="333" y="9"/>
                    <a:pt x="378" y="0"/>
                    <a:pt x="422" y="0"/>
                  </a:cubicBezTo>
                  <a:cubicBezTo>
                    <a:pt x="464" y="0"/>
                    <a:pt x="502" y="9"/>
                    <a:pt x="539" y="20"/>
                  </a:cubicBezTo>
                  <a:cubicBezTo>
                    <a:pt x="577" y="34"/>
                    <a:pt x="608" y="50"/>
                    <a:pt x="630" y="70"/>
                  </a:cubicBezTo>
                  <a:cubicBezTo>
                    <a:pt x="550" y="222"/>
                    <a:pt x="550" y="222"/>
                    <a:pt x="550" y="222"/>
                  </a:cubicBezTo>
                  <a:cubicBezTo>
                    <a:pt x="530" y="206"/>
                    <a:pt x="508" y="192"/>
                    <a:pt x="486" y="184"/>
                  </a:cubicBezTo>
                  <a:cubicBezTo>
                    <a:pt x="464" y="175"/>
                    <a:pt x="436" y="172"/>
                    <a:pt x="402" y="172"/>
                  </a:cubicBezTo>
                  <a:cubicBezTo>
                    <a:pt x="372" y="172"/>
                    <a:pt x="341" y="175"/>
                    <a:pt x="316" y="186"/>
                  </a:cubicBezTo>
                  <a:cubicBezTo>
                    <a:pt x="289" y="195"/>
                    <a:pt x="264" y="209"/>
                    <a:pt x="244" y="228"/>
                  </a:cubicBezTo>
                  <a:cubicBezTo>
                    <a:pt x="222" y="245"/>
                    <a:pt x="205" y="270"/>
                    <a:pt x="194" y="297"/>
                  </a:cubicBezTo>
                  <a:cubicBezTo>
                    <a:pt x="180" y="325"/>
                    <a:pt x="175" y="359"/>
                    <a:pt x="175" y="397"/>
                  </a:cubicBezTo>
                  <a:cubicBezTo>
                    <a:pt x="175" y="842"/>
                    <a:pt x="175" y="842"/>
                    <a:pt x="175" y="842"/>
                  </a:cubicBezTo>
                  <a:cubicBezTo>
                    <a:pt x="0" y="842"/>
                    <a:pt x="0" y="842"/>
                    <a:pt x="0" y="842"/>
                  </a:cubicBezTo>
                  <a:cubicBezTo>
                    <a:pt x="0" y="20"/>
                    <a:pt x="0" y="20"/>
                    <a:pt x="0" y="20"/>
                  </a:cubicBezTo>
                  <a:lnTo>
                    <a:pt x="164" y="2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4" name="Freeform 9">
              <a:extLst>
                <a:ext uri="{FF2B5EF4-FFF2-40B4-BE49-F238E27FC236}">
                  <a16:creationId xmlns:a16="http://schemas.microsoft.com/office/drawing/2014/main" id="{BC6973FE-BE8B-0141-901D-11EC647C707A}"/>
                </a:ext>
              </a:extLst>
            </p:cNvPr>
            <p:cNvSpPr>
              <a:spLocks noChangeArrowheads="1"/>
            </p:cNvSpPr>
            <p:nvPr userDrawn="1"/>
          </p:nvSpPr>
          <p:spPr bwMode="auto">
            <a:xfrm>
              <a:off x="4872038" y="3141663"/>
              <a:ext cx="314325" cy="312737"/>
            </a:xfrm>
            <a:custGeom>
              <a:avLst/>
              <a:gdLst>
                <a:gd name="T0" fmla="*/ 863 w 872"/>
                <a:gd name="T1" fmla="*/ 498 h 868"/>
                <a:gd name="T2" fmla="*/ 863 w 872"/>
                <a:gd name="T3" fmla="*/ 498 h 868"/>
                <a:gd name="T4" fmla="*/ 183 w 872"/>
                <a:gd name="T5" fmla="*/ 498 h 868"/>
                <a:gd name="T6" fmla="*/ 266 w 872"/>
                <a:gd name="T7" fmla="*/ 650 h 868"/>
                <a:gd name="T8" fmla="*/ 458 w 872"/>
                <a:gd name="T9" fmla="*/ 706 h 868"/>
                <a:gd name="T10" fmla="*/ 590 w 872"/>
                <a:gd name="T11" fmla="*/ 684 h 868"/>
                <a:gd name="T12" fmla="*/ 699 w 872"/>
                <a:gd name="T13" fmla="*/ 617 h 868"/>
                <a:gd name="T14" fmla="*/ 815 w 872"/>
                <a:gd name="T15" fmla="*/ 725 h 868"/>
                <a:gd name="T16" fmla="*/ 740 w 872"/>
                <a:gd name="T17" fmla="*/ 786 h 868"/>
                <a:gd name="T18" fmla="*/ 649 w 872"/>
                <a:gd name="T19" fmla="*/ 831 h 868"/>
                <a:gd name="T20" fmla="*/ 551 w 872"/>
                <a:gd name="T21" fmla="*/ 859 h 868"/>
                <a:gd name="T22" fmla="*/ 452 w 872"/>
                <a:gd name="T23" fmla="*/ 867 h 868"/>
                <a:gd name="T24" fmla="*/ 266 w 872"/>
                <a:gd name="T25" fmla="*/ 836 h 868"/>
                <a:gd name="T26" fmla="*/ 122 w 872"/>
                <a:gd name="T27" fmla="*/ 748 h 868"/>
                <a:gd name="T28" fmla="*/ 30 w 872"/>
                <a:gd name="T29" fmla="*/ 609 h 868"/>
                <a:gd name="T30" fmla="*/ 0 w 872"/>
                <a:gd name="T31" fmla="*/ 431 h 868"/>
                <a:gd name="T32" fmla="*/ 30 w 872"/>
                <a:gd name="T33" fmla="*/ 256 h 868"/>
                <a:gd name="T34" fmla="*/ 122 w 872"/>
                <a:gd name="T35" fmla="*/ 120 h 868"/>
                <a:gd name="T36" fmla="*/ 261 w 872"/>
                <a:gd name="T37" fmla="*/ 31 h 868"/>
                <a:gd name="T38" fmla="*/ 441 w 872"/>
                <a:gd name="T39" fmla="*/ 0 h 868"/>
                <a:gd name="T40" fmla="*/ 626 w 872"/>
                <a:gd name="T41" fmla="*/ 31 h 868"/>
                <a:gd name="T42" fmla="*/ 765 w 872"/>
                <a:gd name="T43" fmla="*/ 125 h 868"/>
                <a:gd name="T44" fmla="*/ 849 w 872"/>
                <a:gd name="T45" fmla="*/ 278 h 868"/>
                <a:gd name="T46" fmla="*/ 863 w 872"/>
                <a:gd name="T47" fmla="*/ 498 h 868"/>
                <a:gd name="T48" fmla="*/ 186 w 872"/>
                <a:gd name="T49" fmla="*/ 353 h 868"/>
                <a:gd name="T50" fmla="*/ 186 w 872"/>
                <a:gd name="T51" fmla="*/ 353 h 868"/>
                <a:gd name="T52" fmla="*/ 696 w 872"/>
                <a:gd name="T53" fmla="*/ 353 h 868"/>
                <a:gd name="T54" fmla="*/ 621 w 872"/>
                <a:gd name="T55" fmla="*/ 203 h 868"/>
                <a:gd name="T56" fmla="*/ 447 w 872"/>
                <a:gd name="T57" fmla="*/ 153 h 868"/>
                <a:gd name="T58" fmla="*/ 278 w 872"/>
                <a:gd name="T59" fmla="*/ 203 h 868"/>
                <a:gd name="T60" fmla="*/ 186 w 872"/>
                <a:gd name="T61" fmla="*/ 353 h 868"/>
                <a:gd name="T62" fmla="*/ 863 w 872"/>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2" h="868">
                  <a:moveTo>
                    <a:pt x="863" y="498"/>
                  </a:moveTo>
                  <a:lnTo>
                    <a:pt x="863" y="498"/>
                  </a:lnTo>
                  <a:cubicBezTo>
                    <a:pt x="183" y="498"/>
                    <a:pt x="183" y="498"/>
                    <a:pt x="183" y="498"/>
                  </a:cubicBezTo>
                  <a:cubicBezTo>
                    <a:pt x="189" y="562"/>
                    <a:pt x="219" y="611"/>
                    <a:pt x="266" y="650"/>
                  </a:cubicBezTo>
                  <a:cubicBezTo>
                    <a:pt x="316" y="686"/>
                    <a:pt x="380" y="706"/>
                    <a:pt x="458" y="706"/>
                  </a:cubicBezTo>
                  <a:cubicBezTo>
                    <a:pt x="499" y="706"/>
                    <a:pt x="543" y="698"/>
                    <a:pt x="590" y="684"/>
                  </a:cubicBezTo>
                  <a:cubicBezTo>
                    <a:pt x="638" y="667"/>
                    <a:pt x="674" y="645"/>
                    <a:pt x="699" y="617"/>
                  </a:cubicBezTo>
                  <a:cubicBezTo>
                    <a:pt x="815" y="725"/>
                    <a:pt x="815" y="725"/>
                    <a:pt x="815" y="725"/>
                  </a:cubicBezTo>
                  <a:cubicBezTo>
                    <a:pt x="793" y="750"/>
                    <a:pt x="768" y="770"/>
                    <a:pt x="740" y="786"/>
                  </a:cubicBezTo>
                  <a:cubicBezTo>
                    <a:pt x="710" y="806"/>
                    <a:pt x="682" y="820"/>
                    <a:pt x="649" y="831"/>
                  </a:cubicBezTo>
                  <a:cubicBezTo>
                    <a:pt x="618" y="845"/>
                    <a:pt x="585" y="853"/>
                    <a:pt x="551" y="859"/>
                  </a:cubicBezTo>
                  <a:cubicBezTo>
                    <a:pt x="518" y="864"/>
                    <a:pt x="485" y="867"/>
                    <a:pt x="452" y="867"/>
                  </a:cubicBezTo>
                  <a:cubicBezTo>
                    <a:pt x="383" y="867"/>
                    <a:pt x="322" y="856"/>
                    <a:pt x="266" y="836"/>
                  </a:cubicBezTo>
                  <a:cubicBezTo>
                    <a:pt x="211" y="814"/>
                    <a:pt x="161" y="786"/>
                    <a:pt x="122" y="748"/>
                  </a:cubicBezTo>
                  <a:cubicBezTo>
                    <a:pt x="83" y="709"/>
                    <a:pt x="53" y="664"/>
                    <a:pt x="30" y="609"/>
                  </a:cubicBezTo>
                  <a:cubicBezTo>
                    <a:pt x="11" y="556"/>
                    <a:pt x="0" y="495"/>
                    <a:pt x="0" y="431"/>
                  </a:cubicBezTo>
                  <a:cubicBezTo>
                    <a:pt x="0" y="367"/>
                    <a:pt x="11" y="309"/>
                    <a:pt x="30" y="256"/>
                  </a:cubicBezTo>
                  <a:cubicBezTo>
                    <a:pt x="53" y="203"/>
                    <a:pt x="83" y="159"/>
                    <a:pt x="122" y="120"/>
                  </a:cubicBezTo>
                  <a:cubicBezTo>
                    <a:pt x="161" y="84"/>
                    <a:pt x="208" y="53"/>
                    <a:pt x="261" y="31"/>
                  </a:cubicBezTo>
                  <a:cubicBezTo>
                    <a:pt x="316" y="12"/>
                    <a:pt x="375" y="0"/>
                    <a:pt x="441" y="0"/>
                  </a:cubicBezTo>
                  <a:cubicBezTo>
                    <a:pt x="510" y="0"/>
                    <a:pt x="571" y="12"/>
                    <a:pt x="626" y="31"/>
                  </a:cubicBezTo>
                  <a:cubicBezTo>
                    <a:pt x="682" y="53"/>
                    <a:pt x="726" y="84"/>
                    <a:pt x="765" y="125"/>
                  </a:cubicBezTo>
                  <a:cubicBezTo>
                    <a:pt x="804" y="164"/>
                    <a:pt x="832" y="217"/>
                    <a:pt x="849" y="278"/>
                  </a:cubicBezTo>
                  <a:cubicBezTo>
                    <a:pt x="868" y="342"/>
                    <a:pt x="871" y="414"/>
                    <a:pt x="863" y="498"/>
                  </a:cubicBezTo>
                  <a:lnTo>
                    <a:pt x="186" y="353"/>
                  </a:lnTo>
                  <a:lnTo>
                    <a:pt x="186" y="353"/>
                  </a:lnTo>
                  <a:cubicBezTo>
                    <a:pt x="696" y="353"/>
                    <a:pt x="696" y="353"/>
                    <a:pt x="696" y="353"/>
                  </a:cubicBezTo>
                  <a:cubicBezTo>
                    <a:pt x="690" y="287"/>
                    <a:pt x="663" y="236"/>
                    <a:pt x="621" y="203"/>
                  </a:cubicBezTo>
                  <a:cubicBezTo>
                    <a:pt x="577" y="170"/>
                    <a:pt x="518" y="153"/>
                    <a:pt x="447" y="153"/>
                  </a:cubicBezTo>
                  <a:cubicBezTo>
                    <a:pt x="380" y="153"/>
                    <a:pt x="325" y="170"/>
                    <a:pt x="278" y="203"/>
                  </a:cubicBezTo>
                  <a:cubicBezTo>
                    <a:pt x="230" y="236"/>
                    <a:pt x="200" y="287"/>
                    <a:pt x="186" y="353"/>
                  </a:cubicBezTo>
                  <a:lnTo>
                    <a:pt x="863"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5" name="Freeform 10">
              <a:extLst>
                <a:ext uri="{FF2B5EF4-FFF2-40B4-BE49-F238E27FC236}">
                  <a16:creationId xmlns:a16="http://schemas.microsoft.com/office/drawing/2014/main" id="{5FB00806-452F-264A-B970-9189A4F9E809}"/>
                </a:ext>
              </a:extLst>
            </p:cNvPr>
            <p:cNvSpPr>
              <a:spLocks noChangeArrowheads="1"/>
            </p:cNvSpPr>
            <p:nvPr userDrawn="1"/>
          </p:nvSpPr>
          <p:spPr bwMode="auto">
            <a:xfrm>
              <a:off x="5205413" y="3149600"/>
              <a:ext cx="301625" cy="296863"/>
            </a:xfrm>
            <a:custGeom>
              <a:avLst/>
              <a:gdLst>
                <a:gd name="T0" fmla="*/ 606 w 837"/>
                <a:gd name="T1" fmla="*/ 0 h 823"/>
                <a:gd name="T2" fmla="*/ 820 w 837"/>
                <a:gd name="T3" fmla="*/ 0 h 823"/>
                <a:gd name="T4" fmla="*/ 820 w 837"/>
                <a:gd name="T5" fmla="*/ 5 h 823"/>
                <a:gd name="T6" fmla="*/ 536 w 837"/>
                <a:gd name="T7" fmla="*/ 402 h 823"/>
                <a:gd name="T8" fmla="*/ 836 w 837"/>
                <a:gd name="T9" fmla="*/ 819 h 823"/>
                <a:gd name="T10" fmla="*/ 836 w 837"/>
                <a:gd name="T11" fmla="*/ 822 h 823"/>
                <a:gd name="T12" fmla="*/ 625 w 837"/>
                <a:gd name="T13" fmla="*/ 822 h 823"/>
                <a:gd name="T14" fmla="*/ 420 w 837"/>
                <a:gd name="T15" fmla="*/ 525 h 823"/>
                <a:gd name="T16" fmla="*/ 212 w 837"/>
                <a:gd name="T17" fmla="*/ 822 h 823"/>
                <a:gd name="T18" fmla="*/ 0 w 837"/>
                <a:gd name="T19" fmla="*/ 822 h 823"/>
                <a:gd name="T20" fmla="*/ 0 w 837"/>
                <a:gd name="T21" fmla="*/ 819 h 823"/>
                <a:gd name="T22" fmla="*/ 303 w 837"/>
                <a:gd name="T23" fmla="*/ 402 h 823"/>
                <a:gd name="T24" fmla="*/ 20 w 837"/>
                <a:gd name="T25" fmla="*/ 5 h 823"/>
                <a:gd name="T26" fmla="*/ 20 w 837"/>
                <a:gd name="T27" fmla="*/ 0 h 823"/>
                <a:gd name="T28" fmla="*/ 231 w 837"/>
                <a:gd name="T29" fmla="*/ 0 h 823"/>
                <a:gd name="T30" fmla="*/ 420 w 837"/>
                <a:gd name="T31" fmla="*/ 294 h 823"/>
                <a:gd name="T32" fmla="*/ 606 w 837"/>
                <a:gd name="T33"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7" h="823">
                  <a:moveTo>
                    <a:pt x="606" y="0"/>
                  </a:moveTo>
                  <a:lnTo>
                    <a:pt x="820" y="0"/>
                  </a:lnTo>
                  <a:lnTo>
                    <a:pt x="820" y="5"/>
                  </a:lnTo>
                  <a:lnTo>
                    <a:pt x="536" y="402"/>
                  </a:lnTo>
                  <a:lnTo>
                    <a:pt x="836" y="819"/>
                  </a:lnTo>
                  <a:lnTo>
                    <a:pt x="836" y="822"/>
                  </a:lnTo>
                  <a:lnTo>
                    <a:pt x="625" y="822"/>
                  </a:lnTo>
                  <a:lnTo>
                    <a:pt x="420" y="525"/>
                  </a:lnTo>
                  <a:lnTo>
                    <a:pt x="212" y="822"/>
                  </a:lnTo>
                  <a:lnTo>
                    <a:pt x="0" y="822"/>
                  </a:lnTo>
                  <a:lnTo>
                    <a:pt x="0" y="819"/>
                  </a:lnTo>
                  <a:lnTo>
                    <a:pt x="303" y="402"/>
                  </a:lnTo>
                  <a:lnTo>
                    <a:pt x="20" y="5"/>
                  </a:lnTo>
                  <a:lnTo>
                    <a:pt x="20" y="0"/>
                  </a:lnTo>
                  <a:lnTo>
                    <a:pt x="231" y="0"/>
                  </a:lnTo>
                  <a:lnTo>
                    <a:pt x="420" y="294"/>
                  </a:lnTo>
                  <a:lnTo>
                    <a:pt x="60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6" name="Freeform 11">
              <a:extLst>
                <a:ext uri="{FF2B5EF4-FFF2-40B4-BE49-F238E27FC236}">
                  <a16:creationId xmlns:a16="http://schemas.microsoft.com/office/drawing/2014/main" id="{1FA4FCD4-93A8-3246-B706-58B493FEB2BA}"/>
                </a:ext>
              </a:extLst>
            </p:cNvPr>
            <p:cNvSpPr>
              <a:spLocks noChangeArrowheads="1"/>
            </p:cNvSpPr>
            <p:nvPr userDrawn="1"/>
          </p:nvSpPr>
          <p:spPr bwMode="auto">
            <a:xfrm>
              <a:off x="5557838" y="3143250"/>
              <a:ext cx="323850" cy="439738"/>
            </a:xfrm>
            <a:custGeom>
              <a:avLst/>
              <a:gdLst>
                <a:gd name="T0" fmla="*/ 0 w 898"/>
                <a:gd name="T1" fmla="*/ 1221 h 1222"/>
                <a:gd name="T2" fmla="*/ 0 w 898"/>
                <a:gd name="T3" fmla="*/ 1221 h 1222"/>
                <a:gd name="T4" fmla="*/ 0 w 898"/>
                <a:gd name="T5" fmla="*/ 17 h 1222"/>
                <a:gd name="T6" fmla="*/ 164 w 898"/>
                <a:gd name="T7" fmla="*/ 17 h 1222"/>
                <a:gd name="T8" fmla="*/ 175 w 898"/>
                <a:gd name="T9" fmla="*/ 150 h 1222"/>
                <a:gd name="T10" fmla="*/ 306 w 898"/>
                <a:gd name="T11" fmla="*/ 36 h 1222"/>
                <a:gd name="T12" fmla="*/ 472 w 898"/>
                <a:gd name="T13" fmla="*/ 0 h 1222"/>
                <a:gd name="T14" fmla="*/ 645 w 898"/>
                <a:gd name="T15" fmla="*/ 33 h 1222"/>
                <a:gd name="T16" fmla="*/ 781 w 898"/>
                <a:gd name="T17" fmla="*/ 122 h 1222"/>
                <a:gd name="T18" fmla="*/ 867 w 898"/>
                <a:gd name="T19" fmla="*/ 256 h 1222"/>
                <a:gd name="T20" fmla="*/ 897 w 898"/>
                <a:gd name="T21" fmla="*/ 428 h 1222"/>
                <a:gd name="T22" fmla="*/ 867 w 898"/>
                <a:gd name="T23" fmla="*/ 600 h 1222"/>
                <a:gd name="T24" fmla="*/ 783 w 898"/>
                <a:gd name="T25" fmla="*/ 736 h 1222"/>
                <a:gd name="T26" fmla="*/ 650 w 898"/>
                <a:gd name="T27" fmla="*/ 828 h 1222"/>
                <a:gd name="T28" fmla="*/ 472 w 898"/>
                <a:gd name="T29" fmla="*/ 858 h 1222"/>
                <a:gd name="T30" fmla="*/ 392 w 898"/>
                <a:gd name="T31" fmla="*/ 850 h 1222"/>
                <a:gd name="T32" fmla="*/ 308 w 898"/>
                <a:gd name="T33" fmla="*/ 828 h 1222"/>
                <a:gd name="T34" fmla="*/ 233 w 898"/>
                <a:gd name="T35" fmla="*/ 786 h 1222"/>
                <a:gd name="T36" fmla="*/ 175 w 898"/>
                <a:gd name="T37" fmla="*/ 719 h 1222"/>
                <a:gd name="T38" fmla="*/ 175 w 898"/>
                <a:gd name="T39" fmla="*/ 1221 h 1222"/>
                <a:gd name="T40" fmla="*/ 0 w 898"/>
                <a:gd name="T41" fmla="*/ 1221 h 1222"/>
                <a:gd name="T42" fmla="*/ 456 w 898"/>
                <a:gd name="T43" fmla="*/ 692 h 1222"/>
                <a:gd name="T44" fmla="*/ 456 w 898"/>
                <a:gd name="T45" fmla="*/ 692 h 1222"/>
                <a:gd name="T46" fmla="*/ 561 w 898"/>
                <a:gd name="T47" fmla="*/ 672 h 1222"/>
                <a:gd name="T48" fmla="*/ 647 w 898"/>
                <a:gd name="T49" fmla="*/ 617 h 1222"/>
                <a:gd name="T50" fmla="*/ 703 w 898"/>
                <a:gd name="T51" fmla="*/ 536 h 1222"/>
                <a:gd name="T52" fmla="*/ 722 w 898"/>
                <a:gd name="T53" fmla="*/ 428 h 1222"/>
                <a:gd name="T54" fmla="*/ 650 w 898"/>
                <a:gd name="T55" fmla="*/ 239 h 1222"/>
                <a:gd name="T56" fmla="*/ 456 w 898"/>
                <a:gd name="T57" fmla="*/ 167 h 1222"/>
                <a:gd name="T58" fmla="*/ 345 w 898"/>
                <a:gd name="T59" fmla="*/ 186 h 1222"/>
                <a:gd name="T60" fmla="*/ 261 w 898"/>
                <a:gd name="T61" fmla="*/ 242 h 1222"/>
                <a:gd name="T62" fmla="*/ 208 w 898"/>
                <a:gd name="T63" fmla="*/ 325 h 1222"/>
                <a:gd name="T64" fmla="*/ 192 w 898"/>
                <a:gd name="T65" fmla="*/ 428 h 1222"/>
                <a:gd name="T66" fmla="*/ 211 w 898"/>
                <a:gd name="T67" fmla="*/ 530 h 1222"/>
                <a:gd name="T68" fmla="*/ 264 w 898"/>
                <a:gd name="T69" fmla="*/ 617 h 1222"/>
                <a:gd name="T70" fmla="*/ 347 w 898"/>
                <a:gd name="T71" fmla="*/ 672 h 1222"/>
                <a:gd name="T72" fmla="*/ 456 w 898"/>
                <a:gd name="T73" fmla="*/ 69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8" h="1222">
                  <a:moveTo>
                    <a:pt x="0" y="1221"/>
                  </a:moveTo>
                  <a:lnTo>
                    <a:pt x="0" y="1221"/>
                  </a:lnTo>
                  <a:cubicBezTo>
                    <a:pt x="0" y="17"/>
                    <a:pt x="0" y="17"/>
                    <a:pt x="0" y="17"/>
                  </a:cubicBezTo>
                  <a:cubicBezTo>
                    <a:pt x="164" y="17"/>
                    <a:pt x="164" y="17"/>
                    <a:pt x="164" y="17"/>
                  </a:cubicBezTo>
                  <a:cubicBezTo>
                    <a:pt x="175" y="150"/>
                    <a:pt x="175" y="150"/>
                    <a:pt x="175" y="150"/>
                  </a:cubicBezTo>
                  <a:cubicBezTo>
                    <a:pt x="208" y="100"/>
                    <a:pt x="253" y="61"/>
                    <a:pt x="306" y="36"/>
                  </a:cubicBezTo>
                  <a:cubicBezTo>
                    <a:pt x="361" y="11"/>
                    <a:pt x="417" y="0"/>
                    <a:pt x="472" y="0"/>
                  </a:cubicBezTo>
                  <a:cubicBezTo>
                    <a:pt x="536" y="0"/>
                    <a:pt x="592" y="11"/>
                    <a:pt x="645" y="33"/>
                  </a:cubicBezTo>
                  <a:cubicBezTo>
                    <a:pt x="697" y="53"/>
                    <a:pt x="742" y="83"/>
                    <a:pt x="781" y="122"/>
                  </a:cubicBezTo>
                  <a:cubicBezTo>
                    <a:pt x="817" y="158"/>
                    <a:pt x="847" y="206"/>
                    <a:pt x="867" y="256"/>
                  </a:cubicBezTo>
                  <a:cubicBezTo>
                    <a:pt x="886" y="308"/>
                    <a:pt x="897" y="367"/>
                    <a:pt x="897" y="428"/>
                  </a:cubicBezTo>
                  <a:cubicBezTo>
                    <a:pt x="897" y="492"/>
                    <a:pt x="886" y="550"/>
                    <a:pt x="867" y="600"/>
                  </a:cubicBezTo>
                  <a:cubicBezTo>
                    <a:pt x="847" y="653"/>
                    <a:pt x="820" y="700"/>
                    <a:pt x="783" y="736"/>
                  </a:cubicBezTo>
                  <a:cubicBezTo>
                    <a:pt x="747" y="775"/>
                    <a:pt x="703" y="805"/>
                    <a:pt x="650" y="828"/>
                  </a:cubicBezTo>
                  <a:cubicBezTo>
                    <a:pt x="597" y="847"/>
                    <a:pt x="536" y="858"/>
                    <a:pt x="472" y="858"/>
                  </a:cubicBezTo>
                  <a:cubicBezTo>
                    <a:pt x="447" y="858"/>
                    <a:pt x="420" y="856"/>
                    <a:pt x="392" y="850"/>
                  </a:cubicBezTo>
                  <a:cubicBezTo>
                    <a:pt x="364" y="847"/>
                    <a:pt x="336" y="839"/>
                    <a:pt x="308" y="828"/>
                  </a:cubicBezTo>
                  <a:cubicBezTo>
                    <a:pt x="283" y="817"/>
                    <a:pt x="258" y="803"/>
                    <a:pt x="233" y="786"/>
                  </a:cubicBezTo>
                  <a:cubicBezTo>
                    <a:pt x="211" y="767"/>
                    <a:pt x="192" y="744"/>
                    <a:pt x="175" y="719"/>
                  </a:cubicBezTo>
                  <a:cubicBezTo>
                    <a:pt x="175" y="1221"/>
                    <a:pt x="175" y="1221"/>
                    <a:pt x="175" y="1221"/>
                  </a:cubicBezTo>
                  <a:lnTo>
                    <a:pt x="0" y="1221"/>
                  </a:lnTo>
                  <a:close/>
                  <a:moveTo>
                    <a:pt x="456" y="692"/>
                  </a:moveTo>
                  <a:lnTo>
                    <a:pt x="456" y="692"/>
                  </a:lnTo>
                  <a:cubicBezTo>
                    <a:pt x="495" y="692"/>
                    <a:pt x="531" y="686"/>
                    <a:pt x="561" y="672"/>
                  </a:cubicBezTo>
                  <a:cubicBezTo>
                    <a:pt x="595" y="658"/>
                    <a:pt x="622" y="642"/>
                    <a:pt x="647" y="617"/>
                  </a:cubicBezTo>
                  <a:cubicBezTo>
                    <a:pt x="669" y="594"/>
                    <a:pt x="689" y="567"/>
                    <a:pt x="703" y="536"/>
                  </a:cubicBezTo>
                  <a:cubicBezTo>
                    <a:pt x="714" y="503"/>
                    <a:pt x="722" y="467"/>
                    <a:pt x="722" y="428"/>
                  </a:cubicBezTo>
                  <a:cubicBezTo>
                    <a:pt x="722" y="350"/>
                    <a:pt x="697" y="289"/>
                    <a:pt x="650" y="239"/>
                  </a:cubicBezTo>
                  <a:cubicBezTo>
                    <a:pt x="600" y="192"/>
                    <a:pt x="536" y="167"/>
                    <a:pt x="456" y="167"/>
                  </a:cubicBezTo>
                  <a:cubicBezTo>
                    <a:pt x="414" y="167"/>
                    <a:pt x="378" y="172"/>
                    <a:pt x="345" y="186"/>
                  </a:cubicBezTo>
                  <a:cubicBezTo>
                    <a:pt x="314" y="200"/>
                    <a:pt x="286" y="219"/>
                    <a:pt x="261" y="242"/>
                  </a:cubicBezTo>
                  <a:cubicBezTo>
                    <a:pt x="239" y="267"/>
                    <a:pt x="222" y="294"/>
                    <a:pt x="208" y="325"/>
                  </a:cubicBezTo>
                  <a:cubicBezTo>
                    <a:pt x="197" y="358"/>
                    <a:pt x="192" y="392"/>
                    <a:pt x="192" y="428"/>
                  </a:cubicBezTo>
                  <a:cubicBezTo>
                    <a:pt x="192" y="467"/>
                    <a:pt x="197" y="500"/>
                    <a:pt x="211" y="530"/>
                  </a:cubicBezTo>
                  <a:cubicBezTo>
                    <a:pt x="222" y="564"/>
                    <a:pt x="242" y="592"/>
                    <a:pt x="264" y="617"/>
                  </a:cubicBezTo>
                  <a:cubicBezTo>
                    <a:pt x="289" y="639"/>
                    <a:pt x="317" y="658"/>
                    <a:pt x="347" y="672"/>
                  </a:cubicBezTo>
                  <a:cubicBezTo>
                    <a:pt x="381" y="683"/>
                    <a:pt x="417" y="692"/>
                    <a:pt x="456" y="69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7" name="Freeform 12">
              <a:extLst>
                <a:ext uri="{FF2B5EF4-FFF2-40B4-BE49-F238E27FC236}">
                  <a16:creationId xmlns:a16="http://schemas.microsoft.com/office/drawing/2014/main" id="{33E4AC28-A134-0B46-AA3B-AB29AD8A105D}"/>
                </a:ext>
              </a:extLst>
            </p:cNvPr>
            <p:cNvSpPr>
              <a:spLocks noChangeArrowheads="1"/>
            </p:cNvSpPr>
            <p:nvPr userDrawn="1"/>
          </p:nvSpPr>
          <p:spPr bwMode="auto">
            <a:xfrm>
              <a:off x="5929313" y="3141663"/>
              <a:ext cx="315912" cy="312737"/>
            </a:xfrm>
            <a:custGeom>
              <a:avLst/>
              <a:gdLst>
                <a:gd name="T0" fmla="*/ 867 w 876"/>
                <a:gd name="T1" fmla="*/ 498 h 868"/>
                <a:gd name="T2" fmla="*/ 867 w 876"/>
                <a:gd name="T3" fmla="*/ 498 h 868"/>
                <a:gd name="T4" fmla="*/ 184 w 876"/>
                <a:gd name="T5" fmla="*/ 498 h 868"/>
                <a:gd name="T6" fmla="*/ 270 w 876"/>
                <a:gd name="T7" fmla="*/ 650 h 868"/>
                <a:gd name="T8" fmla="*/ 459 w 876"/>
                <a:gd name="T9" fmla="*/ 706 h 868"/>
                <a:gd name="T10" fmla="*/ 595 w 876"/>
                <a:gd name="T11" fmla="*/ 684 h 868"/>
                <a:gd name="T12" fmla="*/ 703 w 876"/>
                <a:gd name="T13" fmla="*/ 617 h 868"/>
                <a:gd name="T14" fmla="*/ 817 w 876"/>
                <a:gd name="T15" fmla="*/ 725 h 868"/>
                <a:gd name="T16" fmla="*/ 742 w 876"/>
                <a:gd name="T17" fmla="*/ 786 h 868"/>
                <a:gd name="T18" fmla="*/ 653 w 876"/>
                <a:gd name="T19" fmla="*/ 831 h 868"/>
                <a:gd name="T20" fmla="*/ 553 w 876"/>
                <a:gd name="T21" fmla="*/ 859 h 868"/>
                <a:gd name="T22" fmla="*/ 456 w 876"/>
                <a:gd name="T23" fmla="*/ 867 h 868"/>
                <a:gd name="T24" fmla="*/ 267 w 876"/>
                <a:gd name="T25" fmla="*/ 836 h 868"/>
                <a:gd name="T26" fmla="*/ 125 w 876"/>
                <a:gd name="T27" fmla="*/ 748 h 868"/>
                <a:gd name="T28" fmla="*/ 34 w 876"/>
                <a:gd name="T29" fmla="*/ 609 h 868"/>
                <a:gd name="T30" fmla="*/ 0 w 876"/>
                <a:gd name="T31" fmla="*/ 431 h 868"/>
                <a:gd name="T32" fmla="*/ 34 w 876"/>
                <a:gd name="T33" fmla="*/ 256 h 868"/>
                <a:gd name="T34" fmla="*/ 125 w 876"/>
                <a:gd name="T35" fmla="*/ 120 h 868"/>
                <a:gd name="T36" fmla="*/ 264 w 876"/>
                <a:gd name="T37" fmla="*/ 31 h 868"/>
                <a:gd name="T38" fmla="*/ 442 w 876"/>
                <a:gd name="T39" fmla="*/ 0 h 868"/>
                <a:gd name="T40" fmla="*/ 628 w 876"/>
                <a:gd name="T41" fmla="*/ 31 h 868"/>
                <a:gd name="T42" fmla="*/ 770 w 876"/>
                <a:gd name="T43" fmla="*/ 125 h 868"/>
                <a:gd name="T44" fmla="*/ 853 w 876"/>
                <a:gd name="T45" fmla="*/ 278 h 868"/>
                <a:gd name="T46" fmla="*/ 867 w 876"/>
                <a:gd name="T47" fmla="*/ 498 h 868"/>
                <a:gd name="T48" fmla="*/ 186 w 876"/>
                <a:gd name="T49" fmla="*/ 353 h 868"/>
                <a:gd name="T50" fmla="*/ 186 w 876"/>
                <a:gd name="T51" fmla="*/ 353 h 868"/>
                <a:gd name="T52" fmla="*/ 698 w 876"/>
                <a:gd name="T53" fmla="*/ 353 h 868"/>
                <a:gd name="T54" fmla="*/ 623 w 876"/>
                <a:gd name="T55" fmla="*/ 203 h 868"/>
                <a:gd name="T56" fmla="*/ 448 w 876"/>
                <a:gd name="T57" fmla="*/ 153 h 868"/>
                <a:gd name="T58" fmla="*/ 278 w 876"/>
                <a:gd name="T59" fmla="*/ 203 h 868"/>
                <a:gd name="T60" fmla="*/ 186 w 876"/>
                <a:gd name="T61" fmla="*/ 353 h 868"/>
                <a:gd name="T62" fmla="*/ 867 w 876"/>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8">
                  <a:moveTo>
                    <a:pt x="867" y="498"/>
                  </a:moveTo>
                  <a:lnTo>
                    <a:pt x="867" y="498"/>
                  </a:lnTo>
                  <a:cubicBezTo>
                    <a:pt x="184" y="498"/>
                    <a:pt x="184" y="498"/>
                    <a:pt x="184" y="498"/>
                  </a:cubicBezTo>
                  <a:cubicBezTo>
                    <a:pt x="192" y="562"/>
                    <a:pt x="220" y="611"/>
                    <a:pt x="270" y="650"/>
                  </a:cubicBezTo>
                  <a:cubicBezTo>
                    <a:pt x="317" y="686"/>
                    <a:pt x="381" y="706"/>
                    <a:pt x="459" y="706"/>
                  </a:cubicBezTo>
                  <a:cubicBezTo>
                    <a:pt x="503" y="706"/>
                    <a:pt x="547" y="698"/>
                    <a:pt x="595" y="684"/>
                  </a:cubicBezTo>
                  <a:cubicBezTo>
                    <a:pt x="639" y="667"/>
                    <a:pt x="675" y="645"/>
                    <a:pt x="703" y="617"/>
                  </a:cubicBezTo>
                  <a:cubicBezTo>
                    <a:pt x="817" y="725"/>
                    <a:pt x="817" y="725"/>
                    <a:pt x="817" y="725"/>
                  </a:cubicBezTo>
                  <a:cubicBezTo>
                    <a:pt x="795" y="750"/>
                    <a:pt x="770" y="770"/>
                    <a:pt x="742" y="786"/>
                  </a:cubicBezTo>
                  <a:cubicBezTo>
                    <a:pt x="714" y="806"/>
                    <a:pt x="684" y="820"/>
                    <a:pt x="653" y="831"/>
                  </a:cubicBezTo>
                  <a:cubicBezTo>
                    <a:pt x="620" y="845"/>
                    <a:pt x="589" y="853"/>
                    <a:pt x="553" y="859"/>
                  </a:cubicBezTo>
                  <a:cubicBezTo>
                    <a:pt x="520" y="864"/>
                    <a:pt x="486" y="867"/>
                    <a:pt x="456" y="867"/>
                  </a:cubicBezTo>
                  <a:cubicBezTo>
                    <a:pt x="386" y="867"/>
                    <a:pt x="323" y="856"/>
                    <a:pt x="267" y="836"/>
                  </a:cubicBezTo>
                  <a:cubicBezTo>
                    <a:pt x="211" y="814"/>
                    <a:pt x="164" y="786"/>
                    <a:pt x="125" y="748"/>
                  </a:cubicBezTo>
                  <a:cubicBezTo>
                    <a:pt x="86" y="709"/>
                    <a:pt x="56" y="664"/>
                    <a:pt x="34" y="609"/>
                  </a:cubicBezTo>
                  <a:cubicBezTo>
                    <a:pt x="11" y="556"/>
                    <a:pt x="0" y="495"/>
                    <a:pt x="0" y="431"/>
                  </a:cubicBezTo>
                  <a:cubicBezTo>
                    <a:pt x="0" y="367"/>
                    <a:pt x="11" y="309"/>
                    <a:pt x="34" y="256"/>
                  </a:cubicBezTo>
                  <a:cubicBezTo>
                    <a:pt x="56" y="203"/>
                    <a:pt x="86" y="159"/>
                    <a:pt x="125" y="120"/>
                  </a:cubicBezTo>
                  <a:cubicBezTo>
                    <a:pt x="161" y="84"/>
                    <a:pt x="209" y="53"/>
                    <a:pt x="264" y="31"/>
                  </a:cubicBezTo>
                  <a:cubicBezTo>
                    <a:pt x="317" y="12"/>
                    <a:pt x="378" y="0"/>
                    <a:pt x="442" y="0"/>
                  </a:cubicBezTo>
                  <a:cubicBezTo>
                    <a:pt x="511" y="0"/>
                    <a:pt x="573" y="12"/>
                    <a:pt x="628" y="31"/>
                  </a:cubicBezTo>
                  <a:cubicBezTo>
                    <a:pt x="684" y="53"/>
                    <a:pt x="731" y="84"/>
                    <a:pt x="770" y="125"/>
                  </a:cubicBezTo>
                  <a:cubicBezTo>
                    <a:pt x="806" y="164"/>
                    <a:pt x="834" y="217"/>
                    <a:pt x="853" y="278"/>
                  </a:cubicBezTo>
                  <a:cubicBezTo>
                    <a:pt x="870" y="342"/>
                    <a:pt x="875" y="414"/>
                    <a:pt x="867" y="498"/>
                  </a:cubicBezTo>
                  <a:lnTo>
                    <a:pt x="186" y="353"/>
                  </a:lnTo>
                  <a:lnTo>
                    <a:pt x="186" y="353"/>
                  </a:lnTo>
                  <a:cubicBezTo>
                    <a:pt x="698" y="353"/>
                    <a:pt x="698" y="353"/>
                    <a:pt x="698" y="353"/>
                  </a:cubicBezTo>
                  <a:cubicBezTo>
                    <a:pt x="692" y="287"/>
                    <a:pt x="667" y="236"/>
                    <a:pt x="623" y="203"/>
                  </a:cubicBezTo>
                  <a:cubicBezTo>
                    <a:pt x="578" y="170"/>
                    <a:pt x="520" y="153"/>
                    <a:pt x="448" y="153"/>
                  </a:cubicBezTo>
                  <a:cubicBezTo>
                    <a:pt x="384" y="153"/>
                    <a:pt x="328" y="170"/>
                    <a:pt x="278" y="203"/>
                  </a:cubicBezTo>
                  <a:cubicBezTo>
                    <a:pt x="231" y="236"/>
                    <a:pt x="200" y="287"/>
                    <a:pt x="186" y="353"/>
                  </a:cubicBezTo>
                  <a:lnTo>
                    <a:pt x="867"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8" name="Freeform 13">
              <a:extLst>
                <a:ext uri="{FF2B5EF4-FFF2-40B4-BE49-F238E27FC236}">
                  <a16:creationId xmlns:a16="http://schemas.microsoft.com/office/drawing/2014/main" id="{FA7361DA-F0AF-DF4E-885B-5D4D1101961D}"/>
                </a:ext>
              </a:extLst>
            </p:cNvPr>
            <p:cNvSpPr>
              <a:spLocks noChangeArrowheads="1"/>
            </p:cNvSpPr>
            <p:nvPr userDrawn="1"/>
          </p:nvSpPr>
          <p:spPr bwMode="auto">
            <a:xfrm>
              <a:off x="6305550" y="3141663"/>
              <a:ext cx="228600" cy="303212"/>
            </a:xfrm>
            <a:custGeom>
              <a:avLst/>
              <a:gdLst>
                <a:gd name="T0" fmla="*/ 164 w 634"/>
                <a:gd name="T1" fmla="*/ 20 h 843"/>
                <a:gd name="T2" fmla="*/ 164 w 634"/>
                <a:gd name="T3" fmla="*/ 20 h 843"/>
                <a:gd name="T4" fmla="*/ 177 w 634"/>
                <a:gd name="T5" fmla="*/ 128 h 843"/>
                <a:gd name="T6" fmla="*/ 289 w 634"/>
                <a:gd name="T7" fmla="*/ 25 h 843"/>
                <a:gd name="T8" fmla="*/ 425 w 634"/>
                <a:gd name="T9" fmla="*/ 0 h 843"/>
                <a:gd name="T10" fmla="*/ 541 w 634"/>
                <a:gd name="T11" fmla="*/ 20 h 843"/>
                <a:gd name="T12" fmla="*/ 633 w 634"/>
                <a:gd name="T13" fmla="*/ 70 h 843"/>
                <a:gd name="T14" fmla="*/ 552 w 634"/>
                <a:gd name="T15" fmla="*/ 222 h 843"/>
                <a:gd name="T16" fmla="*/ 486 w 634"/>
                <a:gd name="T17" fmla="*/ 184 h 843"/>
                <a:gd name="T18" fmla="*/ 405 w 634"/>
                <a:gd name="T19" fmla="*/ 172 h 843"/>
                <a:gd name="T20" fmla="*/ 316 w 634"/>
                <a:gd name="T21" fmla="*/ 186 h 843"/>
                <a:gd name="T22" fmla="*/ 244 w 634"/>
                <a:gd name="T23" fmla="*/ 228 h 843"/>
                <a:gd name="T24" fmla="*/ 197 w 634"/>
                <a:gd name="T25" fmla="*/ 297 h 843"/>
                <a:gd name="T26" fmla="*/ 177 w 634"/>
                <a:gd name="T27" fmla="*/ 397 h 843"/>
                <a:gd name="T28" fmla="*/ 177 w 634"/>
                <a:gd name="T29" fmla="*/ 842 h 843"/>
                <a:gd name="T30" fmla="*/ 0 w 634"/>
                <a:gd name="T31" fmla="*/ 842 h 843"/>
                <a:gd name="T32" fmla="*/ 0 w 634"/>
                <a:gd name="T33" fmla="*/ 20 h 843"/>
                <a:gd name="T34" fmla="*/ 164 w 634"/>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4" h="843">
                  <a:moveTo>
                    <a:pt x="164" y="20"/>
                  </a:moveTo>
                  <a:lnTo>
                    <a:pt x="164" y="20"/>
                  </a:lnTo>
                  <a:cubicBezTo>
                    <a:pt x="177" y="128"/>
                    <a:pt x="177" y="128"/>
                    <a:pt x="177" y="128"/>
                  </a:cubicBezTo>
                  <a:cubicBezTo>
                    <a:pt x="208" y="75"/>
                    <a:pt x="244" y="42"/>
                    <a:pt x="289" y="25"/>
                  </a:cubicBezTo>
                  <a:cubicBezTo>
                    <a:pt x="333" y="9"/>
                    <a:pt x="380" y="0"/>
                    <a:pt x="425" y="0"/>
                  </a:cubicBezTo>
                  <a:cubicBezTo>
                    <a:pt x="466" y="0"/>
                    <a:pt x="505" y="9"/>
                    <a:pt x="541" y="20"/>
                  </a:cubicBezTo>
                  <a:cubicBezTo>
                    <a:pt x="577" y="34"/>
                    <a:pt x="608" y="50"/>
                    <a:pt x="633" y="70"/>
                  </a:cubicBezTo>
                  <a:cubicBezTo>
                    <a:pt x="552" y="222"/>
                    <a:pt x="552" y="222"/>
                    <a:pt x="552" y="222"/>
                  </a:cubicBezTo>
                  <a:cubicBezTo>
                    <a:pt x="530" y="206"/>
                    <a:pt x="508" y="192"/>
                    <a:pt x="486" y="184"/>
                  </a:cubicBezTo>
                  <a:cubicBezTo>
                    <a:pt x="464" y="175"/>
                    <a:pt x="436" y="172"/>
                    <a:pt x="405" y="172"/>
                  </a:cubicBezTo>
                  <a:cubicBezTo>
                    <a:pt x="372" y="172"/>
                    <a:pt x="344" y="175"/>
                    <a:pt x="316" y="186"/>
                  </a:cubicBezTo>
                  <a:cubicBezTo>
                    <a:pt x="289" y="195"/>
                    <a:pt x="266" y="209"/>
                    <a:pt x="244" y="228"/>
                  </a:cubicBezTo>
                  <a:cubicBezTo>
                    <a:pt x="225" y="245"/>
                    <a:pt x="208" y="270"/>
                    <a:pt x="197" y="297"/>
                  </a:cubicBezTo>
                  <a:cubicBezTo>
                    <a:pt x="183" y="325"/>
                    <a:pt x="177" y="359"/>
                    <a:pt x="177" y="397"/>
                  </a:cubicBezTo>
                  <a:cubicBezTo>
                    <a:pt x="177" y="842"/>
                    <a:pt x="177" y="842"/>
                    <a:pt x="177" y="842"/>
                  </a:cubicBezTo>
                  <a:cubicBezTo>
                    <a:pt x="0" y="842"/>
                    <a:pt x="0" y="842"/>
                    <a:pt x="0" y="842"/>
                  </a:cubicBezTo>
                  <a:cubicBezTo>
                    <a:pt x="0" y="20"/>
                    <a:pt x="0" y="20"/>
                    <a:pt x="0" y="20"/>
                  </a:cubicBezTo>
                  <a:lnTo>
                    <a:pt x="164" y="2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9" name="Freeform 14">
              <a:extLst>
                <a:ext uri="{FF2B5EF4-FFF2-40B4-BE49-F238E27FC236}">
                  <a16:creationId xmlns:a16="http://schemas.microsoft.com/office/drawing/2014/main" id="{DE2665C9-6C4C-0B45-A1E7-64E5EA63F2BE}"/>
                </a:ext>
              </a:extLst>
            </p:cNvPr>
            <p:cNvSpPr>
              <a:spLocks noChangeArrowheads="1"/>
            </p:cNvSpPr>
            <p:nvPr userDrawn="1"/>
          </p:nvSpPr>
          <p:spPr bwMode="auto">
            <a:xfrm>
              <a:off x="6577013" y="3148013"/>
              <a:ext cx="63500" cy="296862"/>
            </a:xfrm>
            <a:custGeom>
              <a:avLst/>
              <a:gdLst>
                <a:gd name="T0" fmla="*/ 175 w 176"/>
                <a:gd name="T1" fmla="*/ 825 h 826"/>
                <a:gd name="T2" fmla="*/ 0 w 176"/>
                <a:gd name="T3" fmla="*/ 825 h 826"/>
                <a:gd name="T4" fmla="*/ 0 w 176"/>
                <a:gd name="T5" fmla="*/ 0 h 826"/>
                <a:gd name="T6" fmla="*/ 175 w 176"/>
                <a:gd name="T7" fmla="*/ 0 h 826"/>
                <a:gd name="T8" fmla="*/ 175 w 176"/>
                <a:gd name="T9" fmla="*/ 825 h 826"/>
              </a:gdLst>
              <a:ahLst/>
              <a:cxnLst>
                <a:cxn ang="0">
                  <a:pos x="T0" y="T1"/>
                </a:cxn>
                <a:cxn ang="0">
                  <a:pos x="T2" y="T3"/>
                </a:cxn>
                <a:cxn ang="0">
                  <a:pos x="T4" y="T5"/>
                </a:cxn>
                <a:cxn ang="0">
                  <a:pos x="T6" y="T7"/>
                </a:cxn>
                <a:cxn ang="0">
                  <a:pos x="T8" y="T9"/>
                </a:cxn>
              </a:cxnLst>
              <a:rect l="0" t="0" r="r" b="b"/>
              <a:pathLst>
                <a:path w="176" h="826">
                  <a:moveTo>
                    <a:pt x="175" y="825"/>
                  </a:moveTo>
                  <a:lnTo>
                    <a:pt x="0" y="825"/>
                  </a:lnTo>
                  <a:lnTo>
                    <a:pt x="0" y="0"/>
                  </a:lnTo>
                  <a:lnTo>
                    <a:pt x="175" y="0"/>
                  </a:lnTo>
                  <a:lnTo>
                    <a:pt x="175" y="82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0" name="Freeform 15">
              <a:extLst>
                <a:ext uri="{FF2B5EF4-FFF2-40B4-BE49-F238E27FC236}">
                  <a16:creationId xmlns:a16="http://schemas.microsoft.com/office/drawing/2014/main" id="{6E5F72FD-B4A8-F44C-B145-BBD9E932ED8A}"/>
                </a:ext>
              </a:extLst>
            </p:cNvPr>
            <p:cNvSpPr>
              <a:spLocks noChangeArrowheads="1"/>
            </p:cNvSpPr>
            <p:nvPr userDrawn="1"/>
          </p:nvSpPr>
          <p:spPr bwMode="auto">
            <a:xfrm>
              <a:off x="6707188" y="3141663"/>
              <a:ext cx="314325" cy="312737"/>
            </a:xfrm>
            <a:custGeom>
              <a:avLst/>
              <a:gdLst>
                <a:gd name="T0" fmla="*/ 864 w 873"/>
                <a:gd name="T1" fmla="*/ 498 h 868"/>
                <a:gd name="T2" fmla="*/ 864 w 873"/>
                <a:gd name="T3" fmla="*/ 498 h 868"/>
                <a:gd name="T4" fmla="*/ 184 w 873"/>
                <a:gd name="T5" fmla="*/ 498 h 868"/>
                <a:gd name="T6" fmla="*/ 267 w 873"/>
                <a:gd name="T7" fmla="*/ 650 h 868"/>
                <a:gd name="T8" fmla="*/ 459 w 873"/>
                <a:gd name="T9" fmla="*/ 706 h 868"/>
                <a:gd name="T10" fmla="*/ 592 w 873"/>
                <a:gd name="T11" fmla="*/ 684 h 868"/>
                <a:gd name="T12" fmla="*/ 700 w 873"/>
                <a:gd name="T13" fmla="*/ 617 h 868"/>
                <a:gd name="T14" fmla="*/ 817 w 873"/>
                <a:gd name="T15" fmla="*/ 725 h 868"/>
                <a:gd name="T16" fmla="*/ 742 w 873"/>
                <a:gd name="T17" fmla="*/ 786 h 868"/>
                <a:gd name="T18" fmla="*/ 650 w 873"/>
                <a:gd name="T19" fmla="*/ 831 h 868"/>
                <a:gd name="T20" fmla="*/ 553 w 873"/>
                <a:gd name="T21" fmla="*/ 859 h 868"/>
                <a:gd name="T22" fmla="*/ 453 w 873"/>
                <a:gd name="T23" fmla="*/ 867 h 868"/>
                <a:gd name="T24" fmla="*/ 267 w 873"/>
                <a:gd name="T25" fmla="*/ 836 h 868"/>
                <a:gd name="T26" fmla="*/ 123 w 873"/>
                <a:gd name="T27" fmla="*/ 748 h 868"/>
                <a:gd name="T28" fmla="*/ 34 w 873"/>
                <a:gd name="T29" fmla="*/ 609 h 868"/>
                <a:gd name="T30" fmla="*/ 0 w 873"/>
                <a:gd name="T31" fmla="*/ 431 h 868"/>
                <a:gd name="T32" fmla="*/ 34 w 873"/>
                <a:gd name="T33" fmla="*/ 256 h 868"/>
                <a:gd name="T34" fmla="*/ 123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7 w 873"/>
                <a:gd name="T53" fmla="*/ 353 h 868"/>
                <a:gd name="T54" fmla="*/ 622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4" y="498"/>
                    <a:pt x="184" y="498"/>
                    <a:pt x="184" y="498"/>
                  </a:cubicBezTo>
                  <a:cubicBezTo>
                    <a:pt x="189" y="562"/>
                    <a:pt x="220" y="611"/>
                    <a:pt x="267" y="650"/>
                  </a:cubicBezTo>
                  <a:cubicBezTo>
                    <a:pt x="317" y="686"/>
                    <a:pt x="381" y="706"/>
                    <a:pt x="459" y="706"/>
                  </a:cubicBezTo>
                  <a:cubicBezTo>
                    <a:pt x="500" y="706"/>
                    <a:pt x="545" y="698"/>
                    <a:pt x="592" y="684"/>
                  </a:cubicBezTo>
                  <a:cubicBezTo>
                    <a:pt x="639" y="667"/>
                    <a:pt x="675" y="645"/>
                    <a:pt x="700" y="617"/>
                  </a:cubicBezTo>
                  <a:cubicBezTo>
                    <a:pt x="817" y="725"/>
                    <a:pt x="817" y="725"/>
                    <a:pt x="817" y="725"/>
                  </a:cubicBezTo>
                  <a:cubicBezTo>
                    <a:pt x="795" y="750"/>
                    <a:pt x="770" y="770"/>
                    <a:pt x="742" y="786"/>
                  </a:cubicBezTo>
                  <a:cubicBezTo>
                    <a:pt x="711" y="806"/>
                    <a:pt x="684" y="820"/>
                    <a:pt x="650" y="831"/>
                  </a:cubicBezTo>
                  <a:cubicBezTo>
                    <a:pt x="620" y="845"/>
                    <a:pt x="586" y="853"/>
                    <a:pt x="553" y="859"/>
                  </a:cubicBezTo>
                  <a:cubicBezTo>
                    <a:pt x="520" y="864"/>
                    <a:pt x="486" y="867"/>
                    <a:pt x="453" y="867"/>
                  </a:cubicBezTo>
                  <a:cubicBezTo>
                    <a:pt x="384" y="867"/>
                    <a:pt x="322" y="856"/>
                    <a:pt x="267" y="836"/>
                  </a:cubicBezTo>
                  <a:cubicBezTo>
                    <a:pt x="211" y="814"/>
                    <a:pt x="164" y="786"/>
                    <a:pt x="123" y="748"/>
                  </a:cubicBezTo>
                  <a:cubicBezTo>
                    <a:pt x="84" y="709"/>
                    <a:pt x="53" y="664"/>
                    <a:pt x="34" y="609"/>
                  </a:cubicBezTo>
                  <a:cubicBezTo>
                    <a:pt x="11" y="556"/>
                    <a:pt x="0" y="495"/>
                    <a:pt x="0" y="431"/>
                  </a:cubicBezTo>
                  <a:cubicBezTo>
                    <a:pt x="0" y="367"/>
                    <a:pt x="11" y="309"/>
                    <a:pt x="34" y="256"/>
                  </a:cubicBezTo>
                  <a:cubicBezTo>
                    <a:pt x="53" y="203"/>
                    <a:pt x="84" y="159"/>
                    <a:pt x="123" y="120"/>
                  </a:cubicBezTo>
                  <a:cubicBezTo>
                    <a:pt x="161" y="84"/>
                    <a:pt x="209" y="53"/>
                    <a:pt x="261" y="31"/>
                  </a:cubicBezTo>
                  <a:cubicBezTo>
                    <a:pt x="317" y="12"/>
                    <a:pt x="375" y="0"/>
                    <a:pt x="442" y="0"/>
                  </a:cubicBezTo>
                  <a:cubicBezTo>
                    <a:pt x="511" y="0"/>
                    <a:pt x="572" y="12"/>
                    <a:pt x="628" y="31"/>
                  </a:cubicBezTo>
                  <a:cubicBezTo>
                    <a:pt x="684" y="53"/>
                    <a:pt x="728" y="84"/>
                    <a:pt x="767" y="125"/>
                  </a:cubicBezTo>
                  <a:cubicBezTo>
                    <a:pt x="806" y="164"/>
                    <a:pt x="834" y="217"/>
                    <a:pt x="850" y="278"/>
                  </a:cubicBezTo>
                  <a:cubicBezTo>
                    <a:pt x="870" y="342"/>
                    <a:pt x="872" y="414"/>
                    <a:pt x="864" y="498"/>
                  </a:cubicBezTo>
                  <a:lnTo>
                    <a:pt x="186" y="353"/>
                  </a:lnTo>
                  <a:lnTo>
                    <a:pt x="186" y="353"/>
                  </a:lnTo>
                  <a:cubicBezTo>
                    <a:pt x="697" y="353"/>
                    <a:pt x="697" y="353"/>
                    <a:pt x="697" y="353"/>
                  </a:cubicBezTo>
                  <a:cubicBezTo>
                    <a:pt x="692" y="287"/>
                    <a:pt x="667" y="236"/>
                    <a:pt x="622" y="203"/>
                  </a:cubicBezTo>
                  <a:cubicBezTo>
                    <a:pt x="578" y="170"/>
                    <a:pt x="520" y="153"/>
                    <a:pt x="447" y="153"/>
                  </a:cubicBezTo>
                  <a:cubicBezTo>
                    <a:pt x="384" y="153"/>
                    <a:pt x="325" y="170"/>
                    <a:pt x="278" y="203"/>
                  </a:cubicBezTo>
                  <a:cubicBezTo>
                    <a:pt x="231" y="236"/>
                    <a:pt x="200" y="287"/>
                    <a:pt x="186" y="353"/>
                  </a:cubicBezTo>
                  <a:lnTo>
                    <a:pt x="864"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1" name="Freeform 16">
              <a:extLst>
                <a:ext uri="{FF2B5EF4-FFF2-40B4-BE49-F238E27FC236}">
                  <a16:creationId xmlns:a16="http://schemas.microsoft.com/office/drawing/2014/main" id="{E68B19F8-EC5E-F64D-B8B3-AFC26CC763F7}"/>
                </a:ext>
              </a:extLst>
            </p:cNvPr>
            <p:cNvSpPr>
              <a:spLocks noChangeArrowheads="1"/>
            </p:cNvSpPr>
            <p:nvPr userDrawn="1"/>
          </p:nvSpPr>
          <p:spPr bwMode="auto">
            <a:xfrm>
              <a:off x="7083425" y="3144838"/>
              <a:ext cx="293688" cy="301625"/>
            </a:xfrm>
            <a:custGeom>
              <a:avLst/>
              <a:gdLst>
                <a:gd name="T0" fmla="*/ 638 w 817"/>
                <a:gd name="T1" fmla="*/ 836 h 837"/>
                <a:gd name="T2" fmla="*/ 638 w 817"/>
                <a:gd name="T3" fmla="*/ 836 h 837"/>
                <a:gd name="T4" fmla="*/ 638 w 817"/>
                <a:gd name="T5" fmla="*/ 397 h 837"/>
                <a:gd name="T6" fmla="*/ 580 w 817"/>
                <a:gd name="T7" fmla="*/ 225 h 837"/>
                <a:gd name="T8" fmla="*/ 411 w 817"/>
                <a:gd name="T9" fmla="*/ 161 h 837"/>
                <a:gd name="T10" fmla="*/ 313 w 817"/>
                <a:gd name="T11" fmla="*/ 180 h 837"/>
                <a:gd name="T12" fmla="*/ 241 w 817"/>
                <a:gd name="T13" fmla="*/ 233 h 837"/>
                <a:gd name="T14" fmla="*/ 194 w 817"/>
                <a:gd name="T15" fmla="*/ 311 h 837"/>
                <a:gd name="T16" fmla="*/ 175 w 817"/>
                <a:gd name="T17" fmla="*/ 408 h 837"/>
                <a:gd name="T18" fmla="*/ 175 w 817"/>
                <a:gd name="T19" fmla="*/ 836 h 837"/>
                <a:gd name="T20" fmla="*/ 0 w 817"/>
                <a:gd name="T21" fmla="*/ 836 h 837"/>
                <a:gd name="T22" fmla="*/ 0 w 817"/>
                <a:gd name="T23" fmla="*/ 11 h 837"/>
                <a:gd name="T24" fmla="*/ 161 w 817"/>
                <a:gd name="T25" fmla="*/ 11 h 837"/>
                <a:gd name="T26" fmla="*/ 172 w 817"/>
                <a:gd name="T27" fmla="*/ 133 h 837"/>
                <a:gd name="T28" fmla="*/ 455 w 817"/>
                <a:gd name="T29" fmla="*/ 0 h 837"/>
                <a:gd name="T30" fmla="*/ 597 w 817"/>
                <a:gd name="T31" fmla="*/ 25 h 837"/>
                <a:gd name="T32" fmla="*/ 711 w 817"/>
                <a:gd name="T33" fmla="*/ 103 h 837"/>
                <a:gd name="T34" fmla="*/ 788 w 817"/>
                <a:gd name="T35" fmla="*/ 225 h 837"/>
                <a:gd name="T36" fmla="*/ 816 w 817"/>
                <a:gd name="T37" fmla="*/ 394 h 837"/>
                <a:gd name="T38" fmla="*/ 816 w 817"/>
                <a:gd name="T39" fmla="*/ 836 h 837"/>
                <a:gd name="T40" fmla="*/ 638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8" y="836"/>
                  </a:moveTo>
                  <a:lnTo>
                    <a:pt x="638" y="836"/>
                  </a:lnTo>
                  <a:cubicBezTo>
                    <a:pt x="638" y="397"/>
                    <a:pt x="638" y="397"/>
                    <a:pt x="638" y="397"/>
                  </a:cubicBezTo>
                  <a:cubicBezTo>
                    <a:pt x="638" y="325"/>
                    <a:pt x="619" y="269"/>
                    <a:pt x="580" y="225"/>
                  </a:cubicBezTo>
                  <a:cubicBezTo>
                    <a:pt x="541" y="183"/>
                    <a:pt x="483" y="161"/>
                    <a:pt x="411" y="161"/>
                  </a:cubicBezTo>
                  <a:cubicBezTo>
                    <a:pt x="375" y="161"/>
                    <a:pt x="344" y="166"/>
                    <a:pt x="313" y="180"/>
                  </a:cubicBezTo>
                  <a:cubicBezTo>
                    <a:pt x="286" y="191"/>
                    <a:pt x="261" y="211"/>
                    <a:pt x="241" y="233"/>
                  </a:cubicBezTo>
                  <a:cubicBezTo>
                    <a:pt x="219" y="255"/>
                    <a:pt x="205" y="283"/>
                    <a:pt x="194" y="311"/>
                  </a:cubicBezTo>
                  <a:cubicBezTo>
                    <a:pt x="180" y="341"/>
                    <a:pt x="175" y="375"/>
                    <a:pt x="175" y="408"/>
                  </a:cubicBezTo>
                  <a:cubicBezTo>
                    <a:pt x="175" y="836"/>
                    <a:pt x="175" y="836"/>
                    <a:pt x="175" y="836"/>
                  </a:cubicBezTo>
                  <a:cubicBezTo>
                    <a:pt x="0" y="836"/>
                    <a:pt x="0" y="836"/>
                    <a:pt x="0" y="836"/>
                  </a:cubicBezTo>
                  <a:cubicBezTo>
                    <a:pt x="0" y="11"/>
                    <a:pt x="0" y="11"/>
                    <a:pt x="0" y="11"/>
                  </a:cubicBezTo>
                  <a:cubicBezTo>
                    <a:pt x="161" y="11"/>
                    <a:pt x="161" y="11"/>
                    <a:pt x="161" y="11"/>
                  </a:cubicBezTo>
                  <a:cubicBezTo>
                    <a:pt x="172" y="133"/>
                    <a:pt x="172" y="133"/>
                    <a:pt x="172" y="133"/>
                  </a:cubicBezTo>
                  <a:cubicBezTo>
                    <a:pt x="250" y="44"/>
                    <a:pt x="344" y="0"/>
                    <a:pt x="455" y="0"/>
                  </a:cubicBezTo>
                  <a:cubicBezTo>
                    <a:pt x="505" y="0"/>
                    <a:pt x="552" y="8"/>
                    <a:pt x="597" y="25"/>
                  </a:cubicBezTo>
                  <a:cubicBezTo>
                    <a:pt x="641" y="44"/>
                    <a:pt x="677" y="69"/>
                    <a:pt x="711" y="103"/>
                  </a:cubicBezTo>
                  <a:cubicBezTo>
                    <a:pt x="744" y="136"/>
                    <a:pt x="769" y="178"/>
                    <a:pt x="788" y="225"/>
                  </a:cubicBezTo>
                  <a:cubicBezTo>
                    <a:pt x="808" y="275"/>
                    <a:pt x="816" y="330"/>
                    <a:pt x="816" y="394"/>
                  </a:cubicBezTo>
                  <a:cubicBezTo>
                    <a:pt x="816" y="836"/>
                    <a:pt x="816" y="836"/>
                    <a:pt x="816" y="836"/>
                  </a:cubicBezTo>
                  <a:lnTo>
                    <a:pt x="638" y="83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2" name="Freeform 17">
              <a:extLst>
                <a:ext uri="{FF2B5EF4-FFF2-40B4-BE49-F238E27FC236}">
                  <a16:creationId xmlns:a16="http://schemas.microsoft.com/office/drawing/2014/main" id="{E1520FE7-89A8-F341-BD92-1CCB919E9C80}"/>
                </a:ext>
              </a:extLst>
            </p:cNvPr>
            <p:cNvSpPr>
              <a:spLocks noChangeArrowheads="1"/>
            </p:cNvSpPr>
            <p:nvPr userDrawn="1"/>
          </p:nvSpPr>
          <p:spPr bwMode="auto">
            <a:xfrm>
              <a:off x="7440613" y="3141663"/>
              <a:ext cx="274637" cy="311150"/>
            </a:xfrm>
            <a:custGeom>
              <a:avLst/>
              <a:gdLst>
                <a:gd name="T0" fmla="*/ 761 w 762"/>
                <a:gd name="T1" fmla="*/ 736 h 865"/>
                <a:gd name="T2" fmla="*/ 761 w 762"/>
                <a:gd name="T3" fmla="*/ 736 h 865"/>
                <a:gd name="T4" fmla="*/ 614 w 762"/>
                <a:gd name="T5" fmla="*/ 833 h 865"/>
                <a:gd name="T6" fmla="*/ 442 w 762"/>
                <a:gd name="T7" fmla="*/ 864 h 865"/>
                <a:gd name="T8" fmla="*/ 272 w 762"/>
                <a:gd name="T9" fmla="*/ 836 h 865"/>
                <a:gd name="T10" fmla="*/ 131 w 762"/>
                <a:gd name="T11" fmla="*/ 756 h 865"/>
                <a:gd name="T12" fmla="*/ 34 w 762"/>
                <a:gd name="T13" fmla="*/ 620 h 865"/>
                <a:gd name="T14" fmla="*/ 0 w 762"/>
                <a:gd name="T15" fmla="*/ 431 h 865"/>
                <a:gd name="T16" fmla="*/ 34 w 762"/>
                <a:gd name="T17" fmla="*/ 245 h 865"/>
                <a:gd name="T18" fmla="*/ 131 w 762"/>
                <a:gd name="T19" fmla="*/ 109 h 865"/>
                <a:gd name="T20" fmla="*/ 270 w 762"/>
                <a:gd name="T21" fmla="*/ 28 h 865"/>
                <a:gd name="T22" fmla="*/ 442 w 762"/>
                <a:gd name="T23" fmla="*/ 0 h 865"/>
                <a:gd name="T24" fmla="*/ 603 w 762"/>
                <a:gd name="T25" fmla="*/ 28 h 865"/>
                <a:gd name="T26" fmla="*/ 747 w 762"/>
                <a:gd name="T27" fmla="*/ 122 h 865"/>
                <a:gd name="T28" fmla="*/ 633 w 762"/>
                <a:gd name="T29" fmla="*/ 236 h 865"/>
                <a:gd name="T30" fmla="*/ 545 w 762"/>
                <a:gd name="T31" fmla="*/ 181 h 865"/>
                <a:gd name="T32" fmla="*/ 445 w 762"/>
                <a:gd name="T33" fmla="*/ 164 h 865"/>
                <a:gd name="T34" fmla="*/ 339 w 762"/>
                <a:gd name="T35" fmla="*/ 181 h 865"/>
                <a:gd name="T36" fmla="*/ 253 w 762"/>
                <a:gd name="T37" fmla="*/ 236 h 865"/>
                <a:gd name="T38" fmla="*/ 195 w 762"/>
                <a:gd name="T39" fmla="*/ 320 h 865"/>
                <a:gd name="T40" fmla="*/ 175 w 762"/>
                <a:gd name="T41" fmla="*/ 431 h 865"/>
                <a:gd name="T42" fmla="*/ 197 w 762"/>
                <a:gd name="T43" fmla="*/ 547 h 865"/>
                <a:gd name="T44" fmla="*/ 253 w 762"/>
                <a:gd name="T45" fmla="*/ 631 h 865"/>
                <a:gd name="T46" fmla="*/ 339 w 762"/>
                <a:gd name="T47" fmla="*/ 681 h 865"/>
                <a:gd name="T48" fmla="*/ 442 w 762"/>
                <a:gd name="T49" fmla="*/ 697 h 865"/>
                <a:gd name="T50" fmla="*/ 550 w 762"/>
                <a:gd name="T51" fmla="*/ 681 h 865"/>
                <a:gd name="T52" fmla="*/ 642 w 762"/>
                <a:gd name="T53" fmla="*/ 620 h 865"/>
                <a:gd name="T54" fmla="*/ 761 w 762"/>
                <a:gd name="T55" fmla="*/ 736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62" h="865">
                  <a:moveTo>
                    <a:pt x="761" y="736"/>
                  </a:moveTo>
                  <a:lnTo>
                    <a:pt x="761" y="736"/>
                  </a:lnTo>
                  <a:cubicBezTo>
                    <a:pt x="714" y="781"/>
                    <a:pt x="664" y="814"/>
                    <a:pt x="614" y="833"/>
                  </a:cubicBezTo>
                  <a:cubicBezTo>
                    <a:pt x="561" y="856"/>
                    <a:pt x="503" y="864"/>
                    <a:pt x="442" y="864"/>
                  </a:cubicBezTo>
                  <a:cubicBezTo>
                    <a:pt x="383" y="864"/>
                    <a:pt x="325" y="856"/>
                    <a:pt x="272" y="836"/>
                  </a:cubicBezTo>
                  <a:cubicBezTo>
                    <a:pt x="217" y="820"/>
                    <a:pt x="170" y="792"/>
                    <a:pt x="131" y="756"/>
                  </a:cubicBezTo>
                  <a:cubicBezTo>
                    <a:pt x="89" y="720"/>
                    <a:pt x="58" y="675"/>
                    <a:pt x="34" y="620"/>
                  </a:cubicBezTo>
                  <a:cubicBezTo>
                    <a:pt x="11" y="567"/>
                    <a:pt x="0" y="503"/>
                    <a:pt x="0" y="431"/>
                  </a:cubicBezTo>
                  <a:cubicBezTo>
                    <a:pt x="0" y="361"/>
                    <a:pt x="11" y="297"/>
                    <a:pt x="34" y="245"/>
                  </a:cubicBezTo>
                  <a:cubicBezTo>
                    <a:pt x="58" y="189"/>
                    <a:pt x="89" y="145"/>
                    <a:pt x="131" y="109"/>
                  </a:cubicBezTo>
                  <a:cubicBezTo>
                    <a:pt x="170" y="72"/>
                    <a:pt x="217" y="45"/>
                    <a:pt x="270" y="28"/>
                  </a:cubicBezTo>
                  <a:cubicBezTo>
                    <a:pt x="325" y="9"/>
                    <a:pt x="381" y="0"/>
                    <a:pt x="442" y="0"/>
                  </a:cubicBezTo>
                  <a:cubicBezTo>
                    <a:pt x="500" y="0"/>
                    <a:pt x="556" y="9"/>
                    <a:pt x="603" y="28"/>
                  </a:cubicBezTo>
                  <a:cubicBezTo>
                    <a:pt x="653" y="47"/>
                    <a:pt x="700" y="78"/>
                    <a:pt x="747" y="122"/>
                  </a:cubicBezTo>
                  <a:cubicBezTo>
                    <a:pt x="633" y="236"/>
                    <a:pt x="633" y="236"/>
                    <a:pt x="633" y="236"/>
                  </a:cubicBezTo>
                  <a:cubicBezTo>
                    <a:pt x="608" y="211"/>
                    <a:pt x="578" y="192"/>
                    <a:pt x="545" y="181"/>
                  </a:cubicBezTo>
                  <a:cubicBezTo>
                    <a:pt x="511" y="170"/>
                    <a:pt x="478" y="164"/>
                    <a:pt x="445" y="164"/>
                  </a:cubicBezTo>
                  <a:cubicBezTo>
                    <a:pt x="406" y="164"/>
                    <a:pt x="372" y="170"/>
                    <a:pt x="339" y="181"/>
                  </a:cubicBezTo>
                  <a:cubicBezTo>
                    <a:pt x="306" y="195"/>
                    <a:pt x="278" y="214"/>
                    <a:pt x="253" y="236"/>
                  </a:cubicBezTo>
                  <a:cubicBezTo>
                    <a:pt x="228" y="259"/>
                    <a:pt x="209" y="289"/>
                    <a:pt x="195" y="320"/>
                  </a:cubicBezTo>
                  <a:cubicBezTo>
                    <a:pt x="181" y="353"/>
                    <a:pt x="175" y="392"/>
                    <a:pt x="175" y="431"/>
                  </a:cubicBezTo>
                  <a:cubicBezTo>
                    <a:pt x="175" y="475"/>
                    <a:pt x="181" y="514"/>
                    <a:pt x="197" y="547"/>
                  </a:cubicBezTo>
                  <a:cubicBezTo>
                    <a:pt x="211" y="578"/>
                    <a:pt x="231" y="606"/>
                    <a:pt x="253" y="631"/>
                  </a:cubicBezTo>
                  <a:cubicBezTo>
                    <a:pt x="278" y="653"/>
                    <a:pt x="309" y="670"/>
                    <a:pt x="339" y="681"/>
                  </a:cubicBezTo>
                  <a:cubicBezTo>
                    <a:pt x="372" y="692"/>
                    <a:pt x="406" y="697"/>
                    <a:pt x="442" y="697"/>
                  </a:cubicBezTo>
                  <a:cubicBezTo>
                    <a:pt x="478" y="697"/>
                    <a:pt x="514" y="692"/>
                    <a:pt x="550" y="681"/>
                  </a:cubicBezTo>
                  <a:cubicBezTo>
                    <a:pt x="583" y="670"/>
                    <a:pt x="614" y="647"/>
                    <a:pt x="642" y="620"/>
                  </a:cubicBezTo>
                  <a:lnTo>
                    <a:pt x="761" y="73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3" name="Freeform 18">
              <a:extLst>
                <a:ext uri="{FF2B5EF4-FFF2-40B4-BE49-F238E27FC236}">
                  <a16:creationId xmlns:a16="http://schemas.microsoft.com/office/drawing/2014/main" id="{416DD308-E329-7546-B564-A44EF800E51E}"/>
                </a:ext>
              </a:extLst>
            </p:cNvPr>
            <p:cNvSpPr>
              <a:spLocks noChangeArrowheads="1"/>
            </p:cNvSpPr>
            <p:nvPr userDrawn="1"/>
          </p:nvSpPr>
          <p:spPr bwMode="auto">
            <a:xfrm>
              <a:off x="7747000" y="3141663"/>
              <a:ext cx="314325" cy="312737"/>
            </a:xfrm>
            <a:custGeom>
              <a:avLst/>
              <a:gdLst>
                <a:gd name="T0" fmla="*/ 864 w 873"/>
                <a:gd name="T1" fmla="*/ 498 h 868"/>
                <a:gd name="T2" fmla="*/ 864 w 873"/>
                <a:gd name="T3" fmla="*/ 498 h 868"/>
                <a:gd name="T4" fmla="*/ 181 w 873"/>
                <a:gd name="T5" fmla="*/ 498 h 868"/>
                <a:gd name="T6" fmla="*/ 267 w 873"/>
                <a:gd name="T7" fmla="*/ 650 h 868"/>
                <a:gd name="T8" fmla="*/ 456 w 873"/>
                <a:gd name="T9" fmla="*/ 706 h 868"/>
                <a:gd name="T10" fmla="*/ 592 w 873"/>
                <a:gd name="T11" fmla="*/ 684 h 868"/>
                <a:gd name="T12" fmla="*/ 700 w 873"/>
                <a:gd name="T13" fmla="*/ 617 h 868"/>
                <a:gd name="T14" fmla="*/ 817 w 873"/>
                <a:gd name="T15" fmla="*/ 725 h 868"/>
                <a:gd name="T16" fmla="*/ 739 w 873"/>
                <a:gd name="T17" fmla="*/ 786 h 868"/>
                <a:gd name="T18" fmla="*/ 650 w 873"/>
                <a:gd name="T19" fmla="*/ 831 h 868"/>
                <a:gd name="T20" fmla="*/ 553 w 873"/>
                <a:gd name="T21" fmla="*/ 859 h 868"/>
                <a:gd name="T22" fmla="*/ 453 w 873"/>
                <a:gd name="T23" fmla="*/ 867 h 868"/>
                <a:gd name="T24" fmla="*/ 267 w 873"/>
                <a:gd name="T25" fmla="*/ 836 h 868"/>
                <a:gd name="T26" fmla="*/ 122 w 873"/>
                <a:gd name="T27" fmla="*/ 748 h 868"/>
                <a:gd name="T28" fmla="*/ 31 w 873"/>
                <a:gd name="T29" fmla="*/ 609 h 868"/>
                <a:gd name="T30" fmla="*/ 0 w 873"/>
                <a:gd name="T31" fmla="*/ 431 h 868"/>
                <a:gd name="T32" fmla="*/ 31 w 873"/>
                <a:gd name="T33" fmla="*/ 256 h 868"/>
                <a:gd name="T34" fmla="*/ 122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4 w 873"/>
                <a:gd name="T53" fmla="*/ 353 h 868"/>
                <a:gd name="T54" fmla="*/ 619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1" y="498"/>
                    <a:pt x="181" y="498"/>
                    <a:pt x="181" y="498"/>
                  </a:cubicBezTo>
                  <a:cubicBezTo>
                    <a:pt x="189" y="562"/>
                    <a:pt x="219" y="611"/>
                    <a:pt x="267" y="650"/>
                  </a:cubicBezTo>
                  <a:cubicBezTo>
                    <a:pt x="317" y="686"/>
                    <a:pt x="381" y="706"/>
                    <a:pt x="456" y="706"/>
                  </a:cubicBezTo>
                  <a:cubicBezTo>
                    <a:pt x="500" y="706"/>
                    <a:pt x="544" y="698"/>
                    <a:pt x="592" y="684"/>
                  </a:cubicBezTo>
                  <a:cubicBezTo>
                    <a:pt x="639" y="667"/>
                    <a:pt x="675" y="645"/>
                    <a:pt x="700" y="617"/>
                  </a:cubicBezTo>
                  <a:cubicBezTo>
                    <a:pt x="817" y="725"/>
                    <a:pt x="817" y="725"/>
                    <a:pt x="817" y="725"/>
                  </a:cubicBezTo>
                  <a:cubicBezTo>
                    <a:pt x="794" y="750"/>
                    <a:pt x="769" y="770"/>
                    <a:pt x="739" y="786"/>
                  </a:cubicBezTo>
                  <a:cubicBezTo>
                    <a:pt x="711" y="806"/>
                    <a:pt x="681" y="820"/>
                    <a:pt x="650" y="831"/>
                  </a:cubicBezTo>
                  <a:cubicBezTo>
                    <a:pt x="619" y="845"/>
                    <a:pt x="586" y="853"/>
                    <a:pt x="553" y="859"/>
                  </a:cubicBezTo>
                  <a:cubicBezTo>
                    <a:pt x="519" y="864"/>
                    <a:pt x="486" y="867"/>
                    <a:pt x="453" y="867"/>
                  </a:cubicBezTo>
                  <a:cubicBezTo>
                    <a:pt x="383" y="867"/>
                    <a:pt x="322" y="856"/>
                    <a:pt x="267" y="836"/>
                  </a:cubicBezTo>
                  <a:cubicBezTo>
                    <a:pt x="208" y="814"/>
                    <a:pt x="161" y="786"/>
                    <a:pt x="122" y="748"/>
                  </a:cubicBezTo>
                  <a:cubicBezTo>
                    <a:pt x="83" y="709"/>
                    <a:pt x="53" y="664"/>
                    <a:pt x="31" y="609"/>
                  </a:cubicBezTo>
                  <a:cubicBezTo>
                    <a:pt x="11" y="556"/>
                    <a:pt x="0" y="495"/>
                    <a:pt x="0" y="431"/>
                  </a:cubicBezTo>
                  <a:cubicBezTo>
                    <a:pt x="0" y="367"/>
                    <a:pt x="11" y="309"/>
                    <a:pt x="31" y="256"/>
                  </a:cubicBezTo>
                  <a:cubicBezTo>
                    <a:pt x="53" y="203"/>
                    <a:pt x="83" y="159"/>
                    <a:pt x="122" y="120"/>
                  </a:cubicBezTo>
                  <a:cubicBezTo>
                    <a:pt x="161" y="84"/>
                    <a:pt x="208" y="53"/>
                    <a:pt x="261" y="31"/>
                  </a:cubicBezTo>
                  <a:cubicBezTo>
                    <a:pt x="314" y="12"/>
                    <a:pt x="375" y="0"/>
                    <a:pt x="442" y="0"/>
                  </a:cubicBezTo>
                  <a:cubicBezTo>
                    <a:pt x="508" y="0"/>
                    <a:pt x="572" y="12"/>
                    <a:pt x="628" y="31"/>
                  </a:cubicBezTo>
                  <a:cubicBezTo>
                    <a:pt x="681" y="53"/>
                    <a:pt x="728" y="84"/>
                    <a:pt x="767" y="125"/>
                  </a:cubicBezTo>
                  <a:cubicBezTo>
                    <a:pt x="806" y="164"/>
                    <a:pt x="833" y="217"/>
                    <a:pt x="850" y="278"/>
                  </a:cubicBezTo>
                  <a:cubicBezTo>
                    <a:pt x="867" y="342"/>
                    <a:pt x="872" y="414"/>
                    <a:pt x="864" y="498"/>
                  </a:cubicBezTo>
                  <a:lnTo>
                    <a:pt x="186" y="353"/>
                  </a:lnTo>
                  <a:lnTo>
                    <a:pt x="186" y="353"/>
                  </a:lnTo>
                  <a:cubicBezTo>
                    <a:pt x="694" y="353"/>
                    <a:pt x="694" y="353"/>
                    <a:pt x="694" y="353"/>
                  </a:cubicBezTo>
                  <a:cubicBezTo>
                    <a:pt x="689" y="287"/>
                    <a:pt x="664" y="236"/>
                    <a:pt x="619" y="203"/>
                  </a:cubicBezTo>
                  <a:cubicBezTo>
                    <a:pt x="575" y="170"/>
                    <a:pt x="519" y="153"/>
                    <a:pt x="447" y="153"/>
                  </a:cubicBezTo>
                  <a:cubicBezTo>
                    <a:pt x="381" y="153"/>
                    <a:pt x="325" y="170"/>
                    <a:pt x="278" y="203"/>
                  </a:cubicBezTo>
                  <a:cubicBezTo>
                    <a:pt x="231" y="236"/>
                    <a:pt x="200" y="287"/>
                    <a:pt x="186" y="353"/>
                  </a:cubicBezTo>
                  <a:lnTo>
                    <a:pt x="864"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4" name="Freeform 19">
              <a:extLst>
                <a:ext uri="{FF2B5EF4-FFF2-40B4-BE49-F238E27FC236}">
                  <a16:creationId xmlns:a16="http://schemas.microsoft.com/office/drawing/2014/main" id="{ACD17610-9334-D947-AB50-7FCAD844AF62}"/>
                </a:ext>
              </a:extLst>
            </p:cNvPr>
            <p:cNvSpPr>
              <a:spLocks noChangeArrowheads="1"/>
            </p:cNvSpPr>
            <p:nvPr userDrawn="1"/>
          </p:nvSpPr>
          <p:spPr bwMode="auto">
            <a:xfrm>
              <a:off x="1828800" y="3743325"/>
              <a:ext cx="323850" cy="311150"/>
            </a:xfrm>
            <a:custGeom>
              <a:avLst/>
              <a:gdLst>
                <a:gd name="T0" fmla="*/ 722 w 901"/>
                <a:gd name="T1" fmla="*/ 147 h 865"/>
                <a:gd name="T2" fmla="*/ 722 w 901"/>
                <a:gd name="T3" fmla="*/ 147 h 865"/>
                <a:gd name="T4" fmla="*/ 728 w 901"/>
                <a:gd name="T5" fmla="*/ 17 h 865"/>
                <a:gd name="T6" fmla="*/ 900 w 901"/>
                <a:gd name="T7" fmla="*/ 17 h 865"/>
                <a:gd name="T8" fmla="*/ 900 w 901"/>
                <a:gd name="T9" fmla="*/ 842 h 865"/>
                <a:gd name="T10" fmla="*/ 731 w 901"/>
                <a:gd name="T11" fmla="*/ 842 h 865"/>
                <a:gd name="T12" fmla="*/ 722 w 901"/>
                <a:gd name="T13" fmla="*/ 709 h 865"/>
                <a:gd name="T14" fmla="*/ 669 w 901"/>
                <a:gd name="T15" fmla="*/ 778 h 865"/>
                <a:gd name="T16" fmla="*/ 597 w 901"/>
                <a:gd name="T17" fmla="*/ 825 h 865"/>
                <a:gd name="T18" fmla="*/ 514 w 901"/>
                <a:gd name="T19" fmla="*/ 856 h 865"/>
                <a:gd name="T20" fmla="*/ 433 w 901"/>
                <a:gd name="T21" fmla="*/ 864 h 865"/>
                <a:gd name="T22" fmla="*/ 261 w 901"/>
                <a:gd name="T23" fmla="*/ 836 h 865"/>
                <a:gd name="T24" fmla="*/ 125 w 901"/>
                <a:gd name="T25" fmla="*/ 753 h 865"/>
                <a:gd name="T26" fmla="*/ 33 w 901"/>
                <a:gd name="T27" fmla="*/ 617 h 865"/>
                <a:gd name="T28" fmla="*/ 0 w 901"/>
                <a:gd name="T29" fmla="*/ 428 h 865"/>
                <a:gd name="T30" fmla="*/ 36 w 901"/>
                <a:gd name="T31" fmla="*/ 245 h 865"/>
                <a:gd name="T32" fmla="*/ 128 w 901"/>
                <a:gd name="T33" fmla="*/ 111 h 865"/>
                <a:gd name="T34" fmla="*/ 267 w 901"/>
                <a:gd name="T35" fmla="*/ 28 h 865"/>
                <a:gd name="T36" fmla="*/ 436 w 901"/>
                <a:gd name="T37" fmla="*/ 0 h 865"/>
                <a:gd name="T38" fmla="*/ 606 w 901"/>
                <a:gd name="T39" fmla="*/ 39 h 865"/>
                <a:gd name="T40" fmla="*/ 722 w 901"/>
                <a:gd name="T41" fmla="*/ 147 h 865"/>
                <a:gd name="T42" fmla="*/ 450 w 901"/>
                <a:gd name="T43" fmla="*/ 156 h 865"/>
                <a:gd name="T44" fmla="*/ 450 w 901"/>
                <a:gd name="T45" fmla="*/ 156 h 865"/>
                <a:gd name="T46" fmla="*/ 344 w 901"/>
                <a:gd name="T47" fmla="*/ 175 h 865"/>
                <a:gd name="T48" fmla="*/ 258 w 901"/>
                <a:gd name="T49" fmla="*/ 231 h 865"/>
                <a:gd name="T50" fmla="*/ 197 w 901"/>
                <a:gd name="T51" fmla="*/ 317 h 865"/>
                <a:gd name="T52" fmla="*/ 178 w 901"/>
                <a:gd name="T53" fmla="*/ 428 h 865"/>
                <a:gd name="T54" fmla="*/ 197 w 901"/>
                <a:gd name="T55" fmla="*/ 545 h 865"/>
                <a:gd name="T56" fmla="*/ 258 w 901"/>
                <a:gd name="T57" fmla="*/ 631 h 865"/>
                <a:gd name="T58" fmla="*/ 344 w 901"/>
                <a:gd name="T59" fmla="*/ 684 h 865"/>
                <a:gd name="T60" fmla="*/ 450 w 901"/>
                <a:gd name="T61" fmla="*/ 703 h 865"/>
                <a:gd name="T62" fmla="*/ 600 w 901"/>
                <a:gd name="T63" fmla="*/ 664 h 865"/>
                <a:gd name="T64" fmla="*/ 692 w 901"/>
                <a:gd name="T65" fmla="*/ 561 h 865"/>
                <a:gd name="T66" fmla="*/ 722 w 901"/>
                <a:gd name="T67" fmla="*/ 431 h 865"/>
                <a:gd name="T68" fmla="*/ 692 w 901"/>
                <a:gd name="T69" fmla="*/ 298 h 865"/>
                <a:gd name="T70" fmla="*/ 600 w 901"/>
                <a:gd name="T71" fmla="*/ 198 h 865"/>
                <a:gd name="T72" fmla="*/ 450 w 901"/>
                <a:gd name="T73" fmla="*/ 156 h 865"/>
                <a:gd name="T74" fmla="*/ 722 w 901"/>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1" h="865">
                  <a:moveTo>
                    <a:pt x="722" y="147"/>
                  </a:moveTo>
                  <a:lnTo>
                    <a:pt x="722" y="147"/>
                  </a:lnTo>
                  <a:cubicBezTo>
                    <a:pt x="728" y="17"/>
                    <a:pt x="728" y="17"/>
                    <a:pt x="728" y="17"/>
                  </a:cubicBezTo>
                  <a:cubicBezTo>
                    <a:pt x="900" y="17"/>
                    <a:pt x="900" y="17"/>
                    <a:pt x="900" y="17"/>
                  </a:cubicBezTo>
                  <a:cubicBezTo>
                    <a:pt x="900" y="842"/>
                    <a:pt x="900" y="842"/>
                    <a:pt x="900" y="842"/>
                  </a:cubicBezTo>
                  <a:cubicBezTo>
                    <a:pt x="731" y="842"/>
                    <a:pt x="731" y="842"/>
                    <a:pt x="731" y="842"/>
                  </a:cubicBezTo>
                  <a:cubicBezTo>
                    <a:pt x="722" y="709"/>
                    <a:pt x="722" y="709"/>
                    <a:pt x="722" y="709"/>
                  </a:cubicBezTo>
                  <a:cubicBezTo>
                    <a:pt x="708" y="736"/>
                    <a:pt x="692" y="759"/>
                    <a:pt x="669" y="778"/>
                  </a:cubicBezTo>
                  <a:cubicBezTo>
                    <a:pt x="647" y="797"/>
                    <a:pt x="622" y="814"/>
                    <a:pt x="597" y="825"/>
                  </a:cubicBezTo>
                  <a:cubicBezTo>
                    <a:pt x="569" y="839"/>
                    <a:pt x="542" y="847"/>
                    <a:pt x="514" y="856"/>
                  </a:cubicBezTo>
                  <a:cubicBezTo>
                    <a:pt x="486" y="861"/>
                    <a:pt x="458" y="864"/>
                    <a:pt x="433" y="864"/>
                  </a:cubicBezTo>
                  <a:cubicBezTo>
                    <a:pt x="372" y="864"/>
                    <a:pt x="314" y="853"/>
                    <a:pt x="261" y="836"/>
                  </a:cubicBezTo>
                  <a:cubicBezTo>
                    <a:pt x="208" y="817"/>
                    <a:pt x="164" y="789"/>
                    <a:pt x="125" y="753"/>
                  </a:cubicBezTo>
                  <a:cubicBezTo>
                    <a:pt x="86" y="714"/>
                    <a:pt x="56" y="670"/>
                    <a:pt x="33" y="617"/>
                  </a:cubicBezTo>
                  <a:cubicBezTo>
                    <a:pt x="11" y="561"/>
                    <a:pt x="0" y="500"/>
                    <a:pt x="0" y="428"/>
                  </a:cubicBezTo>
                  <a:cubicBezTo>
                    <a:pt x="0" y="361"/>
                    <a:pt x="11" y="300"/>
                    <a:pt x="36" y="245"/>
                  </a:cubicBezTo>
                  <a:cubicBezTo>
                    <a:pt x="58" y="192"/>
                    <a:pt x="89" y="147"/>
                    <a:pt x="128" y="111"/>
                  </a:cubicBezTo>
                  <a:cubicBezTo>
                    <a:pt x="167" y="75"/>
                    <a:pt x="214" y="48"/>
                    <a:pt x="267" y="28"/>
                  </a:cubicBezTo>
                  <a:cubicBezTo>
                    <a:pt x="319" y="9"/>
                    <a:pt x="375" y="0"/>
                    <a:pt x="436" y="0"/>
                  </a:cubicBezTo>
                  <a:cubicBezTo>
                    <a:pt x="497" y="0"/>
                    <a:pt x="553" y="14"/>
                    <a:pt x="606" y="39"/>
                  </a:cubicBezTo>
                  <a:cubicBezTo>
                    <a:pt x="658" y="64"/>
                    <a:pt x="697" y="103"/>
                    <a:pt x="722" y="147"/>
                  </a:cubicBezTo>
                  <a:lnTo>
                    <a:pt x="450" y="156"/>
                  </a:lnTo>
                  <a:lnTo>
                    <a:pt x="450" y="156"/>
                  </a:lnTo>
                  <a:cubicBezTo>
                    <a:pt x="414" y="156"/>
                    <a:pt x="378" y="164"/>
                    <a:pt x="344" y="175"/>
                  </a:cubicBezTo>
                  <a:cubicBezTo>
                    <a:pt x="311" y="189"/>
                    <a:pt x="283" y="206"/>
                    <a:pt x="258" y="231"/>
                  </a:cubicBezTo>
                  <a:cubicBezTo>
                    <a:pt x="233" y="253"/>
                    <a:pt x="211" y="284"/>
                    <a:pt x="197" y="317"/>
                  </a:cubicBezTo>
                  <a:cubicBezTo>
                    <a:pt x="183" y="350"/>
                    <a:pt x="178" y="386"/>
                    <a:pt x="178" y="428"/>
                  </a:cubicBezTo>
                  <a:cubicBezTo>
                    <a:pt x="178" y="472"/>
                    <a:pt x="183" y="509"/>
                    <a:pt x="197" y="545"/>
                  </a:cubicBezTo>
                  <a:cubicBezTo>
                    <a:pt x="211" y="578"/>
                    <a:pt x="233" y="606"/>
                    <a:pt x="258" y="631"/>
                  </a:cubicBezTo>
                  <a:cubicBezTo>
                    <a:pt x="283" y="653"/>
                    <a:pt x="311" y="672"/>
                    <a:pt x="344" y="684"/>
                  </a:cubicBezTo>
                  <a:cubicBezTo>
                    <a:pt x="378" y="698"/>
                    <a:pt x="414" y="703"/>
                    <a:pt x="450" y="703"/>
                  </a:cubicBezTo>
                  <a:cubicBezTo>
                    <a:pt x="511" y="703"/>
                    <a:pt x="561" y="689"/>
                    <a:pt x="600" y="664"/>
                  </a:cubicBezTo>
                  <a:cubicBezTo>
                    <a:pt x="642" y="636"/>
                    <a:pt x="672" y="603"/>
                    <a:pt x="692" y="561"/>
                  </a:cubicBezTo>
                  <a:cubicBezTo>
                    <a:pt x="714" y="522"/>
                    <a:pt x="722" y="478"/>
                    <a:pt x="722" y="431"/>
                  </a:cubicBezTo>
                  <a:cubicBezTo>
                    <a:pt x="722" y="384"/>
                    <a:pt x="714" y="339"/>
                    <a:pt x="692" y="298"/>
                  </a:cubicBezTo>
                  <a:cubicBezTo>
                    <a:pt x="672" y="259"/>
                    <a:pt x="642" y="223"/>
                    <a:pt x="600" y="198"/>
                  </a:cubicBezTo>
                  <a:cubicBezTo>
                    <a:pt x="561" y="170"/>
                    <a:pt x="511" y="156"/>
                    <a:pt x="450" y="156"/>
                  </a:cubicBezTo>
                  <a:lnTo>
                    <a:pt x="722" y="14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5" name="Freeform 20">
              <a:extLst>
                <a:ext uri="{FF2B5EF4-FFF2-40B4-BE49-F238E27FC236}">
                  <a16:creationId xmlns:a16="http://schemas.microsoft.com/office/drawing/2014/main" id="{01ABDA3E-2449-E242-BA04-92D070AA4E10}"/>
                </a:ext>
              </a:extLst>
            </p:cNvPr>
            <p:cNvSpPr>
              <a:spLocks noChangeArrowheads="1"/>
            </p:cNvSpPr>
            <p:nvPr userDrawn="1"/>
          </p:nvSpPr>
          <p:spPr bwMode="auto">
            <a:xfrm>
              <a:off x="2214563" y="3743325"/>
              <a:ext cx="266700" cy="312738"/>
            </a:xfrm>
            <a:custGeom>
              <a:avLst/>
              <a:gdLst>
                <a:gd name="T0" fmla="*/ 603 w 743"/>
                <a:gd name="T1" fmla="*/ 222 h 870"/>
                <a:gd name="T2" fmla="*/ 603 w 743"/>
                <a:gd name="T3" fmla="*/ 222 h 870"/>
                <a:gd name="T4" fmla="*/ 500 w 743"/>
                <a:gd name="T5" fmla="*/ 161 h 870"/>
                <a:gd name="T6" fmla="*/ 381 w 743"/>
                <a:gd name="T7" fmla="*/ 147 h 870"/>
                <a:gd name="T8" fmla="*/ 250 w 743"/>
                <a:gd name="T9" fmla="*/ 169 h 870"/>
                <a:gd name="T10" fmla="*/ 203 w 743"/>
                <a:gd name="T11" fmla="*/ 244 h 870"/>
                <a:gd name="T12" fmla="*/ 253 w 743"/>
                <a:gd name="T13" fmla="*/ 319 h 870"/>
                <a:gd name="T14" fmla="*/ 386 w 743"/>
                <a:gd name="T15" fmla="*/ 349 h 870"/>
                <a:gd name="T16" fmla="*/ 506 w 743"/>
                <a:gd name="T17" fmla="*/ 366 h 870"/>
                <a:gd name="T18" fmla="*/ 622 w 743"/>
                <a:gd name="T19" fmla="*/ 405 h 870"/>
                <a:gd name="T20" fmla="*/ 708 w 743"/>
                <a:gd name="T21" fmla="*/ 480 h 870"/>
                <a:gd name="T22" fmla="*/ 742 w 743"/>
                <a:gd name="T23" fmla="*/ 608 h 870"/>
                <a:gd name="T24" fmla="*/ 717 w 743"/>
                <a:gd name="T25" fmla="*/ 713 h 870"/>
                <a:gd name="T26" fmla="*/ 645 w 743"/>
                <a:gd name="T27" fmla="*/ 797 h 870"/>
                <a:gd name="T28" fmla="*/ 531 w 743"/>
                <a:gd name="T29" fmla="*/ 849 h 870"/>
                <a:gd name="T30" fmla="*/ 383 w 743"/>
                <a:gd name="T31" fmla="*/ 869 h 870"/>
                <a:gd name="T32" fmla="*/ 184 w 743"/>
                <a:gd name="T33" fmla="*/ 838 h 870"/>
                <a:gd name="T34" fmla="*/ 0 w 743"/>
                <a:gd name="T35" fmla="*/ 716 h 870"/>
                <a:gd name="T36" fmla="*/ 92 w 743"/>
                <a:gd name="T37" fmla="*/ 597 h 870"/>
                <a:gd name="T38" fmla="*/ 231 w 743"/>
                <a:gd name="T39" fmla="*/ 688 h 870"/>
                <a:gd name="T40" fmla="*/ 386 w 743"/>
                <a:gd name="T41" fmla="*/ 719 h 870"/>
                <a:gd name="T42" fmla="*/ 450 w 743"/>
                <a:gd name="T43" fmla="*/ 713 h 870"/>
                <a:gd name="T44" fmla="*/ 506 w 743"/>
                <a:gd name="T45" fmla="*/ 694 h 870"/>
                <a:gd name="T46" fmla="*/ 550 w 743"/>
                <a:gd name="T47" fmla="*/ 661 h 870"/>
                <a:gd name="T48" fmla="*/ 567 w 743"/>
                <a:gd name="T49" fmla="*/ 611 h 870"/>
                <a:gd name="T50" fmla="*/ 517 w 743"/>
                <a:gd name="T51" fmla="*/ 530 h 870"/>
                <a:gd name="T52" fmla="*/ 372 w 743"/>
                <a:gd name="T53" fmla="*/ 497 h 870"/>
                <a:gd name="T54" fmla="*/ 250 w 743"/>
                <a:gd name="T55" fmla="*/ 477 h 870"/>
                <a:gd name="T56" fmla="*/ 142 w 743"/>
                <a:gd name="T57" fmla="*/ 436 h 870"/>
                <a:gd name="T58" fmla="*/ 61 w 743"/>
                <a:gd name="T59" fmla="*/ 363 h 870"/>
                <a:gd name="T60" fmla="*/ 28 w 743"/>
                <a:gd name="T61" fmla="*/ 249 h 870"/>
                <a:gd name="T62" fmla="*/ 61 w 743"/>
                <a:gd name="T63" fmla="*/ 133 h 870"/>
                <a:gd name="T64" fmla="*/ 145 w 743"/>
                <a:gd name="T65" fmla="*/ 55 h 870"/>
                <a:gd name="T66" fmla="*/ 258 w 743"/>
                <a:gd name="T67" fmla="*/ 11 h 870"/>
                <a:gd name="T68" fmla="*/ 378 w 743"/>
                <a:gd name="T69" fmla="*/ 0 h 870"/>
                <a:gd name="T70" fmla="*/ 553 w 743"/>
                <a:gd name="T71" fmla="*/ 22 h 870"/>
                <a:gd name="T72" fmla="*/ 703 w 743"/>
                <a:gd name="T73" fmla="*/ 108 h 870"/>
                <a:gd name="T74" fmla="*/ 603 w 743"/>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3" h="870">
                  <a:moveTo>
                    <a:pt x="603" y="222"/>
                  </a:moveTo>
                  <a:lnTo>
                    <a:pt x="603" y="222"/>
                  </a:lnTo>
                  <a:cubicBezTo>
                    <a:pt x="572" y="191"/>
                    <a:pt x="536" y="172"/>
                    <a:pt x="500" y="161"/>
                  </a:cubicBezTo>
                  <a:cubicBezTo>
                    <a:pt x="464" y="149"/>
                    <a:pt x="425" y="147"/>
                    <a:pt x="381" y="147"/>
                  </a:cubicBezTo>
                  <a:cubicBezTo>
                    <a:pt x="328" y="144"/>
                    <a:pt x="284" y="152"/>
                    <a:pt x="250" y="169"/>
                  </a:cubicBezTo>
                  <a:cubicBezTo>
                    <a:pt x="220" y="188"/>
                    <a:pt x="203" y="211"/>
                    <a:pt x="203" y="244"/>
                  </a:cubicBezTo>
                  <a:cubicBezTo>
                    <a:pt x="203" y="280"/>
                    <a:pt x="220" y="302"/>
                    <a:pt x="253" y="319"/>
                  </a:cubicBezTo>
                  <a:cubicBezTo>
                    <a:pt x="286" y="333"/>
                    <a:pt x="331" y="344"/>
                    <a:pt x="386" y="349"/>
                  </a:cubicBezTo>
                  <a:cubicBezTo>
                    <a:pt x="425" y="352"/>
                    <a:pt x="464" y="358"/>
                    <a:pt x="506" y="366"/>
                  </a:cubicBezTo>
                  <a:cubicBezTo>
                    <a:pt x="550" y="372"/>
                    <a:pt x="586" y="386"/>
                    <a:pt x="622" y="405"/>
                  </a:cubicBezTo>
                  <a:cubicBezTo>
                    <a:pt x="658" y="422"/>
                    <a:pt x="686" y="447"/>
                    <a:pt x="708" y="480"/>
                  </a:cubicBezTo>
                  <a:cubicBezTo>
                    <a:pt x="731" y="513"/>
                    <a:pt x="742" y="555"/>
                    <a:pt x="742" y="608"/>
                  </a:cubicBezTo>
                  <a:cubicBezTo>
                    <a:pt x="742" y="647"/>
                    <a:pt x="733" y="683"/>
                    <a:pt x="717" y="713"/>
                  </a:cubicBezTo>
                  <a:cubicBezTo>
                    <a:pt x="700" y="747"/>
                    <a:pt x="675" y="774"/>
                    <a:pt x="645" y="797"/>
                  </a:cubicBezTo>
                  <a:cubicBezTo>
                    <a:pt x="614" y="819"/>
                    <a:pt x="575" y="838"/>
                    <a:pt x="531" y="849"/>
                  </a:cubicBezTo>
                  <a:cubicBezTo>
                    <a:pt x="486" y="863"/>
                    <a:pt x="439" y="869"/>
                    <a:pt x="383" y="869"/>
                  </a:cubicBezTo>
                  <a:cubicBezTo>
                    <a:pt x="317" y="869"/>
                    <a:pt x="247" y="858"/>
                    <a:pt x="184" y="838"/>
                  </a:cubicBezTo>
                  <a:cubicBezTo>
                    <a:pt x="117" y="819"/>
                    <a:pt x="56" y="777"/>
                    <a:pt x="0" y="716"/>
                  </a:cubicBezTo>
                  <a:cubicBezTo>
                    <a:pt x="92" y="597"/>
                    <a:pt x="92" y="597"/>
                    <a:pt x="92" y="597"/>
                  </a:cubicBezTo>
                  <a:cubicBezTo>
                    <a:pt x="131" y="638"/>
                    <a:pt x="178" y="669"/>
                    <a:pt x="231" y="688"/>
                  </a:cubicBezTo>
                  <a:cubicBezTo>
                    <a:pt x="286" y="708"/>
                    <a:pt x="336" y="719"/>
                    <a:pt x="386" y="719"/>
                  </a:cubicBezTo>
                  <a:cubicBezTo>
                    <a:pt x="408" y="719"/>
                    <a:pt x="428" y="716"/>
                    <a:pt x="450" y="713"/>
                  </a:cubicBezTo>
                  <a:cubicBezTo>
                    <a:pt x="470" y="708"/>
                    <a:pt x="489" y="702"/>
                    <a:pt x="506" y="694"/>
                  </a:cubicBezTo>
                  <a:cubicBezTo>
                    <a:pt x="522" y="686"/>
                    <a:pt x="539" y="674"/>
                    <a:pt x="550" y="661"/>
                  </a:cubicBezTo>
                  <a:cubicBezTo>
                    <a:pt x="561" y="647"/>
                    <a:pt x="567" y="630"/>
                    <a:pt x="567" y="611"/>
                  </a:cubicBezTo>
                  <a:cubicBezTo>
                    <a:pt x="567" y="574"/>
                    <a:pt x="550" y="547"/>
                    <a:pt x="517" y="530"/>
                  </a:cubicBezTo>
                  <a:cubicBezTo>
                    <a:pt x="483" y="513"/>
                    <a:pt x="433" y="502"/>
                    <a:pt x="372" y="497"/>
                  </a:cubicBezTo>
                  <a:cubicBezTo>
                    <a:pt x="331" y="494"/>
                    <a:pt x="292" y="486"/>
                    <a:pt x="250" y="477"/>
                  </a:cubicBezTo>
                  <a:cubicBezTo>
                    <a:pt x="211" y="469"/>
                    <a:pt x="175" y="455"/>
                    <a:pt x="142" y="436"/>
                  </a:cubicBezTo>
                  <a:cubicBezTo>
                    <a:pt x="109" y="416"/>
                    <a:pt x="81" y="394"/>
                    <a:pt x="61" y="363"/>
                  </a:cubicBezTo>
                  <a:cubicBezTo>
                    <a:pt x="39" y="333"/>
                    <a:pt x="28" y="294"/>
                    <a:pt x="28" y="249"/>
                  </a:cubicBezTo>
                  <a:cubicBezTo>
                    <a:pt x="28" y="202"/>
                    <a:pt x="39" y="166"/>
                    <a:pt x="61" y="133"/>
                  </a:cubicBezTo>
                  <a:cubicBezTo>
                    <a:pt x="84" y="102"/>
                    <a:pt x="111" y="74"/>
                    <a:pt x="145" y="55"/>
                  </a:cubicBezTo>
                  <a:cubicBezTo>
                    <a:pt x="178" y="36"/>
                    <a:pt x="217" y="22"/>
                    <a:pt x="258" y="11"/>
                  </a:cubicBezTo>
                  <a:cubicBezTo>
                    <a:pt x="297" y="2"/>
                    <a:pt x="339" y="0"/>
                    <a:pt x="378" y="0"/>
                  </a:cubicBezTo>
                  <a:cubicBezTo>
                    <a:pt x="445" y="0"/>
                    <a:pt x="503" y="8"/>
                    <a:pt x="553" y="22"/>
                  </a:cubicBezTo>
                  <a:cubicBezTo>
                    <a:pt x="606" y="38"/>
                    <a:pt x="656" y="66"/>
                    <a:pt x="703" y="108"/>
                  </a:cubicBezTo>
                  <a:lnTo>
                    <a:pt x="603" y="22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6" name="Freeform 21">
              <a:extLst>
                <a:ext uri="{FF2B5EF4-FFF2-40B4-BE49-F238E27FC236}">
                  <a16:creationId xmlns:a16="http://schemas.microsoft.com/office/drawing/2014/main" id="{2792B539-2BF9-B643-8F48-009A66FC8046}"/>
                </a:ext>
              </a:extLst>
            </p:cNvPr>
            <p:cNvSpPr>
              <a:spLocks noChangeArrowheads="1"/>
            </p:cNvSpPr>
            <p:nvPr userDrawn="1"/>
          </p:nvSpPr>
          <p:spPr bwMode="auto">
            <a:xfrm>
              <a:off x="2698750" y="3749675"/>
              <a:ext cx="63500" cy="298450"/>
            </a:xfrm>
            <a:custGeom>
              <a:avLst/>
              <a:gdLst>
                <a:gd name="T0" fmla="*/ 175 w 176"/>
                <a:gd name="T1" fmla="*/ 828 h 829"/>
                <a:gd name="T2" fmla="*/ 0 w 176"/>
                <a:gd name="T3" fmla="*/ 828 h 829"/>
                <a:gd name="T4" fmla="*/ 0 w 176"/>
                <a:gd name="T5" fmla="*/ 0 h 829"/>
                <a:gd name="T6" fmla="*/ 175 w 176"/>
                <a:gd name="T7" fmla="*/ 0 h 829"/>
                <a:gd name="T8" fmla="*/ 175 w 176"/>
                <a:gd name="T9" fmla="*/ 828 h 829"/>
              </a:gdLst>
              <a:ahLst/>
              <a:cxnLst>
                <a:cxn ang="0">
                  <a:pos x="T0" y="T1"/>
                </a:cxn>
                <a:cxn ang="0">
                  <a:pos x="T2" y="T3"/>
                </a:cxn>
                <a:cxn ang="0">
                  <a:pos x="T4" y="T5"/>
                </a:cxn>
                <a:cxn ang="0">
                  <a:pos x="T6" y="T7"/>
                </a:cxn>
                <a:cxn ang="0">
                  <a:pos x="T8" y="T9"/>
                </a:cxn>
              </a:cxnLst>
              <a:rect l="0" t="0" r="r" b="b"/>
              <a:pathLst>
                <a:path w="176" h="829">
                  <a:moveTo>
                    <a:pt x="175" y="828"/>
                  </a:moveTo>
                  <a:lnTo>
                    <a:pt x="0" y="828"/>
                  </a:lnTo>
                  <a:lnTo>
                    <a:pt x="0" y="0"/>
                  </a:lnTo>
                  <a:lnTo>
                    <a:pt x="175" y="0"/>
                  </a:lnTo>
                  <a:lnTo>
                    <a:pt x="175" y="82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7" name="Freeform 22">
              <a:extLst>
                <a:ext uri="{FF2B5EF4-FFF2-40B4-BE49-F238E27FC236}">
                  <a16:creationId xmlns:a16="http://schemas.microsoft.com/office/drawing/2014/main" id="{564C1D1A-8EAF-5441-83F2-166064B09B32}"/>
                </a:ext>
              </a:extLst>
            </p:cNvPr>
            <p:cNvSpPr>
              <a:spLocks noChangeArrowheads="1"/>
            </p:cNvSpPr>
            <p:nvPr userDrawn="1"/>
          </p:nvSpPr>
          <p:spPr bwMode="auto">
            <a:xfrm>
              <a:off x="2822575" y="3665538"/>
              <a:ext cx="223838" cy="385762"/>
            </a:xfrm>
            <a:custGeom>
              <a:avLst/>
              <a:gdLst>
                <a:gd name="T0" fmla="*/ 342 w 620"/>
                <a:gd name="T1" fmla="*/ 0 h 1073"/>
                <a:gd name="T2" fmla="*/ 342 w 620"/>
                <a:gd name="T3" fmla="*/ 0 h 1073"/>
                <a:gd name="T4" fmla="*/ 342 w 620"/>
                <a:gd name="T5" fmla="*/ 239 h 1073"/>
                <a:gd name="T6" fmla="*/ 586 w 620"/>
                <a:gd name="T7" fmla="*/ 239 h 1073"/>
                <a:gd name="T8" fmla="*/ 586 w 620"/>
                <a:gd name="T9" fmla="*/ 389 h 1073"/>
                <a:gd name="T10" fmla="*/ 339 w 620"/>
                <a:gd name="T11" fmla="*/ 389 h 1073"/>
                <a:gd name="T12" fmla="*/ 339 w 620"/>
                <a:gd name="T13" fmla="*/ 780 h 1073"/>
                <a:gd name="T14" fmla="*/ 369 w 620"/>
                <a:gd name="T15" fmla="*/ 880 h 1073"/>
                <a:gd name="T16" fmla="*/ 461 w 620"/>
                <a:gd name="T17" fmla="*/ 917 h 1073"/>
                <a:gd name="T18" fmla="*/ 514 w 620"/>
                <a:gd name="T19" fmla="*/ 908 h 1073"/>
                <a:gd name="T20" fmla="*/ 566 w 620"/>
                <a:gd name="T21" fmla="*/ 886 h 1073"/>
                <a:gd name="T22" fmla="*/ 619 w 620"/>
                <a:gd name="T23" fmla="*/ 1033 h 1073"/>
                <a:gd name="T24" fmla="*/ 533 w 620"/>
                <a:gd name="T25" fmla="*/ 1061 h 1073"/>
                <a:gd name="T26" fmla="*/ 450 w 620"/>
                <a:gd name="T27" fmla="*/ 1072 h 1073"/>
                <a:gd name="T28" fmla="*/ 236 w 620"/>
                <a:gd name="T29" fmla="*/ 1000 h 1073"/>
                <a:gd name="T30" fmla="*/ 164 w 620"/>
                <a:gd name="T31" fmla="*/ 780 h 1073"/>
                <a:gd name="T32" fmla="*/ 164 w 620"/>
                <a:gd name="T33" fmla="*/ 389 h 1073"/>
                <a:gd name="T34" fmla="*/ 0 w 620"/>
                <a:gd name="T35" fmla="*/ 389 h 1073"/>
                <a:gd name="T36" fmla="*/ 0 w 620"/>
                <a:gd name="T37" fmla="*/ 239 h 1073"/>
                <a:gd name="T38" fmla="*/ 164 w 620"/>
                <a:gd name="T39" fmla="*/ 239 h 1073"/>
                <a:gd name="T40" fmla="*/ 164 w 620"/>
                <a:gd name="T41" fmla="*/ 19 h 1073"/>
                <a:gd name="T42" fmla="*/ 342 w 620"/>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0" h="1073">
                  <a:moveTo>
                    <a:pt x="342" y="0"/>
                  </a:moveTo>
                  <a:lnTo>
                    <a:pt x="342" y="0"/>
                  </a:lnTo>
                  <a:cubicBezTo>
                    <a:pt x="342" y="239"/>
                    <a:pt x="342" y="239"/>
                    <a:pt x="342" y="239"/>
                  </a:cubicBezTo>
                  <a:cubicBezTo>
                    <a:pt x="586" y="239"/>
                    <a:pt x="586" y="239"/>
                    <a:pt x="586" y="239"/>
                  </a:cubicBezTo>
                  <a:cubicBezTo>
                    <a:pt x="586" y="389"/>
                    <a:pt x="586" y="389"/>
                    <a:pt x="586" y="389"/>
                  </a:cubicBezTo>
                  <a:cubicBezTo>
                    <a:pt x="339" y="389"/>
                    <a:pt x="339" y="389"/>
                    <a:pt x="339" y="389"/>
                  </a:cubicBezTo>
                  <a:cubicBezTo>
                    <a:pt x="339" y="780"/>
                    <a:pt x="339" y="780"/>
                    <a:pt x="339" y="780"/>
                  </a:cubicBezTo>
                  <a:cubicBezTo>
                    <a:pt x="339" y="825"/>
                    <a:pt x="350" y="858"/>
                    <a:pt x="369" y="880"/>
                  </a:cubicBezTo>
                  <a:cubicBezTo>
                    <a:pt x="389" y="905"/>
                    <a:pt x="419" y="917"/>
                    <a:pt x="461" y="917"/>
                  </a:cubicBezTo>
                  <a:cubicBezTo>
                    <a:pt x="478" y="917"/>
                    <a:pt x="494" y="914"/>
                    <a:pt x="514" y="908"/>
                  </a:cubicBezTo>
                  <a:cubicBezTo>
                    <a:pt x="533" y="903"/>
                    <a:pt x="550" y="897"/>
                    <a:pt x="566" y="886"/>
                  </a:cubicBezTo>
                  <a:cubicBezTo>
                    <a:pt x="619" y="1033"/>
                    <a:pt x="619" y="1033"/>
                    <a:pt x="619" y="1033"/>
                  </a:cubicBezTo>
                  <a:cubicBezTo>
                    <a:pt x="589" y="1047"/>
                    <a:pt x="561" y="1055"/>
                    <a:pt x="533" y="1061"/>
                  </a:cubicBezTo>
                  <a:cubicBezTo>
                    <a:pt x="508" y="1069"/>
                    <a:pt x="480" y="1072"/>
                    <a:pt x="450" y="1072"/>
                  </a:cubicBezTo>
                  <a:cubicBezTo>
                    <a:pt x="358" y="1072"/>
                    <a:pt x="286" y="1050"/>
                    <a:pt x="236" y="1000"/>
                  </a:cubicBezTo>
                  <a:cubicBezTo>
                    <a:pt x="189" y="953"/>
                    <a:pt x="164" y="878"/>
                    <a:pt x="164" y="780"/>
                  </a:cubicBezTo>
                  <a:cubicBezTo>
                    <a:pt x="164" y="389"/>
                    <a:pt x="164" y="389"/>
                    <a:pt x="164" y="389"/>
                  </a:cubicBezTo>
                  <a:cubicBezTo>
                    <a:pt x="0" y="389"/>
                    <a:pt x="0" y="389"/>
                    <a:pt x="0" y="389"/>
                  </a:cubicBezTo>
                  <a:cubicBezTo>
                    <a:pt x="0" y="239"/>
                    <a:pt x="0" y="239"/>
                    <a:pt x="0" y="239"/>
                  </a:cubicBezTo>
                  <a:cubicBezTo>
                    <a:pt x="164" y="239"/>
                    <a:pt x="164" y="239"/>
                    <a:pt x="164" y="239"/>
                  </a:cubicBezTo>
                  <a:cubicBezTo>
                    <a:pt x="164" y="19"/>
                    <a:pt x="164" y="19"/>
                    <a:pt x="164" y="19"/>
                  </a:cubicBezTo>
                  <a:lnTo>
                    <a:pt x="34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8" name="Freeform 23">
              <a:extLst>
                <a:ext uri="{FF2B5EF4-FFF2-40B4-BE49-F238E27FC236}">
                  <a16:creationId xmlns:a16="http://schemas.microsoft.com/office/drawing/2014/main" id="{0DAD7823-CAC9-CA4F-92EF-FAB2FCF156AF}"/>
                </a:ext>
              </a:extLst>
            </p:cNvPr>
            <p:cNvSpPr>
              <a:spLocks noChangeArrowheads="1"/>
            </p:cNvSpPr>
            <p:nvPr userDrawn="1"/>
          </p:nvSpPr>
          <p:spPr bwMode="auto">
            <a:xfrm>
              <a:off x="3208338" y="3749675"/>
              <a:ext cx="492125" cy="298450"/>
            </a:xfrm>
            <a:custGeom>
              <a:avLst/>
              <a:gdLst>
                <a:gd name="T0" fmla="*/ 761 w 1368"/>
                <a:gd name="T1" fmla="*/ 0 h 829"/>
                <a:gd name="T2" fmla="*/ 961 w 1368"/>
                <a:gd name="T3" fmla="*/ 647 h 829"/>
                <a:gd name="T4" fmla="*/ 1169 w 1368"/>
                <a:gd name="T5" fmla="*/ 0 h 829"/>
                <a:gd name="T6" fmla="*/ 1367 w 1368"/>
                <a:gd name="T7" fmla="*/ 0 h 829"/>
                <a:gd name="T8" fmla="*/ 1072 w 1368"/>
                <a:gd name="T9" fmla="*/ 828 h 829"/>
                <a:gd name="T10" fmla="*/ 867 w 1368"/>
                <a:gd name="T11" fmla="*/ 828 h 829"/>
                <a:gd name="T12" fmla="*/ 767 w 1368"/>
                <a:gd name="T13" fmla="*/ 555 h 829"/>
                <a:gd name="T14" fmla="*/ 686 w 1368"/>
                <a:gd name="T15" fmla="*/ 267 h 829"/>
                <a:gd name="T16" fmla="*/ 603 w 1368"/>
                <a:gd name="T17" fmla="*/ 555 h 829"/>
                <a:gd name="T18" fmla="*/ 503 w 1368"/>
                <a:gd name="T19" fmla="*/ 828 h 829"/>
                <a:gd name="T20" fmla="*/ 297 w 1368"/>
                <a:gd name="T21" fmla="*/ 828 h 829"/>
                <a:gd name="T22" fmla="*/ 0 w 1368"/>
                <a:gd name="T23" fmla="*/ 0 h 829"/>
                <a:gd name="T24" fmla="*/ 200 w 1368"/>
                <a:gd name="T25" fmla="*/ 0 h 829"/>
                <a:gd name="T26" fmla="*/ 408 w 1368"/>
                <a:gd name="T27" fmla="*/ 647 h 829"/>
                <a:gd name="T28" fmla="*/ 608 w 1368"/>
                <a:gd name="T29" fmla="*/ 0 h 829"/>
                <a:gd name="T30" fmla="*/ 761 w 1368"/>
                <a:gd name="T31" fmla="*/ 0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8" h="829">
                  <a:moveTo>
                    <a:pt x="761" y="0"/>
                  </a:moveTo>
                  <a:lnTo>
                    <a:pt x="961" y="647"/>
                  </a:lnTo>
                  <a:lnTo>
                    <a:pt x="1169" y="0"/>
                  </a:lnTo>
                  <a:lnTo>
                    <a:pt x="1367" y="0"/>
                  </a:lnTo>
                  <a:lnTo>
                    <a:pt x="1072" y="828"/>
                  </a:lnTo>
                  <a:lnTo>
                    <a:pt x="867" y="828"/>
                  </a:lnTo>
                  <a:lnTo>
                    <a:pt x="767" y="555"/>
                  </a:lnTo>
                  <a:lnTo>
                    <a:pt x="686" y="267"/>
                  </a:lnTo>
                  <a:lnTo>
                    <a:pt x="603" y="555"/>
                  </a:lnTo>
                  <a:lnTo>
                    <a:pt x="503" y="828"/>
                  </a:lnTo>
                  <a:lnTo>
                    <a:pt x="297" y="828"/>
                  </a:lnTo>
                  <a:lnTo>
                    <a:pt x="0" y="0"/>
                  </a:lnTo>
                  <a:lnTo>
                    <a:pt x="200" y="0"/>
                  </a:lnTo>
                  <a:lnTo>
                    <a:pt x="408" y="647"/>
                  </a:lnTo>
                  <a:lnTo>
                    <a:pt x="608" y="0"/>
                  </a:lnTo>
                  <a:lnTo>
                    <a:pt x="761"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9" name="Freeform 24">
              <a:extLst>
                <a:ext uri="{FF2B5EF4-FFF2-40B4-BE49-F238E27FC236}">
                  <a16:creationId xmlns:a16="http://schemas.microsoft.com/office/drawing/2014/main" id="{6E82E002-17B5-FC43-93DF-470BEFF27B02}"/>
                </a:ext>
              </a:extLst>
            </p:cNvPr>
            <p:cNvSpPr>
              <a:spLocks noChangeArrowheads="1"/>
            </p:cNvSpPr>
            <p:nvPr userDrawn="1"/>
          </p:nvSpPr>
          <p:spPr bwMode="auto">
            <a:xfrm>
              <a:off x="37322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3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8" y="147"/>
                    <a:pt x="127" y="111"/>
                  </a:cubicBezTo>
                  <a:cubicBezTo>
                    <a:pt x="166" y="75"/>
                    <a:pt x="211" y="48"/>
                    <a:pt x="263"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38" y="636"/>
                    <a:pt x="669" y="603"/>
                    <a:pt x="691" y="561"/>
                  </a:cubicBezTo>
                  <a:cubicBezTo>
                    <a:pt x="711" y="522"/>
                    <a:pt x="722" y="478"/>
                    <a:pt x="722" y="431"/>
                  </a:cubicBezTo>
                  <a:cubicBezTo>
                    <a:pt x="722" y="384"/>
                    <a:pt x="711" y="339"/>
                    <a:pt x="691" y="298"/>
                  </a:cubicBezTo>
                  <a:cubicBezTo>
                    <a:pt x="669" y="259"/>
                    <a:pt x="638" y="223"/>
                    <a:pt x="600" y="198"/>
                  </a:cubicBezTo>
                  <a:cubicBezTo>
                    <a:pt x="558" y="170"/>
                    <a:pt x="508" y="156"/>
                    <a:pt x="450" y="156"/>
                  </a:cubicBezTo>
                  <a:lnTo>
                    <a:pt x="722" y="14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0" name="Freeform 25">
              <a:extLst>
                <a:ext uri="{FF2B5EF4-FFF2-40B4-BE49-F238E27FC236}">
                  <a16:creationId xmlns:a16="http://schemas.microsoft.com/office/drawing/2014/main" id="{1BE93160-5AC8-EF46-9C78-5A87EF736B24}"/>
                </a:ext>
              </a:extLst>
            </p:cNvPr>
            <p:cNvSpPr>
              <a:spLocks noChangeArrowheads="1"/>
            </p:cNvSpPr>
            <p:nvPr userDrawn="1"/>
          </p:nvSpPr>
          <p:spPr bwMode="auto">
            <a:xfrm>
              <a:off x="4116388" y="3743325"/>
              <a:ext cx="268287" cy="312738"/>
            </a:xfrm>
            <a:custGeom>
              <a:avLst/>
              <a:gdLst>
                <a:gd name="T0" fmla="*/ 605 w 745"/>
                <a:gd name="T1" fmla="*/ 222 h 870"/>
                <a:gd name="T2" fmla="*/ 605 w 745"/>
                <a:gd name="T3" fmla="*/ 222 h 870"/>
                <a:gd name="T4" fmla="*/ 500 w 745"/>
                <a:gd name="T5" fmla="*/ 161 h 870"/>
                <a:gd name="T6" fmla="*/ 383 w 745"/>
                <a:gd name="T7" fmla="*/ 147 h 870"/>
                <a:gd name="T8" fmla="*/ 253 w 745"/>
                <a:gd name="T9" fmla="*/ 169 h 870"/>
                <a:gd name="T10" fmla="*/ 203 w 745"/>
                <a:gd name="T11" fmla="*/ 244 h 870"/>
                <a:gd name="T12" fmla="*/ 256 w 745"/>
                <a:gd name="T13" fmla="*/ 319 h 870"/>
                <a:gd name="T14" fmla="*/ 386 w 745"/>
                <a:gd name="T15" fmla="*/ 349 h 870"/>
                <a:gd name="T16" fmla="*/ 508 w 745"/>
                <a:gd name="T17" fmla="*/ 366 h 870"/>
                <a:gd name="T18" fmla="*/ 625 w 745"/>
                <a:gd name="T19" fmla="*/ 405 h 870"/>
                <a:gd name="T20" fmla="*/ 711 w 745"/>
                <a:gd name="T21" fmla="*/ 480 h 870"/>
                <a:gd name="T22" fmla="*/ 744 w 745"/>
                <a:gd name="T23" fmla="*/ 608 h 870"/>
                <a:gd name="T24" fmla="*/ 717 w 745"/>
                <a:gd name="T25" fmla="*/ 713 h 870"/>
                <a:gd name="T26" fmla="*/ 644 w 745"/>
                <a:gd name="T27" fmla="*/ 797 h 870"/>
                <a:gd name="T28" fmla="*/ 533 w 745"/>
                <a:gd name="T29" fmla="*/ 849 h 870"/>
                <a:gd name="T30" fmla="*/ 386 w 745"/>
                <a:gd name="T31" fmla="*/ 869 h 870"/>
                <a:gd name="T32" fmla="*/ 183 w 745"/>
                <a:gd name="T33" fmla="*/ 838 h 870"/>
                <a:gd name="T34" fmla="*/ 0 w 745"/>
                <a:gd name="T35" fmla="*/ 716 h 870"/>
                <a:gd name="T36" fmla="*/ 92 w 745"/>
                <a:gd name="T37" fmla="*/ 597 h 870"/>
                <a:gd name="T38" fmla="*/ 233 w 745"/>
                <a:gd name="T39" fmla="*/ 688 h 870"/>
                <a:gd name="T40" fmla="*/ 389 w 745"/>
                <a:gd name="T41" fmla="*/ 719 h 870"/>
                <a:gd name="T42" fmla="*/ 450 w 745"/>
                <a:gd name="T43" fmla="*/ 713 h 870"/>
                <a:gd name="T44" fmla="*/ 508 w 745"/>
                <a:gd name="T45" fmla="*/ 694 h 870"/>
                <a:gd name="T46" fmla="*/ 550 w 745"/>
                <a:gd name="T47" fmla="*/ 661 h 870"/>
                <a:gd name="T48" fmla="*/ 567 w 745"/>
                <a:gd name="T49" fmla="*/ 611 h 870"/>
                <a:gd name="T50" fmla="*/ 519 w 745"/>
                <a:gd name="T51" fmla="*/ 530 h 870"/>
                <a:gd name="T52" fmla="*/ 372 w 745"/>
                <a:gd name="T53" fmla="*/ 497 h 870"/>
                <a:gd name="T54" fmla="*/ 253 w 745"/>
                <a:gd name="T55" fmla="*/ 477 h 870"/>
                <a:gd name="T56" fmla="*/ 142 w 745"/>
                <a:gd name="T57" fmla="*/ 436 h 870"/>
                <a:gd name="T58" fmla="*/ 61 w 745"/>
                <a:gd name="T59" fmla="*/ 363 h 870"/>
                <a:gd name="T60" fmla="*/ 30 w 745"/>
                <a:gd name="T61" fmla="*/ 249 h 870"/>
                <a:gd name="T62" fmla="*/ 61 w 745"/>
                <a:gd name="T63" fmla="*/ 133 h 870"/>
                <a:gd name="T64" fmla="*/ 147 w 745"/>
                <a:gd name="T65" fmla="*/ 55 h 870"/>
                <a:gd name="T66" fmla="*/ 258 w 745"/>
                <a:gd name="T67" fmla="*/ 11 h 870"/>
                <a:gd name="T68" fmla="*/ 381 w 745"/>
                <a:gd name="T69" fmla="*/ 0 h 870"/>
                <a:gd name="T70" fmla="*/ 556 w 745"/>
                <a:gd name="T71" fmla="*/ 22 h 870"/>
                <a:gd name="T72" fmla="*/ 705 w 745"/>
                <a:gd name="T73" fmla="*/ 108 h 870"/>
                <a:gd name="T74" fmla="*/ 605 w 745"/>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5" h="870">
                  <a:moveTo>
                    <a:pt x="605" y="222"/>
                  </a:moveTo>
                  <a:lnTo>
                    <a:pt x="605" y="222"/>
                  </a:lnTo>
                  <a:cubicBezTo>
                    <a:pt x="572" y="191"/>
                    <a:pt x="536" y="172"/>
                    <a:pt x="500" y="161"/>
                  </a:cubicBezTo>
                  <a:cubicBezTo>
                    <a:pt x="464" y="149"/>
                    <a:pt x="425" y="147"/>
                    <a:pt x="383" y="147"/>
                  </a:cubicBezTo>
                  <a:cubicBezTo>
                    <a:pt x="328" y="144"/>
                    <a:pt x="286" y="152"/>
                    <a:pt x="253" y="169"/>
                  </a:cubicBezTo>
                  <a:cubicBezTo>
                    <a:pt x="219" y="188"/>
                    <a:pt x="203" y="211"/>
                    <a:pt x="203" y="244"/>
                  </a:cubicBezTo>
                  <a:cubicBezTo>
                    <a:pt x="206" y="280"/>
                    <a:pt x="222" y="302"/>
                    <a:pt x="256" y="319"/>
                  </a:cubicBezTo>
                  <a:cubicBezTo>
                    <a:pt x="289" y="333"/>
                    <a:pt x="333" y="344"/>
                    <a:pt x="386" y="349"/>
                  </a:cubicBezTo>
                  <a:cubicBezTo>
                    <a:pt x="425" y="352"/>
                    <a:pt x="467" y="358"/>
                    <a:pt x="508" y="366"/>
                  </a:cubicBezTo>
                  <a:cubicBezTo>
                    <a:pt x="550" y="372"/>
                    <a:pt x="589" y="386"/>
                    <a:pt x="625" y="405"/>
                  </a:cubicBezTo>
                  <a:cubicBezTo>
                    <a:pt x="658" y="422"/>
                    <a:pt x="689" y="447"/>
                    <a:pt x="711" y="480"/>
                  </a:cubicBezTo>
                  <a:cubicBezTo>
                    <a:pt x="733" y="513"/>
                    <a:pt x="744" y="555"/>
                    <a:pt x="744" y="608"/>
                  </a:cubicBezTo>
                  <a:cubicBezTo>
                    <a:pt x="744" y="647"/>
                    <a:pt x="736" y="683"/>
                    <a:pt x="717" y="713"/>
                  </a:cubicBezTo>
                  <a:cubicBezTo>
                    <a:pt x="700" y="747"/>
                    <a:pt x="678" y="774"/>
                    <a:pt x="644" y="797"/>
                  </a:cubicBezTo>
                  <a:cubicBezTo>
                    <a:pt x="614" y="819"/>
                    <a:pt x="578" y="838"/>
                    <a:pt x="533" y="849"/>
                  </a:cubicBezTo>
                  <a:cubicBezTo>
                    <a:pt x="489" y="863"/>
                    <a:pt x="439" y="869"/>
                    <a:pt x="386" y="869"/>
                  </a:cubicBezTo>
                  <a:cubicBezTo>
                    <a:pt x="317" y="869"/>
                    <a:pt x="250" y="858"/>
                    <a:pt x="183" y="838"/>
                  </a:cubicBezTo>
                  <a:cubicBezTo>
                    <a:pt x="117" y="819"/>
                    <a:pt x="56" y="777"/>
                    <a:pt x="0" y="716"/>
                  </a:cubicBezTo>
                  <a:cubicBezTo>
                    <a:pt x="92" y="597"/>
                    <a:pt x="92" y="597"/>
                    <a:pt x="92" y="597"/>
                  </a:cubicBezTo>
                  <a:cubicBezTo>
                    <a:pt x="133" y="638"/>
                    <a:pt x="181" y="669"/>
                    <a:pt x="233" y="688"/>
                  </a:cubicBezTo>
                  <a:cubicBezTo>
                    <a:pt x="286" y="708"/>
                    <a:pt x="339" y="719"/>
                    <a:pt x="389" y="719"/>
                  </a:cubicBezTo>
                  <a:cubicBezTo>
                    <a:pt x="408" y="719"/>
                    <a:pt x="430" y="716"/>
                    <a:pt x="450" y="713"/>
                  </a:cubicBezTo>
                  <a:cubicBezTo>
                    <a:pt x="472" y="708"/>
                    <a:pt x="492" y="702"/>
                    <a:pt x="508" y="694"/>
                  </a:cubicBezTo>
                  <a:cubicBezTo>
                    <a:pt x="525" y="686"/>
                    <a:pt x="539" y="674"/>
                    <a:pt x="550" y="661"/>
                  </a:cubicBezTo>
                  <a:cubicBezTo>
                    <a:pt x="561" y="647"/>
                    <a:pt x="567" y="630"/>
                    <a:pt x="567" y="611"/>
                  </a:cubicBezTo>
                  <a:cubicBezTo>
                    <a:pt x="569" y="574"/>
                    <a:pt x="553" y="547"/>
                    <a:pt x="519" y="530"/>
                  </a:cubicBezTo>
                  <a:cubicBezTo>
                    <a:pt x="483" y="513"/>
                    <a:pt x="436" y="502"/>
                    <a:pt x="372" y="497"/>
                  </a:cubicBezTo>
                  <a:cubicBezTo>
                    <a:pt x="333" y="494"/>
                    <a:pt x="292" y="486"/>
                    <a:pt x="253" y="477"/>
                  </a:cubicBezTo>
                  <a:cubicBezTo>
                    <a:pt x="211" y="469"/>
                    <a:pt x="175" y="455"/>
                    <a:pt x="142" y="436"/>
                  </a:cubicBezTo>
                  <a:cubicBezTo>
                    <a:pt x="108" y="416"/>
                    <a:pt x="83" y="394"/>
                    <a:pt x="61" y="363"/>
                  </a:cubicBezTo>
                  <a:cubicBezTo>
                    <a:pt x="42" y="333"/>
                    <a:pt x="30" y="294"/>
                    <a:pt x="30" y="249"/>
                  </a:cubicBezTo>
                  <a:cubicBezTo>
                    <a:pt x="30" y="202"/>
                    <a:pt x="42" y="166"/>
                    <a:pt x="61" y="133"/>
                  </a:cubicBezTo>
                  <a:cubicBezTo>
                    <a:pt x="83" y="102"/>
                    <a:pt x="111" y="74"/>
                    <a:pt x="147" y="55"/>
                  </a:cubicBezTo>
                  <a:cubicBezTo>
                    <a:pt x="181" y="36"/>
                    <a:pt x="217" y="22"/>
                    <a:pt x="258" y="11"/>
                  </a:cubicBezTo>
                  <a:cubicBezTo>
                    <a:pt x="300" y="2"/>
                    <a:pt x="339" y="0"/>
                    <a:pt x="381" y="0"/>
                  </a:cubicBezTo>
                  <a:cubicBezTo>
                    <a:pt x="444" y="0"/>
                    <a:pt x="503" y="8"/>
                    <a:pt x="556" y="22"/>
                  </a:cubicBezTo>
                  <a:cubicBezTo>
                    <a:pt x="605" y="38"/>
                    <a:pt x="656" y="66"/>
                    <a:pt x="705" y="108"/>
                  </a:cubicBezTo>
                  <a:lnTo>
                    <a:pt x="605" y="22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1" name="Freeform 26">
              <a:extLst>
                <a:ext uri="{FF2B5EF4-FFF2-40B4-BE49-F238E27FC236}">
                  <a16:creationId xmlns:a16="http://schemas.microsoft.com/office/drawing/2014/main" id="{DDD57F73-63D0-3547-A54B-6755DA9F0D6C}"/>
                </a:ext>
              </a:extLst>
            </p:cNvPr>
            <p:cNvSpPr>
              <a:spLocks noChangeArrowheads="1"/>
            </p:cNvSpPr>
            <p:nvPr userDrawn="1"/>
          </p:nvSpPr>
          <p:spPr bwMode="auto">
            <a:xfrm>
              <a:off x="4600575" y="3744913"/>
              <a:ext cx="476250" cy="301625"/>
            </a:xfrm>
            <a:custGeom>
              <a:avLst/>
              <a:gdLst>
                <a:gd name="T0" fmla="*/ 575 w 1322"/>
                <a:gd name="T1" fmla="*/ 839 h 840"/>
                <a:gd name="T2" fmla="*/ 575 w 1322"/>
                <a:gd name="T3" fmla="*/ 839 h 840"/>
                <a:gd name="T4" fmla="*/ 575 w 1322"/>
                <a:gd name="T5" fmla="*/ 386 h 840"/>
                <a:gd name="T6" fmla="*/ 564 w 1322"/>
                <a:gd name="T7" fmla="*/ 300 h 840"/>
                <a:gd name="T8" fmla="*/ 525 w 1322"/>
                <a:gd name="T9" fmla="*/ 228 h 840"/>
                <a:gd name="T10" fmla="*/ 461 w 1322"/>
                <a:gd name="T11" fmla="*/ 178 h 840"/>
                <a:gd name="T12" fmla="*/ 381 w 1322"/>
                <a:gd name="T13" fmla="*/ 161 h 840"/>
                <a:gd name="T14" fmla="*/ 295 w 1322"/>
                <a:gd name="T15" fmla="*/ 178 h 840"/>
                <a:gd name="T16" fmla="*/ 231 w 1322"/>
                <a:gd name="T17" fmla="*/ 228 h 840"/>
                <a:gd name="T18" fmla="*/ 192 w 1322"/>
                <a:gd name="T19" fmla="*/ 300 h 840"/>
                <a:gd name="T20" fmla="*/ 175 w 1322"/>
                <a:gd name="T21" fmla="*/ 386 h 840"/>
                <a:gd name="T22" fmla="*/ 175 w 1322"/>
                <a:gd name="T23" fmla="*/ 839 h 840"/>
                <a:gd name="T24" fmla="*/ 0 w 1322"/>
                <a:gd name="T25" fmla="*/ 839 h 840"/>
                <a:gd name="T26" fmla="*/ 0 w 1322"/>
                <a:gd name="T27" fmla="*/ 14 h 840"/>
                <a:gd name="T28" fmla="*/ 164 w 1322"/>
                <a:gd name="T29" fmla="*/ 14 h 840"/>
                <a:gd name="T30" fmla="*/ 175 w 1322"/>
                <a:gd name="T31" fmla="*/ 125 h 840"/>
                <a:gd name="T32" fmla="*/ 278 w 1322"/>
                <a:gd name="T33" fmla="*/ 28 h 840"/>
                <a:gd name="T34" fmla="*/ 411 w 1322"/>
                <a:gd name="T35" fmla="*/ 0 h 840"/>
                <a:gd name="T36" fmla="*/ 492 w 1322"/>
                <a:gd name="T37" fmla="*/ 8 h 840"/>
                <a:gd name="T38" fmla="*/ 567 w 1322"/>
                <a:gd name="T39" fmla="*/ 36 h 840"/>
                <a:gd name="T40" fmla="*/ 631 w 1322"/>
                <a:gd name="T41" fmla="*/ 89 h 840"/>
                <a:gd name="T42" fmla="*/ 675 w 1322"/>
                <a:gd name="T43" fmla="*/ 167 h 840"/>
                <a:gd name="T44" fmla="*/ 803 w 1322"/>
                <a:gd name="T45" fmla="*/ 39 h 840"/>
                <a:gd name="T46" fmla="*/ 964 w 1322"/>
                <a:gd name="T47" fmla="*/ 3 h 840"/>
                <a:gd name="T48" fmla="*/ 1230 w 1322"/>
                <a:gd name="T49" fmla="*/ 103 h 840"/>
                <a:gd name="T50" fmla="*/ 1321 w 1322"/>
                <a:gd name="T51" fmla="*/ 383 h 840"/>
                <a:gd name="T52" fmla="*/ 1321 w 1322"/>
                <a:gd name="T53" fmla="*/ 839 h 840"/>
                <a:gd name="T54" fmla="*/ 1145 w 1322"/>
                <a:gd name="T55" fmla="*/ 839 h 840"/>
                <a:gd name="T56" fmla="*/ 1145 w 1322"/>
                <a:gd name="T57" fmla="*/ 381 h 840"/>
                <a:gd name="T58" fmla="*/ 1134 w 1322"/>
                <a:gd name="T59" fmla="*/ 297 h 840"/>
                <a:gd name="T60" fmla="*/ 1097 w 1322"/>
                <a:gd name="T61" fmla="*/ 225 h 840"/>
                <a:gd name="T62" fmla="*/ 1039 w 1322"/>
                <a:gd name="T63" fmla="*/ 178 h 840"/>
                <a:gd name="T64" fmla="*/ 959 w 1322"/>
                <a:gd name="T65" fmla="*/ 161 h 840"/>
                <a:gd name="T66" fmla="*/ 872 w 1322"/>
                <a:gd name="T67" fmla="*/ 181 h 840"/>
                <a:gd name="T68" fmla="*/ 809 w 1322"/>
                <a:gd name="T69" fmla="*/ 228 h 840"/>
                <a:gd name="T70" fmla="*/ 767 w 1322"/>
                <a:gd name="T71" fmla="*/ 300 h 840"/>
                <a:gd name="T72" fmla="*/ 753 w 1322"/>
                <a:gd name="T73" fmla="*/ 386 h 840"/>
                <a:gd name="T74" fmla="*/ 753 w 1322"/>
                <a:gd name="T75" fmla="*/ 839 h 840"/>
                <a:gd name="T76" fmla="*/ 575 w 1322"/>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2" h="840">
                  <a:moveTo>
                    <a:pt x="575" y="839"/>
                  </a:moveTo>
                  <a:lnTo>
                    <a:pt x="575" y="839"/>
                  </a:lnTo>
                  <a:cubicBezTo>
                    <a:pt x="575" y="386"/>
                    <a:pt x="575" y="386"/>
                    <a:pt x="575" y="386"/>
                  </a:cubicBezTo>
                  <a:cubicBezTo>
                    <a:pt x="575" y="356"/>
                    <a:pt x="572" y="325"/>
                    <a:pt x="564" y="300"/>
                  </a:cubicBezTo>
                  <a:cubicBezTo>
                    <a:pt x="556" y="272"/>
                    <a:pt x="542" y="247"/>
                    <a:pt x="525" y="228"/>
                  </a:cubicBezTo>
                  <a:cubicBezTo>
                    <a:pt x="509" y="206"/>
                    <a:pt x="486" y="189"/>
                    <a:pt x="461" y="178"/>
                  </a:cubicBezTo>
                  <a:cubicBezTo>
                    <a:pt x="436" y="167"/>
                    <a:pt x="411" y="161"/>
                    <a:pt x="381" y="161"/>
                  </a:cubicBezTo>
                  <a:cubicBezTo>
                    <a:pt x="347" y="161"/>
                    <a:pt x="320" y="167"/>
                    <a:pt x="295" y="178"/>
                  </a:cubicBezTo>
                  <a:cubicBezTo>
                    <a:pt x="270" y="189"/>
                    <a:pt x="250" y="206"/>
                    <a:pt x="231" y="228"/>
                  </a:cubicBezTo>
                  <a:cubicBezTo>
                    <a:pt x="214" y="247"/>
                    <a:pt x="200" y="272"/>
                    <a:pt x="192" y="300"/>
                  </a:cubicBezTo>
                  <a:cubicBezTo>
                    <a:pt x="181" y="325"/>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200" y="78"/>
                    <a:pt x="234" y="47"/>
                    <a:pt x="278" y="28"/>
                  </a:cubicBezTo>
                  <a:cubicBezTo>
                    <a:pt x="323" y="8"/>
                    <a:pt x="367" y="0"/>
                    <a:pt x="411" y="0"/>
                  </a:cubicBezTo>
                  <a:cubicBezTo>
                    <a:pt x="439" y="0"/>
                    <a:pt x="467" y="3"/>
                    <a:pt x="492" y="8"/>
                  </a:cubicBezTo>
                  <a:cubicBezTo>
                    <a:pt x="520" y="14"/>
                    <a:pt x="542" y="22"/>
                    <a:pt x="567" y="36"/>
                  </a:cubicBezTo>
                  <a:cubicBezTo>
                    <a:pt x="589" y="50"/>
                    <a:pt x="611" y="67"/>
                    <a:pt x="631" y="89"/>
                  </a:cubicBezTo>
                  <a:cubicBezTo>
                    <a:pt x="647" y="111"/>
                    <a:pt x="664" y="136"/>
                    <a:pt x="675" y="167"/>
                  </a:cubicBezTo>
                  <a:cubicBezTo>
                    <a:pt x="711" y="106"/>
                    <a:pt x="753" y="61"/>
                    <a:pt x="803" y="39"/>
                  </a:cubicBezTo>
                  <a:cubicBezTo>
                    <a:pt x="853" y="14"/>
                    <a:pt x="906" y="3"/>
                    <a:pt x="964" y="3"/>
                  </a:cubicBezTo>
                  <a:cubicBezTo>
                    <a:pt x="1084" y="3"/>
                    <a:pt x="1172" y="36"/>
                    <a:pt x="1230" y="103"/>
                  </a:cubicBezTo>
                  <a:cubicBezTo>
                    <a:pt x="1291" y="169"/>
                    <a:pt x="1321" y="264"/>
                    <a:pt x="1321" y="383"/>
                  </a:cubicBezTo>
                  <a:cubicBezTo>
                    <a:pt x="1321" y="839"/>
                    <a:pt x="1321" y="839"/>
                    <a:pt x="1321" y="839"/>
                  </a:cubicBezTo>
                  <a:cubicBezTo>
                    <a:pt x="1145" y="839"/>
                    <a:pt x="1145" y="839"/>
                    <a:pt x="1145" y="839"/>
                  </a:cubicBezTo>
                  <a:cubicBezTo>
                    <a:pt x="1145" y="381"/>
                    <a:pt x="1145" y="381"/>
                    <a:pt x="1145" y="381"/>
                  </a:cubicBezTo>
                  <a:cubicBezTo>
                    <a:pt x="1145" y="353"/>
                    <a:pt x="1139" y="322"/>
                    <a:pt x="1134" y="297"/>
                  </a:cubicBezTo>
                  <a:cubicBezTo>
                    <a:pt x="1125" y="269"/>
                    <a:pt x="1114" y="247"/>
                    <a:pt x="1097" y="225"/>
                  </a:cubicBezTo>
                  <a:cubicBezTo>
                    <a:pt x="1081" y="206"/>
                    <a:pt x="1061" y="189"/>
                    <a:pt x="1039" y="178"/>
                  </a:cubicBezTo>
                  <a:cubicBezTo>
                    <a:pt x="1017" y="167"/>
                    <a:pt x="989" y="161"/>
                    <a:pt x="959" y="161"/>
                  </a:cubicBezTo>
                  <a:cubicBezTo>
                    <a:pt x="928" y="161"/>
                    <a:pt x="900" y="169"/>
                    <a:pt x="872" y="181"/>
                  </a:cubicBezTo>
                  <a:cubicBezTo>
                    <a:pt x="847" y="192"/>
                    <a:pt x="825" y="208"/>
                    <a:pt x="809" y="228"/>
                  </a:cubicBezTo>
                  <a:cubicBezTo>
                    <a:pt x="792" y="247"/>
                    <a:pt x="778" y="272"/>
                    <a:pt x="767" y="300"/>
                  </a:cubicBezTo>
                  <a:cubicBezTo>
                    <a:pt x="759" y="325"/>
                    <a:pt x="753" y="356"/>
                    <a:pt x="753" y="386"/>
                  </a:cubicBezTo>
                  <a:cubicBezTo>
                    <a:pt x="753" y="839"/>
                    <a:pt x="753" y="839"/>
                    <a:pt x="753" y="839"/>
                  </a:cubicBezTo>
                  <a:lnTo>
                    <a:pt x="575" y="83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2" name="Freeform 27">
              <a:extLst>
                <a:ext uri="{FF2B5EF4-FFF2-40B4-BE49-F238E27FC236}">
                  <a16:creationId xmlns:a16="http://schemas.microsoft.com/office/drawing/2014/main" id="{B9AF8797-0C86-674C-90DA-F33842031780}"/>
                </a:ext>
              </a:extLst>
            </p:cNvPr>
            <p:cNvSpPr>
              <a:spLocks noChangeArrowheads="1"/>
            </p:cNvSpPr>
            <p:nvPr userDrawn="1"/>
          </p:nvSpPr>
          <p:spPr bwMode="auto">
            <a:xfrm>
              <a:off x="5138738" y="3743325"/>
              <a:ext cx="315912"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2 w 876"/>
                <a:gd name="T11" fmla="*/ 680 h 864"/>
                <a:gd name="T12" fmla="*/ 703 w 876"/>
                <a:gd name="T13" fmla="*/ 616 h 864"/>
                <a:gd name="T14" fmla="*/ 817 w 876"/>
                <a:gd name="T15" fmla="*/ 724 h 864"/>
                <a:gd name="T16" fmla="*/ 742 w 876"/>
                <a:gd name="T17" fmla="*/ 786 h 864"/>
                <a:gd name="T18" fmla="*/ 653 w 876"/>
                <a:gd name="T19" fmla="*/ 830 h 864"/>
                <a:gd name="T20" fmla="*/ 553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3 w 876"/>
                <a:gd name="T35" fmla="*/ 119 h 864"/>
                <a:gd name="T36" fmla="*/ 261 w 876"/>
                <a:gd name="T37" fmla="*/ 30 h 864"/>
                <a:gd name="T38" fmla="*/ 442 w 876"/>
                <a:gd name="T39" fmla="*/ 0 h 864"/>
                <a:gd name="T40" fmla="*/ 628 w 876"/>
                <a:gd name="T41" fmla="*/ 30 h 864"/>
                <a:gd name="T42" fmla="*/ 767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2 w 876"/>
                <a:gd name="T55" fmla="*/ 202 h 864"/>
                <a:gd name="T56" fmla="*/ 448 w 876"/>
                <a:gd name="T57" fmla="*/ 152 h 864"/>
                <a:gd name="T58" fmla="*/ 278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17" y="686"/>
                    <a:pt x="381" y="705"/>
                    <a:pt x="459" y="705"/>
                  </a:cubicBezTo>
                  <a:cubicBezTo>
                    <a:pt x="500" y="705"/>
                    <a:pt x="548" y="697"/>
                    <a:pt x="592" y="680"/>
                  </a:cubicBezTo>
                  <a:cubicBezTo>
                    <a:pt x="639" y="666"/>
                    <a:pt x="675" y="644"/>
                    <a:pt x="703" y="616"/>
                  </a:cubicBezTo>
                  <a:cubicBezTo>
                    <a:pt x="817" y="724"/>
                    <a:pt x="817" y="724"/>
                    <a:pt x="817" y="724"/>
                  </a:cubicBezTo>
                  <a:cubicBezTo>
                    <a:pt x="795" y="747"/>
                    <a:pt x="770" y="769"/>
                    <a:pt x="742" y="786"/>
                  </a:cubicBezTo>
                  <a:cubicBezTo>
                    <a:pt x="714" y="802"/>
                    <a:pt x="684" y="819"/>
                    <a:pt x="653" y="830"/>
                  </a:cubicBezTo>
                  <a:cubicBezTo>
                    <a:pt x="620" y="841"/>
                    <a:pt x="589" y="849"/>
                    <a:pt x="553" y="855"/>
                  </a:cubicBezTo>
                  <a:cubicBezTo>
                    <a:pt x="520" y="861"/>
                    <a:pt x="486" y="863"/>
                    <a:pt x="456" y="863"/>
                  </a:cubicBezTo>
                  <a:cubicBezTo>
                    <a:pt x="386" y="863"/>
                    <a:pt x="323" y="855"/>
                    <a:pt x="267" y="833"/>
                  </a:cubicBezTo>
                  <a:cubicBezTo>
                    <a:pt x="211" y="813"/>
                    <a:pt x="164" y="783"/>
                    <a:pt x="125" y="747"/>
                  </a:cubicBezTo>
                  <a:cubicBezTo>
                    <a:pt x="86" y="708"/>
                    <a:pt x="56" y="661"/>
                    <a:pt x="34" y="608"/>
                  </a:cubicBezTo>
                  <a:cubicBezTo>
                    <a:pt x="11" y="552"/>
                    <a:pt x="0" y="494"/>
                    <a:pt x="0" y="427"/>
                  </a:cubicBezTo>
                  <a:cubicBezTo>
                    <a:pt x="0" y="366"/>
                    <a:pt x="11" y="308"/>
                    <a:pt x="34" y="255"/>
                  </a:cubicBezTo>
                  <a:cubicBezTo>
                    <a:pt x="56" y="202"/>
                    <a:pt x="84" y="158"/>
                    <a:pt x="123" y="119"/>
                  </a:cubicBezTo>
                  <a:cubicBezTo>
                    <a:pt x="161" y="80"/>
                    <a:pt x="209" y="52"/>
                    <a:pt x="261" y="30"/>
                  </a:cubicBezTo>
                  <a:cubicBezTo>
                    <a:pt x="317" y="8"/>
                    <a:pt x="378" y="0"/>
                    <a:pt x="442" y="0"/>
                  </a:cubicBezTo>
                  <a:cubicBezTo>
                    <a:pt x="511" y="0"/>
                    <a:pt x="573" y="8"/>
                    <a:pt x="628" y="30"/>
                  </a:cubicBezTo>
                  <a:cubicBezTo>
                    <a:pt x="684" y="50"/>
                    <a:pt x="731" y="80"/>
                    <a:pt x="767" y="122"/>
                  </a:cubicBezTo>
                  <a:cubicBezTo>
                    <a:pt x="806" y="163"/>
                    <a:pt x="834" y="216"/>
                    <a:pt x="853" y="277"/>
                  </a:cubicBezTo>
                  <a:cubicBezTo>
                    <a:pt x="870" y="341"/>
                    <a:pt x="875" y="413"/>
                    <a:pt x="867" y="497"/>
                  </a:cubicBezTo>
                  <a:lnTo>
                    <a:pt x="186" y="352"/>
                  </a:lnTo>
                  <a:lnTo>
                    <a:pt x="186" y="352"/>
                  </a:lnTo>
                  <a:cubicBezTo>
                    <a:pt x="698" y="352"/>
                    <a:pt x="698" y="352"/>
                    <a:pt x="698" y="352"/>
                  </a:cubicBezTo>
                  <a:cubicBezTo>
                    <a:pt x="692" y="286"/>
                    <a:pt x="667" y="236"/>
                    <a:pt x="622" y="202"/>
                  </a:cubicBezTo>
                  <a:cubicBezTo>
                    <a:pt x="578" y="169"/>
                    <a:pt x="520" y="152"/>
                    <a:pt x="448" y="152"/>
                  </a:cubicBezTo>
                  <a:cubicBezTo>
                    <a:pt x="384" y="152"/>
                    <a:pt x="328" y="169"/>
                    <a:pt x="278" y="202"/>
                  </a:cubicBezTo>
                  <a:cubicBezTo>
                    <a:pt x="231" y="236"/>
                    <a:pt x="200" y="286"/>
                    <a:pt x="186" y="352"/>
                  </a:cubicBezTo>
                  <a:lnTo>
                    <a:pt x="867" y="49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3" name="Freeform 28">
              <a:extLst>
                <a:ext uri="{FF2B5EF4-FFF2-40B4-BE49-F238E27FC236}">
                  <a16:creationId xmlns:a16="http://schemas.microsoft.com/office/drawing/2014/main" id="{5BF9A24D-8A8F-674D-8BDD-F3130737A780}"/>
                </a:ext>
              </a:extLst>
            </p:cNvPr>
            <p:cNvSpPr>
              <a:spLocks noChangeArrowheads="1"/>
            </p:cNvSpPr>
            <p:nvPr userDrawn="1"/>
          </p:nvSpPr>
          <p:spPr bwMode="auto">
            <a:xfrm>
              <a:off x="54975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4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9" y="147"/>
                    <a:pt x="127" y="111"/>
                  </a:cubicBezTo>
                  <a:cubicBezTo>
                    <a:pt x="166" y="75"/>
                    <a:pt x="211" y="48"/>
                    <a:pt x="264"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41" y="636"/>
                    <a:pt x="669" y="603"/>
                    <a:pt x="691" y="561"/>
                  </a:cubicBezTo>
                  <a:cubicBezTo>
                    <a:pt x="711" y="522"/>
                    <a:pt x="722" y="478"/>
                    <a:pt x="722" y="431"/>
                  </a:cubicBezTo>
                  <a:cubicBezTo>
                    <a:pt x="722" y="384"/>
                    <a:pt x="711" y="339"/>
                    <a:pt x="691" y="298"/>
                  </a:cubicBezTo>
                  <a:cubicBezTo>
                    <a:pt x="669" y="259"/>
                    <a:pt x="641" y="223"/>
                    <a:pt x="600" y="198"/>
                  </a:cubicBezTo>
                  <a:cubicBezTo>
                    <a:pt x="558" y="170"/>
                    <a:pt x="508" y="156"/>
                    <a:pt x="450" y="156"/>
                  </a:cubicBezTo>
                  <a:lnTo>
                    <a:pt x="722" y="14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4" name="Freeform 29">
              <a:extLst>
                <a:ext uri="{FF2B5EF4-FFF2-40B4-BE49-F238E27FC236}">
                  <a16:creationId xmlns:a16="http://schemas.microsoft.com/office/drawing/2014/main" id="{CBC6FC9C-9E31-234B-96E0-9D3A3E0E3C7C}"/>
                </a:ext>
              </a:extLst>
            </p:cNvPr>
            <p:cNvSpPr>
              <a:spLocks noChangeArrowheads="1"/>
            </p:cNvSpPr>
            <p:nvPr userDrawn="1"/>
          </p:nvSpPr>
          <p:spPr bwMode="auto">
            <a:xfrm>
              <a:off x="5905500" y="3746500"/>
              <a:ext cx="293688" cy="301625"/>
            </a:xfrm>
            <a:custGeom>
              <a:avLst/>
              <a:gdLst>
                <a:gd name="T0" fmla="*/ 639 w 817"/>
                <a:gd name="T1" fmla="*/ 836 h 837"/>
                <a:gd name="T2" fmla="*/ 639 w 817"/>
                <a:gd name="T3" fmla="*/ 836 h 837"/>
                <a:gd name="T4" fmla="*/ 639 w 817"/>
                <a:gd name="T5" fmla="*/ 397 h 837"/>
                <a:gd name="T6" fmla="*/ 580 w 817"/>
                <a:gd name="T7" fmla="*/ 225 h 837"/>
                <a:gd name="T8" fmla="*/ 411 w 817"/>
                <a:gd name="T9" fmla="*/ 158 h 837"/>
                <a:gd name="T10" fmla="*/ 316 w 817"/>
                <a:gd name="T11" fmla="*/ 178 h 837"/>
                <a:gd name="T12" fmla="*/ 241 w 817"/>
                <a:gd name="T13" fmla="*/ 230 h 837"/>
                <a:gd name="T14" fmla="*/ 194 w 817"/>
                <a:gd name="T15" fmla="*/ 311 h 837"/>
                <a:gd name="T16" fmla="*/ 177 w 817"/>
                <a:gd name="T17" fmla="*/ 405 h 837"/>
                <a:gd name="T18" fmla="*/ 177 w 817"/>
                <a:gd name="T19" fmla="*/ 836 h 837"/>
                <a:gd name="T20" fmla="*/ 0 w 817"/>
                <a:gd name="T21" fmla="*/ 836 h 837"/>
                <a:gd name="T22" fmla="*/ 0 w 817"/>
                <a:gd name="T23" fmla="*/ 11 h 837"/>
                <a:gd name="T24" fmla="*/ 161 w 817"/>
                <a:gd name="T25" fmla="*/ 11 h 837"/>
                <a:gd name="T26" fmla="*/ 172 w 817"/>
                <a:gd name="T27" fmla="*/ 130 h 837"/>
                <a:gd name="T28" fmla="*/ 455 w 817"/>
                <a:gd name="T29" fmla="*/ 0 h 837"/>
                <a:gd name="T30" fmla="*/ 597 w 817"/>
                <a:gd name="T31" fmla="*/ 25 h 837"/>
                <a:gd name="T32" fmla="*/ 711 w 817"/>
                <a:gd name="T33" fmla="*/ 100 h 837"/>
                <a:gd name="T34" fmla="*/ 789 w 817"/>
                <a:gd name="T35" fmla="*/ 225 h 837"/>
                <a:gd name="T36" fmla="*/ 816 w 817"/>
                <a:gd name="T37" fmla="*/ 394 h 837"/>
                <a:gd name="T38" fmla="*/ 816 w 817"/>
                <a:gd name="T39" fmla="*/ 836 h 837"/>
                <a:gd name="T40" fmla="*/ 639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9" y="836"/>
                  </a:moveTo>
                  <a:lnTo>
                    <a:pt x="639" y="836"/>
                  </a:lnTo>
                  <a:cubicBezTo>
                    <a:pt x="639" y="397"/>
                    <a:pt x="639" y="397"/>
                    <a:pt x="639" y="397"/>
                  </a:cubicBezTo>
                  <a:cubicBezTo>
                    <a:pt x="639" y="325"/>
                    <a:pt x="619" y="266"/>
                    <a:pt x="580" y="225"/>
                  </a:cubicBezTo>
                  <a:cubicBezTo>
                    <a:pt x="541" y="180"/>
                    <a:pt x="486" y="158"/>
                    <a:pt x="411" y="158"/>
                  </a:cubicBezTo>
                  <a:cubicBezTo>
                    <a:pt x="377" y="158"/>
                    <a:pt x="344" y="166"/>
                    <a:pt x="316" y="178"/>
                  </a:cubicBezTo>
                  <a:cubicBezTo>
                    <a:pt x="286" y="192"/>
                    <a:pt x="261" y="208"/>
                    <a:pt x="241" y="230"/>
                  </a:cubicBezTo>
                  <a:cubicBezTo>
                    <a:pt x="222" y="255"/>
                    <a:pt x="205" y="280"/>
                    <a:pt x="194" y="311"/>
                  </a:cubicBezTo>
                  <a:cubicBezTo>
                    <a:pt x="183" y="341"/>
                    <a:pt x="177" y="372"/>
                    <a:pt x="177" y="405"/>
                  </a:cubicBezTo>
                  <a:cubicBezTo>
                    <a:pt x="177" y="836"/>
                    <a:pt x="177" y="836"/>
                    <a:pt x="177" y="836"/>
                  </a:cubicBezTo>
                  <a:cubicBezTo>
                    <a:pt x="0" y="836"/>
                    <a:pt x="0" y="836"/>
                    <a:pt x="0" y="836"/>
                  </a:cubicBezTo>
                  <a:cubicBezTo>
                    <a:pt x="0" y="11"/>
                    <a:pt x="0" y="11"/>
                    <a:pt x="0" y="11"/>
                  </a:cubicBezTo>
                  <a:cubicBezTo>
                    <a:pt x="161" y="11"/>
                    <a:pt x="161" y="11"/>
                    <a:pt x="161" y="11"/>
                  </a:cubicBezTo>
                  <a:cubicBezTo>
                    <a:pt x="172" y="130"/>
                    <a:pt x="172" y="130"/>
                    <a:pt x="172" y="130"/>
                  </a:cubicBezTo>
                  <a:cubicBezTo>
                    <a:pt x="250" y="42"/>
                    <a:pt x="344" y="0"/>
                    <a:pt x="455" y="0"/>
                  </a:cubicBezTo>
                  <a:cubicBezTo>
                    <a:pt x="505" y="0"/>
                    <a:pt x="552" y="8"/>
                    <a:pt x="597" y="25"/>
                  </a:cubicBezTo>
                  <a:cubicBezTo>
                    <a:pt x="641" y="42"/>
                    <a:pt x="680" y="66"/>
                    <a:pt x="711" y="100"/>
                  </a:cubicBezTo>
                  <a:cubicBezTo>
                    <a:pt x="744" y="133"/>
                    <a:pt x="769" y="175"/>
                    <a:pt x="789" y="225"/>
                  </a:cubicBezTo>
                  <a:cubicBezTo>
                    <a:pt x="808" y="275"/>
                    <a:pt x="816" y="330"/>
                    <a:pt x="816" y="394"/>
                  </a:cubicBezTo>
                  <a:cubicBezTo>
                    <a:pt x="816" y="836"/>
                    <a:pt x="816" y="836"/>
                    <a:pt x="816" y="836"/>
                  </a:cubicBezTo>
                  <a:lnTo>
                    <a:pt x="639" y="83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5" name="Freeform 30">
              <a:extLst>
                <a:ext uri="{FF2B5EF4-FFF2-40B4-BE49-F238E27FC236}">
                  <a16:creationId xmlns:a16="http://schemas.microsoft.com/office/drawing/2014/main" id="{4A75E7CA-C45B-054D-A49E-B463C0D8C4AF}"/>
                </a:ext>
              </a:extLst>
            </p:cNvPr>
            <p:cNvSpPr>
              <a:spLocks noChangeArrowheads="1"/>
            </p:cNvSpPr>
            <p:nvPr userDrawn="1"/>
          </p:nvSpPr>
          <p:spPr bwMode="auto">
            <a:xfrm>
              <a:off x="6251575"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6" name="Freeform 31">
              <a:extLst>
                <a:ext uri="{FF2B5EF4-FFF2-40B4-BE49-F238E27FC236}">
                  <a16:creationId xmlns:a16="http://schemas.microsoft.com/office/drawing/2014/main" id="{5B3BC1DE-31DF-8944-B2A0-F5E0FBE9586F}"/>
                </a:ext>
              </a:extLst>
            </p:cNvPr>
            <p:cNvSpPr>
              <a:spLocks noChangeArrowheads="1"/>
            </p:cNvSpPr>
            <p:nvPr userDrawn="1"/>
          </p:nvSpPr>
          <p:spPr bwMode="auto">
            <a:xfrm>
              <a:off x="6643688"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7" name="Freeform 32">
              <a:extLst>
                <a:ext uri="{FF2B5EF4-FFF2-40B4-BE49-F238E27FC236}">
                  <a16:creationId xmlns:a16="http://schemas.microsoft.com/office/drawing/2014/main" id="{62167BE8-CF76-7248-9854-B30C89600F08}"/>
                </a:ext>
              </a:extLst>
            </p:cNvPr>
            <p:cNvSpPr>
              <a:spLocks noChangeArrowheads="1"/>
            </p:cNvSpPr>
            <p:nvPr userDrawn="1"/>
          </p:nvSpPr>
          <p:spPr bwMode="auto">
            <a:xfrm>
              <a:off x="6897688" y="3743325"/>
              <a:ext cx="314325" cy="309563"/>
            </a:xfrm>
            <a:custGeom>
              <a:avLst/>
              <a:gdLst>
                <a:gd name="T0" fmla="*/ 436 w 873"/>
                <a:gd name="T1" fmla="*/ 0 h 860"/>
                <a:gd name="T2" fmla="*/ 436 w 873"/>
                <a:gd name="T3" fmla="*/ 0 h 860"/>
                <a:gd name="T4" fmla="*/ 611 w 873"/>
                <a:gd name="T5" fmla="*/ 34 h 860"/>
                <a:gd name="T6" fmla="*/ 750 w 873"/>
                <a:gd name="T7" fmla="*/ 125 h 860"/>
                <a:gd name="T8" fmla="*/ 842 w 873"/>
                <a:gd name="T9" fmla="*/ 261 h 860"/>
                <a:gd name="T10" fmla="*/ 872 w 873"/>
                <a:gd name="T11" fmla="*/ 431 h 860"/>
                <a:gd name="T12" fmla="*/ 842 w 873"/>
                <a:gd name="T13" fmla="*/ 600 h 860"/>
                <a:gd name="T14" fmla="*/ 753 w 873"/>
                <a:gd name="T15" fmla="*/ 736 h 860"/>
                <a:gd name="T16" fmla="*/ 614 w 873"/>
                <a:gd name="T17" fmla="*/ 825 h 860"/>
                <a:gd name="T18" fmla="*/ 436 w 873"/>
                <a:gd name="T19" fmla="*/ 859 h 860"/>
                <a:gd name="T20" fmla="*/ 256 w 873"/>
                <a:gd name="T21" fmla="*/ 825 h 860"/>
                <a:gd name="T22" fmla="*/ 119 w 873"/>
                <a:gd name="T23" fmla="*/ 736 h 860"/>
                <a:gd name="T24" fmla="*/ 31 w 873"/>
                <a:gd name="T25" fmla="*/ 600 h 860"/>
                <a:gd name="T26" fmla="*/ 0 w 873"/>
                <a:gd name="T27" fmla="*/ 431 h 860"/>
                <a:gd name="T28" fmla="*/ 31 w 873"/>
                <a:gd name="T29" fmla="*/ 261 h 860"/>
                <a:gd name="T30" fmla="*/ 119 w 873"/>
                <a:gd name="T31" fmla="*/ 125 h 860"/>
                <a:gd name="T32" fmla="*/ 258 w 873"/>
                <a:gd name="T33" fmla="*/ 34 h 860"/>
                <a:gd name="T34" fmla="*/ 436 w 873"/>
                <a:gd name="T35" fmla="*/ 0 h 860"/>
                <a:gd name="T36" fmla="*/ 436 w 873"/>
                <a:gd name="T37" fmla="*/ 161 h 860"/>
                <a:gd name="T38" fmla="*/ 436 w 873"/>
                <a:gd name="T39" fmla="*/ 161 h 860"/>
                <a:gd name="T40" fmla="*/ 328 w 873"/>
                <a:gd name="T41" fmla="*/ 184 h 860"/>
                <a:gd name="T42" fmla="*/ 247 w 873"/>
                <a:gd name="T43" fmla="*/ 242 h 860"/>
                <a:gd name="T44" fmla="*/ 194 w 873"/>
                <a:gd name="T45" fmla="*/ 328 h 860"/>
                <a:gd name="T46" fmla="*/ 178 w 873"/>
                <a:gd name="T47" fmla="*/ 431 h 860"/>
                <a:gd name="T48" fmla="*/ 194 w 873"/>
                <a:gd name="T49" fmla="*/ 536 h 860"/>
                <a:gd name="T50" fmla="*/ 247 w 873"/>
                <a:gd name="T51" fmla="*/ 620 h 860"/>
                <a:gd name="T52" fmla="*/ 328 w 873"/>
                <a:gd name="T53" fmla="*/ 678 h 860"/>
                <a:gd name="T54" fmla="*/ 436 w 873"/>
                <a:gd name="T55" fmla="*/ 698 h 860"/>
                <a:gd name="T56" fmla="*/ 544 w 873"/>
                <a:gd name="T57" fmla="*/ 678 h 860"/>
                <a:gd name="T58" fmla="*/ 625 w 873"/>
                <a:gd name="T59" fmla="*/ 620 h 860"/>
                <a:gd name="T60" fmla="*/ 678 w 873"/>
                <a:gd name="T61" fmla="*/ 536 h 860"/>
                <a:gd name="T62" fmla="*/ 694 w 873"/>
                <a:gd name="T63" fmla="*/ 431 h 860"/>
                <a:gd name="T64" fmla="*/ 675 w 873"/>
                <a:gd name="T65" fmla="*/ 328 h 860"/>
                <a:gd name="T66" fmla="*/ 622 w 873"/>
                <a:gd name="T67" fmla="*/ 242 h 860"/>
                <a:gd name="T68" fmla="*/ 542 w 873"/>
                <a:gd name="T69" fmla="*/ 184 h 860"/>
                <a:gd name="T70" fmla="*/ 436 w 873"/>
                <a:gd name="T71" fmla="*/ 161 h 860"/>
                <a:gd name="T72" fmla="*/ 436 w 873"/>
                <a:gd name="T73"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60">
                  <a:moveTo>
                    <a:pt x="436" y="0"/>
                  </a:moveTo>
                  <a:lnTo>
                    <a:pt x="436" y="0"/>
                  </a:lnTo>
                  <a:cubicBezTo>
                    <a:pt x="500" y="0"/>
                    <a:pt x="558" y="11"/>
                    <a:pt x="611" y="34"/>
                  </a:cubicBezTo>
                  <a:cubicBezTo>
                    <a:pt x="667" y="59"/>
                    <a:pt x="711" y="86"/>
                    <a:pt x="750" y="125"/>
                  </a:cubicBezTo>
                  <a:cubicBezTo>
                    <a:pt x="789" y="164"/>
                    <a:pt x="819" y="209"/>
                    <a:pt x="842" y="261"/>
                  </a:cubicBezTo>
                  <a:cubicBezTo>
                    <a:pt x="861" y="314"/>
                    <a:pt x="872" y="370"/>
                    <a:pt x="872" y="431"/>
                  </a:cubicBezTo>
                  <a:cubicBezTo>
                    <a:pt x="872" y="492"/>
                    <a:pt x="861" y="547"/>
                    <a:pt x="842" y="600"/>
                  </a:cubicBezTo>
                  <a:cubicBezTo>
                    <a:pt x="819" y="653"/>
                    <a:pt x="792" y="698"/>
                    <a:pt x="753" y="736"/>
                  </a:cubicBezTo>
                  <a:cubicBezTo>
                    <a:pt x="714" y="775"/>
                    <a:pt x="669" y="806"/>
                    <a:pt x="614" y="825"/>
                  </a:cubicBezTo>
                  <a:cubicBezTo>
                    <a:pt x="561" y="847"/>
                    <a:pt x="500" y="859"/>
                    <a:pt x="436" y="859"/>
                  </a:cubicBezTo>
                  <a:cubicBezTo>
                    <a:pt x="369" y="859"/>
                    <a:pt x="308" y="847"/>
                    <a:pt x="256" y="825"/>
                  </a:cubicBezTo>
                  <a:cubicBezTo>
                    <a:pt x="203" y="806"/>
                    <a:pt x="156" y="775"/>
                    <a:pt x="119" y="736"/>
                  </a:cubicBezTo>
                  <a:cubicBezTo>
                    <a:pt x="80" y="698"/>
                    <a:pt x="53" y="653"/>
                    <a:pt x="31" y="600"/>
                  </a:cubicBezTo>
                  <a:cubicBezTo>
                    <a:pt x="11" y="547"/>
                    <a:pt x="0" y="492"/>
                    <a:pt x="0" y="431"/>
                  </a:cubicBezTo>
                  <a:cubicBezTo>
                    <a:pt x="0" y="370"/>
                    <a:pt x="11" y="314"/>
                    <a:pt x="31" y="261"/>
                  </a:cubicBezTo>
                  <a:cubicBezTo>
                    <a:pt x="53" y="209"/>
                    <a:pt x="80" y="164"/>
                    <a:pt x="119" y="125"/>
                  </a:cubicBezTo>
                  <a:cubicBezTo>
                    <a:pt x="158" y="86"/>
                    <a:pt x="203" y="59"/>
                    <a:pt x="258" y="34"/>
                  </a:cubicBezTo>
                  <a:cubicBezTo>
                    <a:pt x="311" y="11"/>
                    <a:pt x="369" y="0"/>
                    <a:pt x="436" y="0"/>
                  </a:cubicBezTo>
                  <a:lnTo>
                    <a:pt x="436" y="161"/>
                  </a:lnTo>
                  <a:lnTo>
                    <a:pt x="436" y="161"/>
                  </a:lnTo>
                  <a:cubicBezTo>
                    <a:pt x="394" y="161"/>
                    <a:pt x="358" y="170"/>
                    <a:pt x="328" y="184"/>
                  </a:cubicBezTo>
                  <a:cubicBezTo>
                    <a:pt x="294" y="198"/>
                    <a:pt x="269" y="217"/>
                    <a:pt x="247" y="242"/>
                  </a:cubicBezTo>
                  <a:cubicBezTo>
                    <a:pt x="225" y="267"/>
                    <a:pt x="206" y="298"/>
                    <a:pt x="194" y="328"/>
                  </a:cubicBezTo>
                  <a:cubicBezTo>
                    <a:pt x="183" y="361"/>
                    <a:pt x="178" y="395"/>
                    <a:pt x="178" y="431"/>
                  </a:cubicBezTo>
                  <a:cubicBezTo>
                    <a:pt x="178" y="470"/>
                    <a:pt x="183" y="503"/>
                    <a:pt x="194" y="536"/>
                  </a:cubicBezTo>
                  <a:cubicBezTo>
                    <a:pt x="206" y="567"/>
                    <a:pt x="225" y="595"/>
                    <a:pt x="247" y="620"/>
                  </a:cubicBezTo>
                  <a:cubicBezTo>
                    <a:pt x="269" y="645"/>
                    <a:pt x="294" y="664"/>
                    <a:pt x="328" y="678"/>
                  </a:cubicBezTo>
                  <a:cubicBezTo>
                    <a:pt x="358" y="692"/>
                    <a:pt x="394" y="698"/>
                    <a:pt x="436" y="698"/>
                  </a:cubicBezTo>
                  <a:cubicBezTo>
                    <a:pt x="475" y="698"/>
                    <a:pt x="511" y="692"/>
                    <a:pt x="544" y="678"/>
                  </a:cubicBezTo>
                  <a:cubicBezTo>
                    <a:pt x="575" y="664"/>
                    <a:pt x="603" y="645"/>
                    <a:pt x="625" y="620"/>
                  </a:cubicBezTo>
                  <a:cubicBezTo>
                    <a:pt x="647" y="595"/>
                    <a:pt x="664" y="567"/>
                    <a:pt x="678" y="536"/>
                  </a:cubicBezTo>
                  <a:cubicBezTo>
                    <a:pt x="689" y="503"/>
                    <a:pt x="694" y="470"/>
                    <a:pt x="694" y="431"/>
                  </a:cubicBezTo>
                  <a:cubicBezTo>
                    <a:pt x="694" y="395"/>
                    <a:pt x="689" y="361"/>
                    <a:pt x="675" y="328"/>
                  </a:cubicBezTo>
                  <a:cubicBezTo>
                    <a:pt x="664" y="298"/>
                    <a:pt x="644" y="267"/>
                    <a:pt x="622" y="242"/>
                  </a:cubicBezTo>
                  <a:cubicBezTo>
                    <a:pt x="600" y="217"/>
                    <a:pt x="572" y="198"/>
                    <a:pt x="542" y="184"/>
                  </a:cubicBezTo>
                  <a:cubicBezTo>
                    <a:pt x="508" y="170"/>
                    <a:pt x="472" y="161"/>
                    <a:pt x="436" y="161"/>
                  </a:cubicBezTo>
                  <a:lnTo>
                    <a:pt x="43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8" name="Freeform 33">
              <a:extLst>
                <a:ext uri="{FF2B5EF4-FFF2-40B4-BE49-F238E27FC236}">
                  <a16:creationId xmlns:a16="http://schemas.microsoft.com/office/drawing/2014/main" id="{45B22239-2FCD-C441-BB6B-EE9EAF3BEF09}"/>
                </a:ext>
              </a:extLst>
            </p:cNvPr>
            <p:cNvSpPr>
              <a:spLocks noChangeArrowheads="1"/>
            </p:cNvSpPr>
            <p:nvPr userDrawn="1"/>
          </p:nvSpPr>
          <p:spPr bwMode="auto">
            <a:xfrm>
              <a:off x="7431088" y="3627438"/>
              <a:ext cx="323850" cy="427037"/>
            </a:xfrm>
            <a:custGeom>
              <a:avLst/>
              <a:gdLst>
                <a:gd name="T0" fmla="*/ 175 w 898"/>
                <a:gd name="T1" fmla="*/ 0 h 1185"/>
                <a:gd name="T2" fmla="*/ 175 w 898"/>
                <a:gd name="T3" fmla="*/ 0 h 1185"/>
                <a:gd name="T4" fmla="*/ 175 w 898"/>
                <a:gd name="T5" fmla="*/ 472 h 1185"/>
                <a:gd name="T6" fmla="*/ 231 w 898"/>
                <a:gd name="T7" fmla="*/ 409 h 1185"/>
                <a:gd name="T8" fmla="*/ 306 w 898"/>
                <a:gd name="T9" fmla="*/ 361 h 1185"/>
                <a:gd name="T10" fmla="*/ 389 w 898"/>
                <a:gd name="T11" fmla="*/ 334 h 1185"/>
                <a:gd name="T12" fmla="*/ 472 w 898"/>
                <a:gd name="T13" fmla="*/ 325 h 1185"/>
                <a:gd name="T14" fmla="*/ 639 w 898"/>
                <a:gd name="T15" fmla="*/ 353 h 1185"/>
                <a:gd name="T16" fmla="*/ 775 w 898"/>
                <a:gd name="T17" fmla="*/ 434 h 1185"/>
                <a:gd name="T18" fmla="*/ 867 w 898"/>
                <a:gd name="T19" fmla="*/ 570 h 1185"/>
                <a:gd name="T20" fmla="*/ 897 w 898"/>
                <a:gd name="T21" fmla="*/ 753 h 1185"/>
                <a:gd name="T22" fmla="*/ 864 w 898"/>
                <a:gd name="T23" fmla="*/ 936 h 1185"/>
                <a:gd name="T24" fmla="*/ 775 w 898"/>
                <a:gd name="T25" fmla="*/ 1072 h 1185"/>
                <a:gd name="T26" fmla="*/ 639 w 898"/>
                <a:gd name="T27" fmla="*/ 1156 h 1185"/>
                <a:gd name="T28" fmla="*/ 467 w 898"/>
                <a:gd name="T29" fmla="*/ 1184 h 1185"/>
                <a:gd name="T30" fmla="*/ 303 w 898"/>
                <a:gd name="T31" fmla="*/ 1150 h 1185"/>
                <a:gd name="T32" fmla="*/ 175 w 898"/>
                <a:gd name="T33" fmla="*/ 1036 h 1185"/>
                <a:gd name="T34" fmla="*/ 167 w 898"/>
                <a:gd name="T35" fmla="*/ 1167 h 1185"/>
                <a:gd name="T36" fmla="*/ 0 w 898"/>
                <a:gd name="T37" fmla="*/ 1167 h 1185"/>
                <a:gd name="T38" fmla="*/ 0 w 898"/>
                <a:gd name="T39" fmla="*/ 0 h 1185"/>
                <a:gd name="T40" fmla="*/ 175 w 898"/>
                <a:gd name="T41" fmla="*/ 0 h 1185"/>
                <a:gd name="T42" fmla="*/ 456 w 898"/>
                <a:gd name="T43" fmla="*/ 486 h 1185"/>
                <a:gd name="T44" fmla="*/ 456 w 898"/>
                <a:gd name="T45" fmla="*/ 486 h 1185"/>
                <a:gd name="T46" fmla="*/ 353 w 898"/>
                <a:gd name="T47" fmla="*/ 506 h 1185"/>
                <a:gd name="T48" fmla="*/ 267 w 898"/>
                <a:gd name="T49" fmla="*/ 559 h 1185"/>
                <a:gd name="T50" fmla="*/ 208 w 898"/>
                <a:gd name="T51" fmla="*/ 645 h 1185"/>
                <a:gd name="T52" fmla="*/ 186 w 898"/>
                <a:gd name="T53" fmla="*/ 753 h 1185"/>
                <a:gd name="T54" fmla="*/ 208 w 898"/>
                <a:gd name="T55" fmla="*/ 864 h 1185"/>
                <a:gd name="T56" fmla="*/ 267 w 898"/>
                <a:gd name="T57" fmla="*/ 950 h 1185"/>
                <a:gd name="T58" fmla="*/ 350 w 898"/>
                <a:gd name="T59" fmla="*/ 1003 h 1185"/>
                <a:gd name="T60" fmla="*/ 456 w 898"/>
                <a:gd name="T61" fmla="*/ 1023 h 1185"/>
                <a:gd name="T62" fmla="*/ 558 w 898"/>
                <a:gd name="T63" fmla="*/ 1006 h 1185"/>
                <a:gd name="T64" fmla="*/ 645 w 898"/>
                <a:gd name="T65" fmla="*/ 950 h 1185"/>
                <a:gd name="T66" fmla="*/ 700 w 898"/>
                <a:gd name="T67" fmla="*/ 867 h 1185"/>
                <a:gd name="T68" fmla="*/ 722 w 898"/>
                <a:gd name="T69" fmla="*/ 753 h 1185"/>
                <a:gd name="T70" fmla="*/ 700 w 898"/>
                <a:gd name="T71" fmla="*/ 639 h 1185"/>
                <a:gd name="T72" fmla="*/ 645 w 898"/>
                <a:gd name="T73" fmla="*/ 556 h 1185"/>
                <a:gd name="T74" fmla="*/ 558 w 898"/>
                <a:gd name="T75" fmla="*/ 503 h 1185"/>
                <a:gd name="T76" fmla="*/ 456 w 898"/>
                <a:gd name="T77" fmla="*/ 48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8" h="1185">
                  <a:moveTo>
                    <a:pt x="175" y="0"/>
                  </a:moveTo>
                  <a:lnTo>
                    <a:pt x="175" y="0"/>
                  </a:lnTo>
                  <a:cubicBezTo>
                    <a:pt x="175" y="472"/>
                    <a:pt x="175" y="472"/>
                    <a:pt x="175" y="472"/>
                  </a:cubicBezTo>
                  <a:cubicBezTo>
                    <a:pt x="189" y="448"/>
                    <a:pt x="208" y="425"/>
                    <a:pt x="231" y="409"/>
                  </a:cubicBezTo>
                  <a:cubicBezTo>
                    <a:pt x="253" y="389"/>
                    <a:pt x="278" y="373"/>
                    <a:pt x="306" y="361"/>
                  </a:cubicBezTo>
                  <a:cubicBezTo>
                    <a:pt x="334" y="350"/>
                    <a:pt x="361" y="339"/>
                    <a:pt x="389" y="334"/>
                  </a:cubicBezTo>
                  <a:cubicBezTo>
                    <a:pt x="417" y="328"/>
                    <a:pt x="445" y="325"/>
                    <a:pt x="472" y="325"/>
                  </a:cubicBezTo>
                  <a:cubicBezTo>
                    <a:pt x="531" y="325"/>
                    <a:pt x="589" y="334"/>
                    <a:pt x="639" y="353"/>
                  </a:cubicBezTo>
                  <a:cubicBezTo>
                    <a:pt x="692" y="370"/>
                    <a:pt x="739" y="397"/>
                    <a:pt x="775" y="434"/>
                  </a:cubicBezTo>
                  <a:cubicBezTo>
                    <a:pt x="814" y="470"/>
                    <a:pt x="845" y="514"/>
                    <a:pt x="867" y="570"/>
                  </a:cubicBezTo>
                  <a:cubicBezTo>
                    <a:pt x="886" y="623"/>
                    <a:pt x="897" y="684"/>
                    <a:pt x="897" y="753"/>
                  </a:cubicBezTo>
                  <a:cubicBezTo>
                    <a:pt x="897" y="823"/>
                    <a:pt x="886" y="884"/>
                    <a:pt x="864" y="936"/>
                  </a:cubicBezTo>
                  <a:cubicBezTo>
                    <a:pt x="842" y="989"/>
                    <a:pt x="811" y="1036"/>
                    <a:pt x="775" y="1072"/>
                  </a:cubicBezTo>
                  <a:cubicBezTo>
                    <a:pt x="736" y="1109"/>
                    <a:pt x="692" y="1136"/>
                    <a:pt x="639" y="1156"/>
                  </a:cubicBezTo>
                  <a:cubicBezTo>
                    <a:pt x="586" y="1175"/>
                    <a:pt x="531" y="1184"/>
                    <a:pt x="467" y="1184"/>
                  </a:cubicBezTo>
                  <a:cubicBezTo>
                    <a:pt x="411" y="1184"/>
                    <a:pt x="356" y="1172"/>
                    <a:pt x="303" y="1150"/>
                  </a:cubicBezTo>
                  <a:cubicBezTo>
                    <a:pt x="253" y="1128"/>
                    <a:pt x="208" y="1089"/>
                    <a:pt x="175" y="1036"/>
                  </a:cubicBezTo>
                  <a:cubicBezTo>
                    <a:pt x="167" y="1167"/>
                    <a:pt x="167" y="1167"/>
                    <a:pt x="167" y="1167"/>
                  </a:cubicBezTo>
                  <a:cubicBezTo>
                    <a:pt x="0" y="1167"/>
                    <a:pt x="0" y="1167"/>
                    <a:pt x="0" y="1167"/>
                  </a:cubicBezTo>
                  <a:cubicBezTo>
                    <a:pt x="0" y="0"/>
                    <a:pt x="0" y="0"/>
                    <a:pt x="0" y="0"/>
                  </a:cubicBezTo>
                  <a:lnTo>
                    <a:pt x="175" y="0"/>
                  </a:lnTo>
                  <a:close/>
                  <a:moveTo>
                    <a:pt x="456" y="486"/>
                  </a:moveTo>
                  <a:lnTo>
                    <a:pt x="456" y="486"/>
                  </a:lnTo>
                  <a:cubicBezTo>
                    <a:pt x="420" y="486"/>
                    <a:pt x="383" y="492"/>
                    <a:pt x="353" y="506"/>
                  </a:cubicBezTo>
                  <a:cubicBezTo>
                    <a:pt x="320" y="517"/>
                    <a:pt x="289" y="536"/>
                    <a:pt x="267" y="559"/>
                  </a:cubicBezTo>
                  <a:cubicBezTo>
                    <a:pt x="242" y="584"/>
                    <a:pt x="222" y="611"/>
                    <a:pt x="208" y="645"/>
                  </a:cubicBezTo>
                  <a:cubicBezTo>
                    <a:pt x="195" y="678"/>
                    <a:pt x="186" y="714"/>
                    <a:pt x="186" y="753"/>
                  </a:cubicBezTo>
                  <a:cubicBezTo>
                    <a:pt x="186" y="795"/>
                    <a:pt x="195" y="831"/>
                    <a:pt x="208" y="864"/>
                  </a:cubicBezTo>
                  <a:cubicBezTo>
                    <a:pt x="222" y="897"/>
                    <a:pt x="242" y="925"/>
                    <a:pt x="267" y="950"/>
                  </a:cubicBezTo>
                  <a:cubicBezTo>
                    <a:pt x="289" y="972"/>
                    <a:pt x="320" y="992"/>
                    <a:pt x="350" y="1003"/>
                  </a:cubicBezTo>
                  <a:cubicBezTo>
                    <a:pt x="383" y="1017"/>
                    <a:pt x="420" y="1023"/>
                    <a:pt x="456" y="1023"/>
                  </a:cubicBezTo>
                  <a:cubicBezTo>
                    <a:pt x="492" y="1023"/>
                    <a:pt x="528" y="1017"/>
                    <a:pt x="558" y="1006"/>
                  </a:cubicBezTo>
                  <a:cubicBezTo>
                    <a:pt x="592" y="992"/>
                    <a:pt x="620" y="975"/>
                    <a:pt x="645" y="950"/>
                  </a:cubicBezTo>
                  <a:cubicBezTo>
                    <a:pt x="667" y="928"/>
                    <a:pt x="686" y="900"/>
                    <a:pt x="700" y="867"/>
                  </a:cubicBezTo>
                  <a:cubicBezTo>
                    <a:pt x="714" y="834"/>
                    <a:pt x="722" y="795"/>
                    <a:pt x="722" y="753"/>
                  </a:cubicBezTo>
                  <a:cubicBezTo>
                    <a:pt x="722" y="711"/>
                    <a:pt x="714" y="672"/>
                    <a:pt x="700" y="639"/>
                  </a:cubicBezTo>
                  <a:cubicBezTo>
                    <a:pt x="686" y="609"/>
                    <a:pt x="667" y="581"/>
                    <a:pt x="645" y="556"/>
                  </a:cubicBezTo>
                  <a:cubicBezTo>
                    <a:pt x="620" y="534"/>
                    <a:pt x="592" y="517"/>
                    <a:pt x="558" y="503"/>
                  </a:cubicBezTo>
                  <a:cubicBezTo>
                    <a:pt x="528" y="492"/>
                    <a:pt x="492" y="486"/>
                    <a:pt x="456" y="4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9" name="Freeform 34">
              <a:extLst>
                <a:ext uri="{FF2B5EF4-FFF2-40B4-BE49-F238E27FC236}">
                  <a16:creationId xmlns:a16="http://schemas.microsoft.com/office/drawing/2014/main" id="{A3756FFF-2DCD-B840-972B-3507C794B0B5}"/>
                </a:ext>
              </a:extLst>
            </p:cNvPr>
            <p:cNvSpPr>
              <a:spLocks noChangeArrowheads="1"/>
            </p:cNvSpPr>
            <p:nvPr userDrawn="1"/>
          </p:nvSpPr>
          <p:spPr bwMode="auto">
            <a:xfrm>
              <a:off x="7804150" y="3743325"/>
              <a:ext cx="315913"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5 w 876"/>
                <a:gd name="T11" fmla="*/ 680 h 864"/>
                <a:gd name="T12" fmla="*/ 703 w 876"/>
                <a:gd name="T13" fmla="*/ 616 h 864"/>
                <a:gd name="T14" fmla="*/ 817 w 876"/>
                <a:gd name="T15" fmla="*/ 724 h 864"/>
                <a:gd name="T16" fmla="*/ 742 w 876"/>
                <a:gd name="T17" fmla="*/ 786 h 864"/>
                <a:gd name="T18" fmla="*/ 653 w 876"/>
                <a:gd name="T19" fmla="*/ 830 h 864"/>
                <a:gd name="T20" fmla="*/ 556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5 w 876"/>
                <a:gd name="T35" fmla="*/ 119 h 864"/>
                <a:gd name="T36" fmla="*/ 264 w 876"/>
                <a:gd name="T37" fmla="*/ 30 h 864"/>
                <a:gd name="T38" fmla="*/ 445 w 876"/>
                <a:gd name="T39" fmla="*/ 0 h 864"/>
                <a:gd name="T40" fmla="*/ 628 w 876"/>
                <a:gd name="T41" fmla="*/ 30 h 864"/>
                <a:gd name="T42" fmla="*/ 770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3 w 876"/>
                <a:gd name="T55" fmla="*/ 202 h 864"/>
                <a:gd name="T56" fmla="*/ 450 w 876"/>
                <a:gd name="T57" fmla="*/ 152 h 864"/>
                <a:gd name="T58" fmla="*/ 281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20" y="686"/>
                    <a:pt x="381" y="705"/>
                    <a:pt x="459" y="705"/>
                  </a:cubicBezTo>
                  <a:cubicBezTo>
                    <a:pt x="503" y="705"/>
                    <a:pt x="548" y="697"/>
                    <a:pt x="595" y="680"/>
                  </a:cubicBezTo>
                  <a:cubicBezTo>
                    <a:pt x="642" y="666"/>
                    <a:pt x="678" y="644"/>
                    <a:pt x="703" y="616"/>
                  </a:cubicBezTo>
                  <a:cubicBezTo>
                    <a:pt x="817" y="724"/>
                    <a:pt x="817" y="724"/>
                    <a:pt x="817" y="724"/>
                  </a:cubicBezTo>
                  <a:cubicBezTo>
                    <a:pt x="798" y="747"/>
                    <a:pt x="770" y="769"/>
                    <a:pt x="742" y="786"/>
                  </a:cubicBezTo>
                  <a:cubicBezTo>
                    <a:pt x="714" y="802"/>
                    <a:pt x="684" y="819"/>
                    <a:pt x="653" y="830"/>
                  </a:cubicBezTo>
                  <a:cubicBezTo>
                    <a:pt x="623" y="841"/>
                    <a:pt x="589" y="849"/>
                    <a:pt x="556" y="855"/>
                  </a:cubicBezTo>
                  <a:cubicBezTo>
                    <a:pt x="520" y="861"/>
                    <a:pt x="486" y="863"/>
                    <a:pt x="456" y="863"/>
                  </a:cubicBezTo>
                  <a:cubicBezTo>
                    <a:pt x="386" y="863"/>
                    <a:pt x="323" y="855"/>
                    <a:pt x="267" y="833"/>
                  </a:cubicBezTo>
                  <a:cubicBezTo>
                    <a:pt x="212" y="813"/>
                    <a:pt x="164" y="783"/>
                    <a:pt x="125" y="747"/>
                  </a:cubicBezTo>
                  <a:cubicBezTo>
                    <a:pt x="86" y="708"/>
                    <a:pt x="56" y="661"/>
                    <a:pt x="34" y="608"/>
                  </a:cubicBezTo>
                  <a:cubicBezTo>
                    <a:pt x="12" y="552"/>
                    <a:pt x="0" y="494"/>
                    <a:pt x="0" y="427"/>
                  </a:cubicBezTo>
                  <a:cubicBezTo>
                    <a:pt x="0" y="366"/>
                    <a:pt x="12" y="308"/>
                    <a:pt x="34" y="255"/>
                  </a:cubicBezTo>
                  <a:cubicBezTo>
                    <a:pt x="56" y="202"/>
                    <a:pt x="86" y="158"/>
                    <a:pt x="125" y="119"/>
                  </a:cubicBezTo>
                  <a:cubicBezTo>
                    <a:pt x="164" y="80"/>
                    <a:pt x="209" y="52"/>
                    <a:pt x="264" y="30"/>
                  </a:cubicBezTo>
                  <a:cubicBezTo>
                    <a:pt x="317" y="8"/>
                    <a:pt x="378" y="0"/>
                    <a:pt x="445" y="0"/>
                  </a:cubicBezTo>
                  <a:cubicBezTo>
                    <a:pt x="511" y="0"/>
                    <a:pt x="573" y="8"/>
                    <a:pt x="628" y="30"/>
                  </a:cubicBezTo>
                  <a:cubicBezTo>
                    <a:pt x="684" y="50"/>
                    <a:pt x="731" y="80"/>
                    <a:pt x="770" y="122"/>
                  </a:cubicBezTo>
                  <a:cubicBezTo>
                    <a:pt x="809" y="163"/>
                    <a:pt x="836" y="216"/>
                    <a:pt x="853" y="277"/>
                  </a:cubicBezTo>
                  <a:cubicBezTo>
                    <a:pt x="870" y="341"/>
                    <a:pt x="875" y="413"/>
                    <a:pt x="867" y="497"/>
                  </a:cubicBezTo>
                  <a:lnTo>
                    <a:pt x="186" y="352"/>
                  </a:lnTo>
                  <a:lnTo>
                    <a:pt x="186" y="352"/>
                  </a:lnTo>
                  <a:cubicBezTo>
                    <a:pt x="698" y="352"/>
                    <a:pt x="698" y="352"/>
                    <a:pt x="698" y="352"/>
                  </a:cubicBezTo>
                  <a:cubicBezTo>
                    <a:pt x="692" y="286"/>
                    <a:pt x="667" y="236"/>
                    <a:pt x="623" y="202"/>
                  </a:cubicBezTo>
                  <a:cubicBezTo>
                    <a:pt x="578" y="169"/>
                    <a:pt x="520" y="152"/>
                    <a:pt x="450" y="152"/>
                  </a:cubicBezTo>
                  <a:cubicBezTo>
                    <a:pt x="384" y="152"/>
                    <a:pt x="328" y="169"/>
                    <a:pt x="281" y="202"/>
                  </a:cubicBezTo>
                  <a:cubicBezTo>
                    <a:pt x="231" y="236"/>
                    <a:pt x="200" y="286"/>
                    <a:pt x="186" y="352"/>
                  </a:cubicBezTo>
                  <a:lnTo>
                    <a:pt x="867" y="49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1" name="Freeform 36">
              <a:extLst>
                <a:ext uri="{FF2B5EF4-FFF2-40B4-BE49-F238E27FC236}">
                  <a16:creationId xmlns:a16="http://schemas.microsoft.com/office/drawing/2014/main" id="{199813C0-91B8-3F49-9748-7DA992F5A79F}"/>
                </a:ext>
              </a:extLst>
            </p:cNvPr>
            <p:cNvSpPr>
              <a:spLocks noChangeArrowheads="1"/>
            </p:cNvSpPr>
            <p:nvPr userDrawn="1"/>
          </p:nvSpPr>
          <p:spPr bwMode="auto">
            <a:xfrm>
              <a:off x="6570663" y="3024188"/>
              <a:ext cx="77787" cy="76200"/>
            </a:xfrm>
            <a:custGeom>
              <a:avLst/>
              <a:gdLst>
                <a:gd name="T0" fmla="*/ 0 w 218"/>
                <a:gd name="T1" fmla="*/ 106 h 213"/>
                <a:gd name="T2" fmla="*/ 0 w 218"/>
                <a:gd name="T3" fmla="*/ 106 h 213"/>
                <a:gd name="T4" fmla="*/ 33 w 218"/>
                <a:gd name="T5" fmla="*/ 25 h 213"/>
                <a:gd name="T6" fmla="*/ 108 w 218"/>
                <a:gd name="T7" fmla="*/ 0 h 213"/>
                <a:gd name="T8" fmla="*/ 183 w 218"/>
                <a:gd name="T9" fmla="*/ 25 h 213"/>
                <a:gd name="T10" fmla="*/ 217 w 218"/>
                <a:gd name="T11" fmla="*/ 106 h 213"/>
                <a:gd name="T12" fmla="*/ 183 w 218"/>
                <a:gd name="T13" fmla="*/ 184 h 213"/>
                <a:gd name="T14" fmla="*/ 108 w 218"/>
                <a:gd name="T15" fmla="*/ 212 h 213"/>
                <a:gd name="T16" fmla="*/ 33 w 218"/>
                <a:gd name="T17" fmla="*/ 184 h 213"/>
                <a:gd name="T18" fmla="*/ 0 w 218"/>
                <a:gd name="T19" fmla="*/ 10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3">
                  <a:moveTo>
                    <a:pt x="0" y="106"/>
                  </a:moveTo>
                  <a:lnTo>
                    <a:pt x="0" y="106"/>
                  </a:lnTo>
                  <a:cubicBezTo>
                    <a:pt x="0" y="70"/>
                    <a:pt x="11" y="42"/>
                    <a:pt x="33" y="25"/>
                  </a:cubicBezTo>
                  <a:cubicBezTo>
                    <a:pt x="56" y="9"/>
                    <a:pt x="80" y="0"/>
                    <a:pt x="108" y="0"/>
                  </a:cubicBezTo>
                  <a:cubicBezTo>
                    <a:pt x="136" y="0"/>
                    <a:pt x="161" y="9"/>
                    <a:pt x="183" y="25"/>
                  </a:cubicBezTo>
                  <a:cubicBezTo>
                    <a:pt x="206" y="42"/>
                    <a:pt x="217" y="70"/>
                    <a:pt x="217" y="106"/>
                  </a:cubicBezTo>
                  <a:cubicBezTo>
                    <a:pt x="217" y="139"/>
                    <a:pt x="206" y="167"/>
                    <a:pt x="183" y="184"/>
                  </a:cubicBezTo>
                  <a:cubicBezTo>
                    <a:pt x="161" y="203"/>
                    <a:pt x="136" y="212"/>
                    <a:pt x="108" y="212"/>
                  </a:cubicBezTo>
                  <a:cubicBezTo>
                    <a:pt x="80" y="212"/>
                    <a:pt x="56" y="203"/>
                    <a:pt x="33" y="184"/>
                  </a:cubicBezTo>
                  <a:cubicBezTo>
                    <a:pt x="11" y="167"/>
                    <a:pt x="0" y="139"/>
                    <a:pt x="0"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2" name="Freeform 37">
              <a:extLst>
                <a:ext uri="{FF2B5EF4-FFF2-40B4-BE49-F238E27FC236}">
                  <a16:creationId xmlns:a16="http://schemas.microsoft.com/office/drawing/2014/main" id="{A96EF0AE-4D3D-3040-B54A-6B7B396778DA}"/>
                </a:ext>
              </a:extLst>
            </p:cNvPr>
            <p:cNvSpPr>
              <a:spLocks noChangeArrowheads="1"/>
            </p:cNvSpPr>
            <p:nvPr userDrawn="1"/>
          </p:nvSpPr>
          <p:spPr bwMode="auto">
            <a:xfrm>
              <a:off x="2690813" y="3625850"/>
              <a:ext cx="79375" cy="77788"/>
            </a:xfrm>
            <a:custGeom>
              <a:avLst/>
              <a:gdLst>
                <a:gd name="T0" fmla="*/ 0 w 221"/>
                <a:gd name="T1" fmla="*/ 105 h 215"/>
                <a:gd name="T2" fmla="*/ 0 w 221"/>
                <a:gd name="T3" fmla="*/ 105 h 215"/>
                <a:gd name="T4" fmla="*/ 34 w 221"/>
                <a:gd name="T5" fmla="*/ 28 h 215"/>
                <a:gd name="T6" fmla="*/ 111 w 221"/>
                <a:gd name="T7" fmla="*/ 0 h 215"/>
                <a:gd name="T8" fmla="*/ 186 w 221"/>
                <a:gd name="T9" fmla="*/ 28 h 215"/>
                <a:gd name="T10" fmla="*/ 220 w 221"/>
                <a:gd name="T11" fmla="*/ 105 h 215"/>
                <a:gd name="T12" fmla="*/ 186 w 221"/>
                <a:gd name="T13" fmla="*/ 186 h 215"/>
                <a:gd name="T14" fmla="*/ 111 w 221"/>
                <a:gd name="T15" fmla="*/ 214 h 215"/>
                <a:gd name="T16" fmla="*/ 34 w 221"/>
                <a:gd name="T17" fmla="*/ 186 h 215"/>
                <a:gd name="T18" fmla="*/ 0 w 221"/>
                <a:gd name="T19" fmla="*/ 10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215">
                  <a:moveTo>
                    <a:pt x="0" y="105"/>
                  </a:moveTo>
                  <a:lnTo>
                    <a:pt x="0" y="105"/>
                  </a:lnTo>
                  <a:cubicBezTo>
                    <a:pt x="0" y="69"/>
                    <a:pt x="11" y="44"/>
                    <a:pt x="34" y="28"/>
                  </a:cubicBezTo>
                  <a:cubicBezTo>
                    <a:pt x="59" y="8"/>
                    <a:pt x="84" y="0"/>
                    <a:pt x="111" y="0"/>
                  </a:cubicBezTo>
                  <a:cubicBezTo>
                    <a:pt x="136" y="0"/>
                    <a:pt x="161" y="8"/>
                    <a:pt x="186" y="28"/>
                  </a:cubicBezTo>
                  <a:cubicBezTo>
                    <a:pt x="209" y="44"/>
                    <a:pt x="220" y="69"/>
                    <a:pt x="220" y="105"/>
                  </a:cubicBezTo>
                  <a:cubicBezTo>
                    <a:pt x="220" y="141"/>
                    <a:pt x="209" y="169"/>
                    <a:pt x="186" y="186"/>
                  </a:cubicBezTo>
                  <a:cubicBezTo>
                    <a:pt x="161" y="202"/>
                    <a:pt x="136" y="214"/>
                    <a:pt x="111" y="214"/>
                  </a:cubicBezTo>
                  <a:cubicBezTo>
                    <a:pt x="84" y="214"/>
                    <a:pt x="59" y="202"/>
                    <a:pt x="34" y="186"/>
                  </a:cubicBezTo>
                  <a:cubicBezTo>
                    <a:pt x="11" y="169"/>
                    <a:pt x="0" y="141"/>
                    <a:pt x="0" y="10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grpSp>
        <p:nvGrpSpPr>
          <p:cNvPr id="94" name="Group 93">
            <a:extLst>
              <a:ext uri="{FF2B5EF4-FFF2-40B4-BE49-F238E27FC236}">
                <a16:creationId xmlns:a16="http://schemas.microsoft.com/office/drawing/2014/main" id="{A88BD38C-8E8B-5548-8161-E4B0896B3370}"/>
              </a:ext>
            </a:extLst>
          </p:cNvPr>
          <p:cNvGrpSpPr/>
          <p:nvPr userDrawn="1"/>
        </p:nvGrpSpPr>
        <p:grpSpPr>
          <a:xfrm>
            <a:off x="7391345" y="411163"/>
            <a:ext cx="1336166" cy="539307"/>
            <a:chOff x="2286000" y="2193925"/>
            <a:chExt cx="6835775" cy="2759075"/>
          </a:xfrm>
          <a:solidFill>
            <a:schemeClr val="tx1"/>
          </a:solidFill>
        </p:grpSpPr>
        <p:sp>
          <p:nvSpPr>
            <p:cNvPr id="95" name="Freeform 1">
              <a:extLst>
                <a:ext uri="{FF2B5EF4-FFF2-40B4-BE49-F238E27FC236}">
                  <a16:creationId xmlns:a16="http://schemas.microsoft.com/office/drawing/2014/main" id="{6A19EC94-5CE3-1843-9FCF-A975C1C7E626}"/>
                </a:ext>
              </a:extLst>
            </p:cNvPr>
            <p:cNvSpPr>
              <a:spLocks noChangeArrowheads="1"/>
            </p:cNvSpPr>
            <p:nvPr/>
          </p:nvSpPr>
          <p:spPr bwMode="auto">
            <a:xfrm>
              <a:off x="8378825" y="2471738"/>
              <a:ext cx="742950" cy="706437"/>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6" name="Freeform 2">
              <a:extLst>
                <a:ext uri="{FF2B5EF4-FFF2-40B4-BE49-F238E27FC236}">
                  <a16:creationId xmlns:a16="http://schemas.microsoft.com/office/drawing/2014/main" id="{6C80F58F-2182-9542-A78D-7FF990693B98}"/>
                </a:ext>
              </a:extLst>
            </p:cNvPr>
            <p:cNvSpPr>
              <a:spLocks noChangeArrowheads="1"/>
            </p:cNvSpPr>
            <p:nvPr/>
          </p:nvSpPr>
          <p:spPr bwMode="auto">
            <a:xfrm>
              <a:off x="5299075" y="2781300"/>
              <a:ext cx="333375" cy="1349375"/>
            </a:xfrm>
            <a:custGeom>
              <a:avLst/>
              <a:gdLst>
                <a:gd name="T0" fmla="*/ 0 w 927"/>
                <a:gd name="T1" fmla="*/ 3749 h 3750"/>
                <a:gd name="T2" fmla="*/ 926 w 927"/>
                <a:gd name="T3" fmla="*/ 3749 h 3750"/>
                <a:gd name="T4" fmla="*/ 926 w 927"/>
                <a:gd name="T5" fmla="*/ 0 h 3750"/>
                <a:gd name="T6" fmla="*/ 0 w 927"/>
                <a:gd name="T7" fmla="*/ 0 h 3750"/>
                <a:gd name="T8" fmla="*/ 0 w 927"/>
                <a:gd name="T9" fmla="*/ 3749 h 3750"/>
              </a:gdLst>
              <a:ahLst/>
              <a:cxnLst>
                <a:cxn ang="0">
                  <a:pos x="T0" y="T1"/>
                </a:cxn>
                <a:cxn ang="0">
                  <a:pos x="T2" y="T3"/>
                </a:cxn>
                <a:cxn ang="0">
                  <a:pos x="T4" y="T5"/>
                </a:cxn>
                <a:cxn ang="0">
                  <a:pos x="T6" y="T7"/>
                </a:cxn>
                <a:cxn ang="0">
                  <a:pos x="T8" y="T9"/>
                </a:cxn>
              </a:cxnLst>
              <a:rect l="0" t="0" r="r" b="b"/>
              <a:pathLst>
                <a:path w="927" h="3750">
                  <a:moveTo>
                    <a:pt x="0" y="3749"/>
                  </a:moveTo>
                  <a:lnTo>
                    <a:pt x="926" y="3749"/>
                  </a:lnTo>
                  <a:lnTo>
                    <a:pt x="926" y="0"/>
                  </a:lnTo>
                  <a:lnTo>
                    <a:pt x="0" y="0"/>
                  </a:lnTo>
                  <a:lnTo>
                    <a:pt x="0" y="374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7" name="Freeform 3">
              <a:extLst>
                <a:ext uri="{FF2B5EF4-FFF2-40B4-BE49-F238E27FC236}">
                  <a16:creationId xmlns:a16="http://schemas.microsoft.com/office/drawing/2014/main" id="{58034059-5665-AE40-AE33-BF807CBE5C3A}"/>
                </a:ext>
              </a:extLst>
            </p:cNvPr>
            <p:cNvSpPr>
              <a:spLocks noChangeArrowheads="1"/>
            </p:cNvSpPr>
            <p:nvPr/>
          </p:nvSpPr>
          <p:spPr bwMode="auto">
            <a:xfrm>
              <a:off x="3781425" y="2193925"/>
              <a:ext cx="1206500" cy="1973263"/>
            </a:xfrm>
            <a:custGeom>
              <a:avLst/>
              <a:gdLst>
                <a:gd name="T0" fmla="*/ 2426 w 3353"/>
                <a:gd name="T1" fmla="*/ 1631 h 5480"/>
                <a:gd name="T2" fmla="*/ 2426 w 3353"/>
                <a:gd name="T3" fmla="*/ 1631 h 5480"/>
                <a:gd name="T4" fmla="*/ 2459 w 3353"/>
                <a:gd name="T5" fmla="*/ 1940 h 5480"/>
                <a:gd name="T6" fmla="*/ 1290 w 3353"/>
                <a:gd name="T7" fmla="*/ 1532 h 5480"/>
                <a:gd name="T8" fmla="*/ 0 w 3353"/>
                <a:gd name="T9" fmla="*/ 1995 h 5480"/>
                <a:gd name="T10" fmla="*/ 463 w 3353"/>
                <a:gd name="T11" fmla="*/ 2833 h 5480"/>
                <a:gd name="T12" fmla="*/ 1323 w 3353"/>
                <a:gd name="T13" fmla="*/ 2403 h 5480"/>
                <a:gd name="T14" fmla="*/ 2393 w 3353"/>
                <a:gd name="T15" fmla="*/ 3506 h 5480"/>
                <a:gd name="T16" fmla="*/ 1323 w 3353"/>
                <a:gd name="T17" fmla="*/ 4619 h 5480"/>
                <a:gd name="T18" fmla="*/ 485 w 3353"/>
                <a:gd name="T19" fmla="*/ 4178 h 5480"/>
                <a:gd name="T20" fmla="*/ 0 w 3353"/>
                <a:gd name="T21" fmla="*/ 5049 h 5480"/>
                <a:gd name="T22" fmla="*/ 1290 w 3353"/>
                <a:gd name="T23" fmla="*/ 5479 h 5480"/>
                <a:gd name="T24" fmla="*/ 2459 w 3353"/>
                <a:gd name="T25" fmla="*/ 5071 h 5480"/>
                <a:gd name="T26" fmla="*/ 2492 w 3353"/>
                <a:gd name="T27" fmla="*/ 5380 h 5480"/>
                <a:gd name="T28" fmla="*/ 3352 w 3353"/>
                <a:gd name="T29" fmla="*/ 5380 h 5480"/>
                <a:gd name="T30" fmla="*/ 3352 w 3353"/>
                <a:gd name="T31" fmla="*/ 0 h 5480"/>
                <a:gd name="T32" fmla="*/ 2426 w 3353"/>
                <a:gd name="T33" fmla="*/ 0 h 5480"/>
                <a:gd name="T34" fmla="*/ 2426 w 3353"/>
                <a:gd name="T35" fmla="*/ 1631 h 5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53" h="5480">
                  <a:moveTo>
                    <a:pt x="2426" y="1631"/>
                  </a:moveTo>
                  <a:lnTo>
                    <a:pt x="2426" y="1631"/>
                  </a:lnTo>
                  <a:cubicBezTo>
                    <a:pt x="2426" y="1819"/>
                    <a:pt x="2459" y="1940"/>
                    <a:pt x="2459" y="1940"/>
                  </a:cubicBezTo>
                  <a:cubicBezTo>
                    <a:pt x="2150" y="1720"/>
                    <a:pt x="1786" y="1532"/>
                    <a:pt x="1290" y="1532"/>
                  </a:cubicBezTo>
                  <a:cubicBezTo>
                    <a:pt x="794" y="1532"/>
                    <a:pt x="364" y="1720"/>
                    <a:pt x="0" y="1995"/>
                  </a:cubicBezTo>
                  <a:cubicBezTo>
                    <a:pt x="210" y="2249"/>
                    <a:pt x="364" y="2524"/>
                    <a:pt x="463" y="2833"/>
                  </a:cubicBezTo>
                  <a:cubicBezTo>
                    <a:pt x="673" y="2557"/>
                    <a:pt x="948" y="2403"/>
                    <a:pt x="1323" y="2403"/>
                  </a:cubicBezTo>
                  <a:cubicBezTo>
                    <a:pt x="1963" y="2403"/>
                    <a:pt x="2393" y="2833"/>
                    <a:pt x="2393" y="3506"/>
                  </a:cubicBezTo>
                  <a:cubicBezTo>
                    <a:pt x="2393" y="4211"/>
                    <a:pt x="1941" y="4619"/>
                    <a:pt x="1323" y="4619"/>
                  </a:cubicBezTo>
                  <a:cubicBezTo>
                    <a:pt x="982" y="4619"/>
                    <a:pt x="673" y="4465"/>
                    <a:pt x="485" y="4178"/>
                  </a:cubicBezTo>
                  <a:cubicBezTo>
                    <a:pt x="397" y="4520"/>
                    <a:pt x="210" y="4795"/>
                    <a:pt x="0" y="5049"/>
                  </a:cubicBezTo>
                  <a:cubicBezTo>
                    <a:pt x="364" y="5325"/>
                    <a:pt x="794" y="5479"/>
                    <a:pt x="1290" y="5479"/>
                  </a:cubicBezTo>
                  <a:cubicBezTo>
                    <a:pt x="1753" y="5479"/>
                    <a:pt x="2183" y="5292"/>
                    <a:pt x="2459" y="5071"/>
                  </a:cubicBezTo>
                  <a:cubicBezTo>
                    <a:pt x="2492" y="5380"/>
                    <a:pt x="2492" y="5380"/>
                    <a:pt x="2492" y="5380"/>
                  </a:cubicBezTo>
                  <a:cubicBezTo>
                    <a:pt x="3352" y="5380"/>
                    <a:pt x="3352" y="5380"/>
                    <a:pt x="3352" y="5380"/>
                  </a:cubicBezTo>
                  <a:cubicBezTo>
                    <a:pt x="3352" y="0"/>
                    <a:pt x="3352" y="0"/>
                    <a:pt x="3352" y="0"/>
                  </a:cubicBezTo>
                  <a:cubicBezTo>
                    <a:pt x="2426" y="0"/>
                    <a:pt x="2426" y="0"/>
                    <a:pt x="2426" y="0"/>
                  </a:cubicBezTo>
                  <a:lnTo>
                    <a:pt x="2426" y="163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8" name="Freeform 4">
              <a:extLst>
                <a:ext uri="{FF2B5EF4-FFF2-40B4-BE49-F238E27FC236}">
                  <a16:creationId xmlns:a16="http://schemas.microsoft.com/office/drawing/2014/main" id="{9424A501-0509-914E-AAEC-817C68A3D034}"/>
                </a:ext>
              </a:extLst>
            </p:cNvPr>
            <p:cNvSpPr>
              <a:spLocks noChangeArrowheads="1"/>
            </p:cNvSpPr>
            <p:nvPr/>
          </p:nvSpPr>
          <p:spPr bwMode="auto">
            <a:xfrm>
              <a:off x="2286000" y="2746375"/>
              <a:ext cx="1441450" cy="1420813"/>
            </a:xfrm>
            <a:custGeom>
              <a:avLst/>
              <a:gdLst>
                <a:gd name="T0" fmla="*/ 1995 w 4003"/>
                <a:gd name="T1" fmla="*/ 0 h 3948"/>
                <a:gd name="T2" fmla="*/ 1995 w 4003"/>
                <a:gd name="T3" fmla="*/ 0 h 3948"/>
                <a:gd name="T4" fmla="*/ 0 w 4003"/>
                <a:gd name="T5" fmla="*/ 1974 h 3948"/>
                <a:gd name="T6" fmla="*/ 1995 w 4003"/>
                <a:gd name="T7" fmla="*/ 3947 h 3948"/>
                <a:gd name="T8" fmla="*/ 4002 w 4003"/>
                <a:gd name="T9" fmla="*/ 1974 h 3948"/>
                <a:gd name="T10" fmla="*/ 1995 w 4003"/>
                <a:gd name="T11" fmla="*/ 0 h 3948"/>
                <a:gd name="T12" fmla="*/ 1995 w 4003"/>
                <a:gd name="T13" fmla="*/ 3087 h 3948"/>
                <a:gd name="T14" fmla="*/ 1995 w 4003"/>
                <a:gd name="T15" fmla="*/ 3087 h 3948"/>
                <a:gd name="T16" fmla="*/ 926 w 4003"/>
                <a:gd name="T17" fmla="*/ 1974 h 3948"/>
                <a:gd name="T18" fmla="*/ 1995 w 4003"/>
                <a:gd name="T19" fmla="*/ 871 h 3948"/>
                <a:gd name="T20" fmla="*/ 3076 w 4003"/>
                <a:gd name="T21" fmla="*/ 1974 h 3948"/>
                <a:gd name="T22" fmla="*/ 1995 w 4003"/>
                <a:gd name="T23" fmla="*/ 3087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3" h="3948">
                  <a:moveTo>
                    <a:pt x="1995" y="0"/>
                  </a:moveTo>
                  <a:lnTo>
                    <a:pt x="1995" y="0"/>
                  </a:lnTo>
                  <a:cubicBezTo>
                    <a:pt x="860" y="0"/>
                    <a:pt x="0" y="893"/>
                    <a:pt x="0" y="1974"/>
                  </a:cubicBezTo>
                  <a:cubicBezTo>
                    <a:pt x="0" y="3109"/>
                    <a:pt x="860" y="3947"/>
                    <a:pt x="1995" y="3947"/>
                  </a:cubicBezTo>
                  <a:cubicBezTo>
                    <a:pt x="3142" y="3947"/>
                    <a:pt x="4002" y="3109"/>
                    <a:pt x="4002" y="1974"/>
                  </a:cubicBezTo>
                  <a:cubicBezTo>
                    <a:pt x="4002" y="893"/>
                    <a:pt x="3142" y="0"/>
                    <a:pt x="1995" y="0"/>
                  </a:cubicBezTo>
                  <a:close/>
                  <a:moveTo>
                    <a:pt x="1995" y="3087"/>
                  </a:moveTo>
                  <a:lnTo>
                    <a:pt x="1995" y="3087"/>
                  </a:lnTo>
                  <a:cubicBezTo>
                    <a:pt x="1389" y="3087"/>
                    <a:pt x="926" y="2624"/>
                    <a:pt x="926" y="1974"/>
                  </a:cubicBezTo>
                  <a:cubicBezTo>
                    <a:pt x="926" y="1356"/>
                    <a:pt x="1356" y="871"/>
                    <a:pt x="1995" y="871"/>
                  </a:cubicBezTo>
                  <a:cubicBezTo>
                    <a:pt x="2646" y="871"/>
                    <a:pt x="3076" y="1356"/>
                    <a:pt x="3076" y="1974"/>
                  </a:cubicBezTo>
                  <a:cubicBezTo>
                    <a:pt x="3076" y="2624"/>
                    <a:pt x="2613" y="3087"/>
                    <a:pt x="1995" y="308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9" name="Freeform 5">
              <a:extLst>
                <a:ext uri="{FF2B5EF4-FFF2-40B4-BE49-F238E27FC236}">
                  <a16:creationId xmlns:a16="http://schemas.microsoft.com/office/drawing/2014/main" id="{E6B1B708-ECB1-2444-851F-88EEB4434530}"/>
                </a:ext>
              </a:extLst>
            </p:cNvPr>
            <p:cNvSpPr>
              <a:spLocks noChangeArrowheads="1"/>
            </p:cNvSpPr>
            <p:nvPr/>
          </p:nvSpPr>
          <p:spPr bwMode="auto">
            <a:xfrm>
              <a:off x="5862638" y="2627313"/>
              <a:ext cx="1420812" cy="2325687"/>
            </a:xfrm>
            <a:custGeom>
              <a:avLst/>
              <a:gdLst>
                <a:gd name="T0" fmla="*/ 3914 w 3948"/>
                <a:gd name="T1" fmla="*/ 2216 h 6462"/>
                <a:gd name="T2" fmla="*/ 3914 w 3948"/>
                <a:gd name="T3" fmla="*/ 2216 h 6462"/>
                <a:gd name="T4" fmla="*/ 3517 w 3948"/>
                <a:gd name="T5" fmla="*/ 1048 h 6462"/>
                <a:gd name="T6" fmla="*/ 3947 w 3948"/>
                <a:gd name="T7" fmla="*/ 519 h 6462"/>
                <a:gd name="T8" fmla="*/ 3263 w 3948"/>
                <a:gd name="T9" fmla="*/ 0 h 6462"/>
                <a:gd name="T10" fmla="*/ 2800 w 3948"/>
                <a:gd name="T11" fmla="*/ 519 h 6462"/>
                <a:gd name="T12" fmla="*/ 1940 w 3948"/>
                <a:gd name="T13" fmla="*/ 331 h 6462"/>
                <a:gd name="T14" fmla="*/ 0 w 3948"/>
                <a:gd name="T15" fmla="*/ 2305 h 6462"/>
                <a:gd name="T16" fmla="*/ 1510 w 3948"/>
                <a:gd name="T17" fmla="*/ 4057 h 6462"/>
                <a:gd name="T18" fmla="*/ 2954 w 3948"/>
                <a:gd name="T19" fmla="*/ 4895 h 6462"/>
                <a:gd name="T20" fmla="*/ 2061 w 3948"/>
                <a:gd name="T21" fmla="*/ 5568 h 6462"/>
                <a:gd name="T22" fmla="*/ 1080 w 3948"/>
                <a:gd name="T23" fmla="*/ 4829 h 6462"/>
                <a:gd name="T24" fmla="*/ 1080 w 3948"/>
                <a:gd name="T25" fmla="*/ 4741 h 6462"/>
                <a:gd name="T26" fmla="*/ 132 w 3948"/>
                <a:gd name="T27" fmla="*/ 4741 h 6462"/>
                <a:gd name="T28" fmla="*/ 132 w 3948"/>
                <a:gd name="T29" fmla="*/ 4829 h 6462"/>
                <a:gd name="T30" fmla="*/ 2039 w 3948"/>
                <a:gd name="T31" fmla="*/ 6461 h 6462"/>
                <a:gd name="T32" fmla="*/ 3914 w 3948"/>
                <a:gd name="T33" fmla="*/ 4951 h 6462"/>
                <a:gd name="T34" fmla="*/ 3021 w 3948"/>
                <a:gd name="T35" fmla="*/ 3694 h 6462"/>
                <a:gd name="T36" fmla="*/ 3914 w 3948"/>
                <a:gd name="T37" fmla="*/ 2216 h 6462"/>
                <a:gd name="T38" fmla="*/ 1940 w 3948"/>
                <a:gd name="T39" fmla="*/ 3286 h 6462"/>
                <a:gd name="T40" fmla="*/ 1940 w 3948"/>
                <a:gd name="T41" fmla="*/ 3286 h 6462"/>
                <a:gd name="T42" fmla="*/ 959 w 3948"/>
                <a:gd name="T43" fmla="*/ 2238 h 6462"/>
                <a:gd name="T44" fmla="*/ 1940 w 3948"/>
                <a:gd name="T45" fmla="*/ 1202 h 6462"/>
                <a:gd name="T46" fmla="*/ 2954 w 3948"/>
                <a:gd name="T47" fmla="*/ 2238 h 6462"/>
                <a:gd name="T48" fmla="*/ 1940 w 3948"/>
                <a:gd name="T49" fmla="*/ 3286 h 6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8" h="6462">
                  <a:moveTo>
                    <a:pt x="3914" y="2216"/>
                  </a:moveTo>
                  <a:lnTo>
                    <a:pt x="3914" y="2216"/>
                  </a:lnTo>
                  <a:cubicBezTo>
                    <a:pt x="3914" y="1786"/>
                    <a:pt x="3759" y="1356"/>
                    <a:pt x="3517" y="1048"/>
                  </a:cubicBezTo>
                  <a:cubicBezTo>
                    <a:pt x="3947" y="519"/>
                    <a:pt x="3947" y="519"/>
                    <a:pt x="3947" y="519"/>
                  </a:cubicBezTo>
                  <a:cubicBezTo>
                    <a:pt x="3263" y="0"/>
                    <a:pt x="3263" y="0"/>
                    <a:pt x="3263" y="0"/>
                  </a:cubicBezTo>
                  <a:cubicBezTo>
                    <a:pt x="2800" y="519"/>
                    <a:pt x="2800" y="519"/>
                    <a:pt x="2800" y="519"/>
                  </a:cubicBezTo>
                  <a:cubicBezTo>
                    <a:pt x="2558" y="397"/>
                    <a:pt x="2282" y="331"/>
                    <a:pt x="1940" y="331"/>
                  </a:cubicBezTo>
                  <a:cubicBezTo>
                    <a:pt x="805" y="331"/>
                    <a:pt x="0" y="1202"/>
                    <a:pt x="0" y="2305"/>
                  </a:cubicBezTo>
                  <a:cubicBezTo>
                    <a:pt x="0" y="3286"/>
                    <a:pt x="595" y="3903"/>
                    <a:pt x="1510" y="4057"/>
                  </a:cubicBezTo>
                  <a:cubicBezTo>
                    <a:pt x="2128" y="4179"/>
                    <a:pt x="2954" y="4157"/>
                    <a:pt x="2954" y="4895"/>
                  </a:cubicBezTo>
                  <a:cubicBezTo>
                    <a:pt x="2954" y="5292"/>
                    <a:pt x="2679" y="5568"/>
                    <a:pt x="2061" y="5568"/>
                  </a:cubicBezTo>
                  <a:cubicBezTo>
                    <a:pt x="1422" y="5568"/>
                    <a:pt x="1080" y="5193"/>
                    <a:pt x="1080" y="4829"/>
                  </a:cubicBezTo>
                  <a:cubicBezTo>
                    <a:pt x="1080" y="4796"/>
                    <a:pt x="1080" y="4763"/>
                    <a:pt x="1080" y="4741"/>
                  </a:cubicBezTo>
                  <a:cubicBezTo>
                    <a:pt x="132" y="4741"/>
                    <a:pt x="132" y="4741"/>
                    <a:pt x="132" y="4741"/>
                  </a:cubicBezTo>
                  <a:cubicBezTo>
                    <a:pt x="132" y="4763"/>
                    <a:pt x="132" y="4796"/>
                    <a:pt x="132" y="4829"/>
                  </a:cubicBezTo>
                  <a:cubicBezTo>
                    <a:pt x="132" y="5689"/>
                    <a:pt x="871" y="6461"/>
                    <a:pt x="2039" y="6461"/>
                  </a:cubicBezTo>
                  <a:cubicBezTo>
                    <a:pt x="3329" y="6461"/>
                    <a:pt x="3914" y="5689"/>
                    <a:pt x="3914" y="4951"/>
                  </a:cubicBezTo>
                  <a:cubicBezTo>
                    <a:pt x="3914" y="4245"/>
                    <a:pt x="3539" y="3870"/>
                    <a:pt x="3021" y="3694"/>
                  </a:cubicBezTo>
                  <a:cubicBezTo>
                    <a:pt x="3539" y="3440"/>
                    <a:pt x="3914" y="2889"/>
                    <a:pt x="3914" y="2216"/>
                  </a:cubicBezTo>
                  <a:close/>
                  <a:moveTo>
                    <a:pt x="1940" y="3286"/>
                  </a:moveTo>
                  <a:lnTo>
                    <a:pt x="1940" y="3286"/>
                  </a:lnTo>
                  <a:cubicBezTo>
                    <a:pt x="1356" y="3286"/>
                    <a:pt x="959" y="2889"/>
                    <a:pt x="959" y="2238"/>
                  </a:cubicBezTo>
                  <a:cubicBezTo>
                    <a:pt x="959" y="1632"/>
                    <a:pt x="1334" y="1202"/>
                    <a:pt x="1940" y="1202"/>
                  </a:cubicBezTo>
                  <a:cubicBezTo>
                    <a:pt x="2591" y="1202"/>
                    <a:pt x="2954" y="1632"/>
                    <a:pt x="2954" y="2238"/>
                  </a:cubicBezTo>
                  <a:cubicBezTo>
                    <a:pt x="2954" y="2889"/>
                    <a:pt x="2624" y="3286"/>
                    <a:pt x="1940" y="32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0" name="Freeform 6">
              <a:extLst>
                <a:ext uri="{FF2B5EF4-FFF2-40B4-BE49-F238E27FC236}">
                  <a16:creationId xmlns:a16="http://schemas.microsoft.com/office/drawing/2014/main" id="{260D8605-8788-714F-A8DE-689025F85016}"/>
                </a:ext>
              </a:extLst>
            </p:cNvPr>
            <p:cNvSpPr>
              <a:spLocks noChangeArrowheads="1"/>
            </p:cNvSpPr>
            <p:nvPr/>
          </p:nvSpPr>
          <p:spPr bwMode="auto">
            <a:xfrm>
              <a:off x="5299075" y="2193925"/>
              <a:ext cx="333375" cy="322263"/>
            </a:xfrm>
            <a:custGeom>
              <a:avLst/>
              <a:gdLst>
                <a:gd name="T0" fmla="*/ 0 w 927"/>
                <a:gd name="T1" fmla="*/ 893 h 894"/>
                <a:gd name="T2" fmla="*/ 926 w 927"/>
                <a:gd name="T3" fmla="*/ 893 h 894"/>
                <a:gd name="T4" fmla="*/ 926 w 927"/>
                <a:gd name="T5" fmla="*/ 0 h 894"/>
                <a:gd name="T6" fmla="*/ 0 w 927"/>
                <a:gd name="T7" fmla="*/ 0 h 894"/>
                <a:gd name="T8" fmla="*/ 0 w 927"/>
                <a:gd name="T9" fmla="*/ 893 h 894"/>
              </a:gdLst>
              <a:ahLst/>
              <a:cxnLst>
                <a:cxn ang="0">
                  <a:pos x="T0" y="T1"/>
                </a:cxn>
                <a:cxn ang="0">
                  <a:pos x="T2" y="T3"/>
                </a:cxn>
                <a:cxn ang="0">
                  <a:pos x="T4" y="T5"/>
                </a:cxn>
                <a:cxn ang="0">
                  <a:pos x="T6" y="T7"/>
                </a:cxn>
                <a:cxn ang="0">
                  <a:pos x="T8" y="T9"/>
                </a:cxn>
              </a:cxnLst>
              <a:rect l="0" t="0" r="r" b="b"/>
              <a:pathLst>
                <a:path w="927" h="894">
                  <a:moveTo>
                    <a:pt x="0" y="893"/>
                  </a:moveTo>
                  <a:lnTo>
                    <a:pt x="926" y="893"/>
                  </a:lnTo>
                  <a:lnTo>
                    <a:pt x="926" y="0"/>
                  </a:lnTo>
                  <a:lnTo>
                    <a:pt x="0" y="0"/>
                  </a:lnTo>
                  <a:lnTo>
                    <a:pt x="0" y="8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1" name="Freeform 7">
              <a:extLst>
                <a:ext uri="{FF2B5EF4-FFF2-40B4-BE49-F238E27FC236}">
                  <a16:creationId xmlns:a16="http://schemas.microsoft.com/office/drawing/2014/main" id="{7AC3BBC8-9FCF-7F4A-A59E-E9B9EEFB7DB1}"/>
                </a:ext>
              </a:extLst>
            </p:cNvPr>
            <p:cNvSpPr>
              <a:spLocks noChangeArrowheads="1"/>
            </p:cNvSpPr>
            <p:nvPr/>
          </p:nvSpPr>
          <p:spPr bwMode="auto">
            <a:xfrm>
              <a:off x="7458075" y="2746375"/>
              <a:ext cx="1452563" cy="1420813"/>
            </a:xfrm>
            <a:custGeom>
              <a:avLst/>
              <a:gdLst>
                <a:gd name="T0" fmla="*/ 3076 w 4036"/>
                <a:gd name="T1" fmla="*/ 1764 h 3948"/>
                <a:gd name="T2" fmla="*/ 3076 w 4036"/>
                <a:gd name="T3" fmla="*/ 1764 h 3948"/>
                <a:gd name="T4" fmla="*/ 3076 w 4036"/>
                <a:gd name="T5" fmla="*/ 1974 h 3948"/>
                <a:gd name="T6" fmla="*/ 2007 w 4036"/>
                <a:gd name="T7" fmla="*/ 3087 h 3948"/>
                <a:gd name="T8" fmla="*/ 959 w 4036"/>
                <a:gd name="T9" fmla="*/ 1974 h 3948"/>
                <a:gd name="T10" fmla="*/ 2007 w 4036"/>
                <a:gd name="T11" fmla="*/ 871 h 3948"/>
                <a:gd name="T12" fmla="*/ 2062 w 4036"/>
                <a:gd name="T13" fmla="*/ 871 h 3948"/>
                <a:gd name="T14" fmla="*/ 2062 w 4036"/>
                <a:gd name="T15" fmla="*/ 0 h 3948"/>
                <a:gd name="T16" fmla="*/ 2007 w 4036"/>
                <a:gd name="T17" fmla="*/ 0 h 3948"/>
                <a:gd name="T18" fmla="*/ 0 w 4036"/>
                <a:gd name="T19" fmla="*/ 1974 h 3948"/>
                <a:gd name="T20" fmla="*/ 2007 w 4036"/>
                <a:gd name="T21" fmla="*/ 3947 h 3948"/>
                <a:gd name="T22" fmla="*/ 4035 w 4036"/>
                <a:gd name="T23" fmla="*/ 1974 h 3948"/>
                <a:gd name="T24" fmla="*/ 4002 w 4036"/>
                <a:gd name="T25" fmla="*/ 1764 h 3948"/>
                <a:gd name="T26" fmla="*/ 3076 w 4036"/>
                <a:gd name="T27" fmla="*/ 1764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6" h="3948">
                  <a:moveTo>
                    <a:pt x="3076" y="1764"/>
                  </a:moveTo>
                  <a:lnTo>
                    <a:pt x="3076" y="1764"/>
                  </a:lnTo>
                  <a:cubicBezTo>
                    <a:pt x="3076" y="1852"/>
                    <a:pt x="3076" y="1907"/>
                    <a:pt x="3076" y="1974"/>
                  </a:cubicBezTo>
                  <a:cubicBezTo>
                    <a:pt x="3076" y="2624"/>
                    <a:pt x="2624" y="3087"/>
                    <a:pt x="2007" y="3087"/>
                  </a:cubicBezTo>
                  <a:cubicBezTo>
                    <a:pt x="1422" y="3087"/>
                    <a:pt x="959" y="2624"/>
                    <a:pt x="959" y="1974"/>
                  </a:cubicBezTo>
                  <a:cubicBezTo>
                    <a:pt x="959" y="1356"/>
                    <a:pt x="1389" y="871"/>
                    <a:pt x="2007" y="871"/>
                  </a:cubicBezTo>
                  <a:cubicBezTo>
                    <a:pt x="2040" y="871"/>
                    <a:pt x="2040" y="871"/>
                    <a:pt x="2062" y="871"/>
                  </a:cubicBezTo>
                  <a:cubicBezTo>
                    <a:pt x="2062" y="0"/>
                    <a:pt x="2062" y="0"/>
                    <a:pt x="2062" y="0"/>
                  </a:cubicBezTo>
                  <a:cubicBezTo>
                    <a:pt x="2040" y="0"/>
                    <a:pt x="2040" y="0"/>
                    <a:pt x="2007" y="0"/>
                  </a:cubicBezTo>
                  <a:cubicBezTo>
                    <a:pt x="871" y="0"/>
                    <a:pt x="0" y="893"/>
                    <a:pt x="0" y="1974"/>
                  </a:cubicBezTo>
                  <a:cubicBezTo>
                    <a:pt x="0" y="3109"/>
                    <a:pt x="871" y="3947"/>
                    <a:pt x="2007" y="3947"/>
                  </a:cubicBezTo>
                  <a:cubicBezTo>
                    <a:pt x="3175" y="3947"/>
                    <a:pt x="4035" y="3109"/>
                    <a:pt x="4035" y="1974"/>
                  </a:cubicBezTo>
                  <a:cubicBezTo>
                    <a:pt x="4035" y="1907"/>
                    <a:pt x="4035" y="1852"/>
                    <a:pt x="4002" y="1764"/>
                  </a:cubicBezTo>
                  <a:lnTo>
                    <a:pt x="3076" y="17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Tree>
    <p:extLst>
      <p:ext uri="{BB962C8B-B14F-4D97-AF65-F5344CB8AC3E}">
        <p14:creationId xmlns:p14="http://schemas.microsoft.com/office/powerpoint/2010/main" val="23682147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digo-Content_Two-columns">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3EF4C9C-BB30-C046-870D-B4AE71D8A577}"/>
              </a:ext>
            </a:extLst>
          </p:cNvPr>
          <p:cNvSpPr>
            <a:spLocks noGrp="1"/>
          </p:cNvSpPr>
          <p:nvPr>
            <p:ph type="body" idx="10"/>
          </p:nvPr>
        </p:nvSpPr>
        <p:spPr>
          <a:xfrm>
            <a:off x="9525" y="1600200"/>
            <a:ext cx="4562475" cy="3132138"/>
          </a:xfrm>
          <a:prstGeom prst="rect">
            <a:avLst/>
          </a:prstGeom>
        </p:spPr>
        <p:txBody>
          <a:bodyPr lIns="432000" tIns="72000" rIns="180000" bIns="18000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7">
            <a:extLst>
              <a:ext uri="{FF2B5EF4-FFF2-40B4-BE49-F238E27FC236}">
                <a16:creationId xmlns:a16="http://schemas.microsoft.com/office/drawing/2014/main" id="{BFA29C67-DFBB-0D46-9C5F-8A8249874D05}"/>
              </a:ext>
            </a:extLst>
          </p:cNvPr>
          <p:cNvSpPr>
            <a:spLocks noGrp="1"/>
          </p:cNvSpPr>
          <p:nvPr>
            <p:ph type="body" sz="quarter" idx="11" hasCustomPrompt="1"/>
          </p:nvPr>
        </p:nvSpPr>
        <p:spPr>
          <a:xfrm>
            <a:off x="9525" y="808038"/>
            <a:ext cx="4562475" cy="785650"/>
          </a:xfrm>
          <a:prstGeom prst="rect">
            <a:avLst/>
          </a:prstGeom>
        </p:spPr>
        <p:txBody>
          <a:bodyPr lIns="432000" tIns="72000" rIns="180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
        <p:nvSpPr>
          <p:cNvPr id="5" name="Text Placeholder 5">
            <a:extLst>
              <a:ext uri="{FF2B5EF4-FFF2-40B4-BE49-F238E27FC236}">
                <a16:creationId xmlns:a16="http://schemas.microsoft.com/office/drawing/2014/main" id="{8D51E610-7002-AC4C-A81B-FE85E111590E}"/>
              </a:ext>
            </a:extLst>
          </p:cNvPr>
          <p:cNvSpPr>
            <a:spLocks noGrp="1"/>
          </p:cNvSpPr>
          <p:nvPr>
            <p:ph type="body" idx="12"/>
          </p:nvPr>
        </p:nvSpPr>
        <p:spPr>
          <a:xfrm>
            <a:off x="4581525" y="1600200"/>
            <a:ext cx="4562475" cy="3132138"/>
          </a:xfrm>
          <a:prstGeom prst="rect">
            <a:avLst/>
          </a:prstGeom>
        </p:spPr>
        <p:txBody>
          <a:bodyPr lIns="180000" tIns="72000" rIns="432000" bIns="18000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7">
            <a:extLst>
              <a:ext uri="{FF2B5EF4-FFF2-40B4-BE49-F238E27FC236}">
                <a16:creationId xmlns:a16="http://schemas.microsoft.com/office/drawing/2014/main" id="{70816A23-897D-2043-80F4-4EA115F14BC9}"/>
              </a:ext>
            </a:extLst>
          </p:cNvPr>
          <p:cNvSpPr>
            <a:spLocks noGrp="1"/>
          </p:cNvSpPr>
          <p:nvPr>
            <p:ph type="body" sz="quarter" idx="13" hasCustomPrompt="1"/>
          </p:nvPr>
        </p:nvSpPr>
        <p:spPr>
          <a:xfrm>
            <a:off x="4581525" y="808038"/>
            <a:ext cx="4562475" cy="785650"/>
          </a:xfrm>
          <a:prstGeom prst="rect">
            <a:avLst/>
          </a:prstGeom>
        </p:spPr>
        <p:txBody>
          <a:bodyPr lIns="180000" tIns="72000" rIns="432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
        <p:nvSpPr>
          <p:cNvPr id="12" name="Title 5">
            <a:extLst>
              <a:ext uri="{FF2B5EF4-FFF2-40B4-BE49-F238E27FC236}">
                <a16:creationId xmlns:a16="http://schemas.microsoft.com/office/drawing/2014/main" id="{50AE4ECF-3ABE-194D-B0C2-7E632D114E22}"/>
              </a:ext>
            </a:extLst>
          </p:cNvPr>
          <p:cNvSpPr>
            <a:spLocks noGrp="1"/>
          </p:cNvSpPr>
          <p:nvPr>
            <p:ph type="title"/>
          </p:nvPr>
        </p:nvSpPr>
        <p:spPr>
          <a:xfrm>
            <a:off x="9525" y="1"/>
            <a:ext cx="6975475"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Tree>
    <p:extLst>
      <p:ext uri="{BB962C8B-B14F-4D97-AF65-F5344CB8AC3E}">
        <p14:creationId xmlns:p14="http://schemas.microsoft.com/office/powerpoint/2010/main" val="224934084"/>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digo-Content_Two-columns-white">
    <p:bg>
      <p:bgRef idx="1001">
        <a:schemeClr val="bg1"/>
      </p:bgRef>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3EF4C9C-BB30-C046-870D-B4AE71D8A577}"/>
              </a:ext>
            </a:extLst>
          </p:cNvPr>
          <p:cNvSpPr>
            <a:spLocks noGrp="1"/>
          </p:cNvSpPr>
          <p:nvPr>
            <p:ph type="body" idx="10"/>
          </p:nvPr>
        </p:nvSpPr>
        <p:spPr>
          <a:xfrm>
            <a:off x="9525" y="1600200"/>
            <a:ext cx="4562475" cy="3132138"/>
          </a:xfrm>
          <a:prstGeom prst="rect">
            <a:avLst/>
          </a:prstGeom>
        </p:spPr>
        <p:txBody>
          <a:bodyPr lIns="432000" tIns="72000" rIns="180000" bIns="18000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7">
            <a:extLst>
              <a:ext uri="{FF2B5EF4-FFF2-40B4-BE49-F238E27FC236}">
                <a16:creationId xmlns:a16="http://schemas.microsoft.com/office/drawing/2014/main" id="{BFA29C67-DFBB-0D46-9C5F-8A8249874D05}"/>
              </a:ext>
            </a:extLst>
          </p:cNvPr>
          <p:cNvSpPr>
            <a:spLocks noGrp="1"/>
          </p:cNvSpPr>
          <p:nvPr>
            <p:ph type="body" sz="quarter" idx="11" hasCustomPrompt="1"/>
          </p:nvPr>
        </p:nvSpPr>
        <p:spPr>
          <a:xfrm>
            <a:off x="9525" y="808038"/>
            <a:ext cx="4562475" cy="785650"/>
          </a:xfrm>
          <a:prstGeom prst="rect">
            <a:avLst/>
          </a:prstGeom>
        </p:spPr>
        <p:txBody>
          <a:bodyPr lIns="432000" tIns="72000" rIns="180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
        <p:nvSpPr>
          <p:cNvPr id="5" name="Text Placeholder 5">
            <a:extLst>
              <a:ext uri="{FF2B5EF4-FFF2-40B4-BE49-F238E27FC236}">
                <a16:creationId xmlns:a16="http://schemas.microsoft.com/office/drawing/2014/main" id="{8D51E610-7002-AC4C-A81B-FE85E111590E}"/>
              </a:ext>
            </a:extLst>
          </p:cNvPr>
          <p:cNvSpPr>
            <a:spLocks noGrp="1"/>
          </p:cNvSpPr>
          <p:nvPr>
            <p:ph type="body" idx="12"/>
          </p:nvPr>
        </p:nvSpPr>
        <p:spPr>
          <a:xfrm>
            <a:off x="4581525" y="1600200"/>
            <a:ext cx="4562475" cy="3132138"/>
          </a:xfrm>
          <a:prstGeom prst="rect">
            <a:avLst/>
          </a:prstGeom>
        </p:spPr>
        <p:txBody>
          <a:bodyPr lIns="180000" tIns="72000" rIns="432000" bIns="18000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7">
            <a:extLst>
              <a:ext uri="{FF2B5EF4-FFF2-40B4-BE49-F238E27FC236}">
                <a16:creationId xmlns:a16="http://schemas.microsoft.com/office/drawing/2014/main" id="{70816A23-897D-2043-80F4-4EA115F14BC9}"/>
              </a:ext>
            </a:extLst>
          </p:cNvPr>
          <p:cNvSpPr>
            <a:spLocks noGrp="1"/>
          </p:cNvSpPr>
          <p:nvPr>
            <p:ph type="body" sz="quarter" idx="13" hasCustomPrompt="1"/>
          </p:nvPr>
        </p:nvSpPr>
        <p:spPr>
          <a:xfrm>
            <a:off x="4581525" y="808038"/>
            <a:ext cx="4562475" cy="785650"/>
          </a:xfrm>
          <a:prstGeom prst="rect">
            <a:avLst/>
          </a:prstGeom>
        </p:spPr>
        <p:txBody>
          <a:bodyPr lIns="180000" tIns="72000" rIns="432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
        <p:nvSpPr>
          <p:cNvPr id="12" name="Title 5">
            <a:extLst>
              <a:ext uri="{FF2B5EF4-FFF2-40B4-BE49-F238E27FC236}">
                <a16:creationId xmlns:a16="http://schemas.microsoft.com/office/drawing/2014/main" id="{50AE4ECF-3ABE-194D-B0C2-7E632D114E22}"/>
              </a:ext>
            </a:extLst>
          </p:cNvPr>
          <p:cNvSpPr>
            <a:spLocks noGrp="1"/>
          </p:cNvSpPr>
          <p:nvPr>
            <p:ph type="title"/>
          </p:nvPr>
        </p:nvSpPr>
        <p:spPr>
          <a:xfrm>
            <a:off x="9525" y="1"/>
            <a:ext cx="6975475"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Tree>
    <p:extLst>
      <p:ext uri="{BB962C8B-B14F-4D97-AF65-F5344CB8AC3E}">
        <p14:creationId xmlns:p14="http://schemas.microsoft.com/office/powerpoint/2010/main" val="30878753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digo-Content_Three-columns">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2BE15D14-5332-C249-AC44-677D8C219E65}"/>
              </a:ext>
            </a:extLst>
          </p:cNvPr>
          <p:cNvSpPr>
            <a:spLocks noGrp="1"/>
          </p:cNvSpPr>
          <p:nvPr>
            <p:ph type="body" idx="10"/>
          </p:nvPr>
        </p:nvSpPr>
        <p:spPr>
          <a:xfrm>
            <a:off x="9525" y="1600200"/>
            <a:ext cx="3042512" cy="3132138"/>
          </a:xfrm>
          <a:prstGeom prst="rect">
            <a:avLst/>
          </a:prstGeom>
        </p:spPr>
        <p:txBody>
          <a:bodyPr lIns="432000" tIns="72000" rIns="180000" bIns="18000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7">
            <a:extLst>
              <a:ext uri="{FF2B5EF4-FFF2-40B4-BE49-F238E27FC236}">
                <a16:creationId xmlns:a16="http://schemas.microsoft.com/office/drawing/2014/main" id="{07C84BAA-A93F-DE44-860A-5A1CF585F56E}"/>
              </a:ext>
            </a:extLst>
          </p:cNvPr>
          <p:cNvSpPr>
            <a:spLocks noGrp="1"/>
          </p:cNvSpPr>
          <p:nvPr>
            <p:ph type="body" sz="quarter" idx="11" hasCustomPrompt="1"/>
          </p:nvPr>
        </p:nvSpPr>
        <p:spPr>
          <a:xfrm>
            <a:off x="9525" y="808038"/>
            <a:ext cx="3042512" cy="785650"/>
          </a:xfrm>
          <a:prstGeom prst="rect">
            <a:avLst/>
          </a:prstGeom>
        </p:spPr>
        <p:txBody>
          <a:bodyPr lIns="432000" tIns="72000" rIns="180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
        <p:nvSpPr>
          <p:cNvPr id="14" name="Text Placeholder 5">
            <a:extLst>
              <a:ext uri="{FF2B5EF4-FFF2-40B4-BE49-F238E27FC236}">
                <a16:creationId xmlns:a16="http://schemas.microsoft.com/office/drawing/2014/main" id="{DA3D0C88-A8C4-2D48-B2A4-45F32EBF844F}"/>
              </a:ext>
            </a:extLst>
          </p:cNvPr>
          <p:cNvSpPr>
            <a:spLocks noGrp="1"/>
          </p:cNvSpPr>
          <p:nvPr>
            <p:ph type="body" idx="12"/>
          </p:nvPr>
        </p:nvSpPr>
        <p:spPr>
          <a:xfrm>
            <a:off x="3052037" y="1600200"/>
            <a:ext cx="3042512" cy="3132138"/>
          </a:xfrm>
          <a:prstGeom prst="rect">
            <a:avLst/>
          </a:prstGeom>
        </p:spPr>
        <p:txBody>
          <a:bodyPr lIns="180000" tIns="72000" rIns="180000" bIns="18000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7">
            <a:extLst>
              <a:ext uri="{FF2B5EF4-FFF2-40B4-BE49-F238E27FC236}">
                <a16:creationId xmlns:a16="http://schemas.microsoft.com/office/drawing/2014/main" id="{9CE195A1-2A00-5440-AE69-27FB308A3492}"/>
              </a:ext>
            </a:extLst>
          </p:cNvPr>
          <p:cNvSpPr>
            <a:spLocks noGrp="1"/>
          </p:cNvSpPr>
          <p:nvPr>
            <p:ph type="body" sz="quarter" idx="13" hasCustomPrompt="1"/>
          </p:nvPr>
        </p:nvSpPr>
        <p:spPr>
          <a:xfrm>
            <a:off x="3052037" y="808038"/>
            <a:ext cx="3042512" cy="785650"/>
          </a:xfrm>
          <a:prstGeom prst="rect">
            <a:avLst/>
          </a:prstGeom>
        </p:spPr>
        <p:txBody>
          <a:bodyPr lIns="180000" tIns="72000" rIns="180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
        <p:nvSpPr>
          <p:cNvPr id="19" name="Text Placeholder 5">
            <a:extLst>
              <a:ext uri="{FF2B5EF4-FFF2-40B4-BE49-F238E27FC236}">
                <a16:creationId xmlns:a16="http://schemas.microsoft.com/office/drawing/2014/main" id="{0C44BD45-9AAE-C14D-A6FC-B8827C028052}"/>
              </a:ext>
            </a:extLst>
          </p:cNvPr>
          <p:cNvSpPr>
            <a:spLocks noGrp="1"/>
          </p:cNvSpPr>
          <p:nvPr>
            <p:ph type="body" idx="14"/>
          </p:nvPr>
        </p:nvSpPr>
        <p:spPr>
          <a:xfrm>
            <a:off x="6091398" y="1600200"/>
            <a:ext cx="3042512" cy="3132138"/>
          </a:xfrm>
          <a:prstGeom prst="rect">
            <a:avLst/>
          </a:prstGeom>
        </p:spPr>
        <p:txBody>
          <a:bodyPr lIns="180000" tIns="72000" rIns="432000" bIns="18000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Text Placeholder 7">
            <a:extLst>
              <a:ext uri="{FF2B5EF4-FFF2-40B4-BE49-F238E27FC236}">
                <a16:creationId xmlns:a16="http://schemas.microsoft.com/office/drawing/2014/main" id="{7273767E-B1AA-8C4C-9A2A-55658C103E4F}"/>
              </a:ext>
            </a:extLst>
          </p:cNvPr>
          <p:cNvSpPr>
            <a:spLocks noGrp="1"/>
          </p:cNvSpPr>
          <p:nvPr>
            <p:ph type="body" sz="quarter" idx="15" hasCustomPrompt="1"/>
          </p:nvPr>
        </p:nvSpPr>
        <p:spPr>
          <a:xfrm>
            <a:off x="6091398" y="808038"/>
            <a:ext cx="3042512" cy="785650"/>
          </a:xfrm>
          <a:prstGeom prst="rect">
            <a:avLst/>
          </a:prstGeom>
        </p:spPr>
        <p:txBody>
          <a:bodyPr lIns="180000" tIns="72000" rIns="432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
        <p:nvSpPr>
          <p:cNvPr id="6" name="Title 5">
            <a:extLst>
              <a:ext uri="{FF2B5EF4-FFF2-40B4-BE49-F238E27FC236}">
                <a16:creationId xmlns:a16="http://schemas.microsoft.com/office/drawing/2014/main" id="{C2529051-EE96-D249-9A83-EE9B60C59079}"/>
              </a:ext>
            </a:extLst>
          </p:cNvPr>
          <p:cNvSpPr>
            <a:spLocks noGrp="1"/>
          </p:cNvSpPr>
          <p:nvPr>
            <p:ph type="title"/>
          </p:nvPr>
        </p:nvSpPr>
        <p:spPr>
          <a:xfrm>
            <a:off x="9525" y="1"/>
            <a:ext cx="6975475"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Tree>
    <p:extLst>
      <p:ext uri="{BB962C8B-B14F-4D97-AF65-F5344CB8AC3E}">
        <p14:creationId xmlns:p14="http://schemas.microsoft.com/office/powerpoint/2010/main" val="50397316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digo-Content_Three-columns-white">
    <p:bg>
      <p:bgRef idx="1001">
        <a:schemeClr val="bg1"/>
      </p:bgRef>
    </p:bg>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2BE15D14-5332-C249-AC44-677D8C219E65}"/>
              </a:ext>
            </a:extLst>
          </p:cNvPr>
          <p:cNvSpPr>
            <a:spLocks noGrp="1"/>
          </p:cNvSpPr>
          <p:nvPr>
            <p:ph type="body" idx="10"/>
          </p:nvPr>
        </p:nvSpPr>
        <p:spPr>
          <a:xfrm>
            <a:off x="9525" y="1600200"/>
            <a:ext cx="3042512" cy="3132138"/>
          </a:xfrm>
          <a:prstGeom prst="rect">
            <a:avLst/>
          </a:prstGeom>
        </p:spPr>
        <p:txBody>
          <a:bodyPr lIns="432000" tIns="72000" rIns="180000" bIns="18000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7">
            <a:extLst>
              <a:ext uri="{FF2B5EF4-FFF2-40B4-BE49-F238E27FC236}">
                <a16:creationId xmlns:a16="http://schemas.microsoft.com/office/drawing/2014/main" id="{07C84BAA-A93F-DE44-860A-5A1CF585F56E}"/>
              </a:ext>
            </a:extLst>
          </p:cNvPr>
          <p:cNvSpPr>
            <a:spLocks noGrp="1"/>
          </p:cNvSpPr>
          <p:nvPr>
            <p:ph type="body" sz="quarter" idx="11" hasCustomPrompt="1"/>
          </p:nvPr>
        </p:nvSpPr>
        <p:spPr>
          <a:xfrm>
            <a:off x="9525" y="808038"/>
            <a:ext cx="3042512" cy="785650"/>
          </a:xfrm>
          <a:prstGeom prst="rect">
            <a:avLst/>
          </a:prstGeom>
        </p:spPr>
        <p:txBody>
          <a:bodyPr lIns="432000" tIns="72000" rIns="180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
        <p:nvSpPr>
          <p:cNvPr id="14" name="Text Placeholder 5">
            <a:extLst>
              <a:ext uri="{FF2B5EF4-FFF2-40B4-BE49-F238E27FC236}">
                <a16:creationId xmlns:a16="http://schemas.microsoft.com/office/drawing/2014/main" id="{DA3D0C88-A8C4-2D48-B2A4-45F32EBF844F}"/>
              </a:ext>
            </a:extLst>
          </p:cNvPr>
          <p:cNvSpPr>
            <a:spLocks noGrp="1"/>
          </p:cNvSpPr>
          <p:nvPr>
            <p:ph type="body" idx="12"/>
          </p:nvPr>
        </p:nvSpPr>
        <p:spPr>
          <a:xfrm>
            <a:off x="3052037" y="1600200"/>
            <a:ext cx="3042512" cy="3132138"/>
          </a:xfrm>
          <a:prstGeom prst="rect">
            <a:avLst/>
          </a:prstGeom>
        </p:spPr>
        <p:txBody>
          <a:bodyPr lIns="180000" tIns="72000" rIns="180000" bIns="18000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7">
            <a:extLst>
              <a:ext uri="{FF2B5EF4-FFF2-40B4-BE49-F238E27FC236}">
                <a16:creationId xmlns:a16="http://schemas.microsoft.com/office/drawing/2014/main" id="{9CE195A1-2A00-5440-AE69-27FB308A3492}"/>
              </a:ext>
            </a:extLst>
          </p:cNvPr>
          <p:cNvSpPr>
            <a:spLocks noGrp="1"/>
          </p:cNvSpPr>
          <p:nvPr>
            <p:ph type="body" sz="quarter" idx="13" hasCustomPrompt="1"/>
          </p:nvPr>
        </p:nvSpPr>
        <p:spPr>
          <a:xfrm>
            <a:off x="3052037" y="808038"/>
            <a:ext cx="3042512" cy="785650"/>
          </a:xfrm>
          <a:prstGeom prst="rect">
            <a:avLst/>
          </a:prstGeom>
        </p:spPr>
        <p:txBody>
          <a:bodyPr lIns="180000" tIns="72000" rIns="180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
        <p:nvSpPr>
          <p:cNvPr id="19" name="Text Placeholder 5">
            <a:extLst>
              <a:ext uri="{FF2B5EF4-FFF2-40B4-BE49-F238E27FC236}">
                <a16:creationId xmlns:a16="http://schemas.microsoft.com/office/drawing/2014/main" id="{0C44BD45-9AAE-C14D-A6FC-B8827C028052}"/>
              </a:ext>
            </a:extLst>
          </p:cNvPr>
          <p:cNvSpPr>
            <a:spLocks noGrp="1"/>
          </p:cNvSpPr>
          <p:nvPr>
            <p:ph type="body" idx="14"/>
          </p:nvPr>
        </p:nvSpPr>
        <p:spPr>
          <a:xfrm>
            <a:off x="6091398" y="1600200"/>
            <a:ext cx="3042512" cy="3132138"/>
          </a:xfrm>
          <a:prstGeom prst="rect">
            <a:avLst/>
          </a:prstGeom>
        </p:spPr>
        <p:txBody>
          <a:bodyPr lIns="180000" tIns="72000" rIns="432000" bIns="18000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Text Placeholder 7">
            <a:extLst>
              <a:ext uri="{FF2B5EF4-FFF2-40B4-BE49-F238E27FC236}">
                <a16:creationId xmlns:a16="http://schemas.microsoft.com/office/drawing/2014/main" id="{7273767E-B1AA-8C4C-9A2A-55658C103E4F}"/>
              </a:ext>
            </a:extLst>
          </p:cNvPr>
          <p:cNvSpPr>
            <a:spLocks noGrp="1"/>
          </p:cNvSpPr>
          <p:nvPr>
            <p:ph type="body" sz="quarter" idx="15" hasCustomPrompt="1"/>
          </p:nvPr>
        </p:nvSpPr>
        <p:spPr>
          <a:xfrm>
            <a:off x="6091398" y="808038"/>
            <a:ext cx="3042512" cy="785650"/>
          </a:xfrm>
          <a:prstGeom prst="rect">
            <a:avLst/>
          </a:prstGeom>
        </p:spPr>
        <p:txBody>
          <a:bodyPr lIns="180000" tIns="72000" rIns="432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
        <p:nvSpPr>
          <p:cNvPr id="6" name="Title 5">
            <a:extLst>
              <a:ext uri="{FF2B5EF4-FFF2-40B4-BE49-F238E27FC236}">
                <a16:creationId xmlns:a16="http://schemas.microsoft.com/office/drawing/2014/main" id="{C2529051-EE96-D249-9A83-EE9B60C59079}"/>
              </a:ext>
            </a:extLst>
          </p:cNvPr>
          <p:cNvSpPr>
            <a:spLocks noGrp="1"/>
          </p:cNvSpPr>
          <p:nvPr>
            <p:ph type="title"/>
          </p:nvPr>
        </p:nvSpPr>
        <p:spPr>
          <a:xfrm>
            <a:off x="9525" y="1"/>
            <a:ext cx="6975475"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Tree>
    <p:extLst>
      <p:ext uri="{BB962C8B-B14F-4D97-AF65-F5344CB8AC3E}">
        <p14:creationId xmlns:p14="http://schemas.microsoft.com/office/powerpoint/2010/main" val="41375691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digo-Content_Blank">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B9B799CA-3A82-E940-965B-882C5A38C843}"/>
              </a:ext>
            </a:extLst>
          </p:cNvPr>
          <p:cNvSpPr>
            <a:spLocks noGrp="1"/>
          </p:cNvSpPr>
          <p:nvPr>
            <p:ph type="title"/>
          </p:nvPr>
        </p:nvSpPr>
        <p:spPr>
          <a:xfrm>
            <a:off x="9525" y="1"/>
            <a:ext cx="6975475"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Tree>
    <p:extLst>
      <p:ext uri="{BB962C8B-B14F-4D97-AF65-F5344CB8AC3E}">
        <p14:creationId xmlns:p14="http://schemas.microsoft.com/office/powerpoint/2010/main" val="1314952653"/>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Odigo-Content_Blank-white">
    <p:bg>
      <p:bgRef idx="1001">
        <a:schemeClr val="bg1"/>
      </p:bgRef>
    </p:bg>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B9B799CA-3A82-E940-965B-882C5A38C843}"/>
              </a:ext>
            </a:extLst>
          </p:cNvPr>
          <p:cNvSpPr>
            <a:spLocks noGrp="1"/>
          </p:cNvSpPr>
          <p:nvPr>
            <p:ph type="title"/>
          </p:nvPr>
        </p:nvSpPr>
        <p:spPr>
          <a:xfrm>
            <a:off x="9525" y="1"/>
            <a:ext cx="6975475"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Tree>
    <p:extLst>
      <p:ext uri="{BB962C8B-B14F-4D97-AF65-F5344CB8AC3E}">
        <p14:creationId xmlns:p14="http://schemas.microsoft.com/office/powerpoint/2010/main" val="10160507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digo-Content_Description">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B9B799CA-3A82-E940-965B-882C5A38C843}"/>
              </a:ext>
            </a:extLst>
          </p:cNvPr>
          <p:cNvSpPr>
            <a:spLocks noGrp="1"/>
          </p:cNvSpPr>
          <p:nvPr>
            <p:ph type="title"/>
          </p:nvPr>
        </p:nvSpPr>
        <p:spPr>
          <a:xfrm>
            <a:off x="9525" y="1"/>
            <a:ext cx="6975475"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
        <p:nvSpPr>
          <p:cNvPr id="3" name="Text Placeholder 5">
            <a:extLst>
              <a:ext uri="{FF2B5EF4-FFF2-40B4-BE49-F238E27FC236}">
                <a16:creationId xmlns:a16="http://schemas.microsoft.com/office/drawing/2014/main" id="{3516DECA-9A0C-544F-AB10-90F6E8C05956}"/>
              </a:ext>
            </a:extLst>
          </p:cNvPr>
          <p:cNvSpPr>
            <a:spLocks noGrp="1"/>
          </p:cNvSpPr>
          <p:nvPr>
            <p:ph type="body" idx="10"/>
          </p:nvPr>
        </p:nvSpPr>
        <p:spPr>
          <a:xfrm>
            <a:off x="9524" y="3397685"/>
            <a:ext cx="2232635" cy="1334653"/>
          </a:xfrm>
          <a:prstGeom prst="rect">
            <a:avLst/>
          </a:prstGeom>
        </p:spPr>
        <p:txBody>
          <a:bodyPr lIns="432000" tIns="72000" rIns="288000" bIns="18000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Edit Master text styles</a:t>
            </a:r>
          </a:p>
          <a:p>
            <a:pPr lvl="1"/>
            <a:r>
              <a:rPr lang="en-US" noProof="0"/>
              <a:t>Second level</a:t>
            </a:r>
          </a:p>
          <a:p>
            <a:pPr lvl="2"/>
            <a:r>
              <a:rPr lang="en-US" noProof="0"/>
              <a:t>Third level</a:t>
            </a:r>
          </a:p>
        </p:txBody>
      </p:sp>
      <p:sp>
        <p:nvSpPr>
          <p:cNvPr id="5" name="Text Placeholder 7">
            <a:extLst>
              <a:ext uri="{FF2B5EF4-FFF2-40B4-BE49-F238E27FC236}">
                <a16:creationId xmlns:a16="http://schemas.microsoft.com/office/drawing/2014/main" id="{D38EB64C-ECAC-C641-86B0-38A5650C0769}"/>
              </a:ext>
            </a:extLst>
          </p:cNvPr>
          <p:cNvSpPr>
            <a:spLocks noGrp="1"/>
          </p:cNvSpPr>
          <p:nvPr>
            <p:ph type="body" sz="quarter" idx="11" hasCustomPrompt="1"/>
          </p:nvPr>
        </p:nvSpPr>
        <p:spPr>
          <a:xfrm>
            <a:off x="9524" y="2605523"/>
            <a:ext cx="2232635" cy="785650"/>
          </a:xfrm>
          <a:prstGeom prst="rect">
            <a:avLst/>
          </a:prstGeom>
        </p:spPr>
        <p:txBody>
          <a:bodyPr lIns="432000" tIns="72000" rIns="288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Tree>
    <p:extLst>
      <p:ext uri="{BB962C8B-B14F-4D97-AF65-F5344CB8AC3E}">
        <p14:creationId xmlns:p14="http://schemas.microsoft.com/office/powerpoint/2010/main" val="198041749"/>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Odigo-Content_Description-white">
    <p:bg>
      <p:bgRef idx="1001">
        <a:schemeClr val="bg1"/>
      </p:bgRef>
    </p:bg>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B9B799CA-3A82-E940-965B-882C5A38C843}"/>
              </a:ext>
            </a:extLst>
          </p:cNvPr>
          <p:cNvSpPr>
            <a:spLocks noGrp="1"/>
          </p:cNvSpPr>
          <p:nvPr>
            <p:ph type="title"/>
          </p:nvPr>
        </p:nvSpPr>
        <p:spPr>
          <a:xfrm>
            <a:off x="9525" y="1"/>
            <a:ext cx="6975475"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
        <p:nvSpPr>
          <p:cNvPr id="3" name="Text Placeholder 5">
            <a:extLst>
              <a:ext uri="{FF2B5EF4-FFF2-40B4-BE49-F238E27FC236}">
                <a16:creationId xmlns:a16="http://schemas.microsoft.com/office/drawing/2014/main" id="{3516DECA-9A0C-544F-AB10-90F6E8C05956}"/>
              </a:ext>
            </a:extLst>
          </p:cNvPr>
          <p:cNvSpPr>
            <a:spLocks noGrp="1"/>
          </p:cNvSpPr>
          <p:nvPr>
            <p:ph type="body" idx="10"/>
          </p:nvPr>
        </p:nvSpPr>
        <p:spPr>
          <a:xfrm>
            <a:off x="9524" y="3397685"/>
            <a:ext cx="2232635" cy="1334653"/>
          </a:xfrm>
          <a:prstGeom prst="rect">
            <a:avLst/>
          </a:prstGeom>
        </p:spPr>
        <p:txBody>
          <a:bodyPr lIns="432000" tIns="72000" rIns="288000" bIns="18000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Edit Master text styles</a:t>
            </a:r>
          </a:p>
          <a:p>
            <a:pPr lvl="1"/>
            <a:r>
              <a:rPr lang="en-US" noProof="0"/>
              <a:t>Second level</a:t>
            </a:r>
          </a:p>
          <a:p>
            <a:pPr lvl="2"/>
            <a:r>
              <a:rPr lang="en-US" noProof="0"/>
              <a:t>Third level</a:t>
            </a:r>
          </a:p>
        </p:txBody>
      </p:sp>
      <p:sp>
        <p:nvSpPr>
          <p:cNvPr id="5" name="Text Placeholder 7">
            <a:extLst>
              <a:ext uri="{FF2B5EF4-FFF2-40B4-BE49-F238E27FC236}">
                <a16:creationId xmlns:a16="http://schemas.microsoft.com/office/drawing/2014/main" id="{D38EB64C-ECAC-C641-86B0-38A5650C0769}"/>
              </a:ext>
            </a:extLst>
          </p:cNvPr>
          <p:cNvSpPr>
            <a:spLocks noGrp="1"/>
          </p:cNvSpPr>
          <p:nvPr>
            <p:ph type="body" sz="quarter" idx="11" hasCustomPrompt="1"/>
          </p:nvPr>
        </p:nvSpPr>
        <p:spPr>
          <a:xfrm>
            <a:off x="9524" y="2605523"/>
            <a:ext cx="2232635" cy="785650"/>
          </a:xfrm>
          <a:prstGeom prst="rect">
            <a:avLst/>
          </a:prstGeom>
        </p:spPr>
        <p:txBody>
          <a:bodyPr lIns="432000" tIns="72000" rIns="288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Tree>
    <p:extLst>
      <p:ext uri="{BB962C8B-B14F-4D97-AF65-F5344CB8AC3E}">
        <p14:creationId xmlns:p14="http://schemas.microsoft.com/office/powerpoint/2010/main" val="249025090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digo-Content_Description-ima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C394E94-5738-1745-B643-51A79E326F1E}"/>
              </a:ext>
            </a:extLst>
          </p:cNvPr>
          <p:cNvSpPr/>
          <p:nvPr userDrawn="1"/>
        </p:nvSpPr>
        <p:spPr>
          <a:xfrm>
            <a:off x="3455988" y="0"/>
            <a:ext cx="5688012" cy="51434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 name="Picture Placeholder 4">
            <a:extLst>
              <a:ext uri="{FF2B5EF4-FFF2-40B4-BE49-F238E27FC236}">
                <a16:creationId xmlns:a16="http://schemas.microsoft.com/office/drawing/2014/main" id="{D84CF1E3-0FA4-3043-BDCF-DAF58F67688B}"/>
              </a:ext>
            </a:extLst>
          </p:cNvPr>
          <p:cNvSpPr>
            <a:spLocks noGrp="1"/>
          </p:cNvSpPr>
          <p:nvPr>
            <p:ph type="pic" sz="quarter" idx="13"/>
          </p:nvPr>
        </p:nvSpPr>
        <p:spPr>
          <a:xfrm>
            <a:off x="3455987" y="1"/>
            <a:ext cx="5688013" cy="5138624"/>
          </a:xfrm>
          <a:prstGeom prst="rect">
            <a:avLst/>
          </a:prstGeom>
        </p:spPr>
        <p:txBody>
          <a:bodyPr lIns="180000" rIns="36000" bIns="0"/>
          <a:lstStyle>
            <a:lvl1pPr>
              <a:defRPr sz="1000">
                <a:solidFill>
                  <a:schemeClr val="accent2"/>
                </a:solidFill>
              </a:defRPr>
            </a:lvl1pPr>
          </a:lstStyle>
          <a:p>
            <a:endParaRPr lang="en-US" noProof="0"/>
          </a:p>
        </p:txBody>
      </p:sp>
      <p:sp>
        <p:nvSpPr>
          <p:cNvPr id="7" name="Title 5">
            <a:extLst>
              <a:ext uri="{FF2B5EF4-FFF2-40B4-BE49-F238E27FC236}">
                <a16:creationId xmlns:a16="http://schemas.microsoft.com/office/drawing/2014/main" id="{DBC03DEA-7E5D-D545-9107-63098C23D9D8}"/>
              </a:ext>
            </a:extLst>
          </p:cNvPr>
          <p:cNvSpPr>
            <a:spLocks noGrp="1"/>
          </p:cNvSpPr>
          <p:nvPr>
            <p:ph type="title"/>
          </p:nvPr>
        </p:nvSpPr>
        <p:spPr>
          <a:xfrm>
            <a:off x="9525" y="1"/>
            <a:ext cx="3446463"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
        <p:nvSpPr>
          <p:cNvPr id="8" name="Text Placeholder 5">
            <a:extLst>
              <a:ext uri="{FF2B5EF4-FFF2-40B4-BE49-F238E27FC236}">
                <a16:creationId xmlns:a16="http://schemas.microsoft.com/office/drawing/2014/main" id="{E809B313-E368-1E41-8E27-F348527A313C}"/>
              </a:ext>
            </a:extLst>
          </p:cNvPr>
          <p:cNvSpPr>
            <a:spLocks noGrp="1"/>
          </p:cNvSpPr>
          <p:nvPr>
            <p:ph type="body" idx="10"/>
          </p:nvPr>
        </p:nvSpPr>
        <p:spPr>
          <a:xfrm>
            <a:off x="9524" y="1600200"/>
            <a:ext cx="3446463" cy="3132138"/>
          </a:xfrm>
          <a:prstGeom prst="rect">
            <a:avLst/>
          </a:prstGeom>
        </p:spPr>
        <p:txBody>
          <a:bodyPr lIns="432000" tIns="72000" rIns="288000" bIns="18000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7">
            <a:extLst>
              <a:ext uri="{FF2B5EF4-FFF2-40B4-BE49-F238E27FC236}">
                <a16:creationId xmlns:a16="http://schemas.microsoft.com/office/drawing/2014/main" id="{1392BD9E-0692-4145-9167-002C26CD444D}"/>
              </a:ext>
            </a:extLst>
          </p:cNvPr>
          <p:cNvSpPr>
            <a:spLocks noGrp="1"/>
          </p:cNvSpPr>
          <p:nvPr>
            <p:ph type="body" sz="quarter" idx="11" hasCustomPrompt="1"/>
          </p:nvPr>
        </p:nvSpPr>
        <p:spPr>
          <a:xfrm>
            <a:off x="9524" y="808038"/>
            <a:ext cx="3446463" cy="785650"/>
          </a:xfrm>
          <a:prstGeom prst="rect">
            <a:avLst/>
          </a:prstGeom>
        </p:spPr>
        <p:txBody>
          <a:bodyPr lIns="432000" tIns="72000" rIns="288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
        <p:nvSpPr>
          <p:cNvPr id="11" name="Slide Number Placeholder 14">
            <a:extLst>
              <a:ext uri="{FF2B5EF4-FFF2-40B4-BE49-F238E27FC236}">
                <a16:creationId xmlns:a16="http://schemas.microsoft.com/office/drawing/2014/main" id="{993A9880-D222-4D4D-A46F-A7F71B1A8EAF}"/>
              </a:ext>
            </a:extLst>
          </p:cNvPr>
          <p:cNvSpPr txBox="1">
            <a:spLocks/>
          </p:cNvSpPr>
          <p:nvPr userDrawn="1"/>
        </p:nvSpPr>
        <p:spPr>
          <a:xfrm>
            <a:off x="6979136" y="4731750"/>
            <a:ext cx="2163409" cy="406875"/>
          </a:xfrm>
          <a:prstGeom prst="rect">
            <a:avLst/>
          </a:prstGeom>
        </p:spPr>
        <p:txBody>
          <a:bodyPr lIns="0" tIns="0" rIns="432000" bIns="180000" anchor="b" anchorCtr="0">
            <a:noAutofit/>
          </a:bodyPr>
          <a:lstStyle>
            <a:defPPr>
              <a:defRPr lang="pt-PT"/>
            </a:defPPr>
            <a:lvl1pPr marL="0" algn="l" defTabSz="685800" rtl="0" eaLnBrk="1" latinLnBrk="0" hangingPunct="1">
              <a:defRPr lang="pl-PL" sz="600" kern="1200" smtClean="0">
                <a:solidFill>
                  <a:schemeClr val="accent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defTabSz="180000">
              <a:spcBef>
                <a:spcPts val="750"/>
              </a:spcBef>
            </a:pPr>
            <a:r>
              <a:rPr lang="en-US" noProof="0">
                <a:solidFill>
                  <a:schemeClr val="bg1"/>
                </a:solidFill>
                <a:latin typeface="Verdana"/>
              </a:rPr>
              <a:t>© Odigo 2018. All rights reserved  |	</a:t>
            </a:r>
            <a:fld id="{B5D91C59-F2C4-3A40-B252-C7A31DDDAFEA}" type="slidenum">
              <a:rPr lang="en-US" noProof="0" smtClean="0">
                <a:solidFill>
                  <a:schemeClr val="bg1"/>
                </a:solidFill>
                <a:latin typeface="Verdana"/>
              </a:rPr>
              <a:pPr algn="r" defTabSz="180000">
                <a:spcBef>
                  <a:spcPts val="750"/>
                </a:spcBef>
              </a:pPr>
              <a:t>‹N°›</a:t>
            </a:fld>
            <a:endParaRPr lang="en-US" noProof="0">
              <a:solidFill>
                <a:schemeClr val="bg1"/>
              </a:solidFill>
              <a:latin typeface="Verdana"/>
            </a:endParaRPr>
          </a:p>
        </p:txBody>
      </p:sp>
      <p:sp>
        <p:nvSpPr>
          <p:cNvPr id="12" name="Freeform 1">
            <a:extLst>
              <a:ext uri="{FF2B5EF4-FFF2-40B4-BE49-F238E27FC236}">
                <a16:creationId xmlns:a16="http://schemas.microsoft.com/office/drawing/2014/main" id="{48F606BD-6DE2-6E47-AF34-9DBF1F1CDD8E}"/>
              </a:ext>
            </a:extLst>
          </p:cNvPr>
          <p:cNvSpPr>
            <a:spLocks noChangeArrowheads="1"/>
          </p:cNvSpPr>
          <p:nvPr userDrawn="1"/>
        </p:nvSpPr>
        <p:spPr bwMode="auto">
          <a:xfrm>
            <a:off x="8294199" y="0"/>
            <a:ext cx="849802" cy="808038"/>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solidFill>
                <a:schemeClr val="accent2"/>
              </a:solidFill>
            </a:endParaRPr>
          </a:p>
        </p:txBody>
      </p:sp>
    </p:spTree>
    <p:extLst>
      <p:ext uri="{BB962C8B-B14F-4D97-AF65-F5344CB8AC3E}">
        <p14:creationId xmlns:p14="http://schemas.microsoft.com/office/powerpoint/2010/main" val="2306442202"/>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digo-Content_Description-image-white">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C394E94-5738-1745-B643-51A79E326F1E}"/>
              </a:ext>
            </a:extLst>
          </p:cNvPr>
          <p:cNvSpPr/>
          <p:nvPr userDrawn="1"/>
        </p:nvSpPr>
        <p:spPr>
          <a:xfrm>
            <a:off x="3455988" y="0"/>
            <a:ext cx="5688012" cy="51434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 name="Picture Placeholder 4">
            <a:extLst>
              <a:ext uri="{FF2B5EF4-FFF2-40B4-BE49-F238E27FC236}">
                <a16:creationId xmlns:a16="http://schemas.microsoft.com/office/drawing/2014/main" id="{D84CF1E3-0FA4-3043-BDCF-DAF58F67688B}"/>
              </a:ext>
            </a:extLst>
          </p:cNvPr>
          <p:cNvSpPr>
            <a:spLocks noGrp="1"/>
          </p:cNvSpPr>
          <p:nvPr>
            <p:ph type="pic" sz="quarter" idx="13"/>
          </p:nvPr>
        </p:nvSpPr>
        <p:spPr>
          <a:xfrm>
            <a:off x="3455987" y="1"/>
            <a:ext cx="5688013" cy="5138624"/>
          </a:xfrm>
          <a:prstGeom prst="rect">
            <a:avLst/>
          </a:prstGeom>
        </p:spPr>
        <p:txBody>
          <a:bodyPr lIns="180000" rIns="36000" bIns="0"/>
          <a:lstStyle>
            <a:lvl1pPr>
              <a:defRPr sz="1000">
                <a:solidFill>
                  <a:schemeClr val="accent2"/>
                </a:solidFill>
              </a:defRPr>
            </a:lvl1pPr>
          </a:lstStyle>
          <a:p>
            <a:endParaRPr lang="en-US" noProof="0"/>
          </a:p>
        </p:txBody>
      </p:sp>
      <p:sp>
        <p:nvSpPr>
          <p:cNvPr id="7" name="Title 5">
            <a:extLst>
              <a:ext uri="{FF2B5EF4-FFF2-40B4-BE49-F238E27FC236}">
                <a16:creationId xmlns:a16="http://schemas.microsoft.com/office/drawing/2014/main" id="{DBC03DEA-7E5D-D545-9107-63098C23D9D8}"/>
              </a:ext>
            </a:extLst>
          </p:cNvPr>
          <p:cNvSpPr>
            <a:spLocks noGrp="1"/>
          </p:cNvSpPr>
          <p:nvPr>
            <p:ph type="title"/>
          </p:nvPr>
        </p:nvSpPr>
        <p:spPr>
          <a:xfrm>
            <a:off x="9525" y="1"/>
            <a:ext cx="3446463"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
        <p:nvSpPr>
          <p:cNvPr id="8" name="Text Placeholder 5">
            <a:extLst>
              <a:ext uri="{FF2B5EF4-FFF2-40B4-BE49-F238E27FC236}">
                <a16:creationId xmlns:a16="http://schemas.microsoft.com/office/drawing/2014/main" id="{E809B313-E368-1E41-8E27-F348527A313C}"/>
              </a:ext>
            </a:extLst>
          </p:cNvPr>
          <p:cNvSpPr>
            <a:spLocks noGrp="1"/>
          </p:cNvSpPr>
          <p:nvPr>
            <p:ph type="body" idx="10"/>
          </p:nvPr>
        </p:nvSpPr>
        <p:spPr>
          <a:xfrm>
            <a:off x="9524" y="1600200"/>
            <a:ext cx="3446463" cy="3132138"/>
          </a:xfrm>
          <a:prstGeom prst="rect">
            <a:avLst/>
          </a:prstGeom>
        </p:spPr>
        <p:txBody>
          <a:bodyPr lIns="432000" tIns="72000" rIns="288000" bIns="18000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7">
            <a:extLst>
              <a:ext uri="{FF2B5EF4-FFF2-40B4-BE49-F238E27FC236}">
                <a16:creationId xmlns:a16="http://schemas.microsoft.com/office/drawing/2014/main" id="{1392BD9E-0692-4145-9167-002C26CD444D}"/>
              </a:ext>
            </a:extLst>
          </p:cNvPr>
          <p:cNvSpPr>
            <a:spLocks noGrp="1"/>
          </p:cNvSpPr>
          <p:nvPr>
            <p:ph type="body" sz="quarter" idx="11" hasCustomPrompt="1"/>
          </p:nvPr>
        </p:nvSpPr>
        <p:spPr>
          <a:xfrm>
            <a:off x="9524" y="808038"/>
            <a:ext cx="3446463" cy="785650"/>
          </a:xfrm>
          <a:prstGeom prst="rect">
            <a:avLst/>
          </a:prstGeom>
        </p:spPr>
        <p:txBody>
          <a:bodyPr lIns="432000" tIns="72000" rIns="288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
        <p:nvSpPr>
          <p:cNvPr id="11" name="Slide Number Placeholder 14">
            <a:extLst>
              <a:ext uri="{FF2B5EF4-FFF2-40B4-BE49-F238E27FC236}">
                <a16:creationId xmlns:a16="http://schemas.microsoft.com/office/drawing/2014/main" id="{993A9880-D222-4D4D-A46F-A7F71B1A8EAF}"/>
              </a:ext>
            </a:extLst>
          </p:cNvPr>
          <p:cNvSpPr txBox="1">
            <a:spLocks/>
          </p:cNvSpPr>
          <p:nvPr userDrawn="1"/>
        </p:nvSpPr>
        <p:spPr>
          <a:xfrm>
            <a:off x="6979136" y="4731750"/>
            <a:ext cx="2163409" cy="406875"/>
          </a:xfrm>
          <a:prstGeom prst="rect">
            <a:avLst/>
          </a:prstGeom>
        </p:spPr>
        <p:txBody>
          <a:bodyPr lIns="0" tIns="0" rIns="432000" bIns="180000" anchor="b" anchorCtr="0">
            <a:noAutofit/>
          </a:bodyPr>
          <a:lstStyle>
            <a:defPPr>
              <a:defRPr lang="pt-PT"/>
            </a:defPPr>
            <a:lvl1pPr marL="0" algn="l" defTabSz="685800" rtl="0" eaLnBrk="1" latinLnBrk="0" hangingPunct="1">
              <a:defRPr lang="pl-PL" sz="600" kern="1200" smtClean="0">
                <a:solidFill>
                  <a:schemeClr val="accent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defTabSz="180000">
              <a:spcBef>
                <a:spcPts val="750"/>
              </a:spcBef>
            </a:pPr>
            <a:r>
              <a:rPr lang="en-US" noProof="0">
                <a:solidFill>
                  <a:schemeClr val="bg1"/>
                </a:solidFill>
                <a:latin typeface="Verdana"/>
              </a:rPr>
              <a:t>© Odigo 2018. All rights reserved  |	</a:t>
            </a:r>
            <a:fld id="{B5D91C59-F2C4-3A40-B252-C7A31DDDAFEA}" type="slidenum">
              <a:rPr lang="en-US" noProof="0" smtClean="0">
                <a:solidFill>
                  <a:schemeClr val="bg1"/>
                </a:solidFill>
                <a:latin typeface="Verdana"/>
              </a:rPr>
              <a:pPr algn="r" defTabSz="180000">
                <a:spcBef>
                  <a:spcPts val="750"/>
                </a:spcBef>
              </a:pPr>
              <a:t>‹N°›</a:t>
            </a:fld>
            <a:endParaRPr lang="en-US" noProof="0">
              <a:solidFill>
                <a:schemeClr val="bg1"/>
              </a:solidFill>
              <a:latin typeface="Verdana"/>
            </a:endParaRPr>
          </a:p>
        </p:txBody>
      </p:sp>
      <p:sp>
        <p:nvSpPr>
          <p:cNvPr id="12" name="Freeform 1">
            <a:extLst>
              <a:ext uri="{FF2B5EF4-FFF2-40B4-BE49-F238E27FC236}">
                <a16:creationId xmlns:a16="http://schemas.microsoft.com/office/drawing/2014/main" id="{48F606BD-6DE2-6E47-AF34-9DBF1F1CDD8E}"/>
              </a:ext>
            </a:extLst>
          </p:cNvPr>
          <p:cNvSpPr>
            <a:spLocks noChangeArrowheads="1"/>
          </p:cNvSpPr>
          <p:nvPr userDrawn="1"/>
        </p:nvSpPr>
        <p:spPr bwMode="auto">
          <a:xfrm>
            <a:off x="8294199" y="0"/>
            <a:ext cx="849802" cy="808038"/>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solidFill>
                <a:schemeClr val="accent2"/>
              </a:solidFill>
            </a:endParaRPr>
          </a:p>
        </p:txBody>
      </p:sp>
    </p:spTree>
    <p:extLst>
      <p:ext uri="{BB962C8B-B14F-4D97-AF65-F5344CB8AC3E}">
        <p14:creationId xmlns:p14="http://schemas.microsoft.com/office/powerpoint/2010/main" val="8595426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digo-Cover_Circle-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87AECE6-E896-2545-A62F-962C7544C58E}"/>
              </a:ext>
            </a:extLst>
          </p:cNvPr>
          <p:cNvSpPr>
            <a:spLocks noGrp="1"/>
          </p:cNvSpPr>
          <p:nvPr>
            <p:ph type="pic" sz="quarter" idx="11"/>
          </p:nvPr>
        </p:nvSpPr>
        <p:spPr>
          <a:xfrm>
            <a:off x="3395133" y="1016424"/>
            <a:ext cx="5372217" cy="5254433"/>
          </a:xfrm>
          <a:prstGeom prst="ellipse">
            <a:avLst/>
          </a:prstGeom>
          <a:solidFill>
            <a:schemeClr val="accent1"/>
          </a:solidFill>
        </p:spPr>
        <p:txBody>
          <a:bodyPr/>
          <a:lstStyle>
            <a:lvl1pPr>
              <a:defRPr sz="1000">
                <a:solidFill>
                  <a:schemeClr val="accent2"/>
                </a:solidFill>
              </a:defRPr>
            </a:lvl1pPr>
          </a:lstStyle>
          <a:p>
            <a:endParaRPr lang="en-US" noProof="0"/>
          </a:p>
        </p:txBody>
      </p:sp>
      <p:sp>
        <p:nvSpPr>
          <p:cNvPr id="2" name="Title 1">
            <a:extLst>
              <a:ext uri="{FF2B5EF4-FFF2-40B4-BE49-F238E27FC236}">
                <a16:creationId xmlns:a16="http://schemas.microsoft.com/office/drawing/2014/main" id="{0D402FA9-5415-A549-AA59-7A032EE6A06E}"/>
              </a:ext>
            </a:extLst>
          </p:cNvPr>
          <p:cNvSpPr>
            <a:spLocks noGrp="1"/>
          </p:cNvSpPr>
          <p:nvPr>
            <p:ph type="title" hasCustomPrompt="1"/>
          </p:nvPr>
        </p:nvSpPr>
        <p:spPr>
          <a:xfrm>
            <a:off x="1" y="1508558"/>
            <a:ext cx="3455988" cy="1187449"/>
          </a:xfrm>
          <a:prstGeom prst="rect">
            <a:avLst/>
          </a:prstGeom>
        </p:spPr>
        <p:txBody>
          <a:bodyPr lIns="432000" tIns="180000" rIns="72000" bIns="0"/>
          <a:lstStyle>
            <a:lvl1pPr>
              <a:defRPr lang="pl-PL" dirty="0"/>
            </a:lvl1pPr>
          </a:lstStyle>
          <a:p>
            <a:pPr lvl="0"/>
            <a:r>
              <a:rPr lang="en-US" noProof="0"/>
              <a:t>Presentation title</a:t>
            </a:r>
          </a:p>
        </p:txBody>
      </p:sp>
      <p:sp>
        <p:nvSpPr>
          <p:cNvPr id="20" name="Text Placeholder 19">
            <a:extLst>
              <a:ext uri="{FF2B5EF4-FFF2-40B4-BE49-F238E27FC236}">
                <a16:creationId xmlns:a16="http://schemas.microsoft.com/office/drawing/2014/main" id="{E9BFB6C4-08A5-BA43-A8EE-6725DD021A57}"/>
              </a:ext>
            </a:extLst>
          </p:cNvPr>
          <p:cNvSpPr>
            <a:spLocks noGrp="1"/>
          </p:cNvSpPr>
          <p:nvPr>
            <p:ph type="body" sz="quarter" idx="10" hasCustomPrompt="1"/>
          </p:nvPr>
        </p:nvSpPr>
        <p:spPr>
          <a:xfrm>
            <a:off x="1" y="2696007"/>
            <a:ext cx="3455988" cy="455087"/>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sp>
        <p:nvSpPr>
          <p:cNvPr id="4" name="Freeform 1">
            <a:extLst>
              <a:ext uri="{FF2B5EF4-FFF2-40B4-BE49-F238E27FC236}">
                <a16:creationId xmlns:a16="http://schemas.microsoft.com/office/drawing/2014/main" id="{9C35C5D7-0A43-4242-9279-D23DF607C008}"/>
              </a:ext>
            </a:extLst>
          </p:cNvPr>
          <p:cNvSpPr>
            <a:spLocks noChangeArrowheads="1"/>
          </p:cNvSpPr>
          <p:nvPr userDrawn="1"/>
        </p:nvSpPr>
        <p:spPr bwMode="auto">
          <a:xfrm>
            <a:off x="6799803" y="0"/>
            <a:ext cx="2747583" cy="2612551"/>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nvGrpSpPr>
          <p:cNvPr id="16" name="Group 15">
            <a:extLst>
              <a:ext uri="{FF2B5EF4-FFF2-40B4-BE49-F238E27FC236}">
                <a16:creationId xmlns:a16="http://schemas.microsoft.com/office/drawing/2014/main" id="{3D48575B-247C-2E47-8104-C62B28DCA166}"/>
              </a:ext>
            </a:extLst>
          </p:cNvPr>
          <p:cNvGrpSpPr/>
          <p:nvPr userDrawn="1"/>
        </p:nvGrpSpPr>
        <p:grpSpPr>
          <a:xfrm>
            <a:off x="431799" y="416351"/>
            <a:ext cx="1336166" cy="539307"/>
            <a:chOff x="2286000" y="2193925"/>
            <a:chExt cx="6835775" cy="2759075"/>
          </a:xfrm>
        </p:grpSpPr>
        <p:sp>
          <p:nvSpPr>
            <p:cNvPr id="17" name="Freeform 1">
              <a:extLst>
                <a:ext uri="{FF2B5EF4-FFF2-40B4-BE49-F238E27FC236}">
                  <a16:creationId xmlns:a16="http://schemas.microsoft.com/office/drawing/2014/main" id="{8282938B-AFE2-FC4C-96F0-361C3BB71CCD}"/>
                </a:ext>
              </a:extLst>
            </p:cNvPr>
            <p:cNvSpPr>
              <a:spLocks noChangeArrowheads="1"/>
            </p:cNvSpPr>
            <p:nvPr/>
          </p:nvSpPr>
          <p:spPr bwMode="auto">
            <a:xfrm>
              <a:off x="8378825" y="2471738"/>
              <a:ext cx="742950" cy="706437"/>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8" name="Freeform 2">
              <a:extLst>
                <a:ext uri="{FF2B5EF4-FFF2-40B4-BE49-F238E27FC236}">
                  <a16:creationId xmlns:a16="http://schemas.microsoft.com/office/drawing/2014/main" id="{91C8DC84-ACC4-3C4C-AC04-32EF1E7F378F}"/>
                </a:ext>
              </a:extLst>
            </p:cNvPr>
            <p:cNvSpPr>
              <a:spLocks noChangeArrowheads="1"/>
            </p:cNvSpPr>
            <p:nvPr/>
          </p:nvSpPr>
          <p:spPr bwMode="auto">
            <a:xfrm>
              <a:off x="5299075" y="2781300"/>
              <a:ext cx="333375" cy="1349375"/>
            </a:xfrm>
            <a:custGeom>
              <a:avLst/>
              <a:gdLst>
                <a:gd name="T0" fmla="*/ 0 w 927"/>
                <a:gd name="T1" fmla="*/ 3749 h 3750"/>
                <a:gd name="T2" fmla="*/ 926 w 927"/>
                <a:gd name="T3" fmla="*/ 3749 h 3750"/>
                <a:gd name="T4" fmla="*/ 926 w 927"/>
                <a:gd name="T5" fmla="*/ 0 h 3750"/>
                <a:gd name="T6" fmla="*/ 0 w 927"/>
                <a:gd name="T7" fmla="*/ 0 h 3750"/>
                <a:gd name="T8" fmla="*/ 0 w 927"/>
                <a:gd name="T9" fmla="*/ 3749 h 3750"/>
              </a:gdLst>
              <a:ahLst/>
              <a:cxnLst>
                <a:cxn ang="0">
                  <a:pos x="T0" y="T1"/>
                </a:cxn>
                <a:cxn ang="0">
                  <a:pos x="T2" y="T3"/>
                </a:cxn>
                <a:cxn ang="0">
                  <a:pos x="T4" y="T5"/>
                </a:cxn>
                <a:cxn ang="0">
                  <a:pos x="T6" y="T7"/>
                </a:cxn>
                <a:cxn ang="0">
                  <a:pos x="T8" y="T9"/>
                </a:cxn>
              </a:cxnLst>
              <a:rect l="0" t="0" r="r" b="b"/>
              <a:pathLst>
                <a:path w="927" h="3750">
                  <a:moveTo>
                    <a:pt x="0" y="3749"/>
                  </a:moveTo>
                  <a:lnTo>
                    <a:pt x="926" y="3749"/>
                  </a:lnTo>
                  <a:lnTo>
                    <a:pt x="926" y="0"/>
                  </a:lnTo>
                  <a:lnTo>
                    <a:pt x="0" y="0"/>
                  </a:lnTo>
                  <a:lnTo>
                    <a:pt x="0" y="3749"/>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9" name="Freeform 3">
              <a:extLst>
                <a:ext uri="{FF2B5EF4-FFF2-40B4-BE49-F238E27FC236}">
                  <a16:creationId xmlns:a16="http://schemas.microsoft.com/office/drawing/2014/main" id="{B167D7DA-F8BF-6741-89E7-A83D054E93D2}"/>
                </a:ext>
              </a:extLst>
            </p:cNvPr>
            <p:cNvSpPr>
              <a:spLocks noChangeArrowheads="1"/>
            </p:cNvSpPr>
            <p:nvPr/>
          </p:nvSpPr>
          <p:spPr bwMode="auto">
            <a:xfrm>
              <a:off x="3781425" y="2193925"/>
              <a:ext cx="1206500" cy="1973263"/>
            </a:xfrm>
            <a:custGeom>
              <a:avLst/>
              <a:gdLst>
                <a:gd name="T0" fmla="*/ 2426 w 3353"/>
                <a:gd name="T1" fmla="*/ 1631 h 5480"/>
                <a:gd name="T2" fmla="*/ 2426 w 3353"/>
                <a:gd name="T3" fmla="*/ 1631 h 5480"/>
                <a:gd name="T4" fmla="*/ 2459 w 3353"/>
                <a:gd name="T5" fmla="*/ 1940 h 5480"/>
                <a:gd name="T6" fmla="*/ 1290 w 3353"/>
                <a:gd name="T7" fmla="*/ 1532 h 5480"/>
                <a:gd name="T8" fmla="*/ 0 w 3353"/>
                <a:gd name="T9" fmla="*/ 1995 h 5480"/>
                <a:gd name="T10" fmla="*/ 463 w 3353"/>
                <a:gd name="T11" fmla="*/ 2833 h 5480"/>
                <a:gd name="T12" fmla="*/ 1323 w 3353"/>
                <a:gd name="T13" fmla="*/ 2403 h 5480"/>
                <a:gd name="T14" fmla="*/ 2393 w 3353"/>
                <a:gd name="T15" fmla="*/ 3506 h 5480"/>
                <a:gd name="T16" fmla="*/ 1323 w 3353"/>
                <a:gd name="T17" fmla="*/ 4619 h 5480"/>
                <a:gd name="T18" fmla="*/ 485 w 3353"/>
                <a:gd name="T19" fmla="*/ 4178 h 5480"/>
                <a:gd name="T20" fmla="*/ 0 w 3353"/>
                <a:gd name="T21" fmla="*/ 5049 h 5480"/>
                <a:gd name="T22" fmla="*/ 1290 w 3353"/>
                <a:gd name="T23" fmla="*/ 5479 h 5480"/>
                <a:gd name="T24" fmla="*/ 2459 w 3353"/>
                <a:gd name="T25" fmla="*/ 5071 h 5480"/>
                <a:gd name="T26" fmla="*/ 2492 w 3353"/>
                <a:gd name="T27" fmla="*/ 5380 h 5480"/>
                <a:gd name="T28" fmla="*/ 3352 w 3353"/>
                <a:gd name="T29" fmla="*/ 5380 h 5480"/>
                <a:gd name="T30" fmla="*/ 3352 w 3353"/>
                <a:gd name="T31" fmla="*/ 0 h 5480"/>
                <a:gd name="T32" fmla="*/ 2426 w 3353"/>
                <a:gd name="T33" fmla="*/ 0 h 5480"/>
                <a:gd name="T34" fmla="*/ 2426 w 3353"/>
                <a:gd name="T35" fmla="*/ 1631 h 5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53" h="5480">
                  <a:moveTo>
                    <a:pt x="2426" y="1631"/>
                  </a:moveTo>
                  <a:lnTo>
                    <a:pt x="2426" y="1631"/>
                  </a:lnTo>
                  <a:cubicBezTo>
                    <a:pt x="2426" y="1819"/>
                    <a:pt x="2459" y="1940"/>
                    <a:pt x="2459" y="1940"/>
                  </a:cubicBezTo>
                  <a:cubicBezTo>
                    <a:pt x="2150" y="1720"/>
                    <a:pt x="1786" y="1532"/>
                    <a:pt x="1290" y="1532"/>
                  </a:cubicBezTo>
                  <a:cubicBezTo>
                    <a:pt x="794" y="1532"/>
                    <a:pt x="364" y="1720"/>
                    <a:pt x="0" y="1995"/>
                  </a:cubicBezTo>
                  <a:cubicBezTo>
                    <a:pt x="210" y="2249"/>
                    <a:pt x="364" y="2524"/>
                    <a:pt x="463" y="2833"/>
                  </a:cubicBezTo>
                  <a:cubicBezTo>
                    <a:pt x="673" y="2557"/>
                    <a:pt x="948" y="2403"/>
                    <a:pt x="1323" y="2403"/>
                  </a:cubicBezTo>
                  <a:cubicBezTo>
                    <a:pt x="1963" y="2403"/>
                    <a:pt x="2393" y="2833"/>
                    <a:pt x="2393" y="3506"/>
                  </a:cubicBezTo>
                  <a:cubicBezTo>
                    <a:pt x="2393" y="4211"/>
                    <a:pt x="1941" y="4619"/>
                    <a:pt x="1323" y="4619"/>
                  </a:cubicBezTo>
                  <a:cubicBezTo>
                    <a:pt x="982" y="4619"/>
                    <a:pt x="673" y="4465"/>
                    <a:pt x="485" y="4178"/>
                  </a:cubicBezTo>
                  <a:cubicBezTo>
                    <a:pt x="397" y="4520"/>
                    <a:pt x="210" y="4795"/>
                    <a:pt x="0" y="5049"/>
                  </a:cubicBezTo>
                  <a:cubicBezTo>
                    <a:pt x="364" y="5325"/>
                    <a:pt x="794" y="5479"/>
                    <a:pt x="1290" y="5479"/>
                  </a:cubicBezTo>
                  <a:cubicBezTo>
                    <a:pt x="1753" y="5479"/>
                    <a:pt x="2183" y="5292"/>
                    <a:pt x="2459" y="5071"/>
                  </a:cubicBezTo>
                  <a:cubicBezTo>
                    <a:pt x="2492" y="5380"/>
                    <a:pt x="2492" y="5380"/>
                    <a:pt x="2492" y="5380"/>
                  </a:cubicBezTo>
                  <a:cubicBezTo>
                    <a:pt x="3352" y="5380"/>
                    <a:pt x="3352" y="5380"/>
                    <a:pt x="3352" y="5380"/>
                  </a:cubicBezTo>
                  <a:cubicBezTo>
                    <a:pt x="3352" y="0"/>
                    <a:pt x="3352" y="0"/>
                    <a:pt x="3352" y="0"/>
                  </a:cubicBezTo>
                  <a:cubicBezTo>
                    <a:pt x="2426" y="0"/>
                    <a:pt x="2426" y="0"/>
                    <a:pt x="2426" y="0"/>
                  </a:cubicBezTo>
                  <a:lnTo>
                    <a:pt x="2426" y="1631"/>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1" name="Freeform 4">
              <a:extLst>
                <a:ext uri="{FF2B5EF4-FFF2-40B4-BE49-F238E27FC236}">
                  <a16:creationId xmlns:a16="http://schemas.microsoft.com/office/drawing/2014/main" id="{13CF8FAB-1FB0-3145-8422-1988AF781515}"/>
                </a:ext>
              </a:extLst>
            </p:cNvPr>
            <p:cNvSpPr>
              <a:spLocks noChangeArrowheads="1"/>
            </p:cNvSpPr>
            <p:nvPr/>
          </p:nvSpPr>
          <p:spPr bwMode="auto">
            <a:xfrm>
              <a:off x="2286000" y="2746375"/>
              <a:ext cx="1441450" cy="1420813"/>
            </a:xfrm>
            <a:custGeom>
              <a:avLst/>
              <a:gdLst>
                <a:gd name="T0" fmla="*/ 1995 w 4003"/>
                <a:gd name="T1" fmla="*/ 0 h 3948"/>
                <a:gd name="T2" fmla="*/ 1995 w 4003"/>
                <a:gd name="T3" fmla="*/ 0 h 3948"/>
                <a:gd name="T4" fmla="*/ 0 w 4003"/>
                <a:gd name="T5" fmla="*/ 1974 h 3948"/>
                <a:gd name="T6" fmla="*/ 1995 w 4003"/>
                <a:gd name="T7" fmla="*/ 3947 h 3948"/>
                <a:gd name="T8" fmla="*/ 4002 w 4003"/>
                <a:gd name="T9" fmla="*/ 1974 h 3948"/>
                <a:gd name="T10" fmla="*/ 1995 w 4003"/>
                <a:gd name="T11" fmla="*/ 0 h 3948"/>
                <a:gd name="T12" fmla="*/ 1995 w 4003"/>
                <a:gd name="T13" fmla="*/ 3087 h 3948"/>
                <a:gd name="T14" fmla="*/ 1995 w 4003"/>
                <a:gd name="T15" fmla="*/ 3087 h 3948"/>
                <a:gd name="T16" fmla="*/ 926 w 4003"/>
                <a:gd name="T17" fmla="*/ 1974 h 3948"/>
                <a:gd name="T18" fmla="*/ 1995 w 4003"/>
                <a:gd name="T19" fmla="*/ 871 h 3948"/>
                <a:gd name="T20" fmla="*/ 3076 w 4003"/>
                <a:gd name="T21" fmla="*/ 1974 h 3948"/>
                <a:gd name="T22" fmla="*/ 1995 w 4003"/>
                <a:gd name="T23" fmla="*/ 3087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3" h="3948">
                  <a:moveTo>
                    <a:pt x="1995" y="0"/>
                  </a:moveTo>
                  <a:lnTo>
                    <a:pt x="1995" y="0"/>
                  </a:lnTo>
                  <a:cubicBezTo>
                    <a:pt x="860" y="0"/>
                    <a:pt x="0" y="893"/>
                    <a:pt x="0" y="1974"/>
                  </a:cubicBezTo>
                  <a:cubicBezTo>
                    <a:pt x="0" y="3109"/>
                    <a:pt x="860" y="3947"/>
                    <a:pt x="1995" y="3947"/>
                  </a:cubicBezTo>
                  <a:cubicBezTo>
                    <a:pt x="3142" y="3947"/>
                    <a:pt x="4002" y="3109"/>
                    <a:pt x="4002" y="1974"/>
                  </a:cubicBezTo>
                  <a:cubicBezTo>
                    <a:pt x="4002" y="893"/>
                    <a:pt x="3142" y="0"/>
                    <a:pt x="1995" y="0"/>
                  </a:cubicBezTo>
                  <a:close/>
                  <a:moveTo>
                    <a:pt x="1995" y="3087"/>
                  </a:moveTo>
                  <a:lnTo>
                    <a:pt x="1995" y="3087"/>
                  </a:lnTo>
                  <a:cubicBezTo>
                    <a:pt x="1389" y="3087"/>
                    <a:pt x="926" y="2624"/>
                    <a:pt x="926" y="1974"/>
                  </a:cubicBezTo>
                  <a:cubicBezTo>
                    <a:pt x="926" y="1356"/>
                    <a:pt x="1356" y="871"/>
                    <a:pt x="1995" y="871"/>
                  </a:cubicBezTo>
                  <a:cubicBezTo>
                    <a:pt x="2646" y="871"/>
                    <a:pt x="3076" y="1356"/>
                    <a:pt x="3076" y="1974"/>
                  </a:cubicBezTo>
                  <a:cubicBezTo>
                    <a:pt x="3076" y="2624"/>
                    <a:pt x="2613" y="3087"/>
                    <a:pt x="1995" y="3087"/>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2" name="Freeform 5">
              <a:extLst>
                <a:ext uri="{FF2B5EF4-FFF2-40B4-BE49-F238E27FC236}">
                  <a16:creationId xmlns:a16="http://schemas.microsoft.com/office/drawing/2014/main" id="{17AD89BA-251B-DD41-A1DD-7937D0CD4AEF}"/>
                </a:ext>
              </a:extLst>
            </p:cNvPr>
            <p:cNvSpPr>
              <a:spLocks noChangeArrowheads="1"/>
            </p:cNvSpPr>
            <p:nvPr/>
          </p:nvSpPr>
          <p:spPr bwMode="auto">
            <a:xfrm>
              <a:off x="5862638" y="2627313"/>
              <a:ext cx="1420812" cy="2325687"/>
            </a:xfrm>
            <a:custGeom>
              <a:avLst/>
              <a:gdLst>
                <a:gd name="T0" fmla="*/ 3914 w 3948"/>
                <a:gd name="T1" fmla="*/ 2216 h 6462"/>
                <a:gd name="T2" fmla="*/ 3914 w 3948"/>
                <a:gd name="T3" fmla="*/ 2216 h 6462"/>
                <a:gd name="T4" fmla="*/ 3517 w 3948"/>
                <a:gd name="T5" fmla="*/ 1048 h 6462"/>
                <a:gd name="T6" fmla="*/ 3947 w 3948"/>
                <a:gd name="T7" fmla="*/ 519 h 6462"/>
                <a:gd name="T8" fmla="*/ 3263 w 3948"/>
                <a:gd name="T9" fmla="*/ 0 h 6462"/>
                <a:gd name="T10" fmla="*/ 2800 w 3948"/>
                <a:gd name="T11" fmla="*/ 519 h 6462"/>
                <a:gd name="T12" fmla="*/ 1940 w 3948"/>
                <a:gd name="T13" fmla="*/ 331 h 6462"/>
                <a:gd name="T14" fmla="*/ 0 w 3948"/>
                <a:gd name="T15" fmla="*/ 2305 h 6462"/>
                <a:gd name="T16" fmla="*/ 1510 w 3948"/>
                <a:gd name="T17" fmla="*/ 4057 h 6462"/>
                <a:gd name="T18" fmla="*/ 2954 w 3948"/>
                <a:gd name="T19" fmla="*/ 4895 h 6462"/>
                <a:gd name="T20" fmla="*/ 2061 w 3948"/>
                <a:gd name="T21" fmla="*/ 5568 h 6462"/>
                <a:gd name="T22" fmla="*/ 1080 w 3948"/>
                <a:gd name="T23" fmla="*/ 4829 h 6462"/>
                <a:gd name="T24" fmla="*/ 1080 w 3948"/>
                <a:gd name="T25" fmla="*/ 4741 h 6462"/>
                <a:gd name="T26" fmla="*/ 132 w 3948"/>
                <a:gd name="T27" fmla="*/ 4741 h 6462"/>
                <a:gd name="T28" fmla="*/ 132 w 3948"/>
                <a:gd name="T29" fmla="*/ 4829 h 6462"/>
                <a:gd name="T30" fmla="*/ 2039 w 3948"/>
                <a:gd name="T31" fmla="*/ 6461 h 6462"/>
                <a:gd name="T32" fmla="*/ 3914 w 3948"/>
                <a:gd name="T33" fmla="*/ 4951 h 6462"/>
                <a:gd name="T34" fmla="*/ 3021 w 3948"/>
                <a:gd name="T35" fmla="*/ 3694 h 6462"/>
                <a:gd name="T36" fmla="*/ 3914 w 3948"/>
                <a:gd name="T37" fmla="*/ 2216 h 6462"/>
                <a:gd name="T38" fmla="*/ 1940 w 3948"/>
                <a:gd name="T39" fmla="*/ 3286 h 6462"/>
                <a:gd name="T40" fmla="*/ 1940 w 3948"/>
                <a:gd name="T41" fmla="*/ 3286 h 6462"/>
                <a:gd name="T42" fmla="*/ 959 w 3948"/>
                <a:gd name="T43" fmla="*/ 2238 h 6462"/>
                <a:gd name="T44" fmla="*/ 1940 w 3948"/>
                <a:gd name="T45" fmla="*/ 1202 h 6462"/>
                <a:gd name="T46" fmla="*/ 2954 w 3948"/>
                <a:gd name="T47" fmla="*/ 2238 h 6462"/>
                <a:gd name="T48" fmla="*/ 1940 w 3948"/>
                <a:gd name="T49" fmla="*/ 3286 h 6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8" h="6462">
                  <a:moveTo>
                    <a:pt x="3914" y="2216"/>
                  </a:moveTo>
                  <a:lnTo>
                    <a:pt x="3914" y="2216"/>
                  </a:lnTo>
                  <a:cubicBezTo>
                    <a:pt x="3914" y="1786"/>
                    <a:pt x="3759" y="1356"/>
                    <a:pt x="3517" y="1048"/>
                  </a:cubicBezTo>
                  <a:cubicBezTo>
                    <a:pt x="3947" y="519"/>
                    <a:pt x="3947" y="519"/>
                    <a:pt x="3947" y="519"/>
                  </a:cubicBezTo>
                  <a:cubicBezTo>
                    <a:pt x="3263" y="0"/>
                    <a:pt x="3263" y="0"/>
                    <a:pt x="3263" y="0"/>
                  </a:cubicBezTo>
                  <a:cubicBezTo>
                    <a:pt x="2800" y="519"/>
                    <a:pt x="2800" y="519"/>
                    <a:pt x="2800" y="519"/>
                  </a:cubicBezTo>
                  <a:cubicBezTo>
                    <a:pt x="2558" y="397"/>
                    <a:pt x="2282" y="331"/>
                    <a:pt x="1940" y="331"/>
                  </a:cubicBezTo>
                  <a:cubicBezTo>
                    <a:pt x="805" y="331"/>
                    <a:pt x="0" y="1202"/>
                    <a:pt x="0" y="2305"/>
                  </a:cubicBezTo>
                  <a:cubicBezTo>
                    <a:pt x="0" y="3286"/>
                    <a:pt x="595" y="3903"/>
                    <a:pt x="1510" y="4057"/>
                  </a:cubicBezTo>
                  <a:cubicBezTo>
                    <a:pt x="2128" y="4179"/>
                    <a:pt x="2954" y="4157"/>
                    <a:pt x="2954" y="4895"/>
                  </a:cubicBezTo>
                  <a:cubicBezTo>
                    <a:pt x="2954" y="5292"/>
                    <a:pt x="2679" y="5568"/>
                    <a:pt x="2061" y="5568"/>
                  </a:cubicBezTo>
                  <a:cubicBezTo>
                    <a:pt x="1422" y="5568"/>
                    <a:pt x="1080" y="5193"/>
                    <a:pt x="1080" y="4829"/>
                  </a:cubicBezTo>
                  <a:cubicBezTo>
                    <a:pt x="1080" y="4796"/>
                    <a:pt x="1080" y="4763"/>
                    <a:pt x="1080" y="4741"/>
                  </a:cubicBezTo>
                  <a:cubicBezTo>
                    <a:pt x="132" y="4741"/>
                    <a:pt x="132" y="4741"/>
                    <a:pt x="132" y="4741"/>
                  </a:cubicBezTo>
                  <a:cubicBezTo>
                    <a:pt x="132" y="4763"/>
                    <a:pt x="132" y="4796"/>
                    <a:pt x="132" y="4829"/>
                  </a:cubicBezTo>
                  <a:cubicBezTo>
                    <a:pt x="132" y="5689"/>
                    <a:pt x="871" y="6461"/>
                    <a:pt x="2039" y="6461"/>
                  </a:cubicBezTo>
                  <a:cubicBezTo>
                    <a:pt x="3329" y="6461"/>
                    <a:pt x="3914" y="5689"/>
                    <a:pt x="3914" y="4951"/>
                  </a:cubicBezTo>
                  <a:cubicBezTo>
                    <a:pt x="3914" y="4245"/>
                    <a:pt x="3539" y="3870"/>
                    <a:pt x="3021" y="3694"/>
                  </a:cubicBezTo>
                  <a:cubicBezTo>
                    <a:pt x="3539" y="3440"/>
                    <a:pt x="3914" y="2889"/>
                    <a:pt x="3914" y="2216"/>
                  </a:cubicBezTo>
                  <a:close/>
                  <a:moveTo>
                    <a:pt x="1940" y="3286"/>
                  </a:moveTo>
                  <a:lnTo>
                    <a:pt x="1940" y="3286"/>
                  </a:lnTo>
                  <a:cubicBezTo>
                    <a:pt x="1356" y="3286"/>
                    <a:pt x="959" y="2889"/>
                    <a:pt x="959" y="2238"/>
                  </a:cubicBezTo>
                  <a:cubicBezTo>
                    <a:pt x="959" y="1632"/>
                    <a:pt x="1334" y="1202"/>
                    <a:pt x="1940" y="1202"/>
                  </a:cubicBezTo>
                  <a:cubicBezTo>
                    <a:pt x="2591" y="1202"/>
                    <a:pt x="2954" y="1632"/>
                    <a:pt x="2954" y="2238"/>
                  </a:cubicBezTo>
                  <a:cubicBezTo>
                    <a:pt x="2954" y="2889"/>
                    <a:pt x="2624" y="3286"/>
                    <a:pt x="1940" y="3286"/>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3" name="Freeform 6">
              <a:extLst>
                <a:ext uri="{FF2B5EF4-FFF2-40B4-BE49-F238E27FC236}">
                  <a16:creationId xmlns:a16="http://schemas.microsoft.com/office/drawing/2014/main" id="{DC084B0C-F963-5C48-822D-1B8CE308E8BC}"/>
                </a:ext>
              </a:extLst>
            </p:cNvPr>
            <p:cNvSpPr>
              <a:spLocks noChangeArrowheads="1"/>
            </p:cNvSpPr>
            <p:nvPr/>
          </p:nvSpPr>
          <p:spPr bwMode="auto">
            <a:xfrm>
              <a:off x="5299075" y="2193925"/>
              <a:ext cx="333375" cy="322263"/>
            </a:xfrm>
            <a:custGeom>
              <a:avLst/>
              <a:gdLst>
                <a:gd name="T0" fmla="*/ 0 w 927"/>
                <a:gd name="T1" fmla="*/ 893 h 894"/>
                <a:gd name="T2" fmla="*/ 926 w 927"/>
                <a:gd name="T3" fmla="*/ 893 h 894"/>
                <a:gd name="T4" fmla="*/ 926 w 927"/>
                <a:gd name="T5" fmla="*/ 0 h 894"/>
                <a:gd name="T6" fmla="*/ 0 w 927"/>
                <a:gd name="T7" fmla="*/ 0 h 894"/>
                <a:gd name="T8" fmla="*/ 0 w 927"/>
                <a:gd name="T9" fmla="*/ 893 h 894"/>
              </a:gdLst>
              <a:ahLst/>
              <a:cxnLst>
                <a:cxn ang="0">
                  <a:pos x="T0" y="T1"/>
                </a:cxn>
                <a:cxn ang="0">
                  <a:pos x="T2" y="T3"/>
                </a:cxn>
                <a:cxn ang="0">
                  <a:pos x="T4" y="T5"/>
                </a:cxn>
                <a:cxn ang="0">
                  <a:pos x="T6" y="T7"/>
                </a:cxn>
                <a:cxn ang="0">
                  <a:pos x="T8" y="T9"/>
                </a:cxn>
              </a:cxnLst>
              <a:rect l="0" t="0" r="r" b="b"/>
              <a:pathLst>
                <a:path w="927" h="894">
                  <a:moveTo>
                    <a:pt x="0" y="893"/>
                  </a:moveTo>
                  <a:lnTo>
                    <a:pt x="926" y="893"/>
                  </a:lnTo>
                  <a:lnTo>
                    <a:pt x="926" y="0"/>
                  </a:lnTo>
                  <a:lnTo>
                    <a:pt x="0" y="0"/>
                  </a:lnTo>
                  <a:lnTo>
                    <a:pt x="0" y="893"/>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4" name="Freeform 7">
              <a:extLst>
                <a:ext uri="{FF2B5EF4-FFF2-40B4-BE49-F238E27FC236}">
                  <a16:creationId xmlns:a16="http://schemas.microsoft.com/office/drawing/2014/main" id="{B7CD481C-C6B8-1A47-B32D-E42D1E2D490F}"/>
                </a:ext>
              </a:extLst>
            </p:cNvPr>
            <p:cNvSpPr>
              <a:spLocks noChangeArrowheads="1"/>
            </p:cNvSpPr>
            <p:nvPr/>
          </p:nvSpPr>
          <p:spPr bwMode="auto">
            <a:xfrm>
              <a:off x="7458075" y="2746375"/>
              <a:ext cx="1452563" cy="1420813"/>
            </a:xfrm>
            <a:custGeom>
              <a:avLst/>
              <a:gdLst>
                <a:gd name="T0" fmla="*/ 3076 w 4036"/>
                <a:gd name="T1" fmla="*/ 1764 h 3948"/>
                <a:gd name="T2" fmla="*/ 3076 w 4036"/>
                <a:gd name="T3" fmla="*/ 1764 h 3948"/>
                <a:gd name="T4" fmla="*/ 3076 w 4036"/>
                <a:gd name="T5" fmla="*/ 1974 h 3948"/>
                <a:gd name="T6" fmla="*/ 2007 w 4036"/>
                <a:gd name="T7" fmla="*/ 3087 h 3948"/>
                <a:gd name="T8" fmla="*/ 959 w 4036"/>
                <a:gd name="T9" fmla="*/ 1974 h 3948"/>
                <a:gd name="T10" fmla="*/ 2007 w 4036"/>
                <a:gd name="T11" fmla="*/ 871 h 3948"/>
                <a:gd name="T12" fmla="*/ 2062 w 4036"/>
                <a:gd name="T13" fmla="*/ 871 h 3948"/>
                <a:gd name="T14" fmla="*/ 2062 w 4036"/>
                <a:gd name="T15" fmla="*/ 0 h 3948"/>
                <a:gd name="T16" fmla="*/ 2007 w 4036"/>
                <a:gd name="T17" fmla="*/ 0 h 3948"/>
                <a:gd name="T18" fmla="*/ 0 w 4036"/>
                <a:gd name="T19" fmla="*/ 1974 h 3948"/>
                <a:gd name="T20" fmla="*/ 2007 w 4036"/>
                <a:gd name="T21" fmla="*/ 3947 h 3948"/>
                <a:gd name="T22" fmla="*/ 4035 w 4036"/>
                <a:gd name="T23" fmla="*/ 1974 h 3948"/>
                <a:gd name="T24" fmla="*/ 4002 w 4036"/>
                <a:gd name="T25" fmla="*/ 1764 h 3948"/>
                <a:gd name="T26" fmla="*/ 3076 w 4036"/>
                <a:gd name="T27" fmla="*/ 1764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6" h="3948">
                  <a:moveTo>
                    <a:pt x="3076" y="1764"/>
                  </a:moveTo>
                  <a:lnTo>
                    <a:pt x="3076" y="1764"/>
                  </a:lnTo>
                  <a:cubicBezTo>
                    <a:pt x="3076" y="1852"/>
                    <a:pt x="3076" y="1907"/>
                    <a:pt x="3076" y="1974"/>
                  </a:cubicBezTo>
                  <a:cubicBezTo>
                    <a:pt x="3076" y="2624"/>
                    <a:pt x="2624" y="3087"/>
                    <a:pt x="2007" y="3087"/>
                  </a:cubicBezTo>
                  <a:cubicBezTo>
                    <a:pt x="1422" y="3087"/>
                    <a:pt x="959" y="2624"/>
                    <a:pt x="959" y="1974"/>
                  </a:cubicBezTo>
                  <a:cubicBezTo>
                    <a:pt x="959" y="1356"/>
                    <a:pt x="1389" y="871"/>
                    <a:pt x="2007" y="871"/>
                  </a:cubicBezTo>
                  <a:cubicBezTo>
                    <a:pt x="2040" y="871"/>
                    <a:pt x="2040" y="871"/>
                    <a:pt x="2062" y="871"/>
                  </a:cubicBezTo>
                  <a:cubicBezTo>
                    <a:pt x="2062" y="0"/>
                    <a:pt x="2062" y="0"/>
                    <a:pt x="2062" y="0"/>
                  </a:cubicBezTo>
                  <a:cubicBezTo>
                    <a:pt x="2040" y="0"/>
                    <a:pt x="2040" y="0"/>
                    <a:pt x="2007" y="0"/>
                  </a:cubicBezTo>
                  <a:cubicBezTo>
                    <a:pt x="871" y="0"/>
                    <a:pt x="0" y="893"/>
                    <a:pt x="0" y="1974"/>
                  </a:cubicBezTo>
                  <a:cubicBezTo>
                    <a:pt x="0" y="3109"/>
                    <a:pt x="871" y="3947"/>
                    <a:pt x="2007" y="3947"/>
                  </a:cubicBezTo>
                  <a:cubicBezTo>
                    <a:pt x="3175" y="3947"/>
                    <a:pt x="4035" y="3109"/>
                    <a:pt x="4035" y="1974"/>
                  </a:cubicBezTo>
                  <a:cubicBezTo>
                    <a:pt x="4035" y="1907"/>
                    <a:pt x="4035" y="1852"/>
                    <a:pt x="4002" y="1764"/>
                  </a:cubicBezTo>
                  <a:lnTo>
                    <a:pt x="3076" y="176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grpSp>
        <p:nvGrpSpPr>
          <p:cNvPr id="63" name="Group 62">
            <a:extLst>
              <a:ext uri="{FF2B5EF4-FFF2-40B4-BE49-F238E27FC236}">
                <a16:creationId xmlns:a16="http://schemas.microsoft.com/office/drawing/2014/main" id="{249617DF-2CE6-3243-B1B9-08FEB94BEDE9}"/>
              </a:ext>
            </a:extLst>
          </p:cNvPr>
          <p:cNvGrpSpPr/>
          <p:nvPr userDrawn="1"/>
        </p:nvGrpSpPr>
        <p:grpSpPr>
          <a:xfrm>
            <a:off x="434640" y="4447762"/>
            <a:ext cx="1692983" cy="279387"/>
            <a:chOff x="1828800" y="3017838"/>
            <a:chExt cx="6291263" cy="1038225"/>
          </a:xfrm>
        </p:grpSpPr>
        <p:sp>
          <p:nvSpPr>
            <p:cNvPr id="64" name="Freeform 1">
              <a:extLst>
                <a:ext uri="{FF2B5EF4-FFF2-40B4-BE49-F238E27FC236}">
                  <a16:creationId xmlns:a16="http://schemas.microsoft.com/office/drawing/2014/main" id="{08526F5E-52C7-A24D-9B3C-7B37569DB457}"/>
                </a:ext>
              </a:extLst>
            </p:cNvPr>
            <p:cNvSpPr>
              <a:spLocks noChangeArrowheads="1"/>
            </p:cNvSpPr>
            <p:nvPr userDrawn="1"/>
          </p:nvSpPr>
          <p:spPr bwMode="auto">
            <a:xfrm>
              <a:off x="1831975" y="3017838"/>
              <a:ext cx="388938" cy="438150"/>
            </a:xfrm>
            <a:custGeom>
              <a:avLst/>
              <a:gdLst>
                <a:gd name="T0" fmla="*/ 1081 w 1082"/>
                <a:gd name="T1" fmla="*/ 1042 h 1215"/>
                <a:gd name="T2" fmla="*/ 1081 w 1082"/>
                <a:gd name="T3" fmla="*/ 1042 h 1215"/>
                <a:gd name="T4" fmla="*/ 873 w 1082"/>
                <a:gd name="T5" fmla="*/ 1172 h 1215"/>
                <a:gd name="T6" fmla="*/ 631 w 1082"/>
                <a:gd name="T7" fmla="*/ 1214 h 1215"/>
                <a:gd name="T8" fmla="*/ 350 w 1082"/>
                <a:gd name="T9" fmla="*/ 1164 h 1215"/>
                <a:gd name="T10" fmla="*/ 153 w 1082"/>
                <a:gd name="T11" fmla="*/ 1028 h 1215"/>
                <a:gd name="T12" fmla="*/ 39 w 1082"/>
                <a:gd name="T13" fmla="*/ 836 h 1215"/>
                <a:gd name="T14" fmla="*/ 0 w 1082"/>
                <a:gd name="T15" fmla="*/ 614 h 1215"/>
                <a:gd name="T16" fmla="*/ 39 w 1082"/>
                <a:gd name="T17" fmla="*/ 389 h 1215"/>
                <a:gd name="T18" fmla="*/ 156 w 1082"/>
                <a:gd name="T19" fmla="*/ 192 h 1215"/>
                <a:gd name="T20" fmla="*/ 353 w 1082"/>
                <a:gd name="T21" fmla="*/ 53 h 1215"/>
                <a:gd name="T22" fmla="*/ 631 w 1082"/>
                <a:gd name="T23" fmla="*/ 0 h 1215"/>
                <a:gd name="T24" fmla="*/ 864 w 1082"/>
                <a:gd name="T25" fmla="*/ 44 h 1215"/>
                <a:gd name="T26" fmla="*/ 1070 w 1082"/>
                <a:gd name="T27" fmla="*/ 178 h 1215"/>
                <a:gd name="T28" fmla="*/ 942 w 1082"/>
                <a:gd name="T29" fmla="*/ 297 h 1215"/>
                <a:gd name="T30" fmla="*/ 795 w 1082"/>
                <a:gd name="T31" fmla="*/ 206 h 1215"/>
                <a:gd name="T32" fmla="*/ 631 w 1082"/>
                <a:gd name="T33" fmla="*/ 178 h 1215"/>
                <a:gd name="T34" fmla="*/ 434 w 1082"/>
                <a:gd name="T35" fmla="*/ 214 h 1215"/>
                <a:gd name="T36" fmla="*/ 298 w 1082"/>
                <a:gd name="T37" fmla="*/ 314 h 1215"/>
                <a:gd name="T38" fmla="*/ 217 w 1082"/>
                <a:gd name="T39" fmla="*/ 453 h 1215"/>
                <a:gd name="T40" fmla="*/ 192 w 1082"/>
                <a:gd name="T41" fmla="*/ 614 h 1215"/>
                <a:gd name="T42" fmla="*/ 217 w 1082"/>
                <a:gd name="T43" fmla="*/ 769 h 1215"/>
                <a:gd name="T44" fmla="*/ 295 w 1082"/>
                <a:gd name="T45" fmla="*/ 906 h 1215"/>
                <a:gd name="T46" fmla="*/ 434 w 1082"/>
                <a:gd name="T47" fmla="*/ 1003 h 1215"/>
                <a:gd name="T48" fmla="*/ 631 w 1082"/>
                <a:gd name="T49" fmla="*/ 1039 h 1215"/>
                <a:gd name="T50" fmla="*/ 800 w 1082"/>
                <a:gd name="T51" fmla="*/ 1008 h 1215"/>
                <a:gd name="T52" fmla="*/ 950 w 1082"/>
                <a:gd name="T53" fmla="*/ 911 h 1215"/>
                <a:gd name="T54" fmla="*/ 1081 w 1082"/>
                <a:gd name="T55" fmla="*/ 1042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2" h="1215">
                  <a:moveTo>
                    <a:pt x="1081" y="1042"/>
                  </a:moveTo>
                  <a:lnTo>
                    <a:pt x="1081" y="1042"/>
                  </a:lnTo>
                  <a:cubicBezTo>
                    <a:pt x="1020" y="1100"/>
                    <a:pt x="950" y="1144"/>
                    <a:pt x="873" y="1172"/>
                  </a:cubicBezTo>
                  <a:cubicBezTo>
                    <a:pt x="798" y="1200"/>
                    <a:pt x="717" y="1214"/>
                    <a:pt x="631" y="1214"/>
                  </a:cubicBezTo>
                  <a:cubicBezTo>
                    <a:pt x="523" y="1214"/>
                    <a:pt x="431" y="1197"/>
                    <a:pt x="350" y="1164"/>
                  </a:cubicBezTo>
                  <a:cubicBezTo>
                    <a:pt x="273" y="1130"/>
                    <a:pt x="206" y="1086"/>
                    <a:pt x="153" y="1028"/>
                  </a:cubicBezTo>
                  <a:cubicBezTo>
                    <a:pt x="103" y="972"/>
                    <a:pt x="64" y="908"/>
                    <a:pt x="39" y="836"/>
                  </a:cubicBezTo>
                  <a:cubicBezTo>
                    <a:pt x="14" y="764"/>
                    <a:pt x="0" y="692"/>
                    <a:pt x="0" y="614"/>
                  </a:cubicBezTo>
                  <a:cubicBezTo>
                    <a:pt x="0" y="536"/>
                    <a:pt x="14" y="461"/>
                    <a:pt x="39" y="389"/>
                  </a:cubicBezTo>
                  <a:cubicBezTo>
                    <a:pt x="67" y="314"/>
                    <a:pt x="103" y="250"/>
                    <a:pt x="156" y="192"/>
                  </a:cubicBezTo>
                  <a:cubicBezTo>
                    <a:pt x="209" y="133"/>
                    <a:pt x="273" y="89"/>
                    <a:pt x="353" y="53"/>
                  </a:cubicBezTo>
                  <a:cubicBezTo>
                    <a:pt x="431" y="17"/>
                    <a:pt x="525" y="0"/>
                    <a:pt x="631" y="0"/>
                  </a:cubicBezTo>
                  <a:cubicBezTo>
                    <a:pt x="711" y="0"/>
                    <a:pt x="789" y="14"/>
                    <a:pt x="864" y="44"/>
                  </a:cubicBezTo>
                  <a:cubicBezTo>
                    <a:pt x="939" y="72"/>
                    <a:pt x="1009" y="117"/>
                    <a:pt x="1070" y="178"/>
                  </a:cubicBezTo>
                  <a:cubicBezTo>
                    <a:pt x="942" y="297"/>
                    <a:pt x="942" y="297"/>
                    <a:pt x="942" y="297"/>
                  </a:cubicBezTo>
                  <a:cubicBezTo>
                    <a:pt x="898" y="256"/>
                    <a:pt x="850" y="225"/>
                    <a:pt x="795" y="206"/>
                  </a:cubicBezTo>
                  <a:cubicBezTo>
                    <a:pt x="742" y="186"/>
                    <a:pt x="686" y="178"/>
                    <a:pt x="631" y="178"/>
                  </a:cubicBezTo>
                  <a:cubicBezTo>
                    <a:pt x="556" y="178"/>
                    <a:pt x="489" y="189"/>
                    <a:pt x="434" y="214"/>
                  </a:cubicBezTo>
                  <a:cubicBezTo>
                    <a:pt x="378" y="239"/>
                    <a:pt x="334" y="272"/>
                    <a:pt x="298" y="314"/>
                  </a:cubicBezTo>
                  <a:cubicBezTo>
                    <a:pt x="261" y="356"/>
                    <a:pt x="234" y="400"/>
                    <a:pt x="217" y="453"/>
                  </a:cubicBezTo>
                  <a:cubicBezTo>
                    <a:pt x="200" y="506"/>
                    <a:pt x="192" y="558"/>
                    <a:pt x="192" y="614"/>
                  </a:cubicBezTo>
                  <a:cubicBezTo>
                    <a:pt x="192" y="667"/>
                    <a:pt x="200" y="719"/>
                    <a:pt x="217" y="769"/>
                  </a:cubicBezTo>
                  <a:cubicBezTo>
                    <a:pt x="234" y="822"/>
                    <a:pt x="261" y="867"/>
                    <a:pt x="295" y="906"/>
                  </a:cubicBezTo>
                  <a:cubicBezTo>
                    <a:pt x="331" y="947"/>
                    <a:pt x="378" y="978"/>
                    <a:pt x="434" y="1003"/>
                  </a:cubicBezTo>
                  <a:cubicBezTo>
                    <a:pt x="489" y="1028"/>
                    <a:pt x="553" y="1039"/>
                    <a:pt x="631" y="1039"/>
                  </a:cubicBezTo>
                  <a:cubicBezTo>
                    <a:pt x="686" y="1039"/>
                    <a:pt x="745" y="1028"/>
                    <a:pt x="800" y="1008"/>
                  </a:cubicBezTo>
                  <a:cubicBezTo>
                    <a:pt x="859" y="986"/>
                    <a:pt x="906" y="953"/>
                    <a:pt x="950" y="911"/>
                  </a:cubicBezTo>
                  <a:lnTo>
                    <a:pt x="1081" y="104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5" name="Freeform 2">
              <a:extLst>
                <a:ext uri="{FF2B5EF4-FFF2-40B4-BE49-F238E27FC236}">
                  <a16:creationId xmlns:a16="http://schemas.microsoft.com/office/drawing/2014/main" id="{1C1B1D27-0631-1C42-883E-3E78743EE0F0}"/>
                </a:ext>
              </a:extLst>
            </p:cNvPr>
            <p:cNvSpPr>
              <a:spLocks noChangeArrowheads="1"/>
            </p:cNvSpPr>
            <p:nvPr userDrawn="1"/>
          </p:nvSpPr>
          <p:spPr bwMode="auto">
            <a:xfrm>
              <a:off x="2268538" y="3149600"/>
              <a:ext cx="293687" cy="301625"/>
            </a:xfrm>
            <a:custGeom>
              <a:avLst/>
              <a:gdLst>
                <a:gd name="T0" fmla="*/ 175 w 815"/>
                <a:gd name="T1" fmla="*/ 0 h 837"/>
                <a:gd name="T2" fmla="*/ 175 w 815"/>
                <a:gd name="T3" fmla="*/ 0 h 837"/>
                <a:gd name="T4" fmla="*/ 175 w 815"/>
                <a:gd name="T5" fmla="*/ 439 h 837"/>
                <a:gd name="T6" fmla="*/ 233 w 815"/>
                <a:gd name="T7" fmla="*/ 611 h 837"/>
                <a:gd name="T8" fmla="*/ 406 w 815"/>
                <a:gd name="T9" fmla="*/ 675 h 837"/>
                <a:gd name="T10" fmla="*/ 500 w 815"/>
                <a:gd name="T11" fmla="*/ 658 h 837"/>
                <a:gd name="T12" fmla="*/ 572 w 815"/>
                <a:gd name="T13" fmla="*/ 602 h 837"/>
                <a:gd name="T14" fmla="*/ 622 w 815"/>
                <a:gd name="T15" fmla="*/ 525 h 837"/>
                <a:gd name="T16" fmla="*/ 639 w 815"/>
                <a:gd name="T17" fmla="*/ 427 h 837"/>
                <a:gd name="T18" fmla="*/ 639 w 815"/>
                <a:gd name="T19" fmla="*/ 0 h 837"/>
                <a:gd name="T20" fmla="*/ 814 w 815"/>
                <a:gd name="T21" fmla="*/ 0 h 837"/>
                <a:gd name="T22" fmla="*/ 814 w 815"/>
                <a:gd name="T23" fmla="*/ 825 h 837"/>
                <a:gd name="T24" fmla="*/ 656 w 815"/>
                <a:gd name="T25" fmla="*/ 825 h 837"/>
                <a:gd name="T26" fmla="*/ 645 w 815"/>
                <a:gd name="T27" fmla="*/ 702 h 837"/>
                <a:gd name="T28" fmla="*/ 514 w 815"/>
                <a:gd name="T29" fmla="*/ 805 h 837"/>
                <a:gd name="T30" fmla="*/ 356 w 815"/>
                <a:gd name="T31" fmla="*/ 836 h 837"/>
                <a:gd name="T32" fmla="*/ 211 w 815"/>
                <a:gd name="T33" fmla="*/ 811 h 837"/>
                <a:gd name="T34" fmla="*/ 100 w 815"/>
                <a:gd name="T35" fmla="*/ 733 h 837"/>
                <a:gd name="T36" fmla="*/ 25 w 815"/>
                <a:gd name="T37" fmla="*/ 608 h 837"/>
                <a:gd name="T38" fmla="*/ 0 w 815"/>
                <a:gd name="T39" fmla="*/ 441 h 837"/>
                <a:gd name="T40" fmla="*/ 0 w 815"/>
                <a:gd name="T41" fmla="*/ 0 h 837"/>
                <a:gd name="T42" fmla="*/ 175 w 815"/>
                <a:gd name="T43" fmla="*/ 0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5" h="837">
                  <a:moveTo>
                    <a:pt x="175" y="0"/>
                  </a:moveTo>
                  <a:lnTo>
                    <a:pt x="175" y="0"/>
                  </a:lnTo>
                  <a:cubicBezTo>
                    <a:pt x="175" y="439"/>
                    <a:pt x="175" y="439"/>
                    <a:pt x="175" y="439"/>
                  </a:cubicBezTo>
                  <a:cubicBezTo>
                    <a:pt x="175" y="508"/>
                    <a:pt x="195" y="566"/>
                    <a:pt x="233" y="611"/>
                  </a:cubicBezTo>
                  <a:cubicBezTo>
                    <a:pt x="275" y="655"/>
                    <a:pt x="331" y="675"/>
                    <a:pt x="406" y="675"/>
                  </a:cubicBezTo>
                  <a:cubicBezTo>
                    <a:pt x="439" y="675"/>
                    <a:pt x="470" y="669"/>
                    <a:pt x="500" y="658"/>
                  </a:cubicBezTo>
                  <a:cubicBezTo>
                    <a:pt x="528" y="644"/>
                    <a:pt x="553" y="627"/>
                    <a:pt x="572" y="602"/>
                  </a:cubicBezTo>
                  <a:cubicBezTo>
                    <a:pt x="595" y="580"/>
                    <a:pt x="611" y="555"/>
                    <a:pt x="622" y="525"/>
                  </a:cubicBezTo>
                  <a:cubicBezTo>
                    <a:pt x="633" y="494"/>
                    <a:pt x="639" y="461"/>
                    <a:pt x="639" y="427"/>
                  </a:cubicBezTo>
                  <a:cubicBezTo>
                    <a:pt x="639" y="0"/>
                    <a:pt x="639" y="0"/>
                    <a:pt x="639" y="0"/>
                  </a:cubicBezTo>
                  <a:cubicBezTo>
                    <a:pt x="814" y="0"/>
                    <a:pt x="814" y="0"/>
                    <a:pt x="814" y="0"/>
                  </a:cubicBezTo>
                  <a:cubicBezTo>
                    <a:pt x="814" y="825"/>
                    <a:pt x="814" y="825"/>
                    <a:pt x="814" y="825"/>
                  </a:cubicBezTo>
                  <a:cubicBezTo>
                    <a:pt x="656" y="825"/>
                    <a:pt x="656" y="825"/>
                    <a:pt x="656" y="825"/>
                  </a:cubicBezTo>
                  <a:cubicBezTo>
                    <a:pt x="645" y="702"/>
                    <a:pt x="645" y="702"/>
                    <a:pt x="645" y="702"/>
                  </a:cubicBezTo>
                  <a:cubicBezTo>
                    <a:pt x="603" y="750"/>
                    <a:pt x="561" y="783"/>
                    <a:pt x="514" y="805"/>
                  </a:cubicBezTo>
                  <a:cubicBezTo>
                    <a:pt x="467" y="825"/>
                    <a:pt x="414" y="836"/>
                    <a:pt x="356" y="836"/>
                  </a:cubicBezTo>
                  <a:cubicBezTo>
                    <a:pt x="303" y="836"/>
                    <a:pt x="256" y="827"/>
                    <a:pt x="211" y="811"/>
                  </a:cubicBezTo>
                  <a:cubicBezTo>
                    <a:pt x="170" y="791"/>
                    <a:pt x="131" y="766"/>
                    <a:pt x="100" y="733"/>
                  </a:cubicBezTo>
                  <a:cubicBezTo>
                    <a:pt x="70" y="700"/>
                    <a:pt x="45" y="658"/>
                    <a:pt x="25" y="608"/>
                  </a:cubicBezTo>
                  <a:cubicBezTo>
                    <a:pt x="8" y="561"/>
                    <a:pt x="0" y="505"/>
                    <a:pt x="0" y="441"/>
                  </a:cubicBezTo>
                  <a:cubicBezTo>
                    <a:pt x="0" y="0"/>
                    <a:pt x="0" y="0"/>
                    <a:pt x="0" y="0"/>
                  </a:cubicBezTo>
                  <a:lnTo>
                    <a:pt x="175"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6" name="Freeform 3">
              <a:extLst>
                <a:ext uri="{FF2B5EF4-FFF2-40B4-BE49-F238E27FC236}">
                  <a16:creationId xmlns:a16="http://schemas.microsoft.com/office/drawing/2014/main" id="{FBF82886-AE9E-C04F-A294-FF0D38C07FC5}"/>
                </a:ext>
              </a:extLst>
            </p:cNvPr>
            <p:cNvSpPr>
              <a:spLocks noChangeArrowheads="1"/>
            </p:cNvSpPr>
            <p:nvPr userDrawn="1"/>
          </p:nvSpPr>
          <p:spPr bwMode="auto">
            <a:xfrm>
              <a:off x="2624138" y="3141663"/>
              <a:ext cx="268287" cy="314325"/>
            </a:xfrm>
            <a:custGeom>
              <a:avLst/>
              <a:gdLst>
                <a:gd name="T0" fmla="*/ 606 w 746"/>
                <a:gd name="T1" fmla="*/ 225 h 871"/>
                <a:gd name="T2" fmla="*/ 606 w 746"/>
                <a:gd name="T3" fmla="*/ 225 h 871"/>
                <a:gd name="T4" fmla="*/ 500 w 746"/>
                <a:gd name="T5" fmla="*/ 164 h 871"/>
                <a:gd name="T6" fmla="*/ 383 w 746"/>
                <a:gd name="T7" fmla="*/ 148 h 871"/>
                <a:gd name="T8" fmla="*/ 253 w 746"/>
                <a:gd name="T9" fmla="*/ 173 h 871"/>
                <a:gd name="T10" fmla="*/ 203 w 746"/>
                <a:gd name="T11" fmla="*/ 245 h 871"/>
                <a:gd name="T12" fmla="*/ 256 w 746"/>
                <a:gd name="T13" fmla="*/ 320 h 871"/>
                <a:gd name="T14" fmla="*/ 386 w 746"/>
                <a:gd name="T15" fmla="*/ 350 h 871"/>
                <a:gd name="T16" fmla="*/ 508 w 746"/>
                <a:gd name="T17" fmla="*/ 367 h 871"/>
                <a:gd name="T18" fmla="*/ 625 w 746"/>
                <a:gd name="T19" fmla="*/ 406 h 871"/>
                <a:gd name="T20" fmla="*/ 711 w 746"/>
                <a:gd name="T21" fmla="*/ 481 h 871"/>
                <a:gd name="T22" fmla="*/ 745 w 746"/>
                <a:gd name="T23" fmla="*/ 611 h 871"/>
                <a:gd name="T24" fmla="*/ 717 w 746"/>
                <a:gd name="T25" fmla="*/ 717 h 871"/>
                <a:gd name="T26" fmla="*/ 645 w 746"/>
                <a:gd name="T27" fmla="*/ 798 h 871"/>
                <a:gd name="T28" fmla="*/ 533 w 746"/>
                <a:gd name="T29" fmla="*/ 853 h 871"/>
                <a:gd name="T30" fmla="*/ 383 w 746"/>
                <a:gd name="T31" fmla="*/ 870 h 871"/>
                <a:gd name="T32" fmla="*/ 183 w 746"/>
                <a:gd name="T33" fmla="*/ 842 h 871"/>
                <a:gd name="T34" fmla="*/ 0 w 746"/>
                <a:gd name="T35" fmla="*/ 720 h 871"/>
                <a:gd name="T36" fmla="*/ 92 w 746"/>
                <a:gd name="T37" fmla="*/ 598 h 871"/>
                <a:gd name="T38" fmla="*/ 233 w 746"/>
                <a:gd name="T39" fmla="*/ 689 h 871"/>
                <a:gd name="T40" fmla="*/ 389 w 746"/>
                <a:gd name="T41" fmla="*/ 720 h 871"/>
                <a:gd name="T42" fmla="*/ 450 w 746"/>
                <a:gd name="T43" fmla="*/ 714 h 871"/>
                <a:gd name="T44" fmla="*/ 508 w 746"/>
                <a:gd name="T45" fmla="*/ 698 h 871"/>
                <a:gd name="T46" fmla="*/ 550 w 746"/>
                <a:gd name="T47" fmla="*/ 662 h 871"/>
                <a:gd name="T48" fmla="*/ 567 w 746"/>
                <a:gd name="T49" fmla="*/ 614 h 871"/>
                <a:gd name="T50" fmla="*/ 517 w 746"/>
                <a:gd name="T51" fmla="*/ 531 h 871"/>
                <a:gd name="T52" fmla="*/ 372 w 746"/>
                <a:gd name="T53" fmla="*/ 498 h 871"/>
                <a:gd name="T54" fmla="*/ 253 w 746"/>
                <a:gd name="T55" fmla="*/ 478 h 871"/>
                <a:gd name="T56" fmla="*/ 142 w 746"/>
                <a:gd name="T57" fmla="*/ 436 h 871"/>
                <a:gd name="T58" fmla="*/ 61 w 746"/>
                <a:gd name="T59" fmla="*/ 364 h 871"/>
                <a:gd name="T60" fmla="*/ 31 w 746"/>
                <a:gd name="T61" fmla="*/ 250 h 871"/>
                <a:gd name="T62" fmla="*/ 61 w 746"/>
                <a:gd name="T63" fmla="*/ 134 h 871"/>
                <a:gd name="T64" fmla="*/ 145 w 746"/>
                <a:gd name="T65" fmla="*/ 56 h 871"/>
                <a:gd name="T66" fmla="*/ 259 w 746"/>
                <a:gd name="T67" fmla="*/ 14 h 871"/>
                <a:gd name="T68" fmla="*/ 381 w 746"/>
                <a:gd name="T69" fmla="*/ 0 h 871"/>
                <a:gd name="T70" fmla="*/ 556 w 746"/>
                <a:gd name="T71" fmla="*/ 25 h 871"/>
                <a:gd name="T72" fmla="*/ 703 w 746"/>
                <a:gd name="T73" fmla="*/ 112 h 871"/>
                <a:gd name="T74" fmla="*/ 606 w 746"/>
                <a:gd name="T75" fmla="*/ 225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6" h="871">
                  <a:moveTo>
                    <a:pt x="606" y="225"/>
                  </a:moveTo>
                  <a:lnTo>
                    <a:pt x="606" y="225"/>
                  </a:lnTo>
                  <a:cubicBezTo>
                    <a:pt x="572" y="195"/>
                    <a:pt x="536" y="173"/>
                    <a:pt x="500" y="164"/>
                  </a:cubicBezTo>
                  <a:cubicBezTo>
                    <a:pt x="464" y="153"/>
                    <a:pt x="425" y="148"/>
                    <a:pt x="383" y="148"/>
                  </a:cubicBezTo>
                  <a:cubicBezTo>
                    <a:pt x="328" y="148"/>
                    <a:pt x="286" y="153"/>
                    <a:pt x="253" y="173"/>
                  </a:cubicBezTo>
                  <a:cubicBezTo>
                    <a:pt x="220" y="189"/>
                    <a:pt x="203" y="214"/>
                    <a:pt x="203" y="245"/>
                  </a:cubicBezTo>
                  <a:cubicBezTo>
                    <a:pt x="206" y="281"/>
                    <a:pt x="222" y="306"/>
                    <a:pt x="256" y="320"/>
                  </a:cubicBezTo>
                  <a:cubicBezTo>
                    <a:pt x="289" y="336"/>
                    <a:pt x="331" y="345"/>
                    <a:pt x="386" y="350"/>
                  </a:cubicBezTo>
                  <a:cubicBezTo>
                    <a:pt x="425" y="356"/>
                    <a:pt x="467" y="359"/>
                    <a:pt x="508" y="367"/>
                  </a:cubicBezTo>
                  <a:cubicBezTo>
                    <a:pt x="550" y="375"/>
                    <a:pt x="589" y="387"/>
                    <a:pt x="625" y="406"/>
                  </a:cubicBezTo>
                  <a:cubicBezTo>
                    <a:pt x="658" y="425"/>
                    <a:pt x="689" y="450"/>
                    <a:pt x="711" y="481"/>
                  </a:cubicBezTo>
                  <a:cubicBezTo>
                    <a:pt x="733" y="514"/>
                    <a:pt x="745" y="556"/>
                    <a:pt x="745" y="611"/>
                  </a:cubicBezTo>
                  <a:cubicBezTo>
                    <a:pt x="745" y="650"/>
                    <a:pt x="736" y="684"/>
                    <a:pt x="717" y="717"/>
                  </a:cubicBezTo>
                  <a:cubicBezTo>
                    <a:pt x="700" y="748"/>
                    <a:pt x="675" y="775"/>
                    <a:pt x="645" y="798"/>
                  </a:cubicBezTo>
                  <a:cubicBezTo>
                    <a:pt x="614" y="823"/>
                    <a:pt x="575" y="839"/>
                    <a:pt x="533" y="853"/>
                  </a:cubicBezTo>
                  <a:cubicBezTo>
                    <a:pt x="489" y="864"/>
                    <a:pt x="439" y="870"/>
                    <a:pt x="383" y="870"/>
                  </a:cubicBezTo>
                  <a:cubicBezTo>
                    <a:pt x="317" y="870"/>
                    <a:pt x="250" y="862"/>
                    <a:pt x="183" y="842"/>
                  </a:cubicBezTo>
                  <a:cubicBezTo>
                    <a:pt x="117" y="820"/>
                    <a:pt x="56" y="781"/>
                    <a:pt x="0" y="720"/>
                  </a:cubicBezTo>
                  <a:cubicBezTo>
                    <a:pt x="92" y="598"/>
                    <a:pt x="92" y="598"/>
                    <a:pt x="92" y="598"/>
                  </a:cubicBezTo>
                  <a:cubicBezTo>
                    <a:pt x="133" y="639"/>
                    <a:pt x="181" y="673"/>
                    <a:pt x="233" y="689"/>
                  </a:cubicBezTo>
                  <a:cubicBezTo>
                    <a:pt x="286" y="709"/>
                    <a:pt x="339" y="720"/>
                    <a:pt x="389" y="720"/>
                  </a:cubicBezTo>
                  <a:cubicBezTo>
                    <a:pt x="408" y="720"/>
                    <a:pt x="431" y="720"/>
                    <a:pt x="450" y="714"/>
                  </a:cubicBezTo>
                  <a:cubicBezTo>
                    <a:pt x="472" y="711"/>
                    <a:pt x="492" y="706"/>
                    <a:pt x="508" y="698"/>
                  </a:cubicBezTo>
                  <a:cubicBezTo>
                    <a:pt x="525" y="686"/>
                    <a:pt x="539" y="675"/>
                    <a:pt x="550" y="662"/>
                  </a:cubicBezTo>
                  <a:cubicBezTo>
                    <a:pt x="561" y="648"/>
                    <a:pt x="567" y="631"/>
                    <a:pt x="567" y="614"/>
                  </a:cubicBezTo>
                  <a:cubicBezTo>
                    <a:pt x="570" y="575"/>
                    <a:pt x="553" y="548"/>
                    <a:pt x="517" y="531"/>
                  </a:cubicBezTo>
                  <a:cubicBezTo>
                    <a:pt x="483" y="514"/>
                    <a:pt x="436" y="503"/>
                    <a:pt x="372" y="498"/>
                  </a:cubicBezTo>
                  <a:cubicBezTo>
                    <a:pt x="333" y="495"/>
                    <a:pt x="292" y="489"/>
                    <a:pt x="253" y="478"/>
                  </a:cubicBezTo>
                  <a:cubicBezTo>
                    <a:pt x="211" y="470"/>
                    <a:pt x="175" y="456"/>
                    <a:pt x="142" y="436"/>
                  </a:cubicBezTo>
                  <a:cubicBezTo>
                    <a:pt x="108" y="420"/>
                    <a:pt x="84" y="395"/>
                    <a:pt x="61" y="364"/>
                  </a:cubicBezTo>
                  <a:cubicBezTo>
                    <a:pt x="39" y="334"/>
                    <a:pt x="31" y="298"/>
                    <a:pt x="31" y="250"/>
                  </a:cubicBezTo>
                  <a:cubicBezTo>
                    <a:pt x="31" y="206"/>
                    <a:pt x="42" y="167"/>
                    <a:pt x="61" y="134"/>
                  </a:cubicBezTo>
                  <a:cubicBezTo>
                    <a:pt x="84" y="103"/>
                    <a:pt x="111" y="78"/>
                    <a:pt x="145" y="56"/>
                  </a:cubicBezTo>
                  <a:cubicBezTo>
                    <a:pt x="181" y="37"/>
                    <a:pt x="217" y="23"/>
                    <a:pt x="259" y="14"/>
                  </a:cubicBezTo>
                  <a:cubicBezTo>
                    <a:pt x="300" y="6"/>
                    <a:pt x="339" y="0"/>
                    <a:pt x="381" y="0"/>
                  </a:cubicBezTo>
                  <a:cubicBezTo>
                    <a:pt x="445" y="0"/>
                    <a:pt x="503" y="9"/>
                    <a:pt x="556" y="25"/>
                  </a:cubicBezTo>
                  <a:cubicBezTo>
                    <a:pt x="606" y="42"/>
                    <a:pt x="656" y="70"/>
                    <a:pt x="703" y="112"/>
                  </a:cubicBezTo>
                  <a:lnTo>
                    <a:pt x="606" y="2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7" name="Freeform 4">
              <a:extLst>
                <a:ext uri="{FF2B5EF4-FFF2-40B4-BE49-F238E27FC236}">
                  <a16:creationId xmlns:a16="http://schemas.microsoft.com/office/drawing/2014/main" id="{AA00FF42-3F22-C740-8AC3-5086F24542CB}"/>
                </a:ext>
              </a:extLst>
            </p:cNvPr>
            <p:cNvSpPr>
              <a:spLocks noChangeArrowheads="1"/>
            </p:cNvSpPr>
            <p:nvPr userDrawn="1"/>
          </p:nvSpPr>
          <p:spPr bwMode="auto">
            <a:xfrm>
              <a:off x="2928938" y="3063875"/>
              <a:ext cx="223837" cy="387350"/>
            </a:xfrm>
            <a:custGeom>
              <a:avLst/>
              <a:gdLst>
                <a:gd name="T0" fmla="*/ 342 w 621"/>
                <a:gd name="T1" fmla="*/ 0 h 1076"/>
                <a:gd name="T2" fmla="*/ 342 w 621"/>
                <a:gd name="T3" fmla="*/ 0 h 1076"/>
                <a:gd name="T4" fmla="*/ 342 w 621"/>
                <a:gd name="T5" fmla="*/ 239 h 1076"/>
                <a:gd name="T6" fmla="*/ 586 w 621"/>
                <a:gd name="T7" fmla="*/ 239 h 1076"/>
                <a:gd name="T8" fmla="*/ 586 w 621"/>
                <a:gd name="T9" fmla="*/ 391 h 1076"/>
                <a:gd name="T10" fmla="*/ 339 w 621"/>
                <a:gd name="T11" fmla="*/ 391 h 1076"/>
                <a:gd name="T12" fmla="*/ 339 w 621"/>
                <a:gd name="T13" fmla="*/ 780 h 1076"/>
                <a:gd name="T14" fmla="*/ 369 w 621"/>
                <a:gd name="T15" fmla="*/ 880 h 1076"/>
                <a:gd name="T16" fmla="*/ 461 w 621"/>
                <a:gd name="T17" fmla="*/ 916 h 1076"/>
                <a:gd name="T18" fmla="*/ 514 w 621"/>
                <a:gd name="T19" fmla="*/ 908 h 1076"/>
                <a:gd name="T20" fmla="*/ 567 w 621"/>
                <a:gd name="T21" fmla="*/ 889 h 1076"/>
                <a:gd name="T22" fmla="*/ 620 w 621"/>
                <a:gd name="T23" fmla="*/ 1036 h 1076"/>
                <a:gd name="T24" fmla="*/ 533 w 621"/>
                <a:gd name="T25" fmla="*/ 1064 h 1076"/>
                <a:gd name="T26" fmla="*/ 450 w 621"/>
                <a:gd name="T27" fmla="*/ 1072 h 1076"/>
                <a:gd name="T28" fmla="*/ 236 w 621"/>
                <a:gd name="T29" fmla="*/ 1002 h 1076"/>
                <a:gd name="T30" fmla="*/ 164 w 621"/>
                <a:gd name="T31" fmla="*/ 783 h 1076"/>
                <a:gd name="T32" fmla="*/ 164 w 621"/>
                <a:gd name="T33" fmla="*/ 391 h 1076"/>
                <a:gd name="T34" fmla="*/ 0 w 621"/>
                <a:gd name="T35" fmla="*/ 391 h 1076"/>
                <a:gd name="T36" fmla="*/ 0 w 621"/>
                <a:gd name="T37" fmla="*/ 239 h 1076"/>
                <a:gd name="T38" fmla="*/ 164 w 621"/>
                <a:gd name="T39" fmla="*/ 239 h 1076"/>
                <a:gd name="T40" fmla="*/ 164 w 621"/>
                <a:gd name="T41" fmla="*/ 19 h 1076"/>
                <a:gd name="T42" fmla="*/ 342 w 621"/>
                <a:gd name="T43" fmla="*/ 0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1" h="1076">
                  <a:moveTo>
                    <a:pt x="342" y="0"/>
                  </a:moveTo>
                  <a:lnTo>
                    <a:pt x="342" y="0"/>
                  </a:lnTo>
                  <a:cubicBezTo>
                    <a:pt x="342" y="239"/>
                    <a:pt x="342" y="239"/>
                    <a:pt x="342" y="239"/>
                  </a:cubicBezTo>
                  <a:cubicBezTo>
                    <a:pt x="586" y="239"/>
                    <a:pt x="586" y="239"/>
                    <a:pt x="586" y="239"/>
                  </a:cubicBezTo>
                  <a:cubicBezTo>
                    <a:pt x="586" y="391"/>
                    <a:pt x="586" y="391"/>
                    <a:pt x="586" y="391"/>
                  </a:cubicBezTo>
                  <a:cubicBezTo>
                    <a:pt x="339" y="391"/>
                    <a:pt x="339" y="391"/>
                    <a:pt x="339" y="391"/>
                  </a:cubicBezTo>
                  <a:cubicBezTo>
                    <a:pt x="339" y="780"/>
                    <a:pt x="339" y="780"/>
                    <a:pt x="339" y="780"/>
                  </a:cubicBezTo>
                  <a:cubicBezTo>
                    <a:pt x="339" y="825"/>
                    <a:pt x="350" y="858"/>
                    <a:pt x="369" y="880"/>
                  </a:cubicBezTo>
                  <a:cubicBezTo>
                    <a:pt x="389" y="905"/>
                    <a:pt x="420" y="916"/>
                    <a:pt x="461" y="916"/>
                  </a:cubicBezTo>
                  <a:cubicBezTo>
                    <a:pt x="478" y="916"/>
                    <a:pt x="494" y="914"/>
                    <a:pt x="514" y="908"/>
                  </a:cubicBezTo>
                  <a:cubicBezTo>
                    <a:pt x="533" y="905"/>
                    <a:pt x="550" y="897"/>
                    <a:pt x="567" y="889"/>
                  </a:cubicBezTo>
                  <a:cubicBezTo>
                    <a:pt x="620" y="1036"/>
                    <a:pt x="620" y="1036"/>
                    <a:pt x="620" y="1036"/>
                  </a:cubicBezTo>
                  <a:cubicBezTo>
                    <a:pt x="589" y="1047"/>
                    <a:pt x="561" y="1058"/>
                    <a:pt x="533" y="1064"/>
                  </a:cubicBezTo>
                  <a:cubicBezTo>
                    <a:pt x="508" y="1069"/>
                    <a:pt x="481" y="1072"/>
                    <a:pt x="450" y="1072"/>
                  </a:cubicBezTo>
                  <a:cubicBezTo>
                    <a:pt x="358" y="1075"/>
                    <a:pt x="286" y="1050"/>
                    <a:pt x="236" y="1002"/>
                  </a:cubicBezTo>
                  <a:cubicBezTo>
                    <a:pt x="189" y="952"/>
                    <a:pt x="164" y="880"/>
                    <a:pt x="164" y="783"/>
                  </a:cubicBezTo>
                  <a:cubicBezTo>
                    <a:pt x="164" y="391"/>
                    <a:pt x="164" y="391"/>
                    <a:pt x="164" y="391"/>
                  </a:cubicBezTo>
                  <a:cubicBezTo>
                    <a:pt x="0" y="391"/>
                    <a:pt x="0" y="391"/>
                    <a:pt x="0" y="391"/>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8" name="Freeform 5">
              <a:extLst>
                <a:ext uri="{FF2B5EF4-FFF2-40B4-BE49-F238E27FC236}">
                  <a16:creationId xmlns:a16="http://schemas.microsoft.com/office/drawing/2014/main" id="{C4EE45D9-A5B2-3340-A884-8CB6BE0C9CA3}"/>
                </a:ext>
              </a:extLst>
            </p:cNvPr>
            <p:cNvSpPr>
              <a:spLocks noChangeArrowheads="1"/>
            </p:cNvSpPr>
            <p:nvPr userDrawn="1"/>
          </p:nvSpPr>
          <p:spPr bwMode="auto">
            <a:xfrm>
              <a:off x="3186113" y="3143250"/>
              <a:ext cx="314325" cy="307975"/>
            </a:xfrm>
            <a:custGeom>
              <a:avLst/>
              <a:gdLst>
                <a:gd name="T0" fmla="*/ 433 w 873"/>
                <a:gd name="T1" fmla="*/ 0 h 857"/>
                <a:gd name="T2" fmla="*/ 433 w 873"/>
                <a:gd name="T3" fmla="*/ 0 h 857"/>
                <a:gd name="T4" fmla="*/ 611 w 873"/>
                <a:gd name="T5" fmla="*/ 33 h 857"/>
                <a:gd name="T6" fmla="*/ 750 w 873"/>
                <a:gd name="T7" fmla="*/ 125 h 857"/>
                <a:gd name="T8" fmla="*/ 839 w 873"/>
                <a:gd name="T9" fmla="*/ 261 h 857"/>
                <a:gd name="T10" fmla="*/ 872 w 873"/>
                <a:gd name="T11" fmla="*/ 428 h 857"/>
                <a:gd name="T12" fmla="*/ 839 w 873"/>
                <a:gd name="T13" fmla="*/ 597 h 857"/>
                <a:gd name="T14" fmla="*/ 753 w 873"/>
                <a:gd name="T15" fmla="*/ 733 h 857"/>
                <a:gd name="T16" fmla="*/ 614 w 873"/>
                <a:gd name="T17" fmla="*/ 825 h 857"/>
                <a:gd name="T18" fmla="*/ 433 w 873"/>
                <a:gd name="T19" fmla="*/ 856 h 857"/>
                <a:gd name="T20" fmla="*/ 256 w 873"/>
                <a:gd name="T21" fmla="*/ 825 h 857"/>
                <a:gd name="T22" fmla="*/ 117 w 873"/>
                <a:gd name="T23" fmla="*/ 733 h 857"/>
                <a:gd name="T24" fmla="*/ 31 w 873"/>
                <a:gd name="T25" fmla="*/ 597 h 857"/>
                <a:gd name="T26" fmla="*/ 0 w 873"/>
                <a:gd name="T27" fmla="*/ 428 h 857"/>
                <a:gd name="T28" fmla="*/ 31 w 873"/>
                <a:gd name="T29" fmla="*/ 261 h 857"/>
                <a:gd name="T30" fmla="*/ 120 w 873"/>
                <a:gd name="T31" fmla="*/ 125 h 857"/>
                <a:gd name="T32" fmla="*/ 256 w 873"/>
                <a:gd name="T33" fmla="*/ 33 h 857"/>
                <a:gd name="T34" fmla="*/ 433 w 873"/>
                <a:gd name="T35" fmla="*/ 0 h 857"/>
                <a:gd name="T36" fmla="*/ 433 w 873"/>
                <a:gd name="T37" fmla="*/ 161 h 857"/>
                <a:gd name="T38" fmla="*/ 433 w 873"/>
                <a:gd name="T39" fmla="*/ 161 h 857"/>
                <a:gd name="T40" fmla="*/ 325 w 873"/>
                <a:gd name="T41" fmla="*/ 181 h 857"/>
                <a:gd name="T42" fmla="*/ 245 w 873"/>
                <a:gd name="T43" fmla="*/ 242 h 857"/>
                <a:gd name="T44" fmla="*/ 195 w 873"/>
                <a:gd name="T45" fmla="*/ 328 h 857"/>
                <a:gd name="T46" fmla="*/ 175 w 873"/>
                <a:gd name="T47" fmla="*/ 430 h 857"/>
                <a:gd name="T48" fmla="*/ 195 w 873"/>
                <a:gd name="T49" fmla="*/ 533 h 857"/>
                <a:gd name="T50" fmla="*/ 245 w 873"/>
                <a:gd name="T51" fmla="*/ 617 h 857"/>
                <a:gd name="T52" fmla="*/ 325 w 873"/>
                <a:gd name="T53" fmla="*/ 675 h 857"/>
                <a:gd name="T54" fmla="*/ 433 w 873"/>
                <a:gd name="T55" fmla="*/ 697 h 857"/>
                <a:gd name="T56" fmla="*/ 542 w 873"/>
                <a:gd name="T57" fmla="*/ 675 h 857"/>
                <a:gd name="T58" fmla="*/ 625 w 873"/>
                <a:gd name="T59" fmla="*/ 617 h 857"/>
                <a:gd name="T60" fmla="*/ 675 w 873"/>
                <a:gd name="T61" fmla="*/ 533 h 857"/>
                <a:gd name="T62" fmla="*/ 694 w 873"/>
                <a:gd name="T63" fmla="*/ 430 h 857"/>
                <a:gd name="T64" fmla="*/ 675 w 873"/>
                <a:gd name="T65" fmla="*/ 328 h 857"/>
                <a:gd name="T66" fmla="*/ 622 w 873"/>
                <a:gd name="T67" fmla="*/ 242 h 857"/>
                <a:gd name="T68" fmla="*/ 539 w 873"/>
                <a:gd name="T69" fmla="*/ 181 h 857"/>
                <a:gd name="T70" fmla="*/ 433 w 873"/>
                <a:gd name="T71" fmla="*/ 161 h 857"/>
                <a:gd name="T72" fmla="*/ 433 w 873"/>
                <a:gd name="T73"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57">
                  <a:moveTo>
                    <a:pt x="433" y="0"/>
                  </a:moveTo>
                  <a:lnTo>
                    <a:pt x="433" y="0"/>
                  </a:lnTo>
                  <a:cubicBezTo>
                    <a:pt x="500" y="0"/>
                    <a:pt x="558" y="11"/>
                    <a:pt x="611" y="33"/>
                  </a:cubicBezTo>
                  <a:cubicBezTo>
                    <a:pt x="664" y="56"/>
                    <a:pt x="711" y="86"/>
                    <a:pt x="750" y="125"/>
                  </a:cubicBezTo>
                  <a:cubicBezTo>
                    <a:pt x="789" y="161"/>
                    <a:pt x="820" y="208"/>
                    <a:pt x="839" y="261"/>
                  </a:cubicBezTo>
                  <a:cubicBezTo>
                    <a:pt x="861" y="314"/>
                    <a:pt x="872" y="369"/>
                    <a:pt x="872" y="428"/>
                  </a:cubicBezTo>
                  <a:cubicBezTo>
                    <a:pt x="872" y="489"/>
                    <a:pt x="861" y="547"/>
                    <a:pt x="839" y="597"/>
                  </a:cubicBezTo>
                  <a:cubicBezTo>
                    <a:pt x="820" y="650"/>
                    <a:pt x="792" y="694"/>
                    <a:pt x="753" y="733"/>
                  </a:cubicBezTo>
                  <a:cubicBezTo>
                    <a:pt x="714" y="772"/>
                    <a:pt x="667" y="803"/>
                    <a:pt x="614" y="825"/>
                  </a:cubicBezTo>
                  <a:cubicBezTo>
                    <a:pt x="561" y="847"/>
                    <a:pt x="500" y="856"/>
                    <a:pt x="433" y="856"/>
                  </a:cubicBezTo>
                  <a:cubicBezTo>
                    <a:pt x="367" y="856"/>
                    <a:pt x="308" y="847"/>
                    <a:pt x="256" y="825"/>
                  </a:cubicBezTo>
                  <a:cubicBezTo>
                    <a:pt x="200" y="803"/>
                    <a:pt x="156" y="772"/>
                    <a:pt x="117" y="733"/>
                  </a:cubicBezTo>
                  <a:cubicBezTo>
                    <a:pt x="81" y="694"/>
                    <a:pt x="50" y="650"/>
                    <a:pt x="31" y="597"/>
                  </a:cubicBezTo>
                  <a:cubicBezTo>
                    <a:pt x="11" y="547"/>
                    <a:pt x="0" y="489"/>
                    <a:pt x="0" y="428"/>
                  </a:cubicBezTo>
                  <a:cubicBezTo>
                    <a:pt x="0" y="369"/>
                    <a:pt x="11" y="314"/>
                    <a:pt x="31" y="261"/>
                  </a:cubicBezTo>
                  <a:cubicBezTo>
                    <a:pt x="50" y="208"/>
                    <a:pt x="81" y="161"/>
                    <a:pt x="120" y="125"/>
                  </a:cubicBezTo>
                  <a:cubicBezTo>
                    <a:pt x="156" y="86"/>
                    <a:pt x="203" y="56"/>
                    <a:pt x="256" y="33"/>
                  </a:cubicBezTo>
                  <a:cubicBezTo>
                    <a:pt x="308" y="11"/>
                    <a:pt x="370" y="0"/>
                    <a:pt x="433" y="0"/>
                  </a:cubicBezTo>
                  <a:lnTo>
                    <a:pt x="433" y="161"/>
                  </a:lnTo>
                  <a:lnTo>
                    <a:pt x="433" y="161"/>
                  </a:lnTo>
                  <a:cubicBezTo>
                    <a:pt x="394" y="161"/>
                    <a:pt x="358" y="167"/>
                    <a:pt x="325" y="181"/>
                  </a:cubicBezTo>
                  <a:cubicBezTo>
                    <a:pt x="295" y="197"/>
                    <a:pt x="267" y="217"/>
                    <a:pt x="245" y="242"/>
                  </a:cubicBezTo>
                  <a:cubicBezTo>
                    <a:pt x="222" y="267"/>
                    <a:pt x="206" y="294"/>
                    <a:pt x="195" y="328"/>
                  </a:cubicBezTo>
                  <a:cubicBezTo>
                    <a:pt x="181" y="358"/>
                    <a:pt x="175" y="394"/>
                    <a:pt x="175" y="430"/>
                  </a:cubicBezTo>
                  <a:cubicBezTo>
                    <a:pt x="175" y="467"/>
                    <a:pt x="181" y="500"/>
                    <a:pt x="195" y="533"/>
                  </a:cubicBezTo>
                  <a:cubicBezTo>
                    <a:pt x="206" y="567"/>
                    <a:pt x="222" y="594"/>
                    <a:pt x="245" y="617"/>
                  </a:cubicBezTo>
                  <a:cubicBezTo>
                    <a:pt x="267" y="642"/>
                    <a:pt x="295" y="661"/>
                    <a:pt x="325" y="675"/>
                  </a:cubicBezTo>
                  <a:cubicBezTo>
                    <a:pt x="358" y="689"/>
                    <a:pt x="394" y="697"/>
                    <a:pt x="433" y="697"/>
                  </a:cubicBezTo>
                  <a:cubicBezTo>
                    <a:pt x="475" y="697"/>
                    <a:pt x="511" y="689"/>
                    <a:pt x="542" y="675"/>
                  </a:cubicBezTo>
                  <a:cubicBezTo>
                    <a:pt x="575" y="661"/>
                    <a:pt x="603" y="642"/>
                    <a:pt x="625" y="617"/>
                  </a:cubicBezTo>
                  <a:cubicBezTo>
                    <a:pt x="647" y="594"/>
                    <a:pt x="664" y="567"/>
                    <a:pt x="675" y="533"/>
                  </a:cubicBezTo>
                  <a:cubicBezTo>
                    <a:pt x="686" y="500"/>
                    <a:pt x="694" y="467"/>
                    <a:pt x="694" y="430"/>
                  </a:cubicBezTo>
                  <a:cubicBezTo>
                    <a:pt x="694" y="394"/>
                    <a:pt x="686" y="358"/>
                    <a:pt x="675" y="328"/>
                  </a:cubicBezTo>
                  <a:cubicBezTo>
                    <a:pt x="661" y="294"/>
                    <a:pt x="645" y="267"/>
                    <a:pt x="622" y="242"/>
                  </a:cubicBezTo>
                  <a:cubicBezTo>
                    <a:pt x="600" y="217"/>
                    <a:pt x="572" y="197"/>
                    <a:pt x="539" y="181"/>
                  </a:cubicBezTo>
                  <a:cubicBezTo>
                    <a:pt x="508" y="167"/>
                    <a:pt x="472" y="161"/>
                    <a:pt x="433" y="161"/>
                  </a:cubicBezTo>
                  <a:lnTo>
                    <a:pt x="433"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9" name="Freeform 6">
              <a:extLst>
                <a:ext uri="{FF2B5EF4-FFF2-40B4-BE49-F238E27FC236}">
                  <a16:creationId xmlns:a16="http://schemas.microsoft.com/office/drawing/2014/main" id="{B0316715-7EBD-7246-939D-5A483B415505}"/>
                </a:ext>
              </a:extLst>
            </p:cNvPr>
            <p:cNvSpPr>
              <a:spLocks noChangeArrowheads="1"/>
            </p:cNvSpPr>
            <p:nvPr userDrawn="1"/>
          </p:nvSpPr>
          <p:spPr bwMode="auto">
            <a:xfrm>
              <a:off x="3567113" y="3143250"/>
              <a:ext cx="476250" cy="301625"/>
            </a:xfrm>
            <a:custGeom>
              <a:avLst/>
              <a:gdLst>
                <a:gd name="T0" fmla="*/ 575 w 1321"/>
                <a:gd name="T1" fmla="*/ 839 h 840"/>
                <a:gd name="T2" fmla="*/ 575 w 1321"/>
                <a:gd name="T3" fmla="*/ 839 h 840"/>
                <a:gd name="T4" fmla="*/ 575 w 1321"/>
                <a:gd name="T5" fmla="*/ 386 h 840"/>
                <a:gd name="T6" fmla="*/ 561 w 1321"/>
                <a:gd name="T7" fmla="*/ 300 h 840"/>
                <a:gd name="T8" fmla="*/ 523 w 1321"/>
                <a:gd name="T9" fmla="*/ 228 h 840"/>
                <a:gd name="T10" fmla="*/ 461 w 1321"/>
                <a:gd name="T11" fmla="*/ 181 h 840"/>
                <a:gd name="T12" fmla="*/ 378 w 1321"/>
                <a:gd name="T13" fmla="*/ 161 h 840"/>
                <a:gd name="T14" fmla="*/ 295 w 1321"/>
                <a:gd name="T15" fmla="*/ 181 h 840"/>
                <a:gd name="T16" fmla="*/ 231 w 1321"/>
                <a:gd name="T17" fmla="*/ 228 h 840"/>
                <a:gd name="T18" fmla="*/ 189 w 1321"/>
                <a:gd name="T19" fmla="*/ 300 h 840"/>
                <a:gd name="T20" fmla="*/ 175 w 1321"/>
                <a:gd name="T21" fmla="*/ 386 h 840"/>
                <a:gd name="T22" fmla="*/ 175 w 1321"/>
                <a:gd name="T23" fmla="*/ 839 h 840"/>
                <a:gd name="T24" fmla="*/ 0 w 1321"/>
                <a:gd name="T25" fmla="*/ 839 h 840"/>
                <a:gd name="T26" fmla="*/ 0 w 1321"/>
                <a:gd name="T27" fmla="*/ 14 h 840"/>
                <a:gd name="T28" fmla="*/ 164 w 1321"/>
                <a:gd name="T29" fmla="*/ 14 h 840"/>
                <a:gd name="T30" fmla="*/ 175 w 1321"/>
                <a:gd name="T31" fmla="*/ 125 h 840"/>
                <a:gd name="T32" fmla="*/ 278 w 1321"/>
                <a:gd name="T33" fmla="*/ 28 h 840"/>
                <a:gd name="T34" fmla="*/ 411 w 1321"/>
                <a:gd name="T35" fmla="*/ 0 h 840"/>
                <a:gd name="T36" fmla="*/ 492 w 1321"/>
                <a:gd name="T37" fmla="*/ 8 h 840"/>
                <a:gd name="T38" fmla="*/ 564 w 1321"/>
                <a:gd name="T39" fmla="*/ 39 h 840"/>
                <a:gd name="T40" fmla="*/ 628 w 1321"/>
                <a:gd name="T41" fmla="*/ 89 h 840"/>
                <a:gd name="T42" fmla="*/ 675 w 1321"/>
                <a:gd name="T43" fmla="*/ 167 h 840"/>
                <a:gd name="T44" fmla="*/ 800 w 1321"/>
                <a:gd name="T45" fmla="*/ 39 h 840"/>
                <a:gd name="T46" fmla="*/ 964 w 1321"/>
                <a:gd name="T47" fmla="*/ 3 h 840"/>
                <a:gd name="T48" fmla="*/ 1231 w 1321"/>
                <a:gd name="T49" fmla="*/ 103 h 840"/>
                <a:gd name="T50" fmla="*/ 1320 w 1321"/>
                <a:gd name="T51" fmla="*/ 383 h 840"/>
                <a:gd name="T52" fmla="*/ 1320 w 1321"/>
                <a:gd name="T53" fmla="*/ 839 h 840"/>
                <a:gd name="T54" fmla="*/ 1142 w 1321"/>
                <a:gd name="T55" fmla="*/ 839 h 840"/>
                <a:gd name="T56" fmla="*/ 1142 w 1321"/>
                <a:gd name="T57" fmla="*/ 383 h 840"/>
                <a:gd name="T58" fmla="*/ 1131 w 1321"/>
                <a:gd name="T59" fmla="*/ 297 h 840"/>
                <a:gd name="T60" fmla="*/ 1095 w 1321"/>
                <a:gd name="T61" fmla="*/ 228 h 840"/>
                <a:gd name="T62" fmla="*/ 1039 w 1321"/>
                <a:gd name="T63" fmla="*/ 181 h 840"/>
                <a:gd name="T64" fmla="*/ 956 w 1321"/>
                <a:gd name="T65" fmla="*/ 164 h 840"/>
                <a:gd name="T66" fmla="*/ 873 w 1321"/>
                <a:gd name="T67" fmla="*/ 181 h 840"/>
                <a:gd name="T68" fmla="*/ 809 w 1321"/>
                <a:gd name="T69" fmla="*/ 228 h 840"/>
                <a:gd name="T70" fmla="*/ 767 w 1321"/>
                <a:gd name="T71" fmla="*/ 300 h 840"/>
                <a:gd name="T72" fmla="*/ 753 w 1321"/>
                <a:gd name="T73" fmla="*/ 386 h 840"/>
                <a:gd name="T74" fmla="*/ 753 w 1321"/>
                <a:gd name="T75" fmla="*/ 839 h 840"/>
                <a:gd name="T76" fmla="*/ 575 w 1321"/>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1" h="840">
                  <a:moveTo>
                    <a:pt x="575" y="839"/>
                  </a:moveTo>
                  <a:lnTo>
                    <a:pt x="575" y="839"/>
                  </a:lnTo>
                  <a:cubicBezTo>
                    <a:pt x="575" y="386"/>
                    <a:pt x="575" y="386"/>
                    <a:pt x="575" y="386"/>
                  </a:cubicBezTo>
                  <a:cubicBezTo>
                    <a:pt x="575" y="356"/>
                    <a:pt x="570" y="328"/>
                    <a:pt x="561" y="300"/>
                  </a:cubicBezTo>
                  <a:cubicBezTo>
                    <a:pt x="553" y="272"/>
                    <a:pt x="539" y="247"/>
                    <a:pt x="523" y="228"/>
                  </a:cubicBezTo>
                  <a:cubicBezTo>
                    <a:pt x="506" y="208"/>
                    <a:pt x="486" y="192"/>
                    <a:pt x="461" y="181"/>
                  </a:cubicBezTo>
                  <a:cubicBezTo>
                    <a:pt x="436" y="167"/>
                    <a:pt x="409" y="161"/>
                    <a:pt x="378" y="161"/>
                  </a:cubicBezTo>
                  <a:cubicBezTo>
                    <a:pt x="348" y="161"/>
                    <a:pt x="320" y="167"/>
                    <a:pt x="295" y="181"/>
                  </a:cubicBezTo>
                  <a:cubicBezTo>
                    <a:pt x="270" y="192"/>
                    <a:pt x="248" y="208"/>
                    <a:pt x="231" y="228"/>
                  </a:cubicBezTo>
                  <a:cubicBezTo>
                    <a:pt x="211" y="247"/>
                    <a:pt x="200" y="272"/>
                    <a:pt x="189" y="300"/>
                  </a:cubicBezTo>
                  <a:cubicBezTo>
                    <a:pt x="181" y="328"/>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198" y="78"/>
                    <a:pt x="234" y="47"/>
                    <a:pt x="278" y="28"/>
                  </a:cubicBezTo>
                  <a:cubicBezTo>
                    <a:pt x="323" y="11"/>
                    <a:pt x="367" y="0"/>
                    <a:pt x="411" y="0"/>
                  </a:cubicBezTo>
                  <a:cubicBezTo>
                    <a:pt x="439" y="0"/>
                    <a:pt x="464" y="3"/>
                    <a:pt x="492" y="8"/>
                  </a:cubicBezTo>
                  <a:cubicBezTo>
                    <a:pt x="517" y="14"/>
                    <a:pt x="542" y="25"/>
                    <a:pt x="564" y="39"/>
                  </a:cubicBezTo>
                  <a:cubicBezTo>
                    <a:pt x="589" y="50"/>
                    <a:pt x="609" y="69"/>
                    <a:pt x="628" y="89"/>
                  </a:cubicBezTo>
                  <a:cubicBezTo>
                    <a:pt x="647" y="111"/>
                    <a:pt x="661" y="136"/>
                    <a:pt x="675" y="167"/>
                  </a:cubicBezTo>
                  <a:cubicBezTo>
                    <a:pt x="709" y="106"/>
                    <a:pt x="750" y="64"/>
                    <a:pt x="800" y="39"/>
                  </a:cubicBezTo>
                  <a:cubicBezTo>
                    <a:pt x="850" y="14"/>
                    <a:pt x="906" y="3"/>
                    <a:pt x="964" y="3"/>
                  </a:cubicBezTo>
                  <a:cubicBezTo>
                    <a:pt x="1081" y="3"/>
                    <a:pt x="1170" y="36"/>
                    <a:pt x="1231" y="103"/>
                  </a:cubicBezTo>
                  <a:cubicBezTo>
                    <a:pt x="1289" y="172"/>
                    <a:pt x="1320" y="264"/>
                    <a:pt x="1320" y="383"/>
                  </a:cubicBezTo>
                  <a:cubicBezTo>
                    <a:pt x="1320" y="839"/>
                    <a:pt x="1320" y="839"/>
                    <a:pt x="1320" y="839"/>
                  </a:cubicBezTo>
                  <a:cubicBezTo>
                    <a:pt x="1142" y="839"/>
                    <a:pt x="1142" y="839"/>
                    <a:pt x="1142" y="839"/>
                  </a:cubicBezTo>
                  <a:cubicBezTo>
                    <a:pt x="1142" y="383"/>
                    <a:pt x="1142" y="383"/>
                    <a:pt x="1142" y="383"/>
                  </a:cubicBezTo>
                  <a:cubicBezTo>
                    <a:pt x="1142" y="353"/>
                    <a:pt x="1139" y="325"/>
                    <a:pt x="1131" y="297"/>
                  </a:cubicBezTo>
                  <a:cubicBezTo>
                    <a:pt x="1122" y="269"/>
                    <a:pt x="1111" y="247"/>
                    <a:pt x="1095" y="228"/>
                  </a:cubicBezTo>
                  <a:cubicBezTo>
                    <a:pt x="1081" y="206"/>
                    <a:pt x="1061" y="192"/>
                    <a:pt x="1039" y="181"/>
                  </a:cubicBezTo>
                  <a:cubicBezTo>
                    <a:pt x="1014" y="169"/>
                    <a:pt x="986" y="164"/>
                    <a:pt x="956" y="164"/>
                  </a:cubicBezTo>
                  <a:cubicBezTo>
                    <a:pt x="925" y="164"/>
                    <a:pt x="897" y="169"/>
                    <a:pt x="873" y="181"/>
                  </a:cubicBezTo>
                  <a:cubicBezTo>
                    <a:pt x="847" y="192"/>
                    <a:pt x="825" y="208"/>
                    <a:pt x="809" y="228"/>
                  </a:cubicBezTo>
                  <a:cubicBezTo>
                    <a:pt x="789" y="250"/>
                    <a:pt x="775" y="272"/>
                    <a:pt x="767" y="300"/>
                  </a:cubicBezTo>
                  <a:cubicBezTo>
                    <a:pt x="756" y="328"/>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0" name="Freeform 7">
              <a:extLst>
                <a:ext uri="{FF2B5EF4-FFF2-40B4-BE49-F238E27FC236}">
                  <a16:creationId xmlns:a16="http://schemas.microsoft.com/office/drawing/2014/main" id="{A8D1D8A4-8EDC-934F-AABC-1517955DBF6D}"/>
                </a:ext>
              </a:extLst>
            </p:cNvPr>
            <p:cNvSpPr>
              <a:spLocks noChangeArrowheads="1"/>
            </p:cNvSpPr>
            <p:nvPr userDrawn="1"/>
          </p:nvSpPr>
          <p:spPr bwMode="auto">
            <a:xfrm>
              <a:off x="4105275" y="3141663"/>
              <a:ext cx="314325" cy="312737"/>
            </a:xfrm>
            <a:custGeom>
              <a:avLst/>
              <a:gdLst>
                <a:gd name="T0" fmla="*/ 864 w 874"/>
                <a:gd name="T1" fmla="*/ 498 h 868"/>
                <a:gd name="T2" fmla="*/ 864 w 874"/>
                <a:gd name="T3" fmla="*/ 498 h 868"/>
                <a:gd name="T4" fmla="*/ 181 w 874"/>
                <a:gd name="T5" fmla="*/ 498 h 868"/>
                <a:gd name="T6" fmla="*/ 267 w 874"/>
                <a:gd name="T7" fmla="*/ 650 h 868"/>
                <a:gd name="T8" fmla="*/ 456 w 874"/>
                <a:gd name="T9" fmla="*/ 706 h 868"/>
                <a:gd name="T10" fmla="*/ 592 w 874"/>
                <a:gd name="T11" fmla="*/ 684 h 868"/>
                <a:gd name="T12" fmla="*/ 700 w 874"/>
                <a:gd name="T13" fmla="*/ 617 h 868"/>
                <a:gd name="T14" fmla="*/ 814 w 874"/>
                <a:gd name="T15" fmla="*/ 725 h 868"/>
                <a:gd name="T16" fmla="*/ 739 w 874"/>
                <a:gd name="T17" fmla="*/ 786 h 868"/>
                <a:gd name="T18" fmla="*/ 650 w 874"/>
                <a:gd name="T19" fmla="*/ 831 h 868"/>
                <a:gd name="T20" fmla="*/ 553 w 874"/>
                <a:gd name="T21" fmla="*/ 859 h 868"/>
                <a:gd name="T22" fmla="*/ 453 w 874"/>
                <a:gd name="T23" fmla="*/ 867 h 868"/>
                <a:gd name="T24" fmla="*/ 267 w 874"/>
                <a:gd name="T25" fmla="*/ 836 h 868"/>
                <a:gd name="T26" fmla="*/ 123 w 874"/>
                <a:gd name="T27" fmla="*/ 748 h 868"/>
                <a:gd name="T28" fmla="*/ 31 w 874"/>
                <a:gd name="T29" fmla="*/ 609 h 868"/>
                <a:gd name="T30" fmla="*/ 0 w 874"/>
                <a:gd name="T31" fmla="*/ 431 h 868"/>
                <a:gd name="T32" fmla="*/ 31 w 874"/>
                <a:gd name="T33" fmla="*/ 256 h 868"/>
                <a:gd name="T34" fmla="*/ 123 w 874"/>
                <a:gd name="T35" fmla="*/ 120 h 868"/>
                <a:gd name="T36" fmla="*/ 261 w 874"/>
                <a:gd name="T37" fmla="*/ 31 h 868"/>
                <a:gd name="T38" fmla="*/ 442 w 874"/>
                <a:gd name="T39" fmla="*/ 0 h 868"/>
                <a:gd name="T40" fmla="*/ 628 w 874"/>
                <a:gd name="T41" fmla="*/ 31 h 868"/>
                <a:gd name="T42" fmla="*/ 767 w 874"/>
                <a:gd name="T43" fmla="*/ 125 h 868"/>
                <a:gd name="T44" fmla="*/ 850 w 874"/>
                <a:gd name="T45" fmla="*/ 278 h 868"/>
                <a:gd name="T46" fmla="*/ 864 w 874"/>
                <a:gd name="T47" fmla="*/ 498 h 868"/>
                <a:gd name="T48" fmla="*/ 187 w 874"/>
                <a:gd name="T49" fmla="*/ 353 h 868"/>
                <a:gd name="T50" fmla="*/ 187 w 874"/>
                <a:gd name="T51" fmla="*/ 353 h 868"/>
                <a:gd name="T52" fmla="*/ 695 w 874"/>
                <a:gd name="T53" fmla="*/ 353 h 868"/>
                <a:gd name="T54" fmla="*/ 620 w 874"/>
                <a:gd name="T55" fmla="*/ 203 h 868"/>
                <a:gd name="T56" fmla="*/ 448 w 874"/>
                <a:gd name="T57" fmla="*/ 153 h 868"/>
                <a:gd name="T58" fmla="*/ 278 w 874"/>
                <a:gd name="T59" fmla="*/ 203 h 868"/>
                <a:gd name="T60" fmla="*/ 187 w 874"/>
                <a:gd name="T61" fmla="*/ 353 h 868"/>
                <a:gd name="T62" fmla="*/ 864 w 874"/>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4" h="868">
                  <a:moveTo>
                    <a:pt x="864" y="498"/>
                  </a:moveTo>
                  <a:lnTo>
                    <a:pt x="864" y="498"/>
                  </a:lnTo>
                  <a:cubicBezTo>
                    <a:pt x="181" y="498"/>
                    <a:pt x="181" y="498"/>
                    <a:pt x="181" y="498"/>
                  </a:cubicBezTo>
                  <a:cubicBezTo>
                    <a:pt x="189" y="562"/>
                    <a:pt x="217" y="611"/>
                    <a:pt x="267" y="650"/>
                  </a:cubicBezTo>
                  <a:cubicBezTo>
                    <a:pt x="317" y="686"/>
                    <a:pt x="378" y="706"/>
                    <a:pt x="456" y="706"/>
                  </a:cubicBezTo>
                  <a:cubicBezTo>
                    <a:pt x="500" y="706"/>
                    <a:pt x="545" y="698"/>
                    <a:pt x="592" y="684"/>
                  </a:cubicBezTo>
                  <a:cubicBezTo>
                    <a:pt x="639" y="667"/>
                    <a:pt x="675" y="645"/>
                    <a:pt x="700" y="617"/>
                  </a:cubicBezTo>
                  <a:cubicBezTo>
                    <a:pt x="814" y="725"/>
                    <a:pt x="814" y="725"/>
                    <a:pt x="814" y="725"/>
                  </a:cubicBezTo>
                  <a:cubicBezTo>
                    <a:pt x="795" y="750"/>
                    <a:pt x="770" y="770"/>
                    <a:pt x="739" y="786"/>
                  </a:cubicBezTo>
                  <a:cubicBezTo>
                    <a:pt x="711" y="806"/>
                    <a:pt x="681" y="820"/>
                    <a:pt x="650" y="831"/>
                  </a:cubicBezTo>
                  <a:cubicBezTo>
                    <a:pt x="620" y="845"/>
                    <a:pt x="587" y="853"/>
                    <a:pt x="553" y="859"/>
                  </a:cubicBezTo>
                  <a:cubicBezTo>
                    <a:pt x="517" y="864"/>
                    <a:pt x="487" y="867"/>
                    <a:pt x="453" y="867"/>
                  </a:cubicBezTo>
                  <a:cubicBezTo>
                    <a:pt x="384" y="867"/>
                    <a:pt x="323" y="856"/>
                    <a:pt x="267" y="836"/>
                  </a:cubicBezTo>
                  <a:cubicBezTo>
                    <a:pt x="209" y="814"/>
                    <a:pt x="161" y="786"/>
                    <a:pt x="123" y="748"/>
                  </a:cubicBezTo>
                  <a:cubicBezTo>
                    <a:pt x="84" y="709"/>
                    <a:pt x="53" y="664"/>
                    <a:pt x="31" y="609"/>
                  </a:cubicBezTo>
                  <a:cubicBezTo>
                    <a:pt x="12" y="556"/>
                    <a:pt x="0" y="495"/>
                    <a:pt x="0" y="431"/>
                  </a:cubicBezTo>
                  <a:cubicBezTo>
                    <a:pt x="0" y="367"/>
                    <a:pt x="12" y="309"/>
                    <a:pt x="31" y="256"/>
                  </a:cubicBezTo>
                  <a:cubicBezTo>
                    <a:pt x="53" y="203"/>
                    <a:pt x="84" y="159"/>
                    <a:pt x="123" y="120"/>
                  </a:cubicBezTo>
                  <a:cubicBezTo>
                    <a:pt x="161" y="84"/>
                    <a:pt x="209" y="53"/>
                    <a:pt x="261" y="31"/>
                  </a:cubicBezTo>
                  <a:cubicBezTo>
                    <a:pt x="314" y="12"/>
                    <a:pt x="375" y="0"/>
                    <a:pt x="442" y="0"/>
                  </a:cubicBezTo>
                  <a:cubicBezTo>
                    <a:pt x="509" y="0"/>
                    <a:pt x="573" y="12"/>
                    <a:pt x="628" y="31"/>
                  </a:cubicBezTo>
                  <a:cubicBezTo>
                    <a:pt x="681" y="53"/>
                    <a:pt x="728" y="84"/>
                    <a:pt x="767" y="125"/>
                  </a:cubicBezTo>
                  <a:cubicBezTo>
                    <a:pt x="806" y="164"/>
                    <a:pt x="834" y="217"/>
                    <a:pt x="850" y="278"/>
                  </a:cubicBezTo>
                  <a:cubicBezTo>
                    <a:pt x="867" y="342"/>
                    <a:pt x="873" y="414"/>
                    <a:pt x="864" y="498"/>
                  </a:cubicBezTo>
                  <a:lnTo>
                    <a:pt x="187" y="353"/>
                  </a:lnTo>
                  <a:lnTo>
                    <a:pt x="187" y="353"/>
                  </a:lnTo>
                  <a:cubicBezTo>
                    <a:pt x="695" y="353"/>
                    <a:pt x="695" y="353"/>
                    <a:pt x="695" y="353"/>
                  </a:cubicBezTo>
                  <a:cubicBezTo>
                    <a:pt x="689" y="287"/>
                    <a:pt x="664" y="236"/>
                    <a:pt x="620" y="203"/>
                  </a:cubicBezTo>
                  <a:cubicBezTo>
                    <a:pt x="575" y="170"/>
                    <a:pt x="517" y="153"/>
                    <a:pt x="448" y="153"/>
                  </a:cubicBezTo>
                  <a:cubicBezTo>
                    <a:pt x="381" y="153"/>
                    <a:pt x="325" y="170"/>
                    <a:pt x="278" y="203"/>
                  </a:cubicBezTo>
                  <a:cubicBezTo>
                    <a:pt x="231" y="236"/>
                    <a:pt x="200" y="287"/>
                    <a:pt x="187"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1" name="Freeform 8">
              <a:extLst>
                <a:ext uri="{FF2B5EF4-FFF2-40B4-BE49-F238E27FC236}">
                  <a16:creationId xmlns:a16="http://schemas.microsoft.com/office/drawing/2014/main" id="{99C3D801-079F-9C46-BA62-8B82A5C5950C}"/>
                </a:ext>
              </a:extLst>
            </p:cNvPr>
            <p:cNvSpPr>
              <a:spLocks noChangeArrowheads="1"/>
            </p:cNvSpPr>
            <p:nvPr userDrawn="1"/>
          </p:nvSpPr>
          <p:spPr bwMode="auto">
            <a:xfrm>
              <a:off x="4481513" y="3141663"/>
              <a:ext cx="227012" cy="303212"/>
            </a:xfrm>
            <a:custGeom>
              <a:avLst/>
              <a:gdLst>
                <a:gd name="T0" fmla="*/ 164 w 631"/>
                <a:gd name="T1" fmla="*/ 20 h 843"/>
                <a:gd name="T2" fmla="*/ 164 w 631"/>
                <a:gd name="T3" fmla="*/ 20 h 843"/>
                <a:gd name="T4" fmla="*/ 175 w 631"/>
                <a:gd name="T5" fmla="*/ 128 h 843"/>
                <a:gd name="T6" fmla="*/ 289 w 631"/>
                <a:gd name="T7" fmla="*/ 25 h 843"/>
                <a:gd name="T8" fmla="*/ 422 w 631"/>
                <a:gd name="T9" fmla="*/ 0 h 843"/>
                <a:gd name="T10" fmla="*/ 539 w 631"/>
                <a:gd name="T11" fmla="*/ 20 h 843"/>
                <a:gd name="T12" fmla="*/ 630 w 631"/>
                <a:gd name="T13" fmla="*/ 70 h 843"/>
                <a:gd name="T14" fmla="*/ 550 w 631"/>
                <a:gd name="T15" fmla="*/ 222 h 843"/>
                <a:gd name="T16" fmla="*/ 486 w 631"/>
                <a:gd name="T17" fmla="*/ 184 h 843"/>
                <a:gd name="T18" fmla="*/ 402 w 631"/>
                <a:gd name="T19" fmla="*/ 172 h 843"/>
                <a:gd name="T20" fmla="*/ 316 w 631"/>
                <a:gd name="T21" fmla="*/ 186 h 843"/>
                <a:gd name="T22" fmla="*/ 244 w 631"/>
                <a:gd name="T23" fmla="*/ 228 h 843"/>
                <a:gd name="T24" fmla="*/ 194 w 631"/>
                <a:gd name="T25" fmla="*/ 297 h 843"/>
                <a:gd name="T26" fmla="*/ 175 w 631"/>
                <a:gd name="T27" fmla="*/ 397 h 843"/>
                <a:gd name="T28" fmla="*/ 175 w 631"/>
                <a:gd name="T29" fmla="*/ 842 h 843"/>
                <a:gd name="T30" fmla="*/ 0 w 631"/>
                <a:gd name="T31" fmla="*/ 842 h 843"/>
                <a:gd name="T32" fmla="*/ 0 w 631"/>
                <a:gd name="T33" fmla="*/ 20 h 843"/>
                <a:gd name="T34" fmla="*/ 164 w 631"/>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1" h="843">
                  <a:moveTo>
                    <a:pt x="164" y="20"/>
                  </a:moveTo>
                  <a:lnTo>
                    <a:pt x="164" y="20"/>
                  </a:lnTo>
                  <a:cubicBezTo>
                    <a:pt x="175" y="128"/>
                    <a:pt x="175" y="128"/>
                    <a:pt x="175" y="128"/>
                  </a:cubicBezTo>
                  <a:cubicBezTo>
                    <a:pt x="205" y="75"/>
                    <a:pt x="244" y="42"/>
                    <a:pt x="289" y="25"/>
                  </a:cubicBezTo>
                  <a:cubicBezTo>
                    <a:pt x="333" y="9"/>
                    <a:pt x="378" y="0"/>
                    <a:pt x="422" y="0"/>
                  </a:cubicBezTo>
                  <a:cubicBezTo>
                    <a:pt x="464" y="0"/>
                    <a:pt x="502" y="9"/>
                    <a:pt x="539" y="20"/>
                  </a:cubicBezTo>
                  <a:cubicBezTo>
                    <a:pt x="577" y="34"/>
                    <a:pt x="608" y="50"/>
                    <a:pt x="630" y="70"/>
                  </a:cubicBezTo>
                  <a:cubicBezTo>
                    <a:pt x="550" y="222"/>
                    <a:pt x="550" y="222"/>
                    <a:pt x="550" y="222"/>
                  </a:cubicBezTo>
                  <a:cubicBezTo>
                    <a:pt x="530" y="206"/>
                    <a:pt x="508" y="192"/>
                    <a:pt x="486" y="184"/>
                  </a:cubicBezTo>
                  <a:cubicBezTo>
                    <a:pt x="464" y="175"/>
                    <a:pt x="436" y="172"/>
                    <a:pt x="402" y="172"/>
                  </a:cubicBezTo>
                  <a:cubicBezTo>
                    <a:pt x="372" y="172"/>
                    <a:pt x="341" y="175"/>
                    <a:pt x="316" y="186"/>
                  </a:cubicBezTo>
                  <a:cubicBezTo>
                    <a:pt x="289" y="195"/>
                    <a:pt x="264" y="209"/>
                    <a:pt x="244" y="228"/>
                  </a:cubicBezTo>
                  <a:cubicBezTo>
                    <a:pt x="222" y="245"/>
                    <a:pt x="205" y="270"/>
                    <a:pt x="194" y="297"/>
                  </a:cubicBezTo>
                  <a:cubicBezTo>
                    <a:pt x="180" y="325"/>
                    <a:pt x="175" y="359"/>
                    <a:pt x="175" y="397"/>
                  </a:cubicBezTo>
                  <a:cubicBezTo>
                    <a:pt x="175" y="842"/>
                    <a:pt x="175" y="842"/>
                    <a:pt x="175"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2" name="Freeform 9">
              <a:extLst>
                <a:ext uri="{FF2B5EF4-FFF2-40B4-BE49-F238E27FC236}">
                  <a16:creationId xmlns:a16="http://schemas.microsoft.com/office/drawing/2014/main" id="{9ABCFA99-C867-9C49-BA6A-57EB10090B35}"/>
                </a:ext>
              </a:extLst>
            </p:cNvPr>
            <p:cNvSpPr>
              <a:spLocks noChangeArrowheads="1"/>
            </p:cNvSpPr>
            <p:nvPr userDrawn="1"/>
          </p:nvSpPr>
          <p:spPr bwMode="auto">
            <a:xfrm>
              <a:off x="4872038" y="3141663"/>
              <a:ext cx="314325" cy="312737"/>
            </a:xfrm>
            <a:custGeom>
              <a:avLst/>
              <a:gdLst>
                <a:gd name="T0" fmla="*/ 863 w 872"/>
                <a:gd name="T1" fmla="*/ 498 h 868"/>
                <a:gd name="T2" fmla="*/ 863 w 872"/>
                <a:gd name="T3" fmla="*/ 498 h 868"/>
                <a:gd name="T4" fmla="*/ 183 w 872"/>
                <a:gd name="T5" fmla="*/ 498 h 868"/>
                <a:gd name="T6" fmla="*/ 266 w 872"/>
                <a:gd name="T7" fmla="*/ 650 h 868"/>
                <a:gd name="T8" fmla="*/ 458 w 872"/>
                <a:gd name="T9" fmla="*/ 706 h 868"/>
                <a:gd name="T10" fmla="*/ 590 w 872"/>
                <a:gd name="T11" fmla="*/ 684 h 868"/>
                <a:gd name="T12" fmla="*/ 699 w 872"/>
                <a:gd name="T13" fmla="*/ 617 h 868"/>
                <a:gd name="T14" fmla="*/ 815 w 872"/>
                <a:gd name="T15" fmla="*/ 725 h 868"/>
                <a:gd name="T16" fmla="*/ 740 w 872"/>
                <a:gd name="T17" fmla="*/ 786 h 868"/>
                <a:gd name="T18" fmla="*/ 649 w 872"/>
                <a:gd name="T19" fmla="*/ 831 h 868"/>
                <a:gd name="T20" fmla="*/ 551 w 872"/>
                <a:gd name="T21" fmla="*/ 859 h 868"/>
                <a:gd name="T22" fmla="*/ 452 w 872"/>
                <a:gd name="T23" fmla="*/ 867 h 868"/>
                <a:gd name="T24" fmla="*/ 266 w 872"/>
                <a:gd name="T25" fmla="*/ 836 h 868"/>
                <a:gd name="T26" fmla="*/ 122 w 872"/>
                <a:gd name="T27" fmla="*/ 748 h 868"/>
                <a:gd name="T28" fmla="*/ 30 w 872"/>
                <a:gd name="T29" fmla="*/ 609 h 868"/>
                <a:gd name="T30" fmla="*/ 0 w 872"/>
                <a:gd name="T31" fmla="*/ 431 h 868"/>
                <a:gd name="T32" fmla="*/ 30 w 872"/>
                <a:gd name="T33" fmla="*/ 256 h 868"/>
                <a:gd name="T34" fmla="*/ 122 w 872"/>
                <a:gd name="T35" fmla="*/ 120 h 868"/>
                <a:gd name="T36" fmla="*/ 261 w 872"/>
                <a:gd name="T37" fmla="*/ 31 h 868"/>
                <a:gd name="T38" fmla="*/ 441 w 872"/>
                <a:gd name="T39" fmla="*/ 0 h 868"/>
                <a:gd name="T40" fmla="*/ 626 w 872"/>
                <a:gd name="T41" fmla="*/ 31 h 868"/>
                <a:gd name="T42" fmla="*/ 765 w 872"/>
                <a:gd name="T43" fmla="*/ 125 h 868"/>
                <a:gd name="T44" fmla="*/ 849 w 872"/>
                <a:gd name="T45" fmla="*/ 278 h 868"/>
                <a:gd name="T46" fmla="*/ 863 w 872"/>
                <a:gd name="T47" fmla="*/ 498 h 868"/>
                <a:gd name="T48" fmla="*/ 186 w 872"/>
                <a:gd name="T49" fmla="*/ 353 h 868"/>
                <a:gd name="T50" fmla="*/ 186 w 872"/>
                <a:gd name="T51" fmla="*/ 353 h 868"/>
                <a:gd name="T52" fmla="*/ 696 w 872"/>
                <a:gd name="T53" fmla="*/ 353 h 868"/>
                <a:gd name="T54" fmla="*/ 621 w 872"/>
                <a:gd name="T55" fmla="*/ 203 h 868"/>
                <a:gd name="T56" fmla="*/ 447 w 872"/>
                <a:gd name="T57" fmla="*/ 153 h 868"/>
                <a:gd name="T58" fmla="*/ 278 w 872"/>
                <a:gd name="T59" fmla="*/ 203 h 868"/>
                <a:gd name="T60" fmla="*/ 186 w 872"/>
                <a:gd name="T61" fmla="*/ 353 h 868"/>
                <a:gd name="T62" fmla="*/ 863 w 872"/>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2" h="868">
                  <a:moveTo>
                    <a:pt x="863" y="498"/>
                  </a:moveTo>
                  <a:lnTo>
                    <a:pt x="863" y="498"/>
                  </a:lnTo>
                  <a:cubicBezTo>
                    <a:pt x="183" y="498"/>
                    <a:pt x="183" y="498"/>
                    <a:pt x="183" y="498"/>
                  </a:cubicBezTo>
                  <a:cubicBezTo>
                    <a:pt x="189" y="562"/>
                    <a:pt x="219" y="611"/>
                    <a:pt x="266" y="650"/>
                  </a:cubicBezTo>
                  <a:cubicBezTo>
                    <a:pt x="316" y="686"/>
                    <a:pt x="380" y="706"/>
                    <a:pt x="458" y="706"/>
                  </a:cubicBezTo>
                  <a:cubicBezTo>
                    <a:pt x="499" y="706"/>
                    <a:pt x="543" y="698"/>
                    <a:pt x="590" y="684"/>
                  </a:cubicBezTo>
                  <a:cubicBezTo>
                    <a:pt x="638" y="667"/>
                    <a:pt x="674" y="645"/>
                    <a:pt x="699" y="617"/>
                  </a:cubicBezTo>
                  <a:cubicBezTo>
                    <a:pt x="815" y="725"/>
                    <a:pt x="815" y="725"/>
                    <a:pt x="815" y="725"/>
                  </a:cubicBezTo>
                  <a:cubicBezTo>
                    <a:pt x="793" y="750"/>
                    <a:pt x="768" y="770"/>
                    <a:pt x="740" y="786"/>
                  </a:cubicBezTo>
                  <a:cubicBezTo>
                    <a:pt x="710" y="806"/>
                    <a:pt x="682" y="820"/>
                    <a:pt x="649" y="831"/>
                  </a:cubicBezTo>
                  <a:cubicBezTo>
                    <a:pt x="618" y="845"/>
                    <a:pt x="585" y="853"/>
                    <a:pt x="551" y="859"/>
                  </a:cubicBezTo>
                  <a:cubicBezTo>
                    <a:pt x="518" y="864"/>
                    <a:pt x="485" y="867"/>
                    <a:pt x="452" y="867"/>
                  </a:cubicBezTo>
                  <a:cubicBezTo>
                    <a:pt x="383" y="867"/>
                    <a:pt x="322" y="856"/>
                    <a:pt x="266" y="836"/>
                  </a:cubicBezTo>
                  <a:cubicBezTo>
                    <a:pt x="211" y="814"/>
                    <a:pt x="161" y="786"/>
                    <a:pt x="122" y="748"/>
                  </a:cubicBezTo>
                  <a:cubicBezTo>
                    <a:pt x="83" y="709"/>
                    <a:pt x="53" y="664"/>
                    <a:pt x="30" y="609"/>
                  </a:cubicBezTo>
                  <a:cubicBezTo>
                    <a:pt x="11" y="556"/>
                    <a:pt x="0" y="495"/>
                    <a:pt x="0" y="431"/>
                  </a:cubicBezTo>
                  <a:cubicBezTo>
                    <a:pt x="0" y="367"/>
                    <a:pt x="11" y="309"/>
                    <a:pt x="30" y="256"/>
                  </a:cubicBezTo>
                  <a:cubicBezTo>
                    <a:pt x="53" y="203"/>
                    <a:pt x="83" y="159"/>
                    <a:pt x="122" y="120"/>
                  </a:cubicBezTo>
                  <a:cubicBezTo>
                    <a:pt x="161" y="84"/>
                    <a:pt x="208" y="53"/>
                    <a:pt x="261" y="31"/>
                  </a:cubicBezTo>
                  <a:cubicBezTo>
                    <a:pt x="316" y="12"/>
                    <a:pt x="375" y="0"/>
                    <a:pt x="441" y="0"/>
                  </a:cubicBezTo>
                  <a:cubicBezTo>
                    <a:pt x="510" y="0"/>
                    <a:pt x="571" y="12"/>
                    <a:pt x="626" y="31"/>
                  </a:cubicBezTo>
                  <a:cubicBezTo>
                    <a:pt x="682" y="53"/>
                    <a:pt x="726" y="84"/>
                    <a:pt x="765" y="125"/>
                  </a:cubicBezTo>
                  <a:cubicBezTo>
                    <a:pt x="804" y="164"/>
                    <a:pt x="832" y="217"/>
                    <a:pt x="849" y="278"/>
                  </a:cubicBezTo>
                  <a:cubicBezTo>
                    <a:pt x="868" y="342"/>
                    <a:pt x="871" y="414"/>
                    <a:pt x="863" y="498"/>
                  </a:cubicBezTo>
                  <a:lnTo>
                    <a:pt x="186" y="353"/>
                  </a:lnTo>
                  <a:lnTo>
                    <a:pt x="186" y="353"/>
                  </a:lnTo>
                  <a:cubicBezTo>
                    <a:pt x="696" y="353"/>
                    <a:pt x="696" y="353"/>
                    <a:pt x="696" y="353"/>
                  </a:cubicBezTo>
                  <a:cubicBezTo>
                    <a:pt x="690" y="287"/>
                    <a:pt x="663" y="236"/>
                    <a:pt x="621" y="203"/>
                  </a:cubicBezTo>
                  <a:cubicBezTo>
                    <a:pt x="577" y="170"/>
                    <a:pt x="518" y="153"/>
                    <a:pt x="447" y="153"/>
                  </a:cubicBezTo>
                  <a:cubicBezTo>
                    <a:pt x="380" y="153"/>
                    <a:pt x="325" y="170"/>
                    <a:pt x="278" y="203"/>
                  </a:cubicBezTo>
                  <a:cubicBezTo>
                    <a:pt x="230" y="236"/>
                    <a:pt x="200" y="287"/>
                    <a:pt x="186" y="353"/>
                  </a:cubicBezTo>
                  <a:lnTo>
                    <a:pt x="863"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3" name="Freeform 10">
              <a:extLst>
                <a:ext uri="{FF2B5EF4-FFF2-40B4-BE49-F238E27FC236}">
                  <a16:creationId xmlns:a16="http://schemas.microsoft.com/office/drawing/2014/main" id="{D952F8B5-B172-F34E-B79E-B9FAF2C64A35}"/>
                </a:ext>
              </a:extLst>
            </p:cNvPr>
            <p:cNvSpPr>
              <a:spLocks noChangeArrowheads="1"/>
            </p:cNvSpPr>
            <p:nvPr userDrawn="1"/>
          </p:nvSpPr>
          <p:spPr bwMode="auto">
            <a:xfrm>
              <a:off x="5205413" y="3149600"/>
              <a:ext cx="301625" cy="296863"/>
            </a:xfrm>
            <a:custGeom>
              <a:avLst/>
              <a:gdLst>
                <a:gd name="T0" fmla="*/ 606 w 837"/>
                <a:gd name="T1" fmla="*/ 0 h 823"/>
                <a:gd name="T2" fmla="*/ 820 w 837"/>
                <a:gd name="T3" fmla="*/ 0 h 823"/>
                <a:gd name="T4" fmla="*/ 820 w 837"/>
                <a:gd name="T5" fmla="*/ 5 h 823"/>
                <a:gd name="T6" fmla="*/ 536 w 837"/>
                <a:gd name="T7" fmla="*/ 402 h 823"/>
                <a:gd name="T8" fmla="*/ 836 w 837"/>
                <a:gd name="T9" fmla="*/ 819 h 823"/>
                <a:gd name="T10" fmla="*/ 836 w 837"/>
                <a:gd name="T11" fmla="*/ 822 h 823"/>
                <a:gd name="T12" fmla="*/ 625 w 837"/>
                <a:gd name="T13" fmla="*/ 822 h 823"/>
                <a:gd name="T14" fmla="*/ 420 w 837"/>
                <a:gd name="T15" fmla="*/ 525 h 823"/>
                <a:gd name="T16" fmla="*/ 212 w 837"/>
                <a:gd name="T17" fmla="*/ 822 h 823"/>
                <a:gd name="T18" fmla="*/ 0 w 837"/>
                <a:gd name="T19" fmla="*/ 822 h 823"/>
                <a:gd name="T20" fmla="*/ 0 w 837"/>
                <a:gd name="T21" fmla="*/ 819 h 823"/>
                <a:gd name="T22" fmla="*/ 303 w 837"/>
                <a:gd name="T23" fmla="*/ 402 h 823"/>
                <a:gd name="T24" fmla="*/ 20 w 837"/>
                <a:gd name="T25" fmla="*/ 5 h 823"/>
                <a:gd name="T26" fmla="*/ 20 w 837"/>
                <a:gd name="T27" fmla="*/ 0 h 823"/>
                <a:gd name="T28" fmla="*/ 231 w 837"/>
                <a:gd name="T29" fmla="*/ 0 h 823"/>
                <a:gd name="T30" fmla="*/ 420 w 837"/>
                <a:gd name="T31" fmla="*/ 294 h 823"/>
                <a:gd name="T32" fmla="*/ 606 w 837"/>
                <a:gd name="T33"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7" h="823">
                  <a:moveTo>
                    <a:pt x="606" y="0"/>
                  </a:moveTo>
                  <a:lnTo>
                    <a:pt x="820" y="0"/>
                  </a:lnTo>
                  <a:lnTo>
                    <a:pt x="820" y="5"/>
                  </a:lnTo>
                  <a:lnTo>
                    <a:pt x="536" y="402"/>
                  </a:lnTo>
                  <a:lnTo>
                    <a:pt x="836" y="819"/>
                  </a:lnTo>
                  <a:lnTo>
                    <a:pt x="836" y="822"/>
                  </a:lnTo>
                  <a:lnTo>
                    <a:pt x="625" y="822"/>
                  </a:lnTo>
                  <a:lnTo>
                    <a:pt x="420" y="525"/>
                  </a:lnTo>
                  <a:lnTo>
                    <a:pt x="212" y="822"/>
                  </a:lnTo>
                  <a:lnTo>
                    <a:pt x="0" y="822"/>
                  </a:lnTo>
                  <a:lnTo>
                    <a:pt x="0" y="819"/>
                  </a:lnTo>
                  <a:lnTo>
                    <a:pt x="303" y="402"/>
                  </a:lnTo>
                  <a:lnTo>
                    <a:pt x="20" y="5"/>
                  </a:lnTo>
                  <a:lnTo>
                    <a:pt x="20" y="0"/>
                  </a:lnTo>
                  <a:lnTo>
                    <a:pt x="231" y="0"/>
                  </a:lnTo>
                  <a:lnTo>
                    <a:pt x="420" y="294"/>
                  </a:lnTo>
                  <a:lnTo>
                    <a:pt x="60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4" name="Freeform 11">
              <a:extLst>
                <a:ext uri="{FF2B5EF4-FFF2-40B4-BE49-F238E27FC236}">
                  <a16:creationId xmlns:a16="http://schemas.microsoft.com/office/drawing/2014/main" id="{68BD8CEC-2BB3-D540-BDD4-22D01ECC2D8C}"/>
                </a:ext>
              </a:extLst>
            </p:cNvPr>
            <p:cNvSpPr>
              <a:spLocks noChangeArrowheads="1"/>
            </p:cNvSpPr>
            <p:nvPr userDrawn="1"/>
          </p:nvSpPr>
          <p:spPr bwMode="auto">
            <a:xfrm>
              <a:off x="5557838" y="3143250"/>
              <a:ext cx="323850" cy="439738"/>
            </a:xfrm>
            <a:custGeom>
              <a:avLst/>
              <a:gdLst>
                <a:gd name="T0" fmla="*/ 0 w 898"/>
                <a:gd name="T1" fmla="*/ 1221 h 1222"/>
                <a:gd name="T2" fmla="*/ 0 w 898"/>
                <a:gd name="T3" fmla="*/ 1221 h 1222"/>
                <a:gd name="T4" fmla="*/ 0 w 898"/>
                <a:gd name="T5" fmla="*/ 17 h 1222"/>
                <a:gd name="T6" fmla="*/ 164 w 898"/>
                <a:gd name="T7" fmla="*/ 17 h 1222"/>
                <a:gd name="T8" fmla="*/ 175 w 898"/>
                <a:gd name="T9" fmla="*/ 150 h 1222"/>
                <a:gd name="T10" fmla="*/ 306 w 898"/>
                <a:gd name="T11" fmla="*/ 36 h 1222"/>
                <a:gd name="T12" fmla="*/ 472 w 898"/>
                <a:gd name="T13" fmla="*/ 0 h 1222"/>
                <a:gd name="T14" fmla="*/ 645 w 898"/>
                <a:gd name="T15" fmla="*/ 33 h 1222"/>
                <a:gd name="T16" fmla="*/ 781 w 898"/>
                <a:gd name="T17" fmla="*/ 122 h 1222"/>
                <a:gd name="T18" fmla="*/ 867 w 898"/>
                <a:gd name="T19" fmla="*/ 256 h 1222"/>
                <a:gd name="T20" fmla="*/ 897 w 898"/>
                <a:gd name="T21" fmla="*/ 428 h 1222"/>
                <a:gd name="T22" fmla="*/ 867 w 898"/>
                <a:gd name="T23" fmla="*/ 600 h 1222"/>
                <a:gd name="T24" fmla="*/ 783 w 898"/>
                <a:gd name="T25" fmla="*/ 736 h 1222"/>
                <a:gd name="T26" fmla="*/ 650 w 898"/>
                <a:gd name="T27" fmla="*/ 828 h 1222"/>
                <a:gd name="T28" fmla="*/ 472 w 898"/>
                <a:gd name="T29" fmla="*/ 858 h 1222"/>
                <a:gd name="T30" fmla="*/ 392 w 898"/>
                <a:gd name="T31" fmla="*/ 850 h 1222"/>
                <a:gd name="T32" fmla="*/ 308 w 898"/>
                <a:gd name="T33" fmla="*/ 828 h 1222"/>
                <a:gd name="T34" fmla="*/ 233 w 898"/>
                <a:gd name="T35" fmla="*/ 786 h 1222"/>
                <a:gd name="T36" fmla="*/ 175 w 898"/>
                <a:gd name="T37" fmla="*/ 719 h 1222"/>
                <a:gd name="T38" fmla="*/ 175 w 898"/>
                <a:gd name="T39" fmla="*/ 1221 h 1222"/>
                <a:gd name="T40" fmla="*/ 0 w 898"/>
                <a:gd name="T41" fmla="*/ 1221 h 1222"/>
                <a:gd name="T42" fmla="*/ 456 w 898"/>
                <a:gd name="T43" fmla="*/ 692 h 1222"/>
                <a:gd name="T44" fmla="*/ 456 w 898"/>
                <a:gd name="T45" fmla="*/ 692 h 1222"/>
                <a:gd name="T46" fmla="*/ 561 w 898"/>
                <a:gd name="T47" fmla="*/ 672 h 1222"/>
                <a:gd name="T48" fmla="*/ 647 w 898"/>
                <a:gd name="T49" fmla="*/ 617 h 1222"/>
                <a:gd name="T50" fmla="*/ 703 w 898"/>
                <a:gd name="T51" fmla="*/ 536 h 1222"/>
                <a:gd name="T52" fmla="*/ 722 w 898"/>
                <a:gd name="T53" fmla="*/ 428 h 1222"/>
                <a:gd name="T54" fmla="*/ 650 w 898"/>
                <a:gd name="T55" fmla="*/ 239 h 1222"/>
                <a:gd name="T56" fmla="*/ 456 w 898"/>
                <a:gd name="T57" fmla="*/ 167 h 1222"/>
                <a:gd name="T58" fmla="*/ 345 w 898"/>
                <a:gd name="T59" fmla="*/ 186 h 1222"/>
                <a:gd name="T60" fmla="*/ 261 w 898"/>
                <a:gd name="T61" fmla="*/ 242 h 1222"/>
                <a:gd name="T62" fmla="*/ 208 w 898"/>
                <a:gd name="T63" fmla="*/ 325 h 1222"/>
                <a:gd name="T64" fmla="*/ 192 w 898"/>
                <a:gd name="T65" fmla="*/ 428 h 1222"/>
                <a:gd name="T66" fmla="*/ 211 w 898"/>
                <a:gd name="T67" fmla="*/ 530 h 1222"/>
                <a:gd name="T68" fmla="*/ 264 w 898"/>
                <a:gd name="T69" fmla="*/ 617 h 1222"/>
                <a:gd name="T70" fmla="*/ 347 w 898"/>
                <a:gd name="T71" fmla="*/ 672 h 1222"/>
                <a:gd name="T72" fmla="*/ 456 w 898"/>
                <a:gd name="T73" fmla="*/ 69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8" h="1222">
                  <a:moveTo>
                    <a:pt x="0" y="1221"/>
                  </a:moveTo>
                  <a:lnTo>
                    <a:pt x="0" y="1221"/>
                  </a:lnTo>
                  <a:cubicBezTo>
                    <a:pt x="0" y="17"/>
                    <a:pt x="0" y="17"/>
                    <a:pt x="0" y="17"/>
                  </a:cubicBezTo>
                  <a:cubicBezTo>
                    <a:pt x="164" y="17"/>
                    <a:pt x="164" y="17"/>
                    <a:pt x="164" y="17"/>
                  </a:cubicBezTo>
                  <a:cubicBezTo>
                    <a:pt x="175" y="150"/>
                    <a:pt x="175" y="150"/>
                    <a:pt x="175" y="150"/>
                  </a:cubicBezTo>
                  <a:cubicBezTo>
                    <a:pt x="208" y="100"/>
                    <a:pt x="253" y="61"/>
                    <a:pt x="306" y="36"/>
                  </a:cubicBezTo>
                  <a:cubicBezTo>
                    <a:pt x="361" y="11"/>
                    <a:pt x="417" y="0"/>
                    <a:pt x="472" y="0"/>
                  </a:cubicBezTo>
                  <a:cubicBezTo>
                    <a:pt x="536" y="0"/>
                    <a:pt x="592" y="11"/>
                    <a:pt x="645" y="33"/>
                  </a:cubicBezTo>
                  <a:cubicBezTo>
                    <a:pt x="697" y="53"/>
                    <a:pt x="742" y="83"/>
                    <a:pt x="781" y="122"/>
                  </a:cubicBezTo>
                  <a:cubicBezTo>
                    <a:pt x="817" y="158"/>
                    <a:pt x="847" y="206"/>
                    <a:pt x="867" y="256"/>
                  </a:cubicBezTo>
                  <a:cubicBezTo>
                    <a:pt x="886" y="308"/>
                    <a:pt x="897" y="367"/>
                    <a:pt x="897" y="428"/>
                  </a:cubicBezTo>
                  <a:cubicBezTo>
                    <a:pt x="897" y="492"/>
                    <a:pt x="886" y="550"/>
                    <a:pt x="867" y="600"/>
                  </a:cubicBezTo>
                  <a:cubicBezTo>
                    <a:pt x="847" y="653"/>
                    <a:pt x="820" y="700"/>
                    <a:pt x="783" y="736"/>
                  </a:cubicBezTo>
                  <a:cubicBezTo>
                    <a:pt x="747" y="775"/>
                    <a:pt x="703" y="805"/>
                    <a:pt x="650" y="828"/>
                  </a:cubicBezTo>
                  <a:cubicBezTo>
                    <a:pt x="597" y="847"/>
                    <a:pt x="536" y="858"/>
                    <a:pt x="472" y="858"/>
                  </a:cubicBezTo>
                  <a:cubicBezTo>
                    <a:pt x="447" y="858"/>
                    <a:pt x="420" y="856"/>
                    <a:pt x="392" y="850"/>
                  </a:cubicBezTo>
                  <a:cubicBezTo>
                    <a:pt x="364" y="847"/>
                    <a:pt x="336" y="839"/>
                    <a:pt x="308" y="828"/>
                  </a:cubicBezTo>
                  <a:cubicBezTo>
                    <a:pt x="283" y="817"/>
                    <a:pt x="258" y="803"/>
                    <a:pt x="233" y="786"/>
                  </a:cubicBezTo>
                  <a:cubicBezTo>
                    <a:pt x="211" y="767"/>
                    <a:pt x="192" y="744"/>
                    <a:pt x="175" y="719"/>
                  </a:cubicBezTo>
                  <a:cubicBezTo>
                    <a:pt x="175" y="1221"/>
                    <a:pt x="175" y="1221"/>
                    <a:pt x="175" y="1221"/>
                  </a:cubicBezTo>
                  <a:lnTo>
                    <a:pt x="0" y="1221"/>
                  </a:lnTo>
                  <a:close/>
                  <a:moveTo>
                    <a:pt x="456" y="692"/>
                  </a:moveTo>
                  <a:lnTo>
                    <a:pt x="456" y="692"/>
                  </a:lnTo>
                  <a:cubicBezTo>
                    <a:pt x="495" y="692"/>
                    <a:pt x="531" y="686"/>
                    <a:pt x="561" y="672"/>
                  </a:cubicBezTo>
                  <a:cubicBezTo>
                    <a:pt x="595" y="658"/>
                    <a:pt x="622" y="642"/>
                    <a:pt x="647" y="617"/>
                  </a:cubicBezTo>
                  <a:cubicBezTo>
                    <a:pt x="669" y="594"/>
                    <a:pt x="689" y="567"/>
                    <a:pt x="703" y="536"/>
                  </a:cubicBezTo>
                  <a:cubicBezTo>
                    <a:pt x="714" y="503"/>
                    <a:pt x="722" y="467"/>
                    <a:pt x="722" y="428"/>
                  </a:cubicBezTo>
                  <a:cubicBezTo>
                    <a:pt x="722" y="350"/>
                    <a:pt x="697" y="289"/>
                    <a:pt x="650" y="239"/>
                  </a:cubicBezTo>
                  <a:cubicBezTo>
                    <a:pt x="600" y="192"/>
                    <a:pt x="536" y="167"/>
                    <a:pt x="456" y="167"/>
                  </a:cubicBezTo>
                  <a:cubicBezTo>
                    <a:pt x="414" y="167"/>
                    <a:pt x="378" y="172"/>
                    <a:pt x="345" y="186"/>
                  </a:cubicBezTo>
                  <a:cubicBezTo>
                    <a:pt x="314" y="200"/>
                    <a:pt x="286" y="219"/>
                    <a:pt x="261" y="242"/>
                  </a:cubicBezTo>
                  <a:cubicBezTo>
                    <a:pt x="239" y="267"/>
                    <a:pt x="222" y="294"/>
                    <a:pt x="208" y="325"/>
                  </a:cubicBezTo>
                  <a:cubicBezTo>
                    <a:pt x="197" y="358"/>
                    <a:pt x="192" y="392"/>
                    <a:pt x="192" y="428"/>
                  </a:cubicBezTo>
                  <a:cubicBezTo>
                    <a:pt x="192" y="467"/>
                    <a:pt x="197" y="500"/>
                    <a:pt x="211" y="530"/>
                  </a:cubicBezTo>
                  <a:cubicBezTo>
                    <a:pt x="222" y="564"/>
                    <a:pt x="242" y="592"/>
                    <a:pt x="264" y="617"/>
                  </a:cubicBezTo>
                  <a:cubicBezTo>
                    <a:pt x="289" y="639"/>
                    <a:pt x="317" y="658"/>
                    <a:pt x="347" y="672"/>
                  </a:cubicBezTo>
                  <a:cubicBezTo>
                    <a:pt x="381" y="683"/>
                    <a:pt x="417" y="692"/>
                    <a:pt x="456" y="692"/>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5" name="Freeform 12">
              <a:extLst>
                <a:ext uri="{FF2B5EF4-FFF2-40B4-BE49-F238E27FC236}">
                  <a16:creationId xmlns:a16="http://schemas.microsoft.com/office/drawing/2014/main" id="{34C24972-7ECF-434E-A163-8E91BBA1D4A8}"/>
                </a:ext>
              </a:extLst>
            </p:cNvPr>
            <p:cNvSpPr>
              <a:spLocks noChangeArrowheads="1"/>
            </p:cNvSpPr>
            <p:nvPr userDrawn="1"/>
          </p:nvSpPr>
          <p:spPr bwMode="auto">
            <a:xfrm>
              <a:off x="5929313" y="3141663"/>
              <a:ext cx="315912" cy="312737"/>
            </a:xfrm>
            <a:custGeom>
              <a:avLst/>
              <a:gdLst>
                <a:gd name="T0" fmla="*/ 867 w 876"/>
                <a:gd name="T1" fmla="*/ 498 h 868"/>
                <a:gd name="T2" fmla="*/ 867 w 876"/>
                <a:gd name="T3" fmla="*/ 498 h 868"/>
                <a:gd name="T4" fmla="*/ 184 w 876"/>
                <a:gd name="T5" fmla="*/ 498 h 868"/>
                <a:gd name="T6" fmla="*/ 270 w 876"/>
                <a:gd name="T7" fmla="*/ 650 h 868"/>
                <a:gd name="T8" fmla="*/ 459 w 876"/>
                <a:gd name="T9" fmla="*/ 706 h 868"/>
                <a:gd name="T10" fmla="*/ 595 w 876"/>
                <a:gd name="T11" fmla="*/ 684 h 868"/>
                <a:gd name="T12" fmla="*/ 703 w 876"/>
                <a:gd name="T13" fmla="*/ 617 h 868"/>
                <a:gd name="T14" fmla="*/ 817 w 876"/>
                <a:gd name="T15" fmla="*/ 725 h 868"/>
                <a:gd name="T16" fmla="*/ 742 w 876"/>
                <a:gd name="T17" fmla="*/ 786 h 868"/>
                <a:gd name="T18" fmla="*/ 653 w 876"/>
                <a:gd name="T19" fmla="*/ 831 h 868"/>
                <a:gd name="T20" fmla="*/ 553 w 876"/>
                <a:gd name="T21" fmla="*/ 859 h 868"/>
                <a:gd name="T22" fmla="*/ 456 w 876"/>
                <a:gd name="T23" fmla="*/ 867 h 868"/>
                <a:gd name="T24" fmla="*/ 267 w 876"/>
                <a:gd name="T25" fmla="*/ 836 h 868"/>
                <a:gd name="T26" fmla="*/ 125 w 876"/>
                <a:gd name="T27" fmla="*/ 748 h 868"/>
                <a:gd name="T28" fmla="*/ 34 w 876"/>
                <a:gd name="T29" fmla="*/ 609 h 868"/>
                <a:gd name="T30" fmla="*/ 0 w 876"/>
                <a:gd name="T31" fmla="*/ 431 h 868"/>
                <a:gd name="T32" fmla="*/ 34 w 876"/>
                <a:gd name="T33" fmla="*/ 256 h 868"/>
                <a:gd name="T34" fmla="*/ 125 w 876"/>
                <a:gd name="T35" fmla="*/ 120 h 868"/>
                <a:gd name="T36" fmla="*/ 264 w 876"/>
                <a:gd name="T37" fmla="*/ 31 h 868"/>
                <a:gd name="T38" fmla="*/ 442 w 876"/>
                <a:gd name="T39" fmla="*/ 0 h 868"/>
                <a:gd name="T40" fmla="*/ 628 w 876"/>
                <a:gd name="T41" fmla="*/ 31 h 868"/>
                <a:gd name="T42" fmla="*/ 770 w 876"/>
                <a:gd name="T43" fmla="*/ 125 h 868"/>
                <a:gd name="T44" fmla="*/ 853 w 876"/>
                <a:gd name="T45" fmla="*/ 278 h 868"/>
                <a:gd name="T46" fmla="*/ 867 w 876"/>
                <a:gd name="T47" fmla="*/ 498 h 868"/>
                <a:gd name="T48" fmla="*/ 186 w 876"/>
                <a:gd name="T49" fmla="*/ 353 h 868"/>
                <a:gd name="T50" fmla="*/ 186 w 876"/>
                <a:gd name="T51" fmla="*/ 353 h 868"/>
                <a:gd name="T52" fmla="*/ 698 w 876"/>
                <a:gd name="T53" fmla="*/ 353 h 868"/>
                <a:gd name="T54" fmla="*/ 623 w 876"/>
                <a:gd name="T55" fmla="*/ 203 h 868"/>
                <a:gd name="T56" fmla="*/ 448 w 876"/>
                <a:gd name="T57" fmla="*/ 153 h 868"/>
                <a:gd name="T58" fmla="*/ 278 w 876"/>
                <a:gd name="T59" fmla="*/ 203 h 868"/>
                <a:gd name="T60" fmla="*/ 186 w 876"/>
                <a:gd name="T61" fmla="*/ 353 h 868"/>
                <a:gd name="T62" fmla="*/ 867 w 876"/>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8">
                  <a:moveTo>
                    <a:pt x="867" y="498"/>
                  </a:moveTo>
                  <a:lnTo>
                    <a:pt x="867" y="498"/>
                  </a:lnTo>
                  <a:cubicBezTo>
                    <a:pt x="184" y="498"/>
                    <a:pt x="184" y="498"/>
                    <a:pt x="184" y="498"/>
                  </a:cubicBezTo>
                  <a:cubicBezTo>
                    <a:pt x="192" y="562"/>
                    <a:pt x="220" y="611"/>
                    <a:pt x="270" y="650"/>
                  </a:cubicBezTo>
                  <a:cubicBezTo>
                    <a:pt x="317" y="686"/>
                    <a:pt x="381" y="706"/>
                    <a:pt x="459" y="706"/>
                  </a:cubicBezTo>
                  <a:cubicBezTo>
                    <a:pt x="503" y="706"/>
                    <a:pt x="547" y="698"/>
                    <a:pt x="595" y="684"/>
                  </a:cubicBezTo>
                  <a:cubicBezTo>
                    <a:pt x="639" y="667"/>
                    <a:pt x="675" y="645"/>
                    <a:pt x="703" y="617"/>
                  </a:cubicBezTo>
                  <a:cubicBezTo>
                    <a:pt x="817" y="725"/>
                    <a:pt x="817" y="725"/>
                    <a:pt x="817" y="725"/>
                  </a:cubicBezTo>
                  <a:cubicBezTo>
                    <a:pt x="795" y="750"/>
                    <a:pt x="770" y="770"/>
                    <a:pt x="742" y="786"/>
                  </a:cubicBezTo>
                  <a:cubicBezTo>
                    <a:pt x="714" y="806"/>
                    <a:pt x="684" y="820"/>
                    <a:pt x="653" y="831"/>
                  </a:cubicBezTo>
                  <a:cubicBezTo>
                    <a:pt x="620" y="845"/>
                    <a:pt x="589" y="853"/>
                    <a:pt x="553" y="859"/>
                  </a:cubicBezTo>
                  <a:cubicBezTo>
                    <a:pt x="520" y="864"/>
                    <a:pt x="486" y="867"/>
                    <a:pt x="456" y="867"/>
                  </a:cubicBezTo>
                  <a:cubicBezTo>
                    <a:pt x="386" y="867"/>
                    <a:pt x="323" y="856"/>
                    <a:pt x="267" y="836"/>
                  </a:cubicBezTo>
                  <a:cubicBezTo>
                    <a:pt x="211" y="814"/>
                    <a:pt x="164" y="786"/>
                    <a:pt x="125" y="748"/>
                  </a:cubicBezTo>
                  <a:cubicBezTo>
                    <a:pt x="86" y="709"/>
                    <a:pt x="56" y="664"/>
                    <a:pt x="34" y="609"/>
                  </a:cubicBezTo>
                  <a:cubicBezTo>
                    <a:pt x="11" y="556"/>
                    <a:pt x="0" y="495"/>
                    <a:pt x="0" y="431"/>
                  </a:cubicBezTo>
                  <a:cubicBezTo>
                    <a:pt x="0" y="367"/>
                    <a:pt x="11" y="309"/>
                    <a:pt x="34" y="256"/>
                  </a:cubicBezTo>
                  <a:cubicBezTo>
                    <a:pt x="56" y="203"/>
                    <a:pt x="86" y="159"/>
                    <a:pt x="125" y="120"/>
                  </a:cubicBezTo>
                  <a:cubicBezTo>
                    <a:pt x="161" y="84"/>
                    <a:pt x="209" y="53"/>
                    <a:pt x="264" y="31"/>
                  </a:cubicBezTo>
                  <a:cubicBezTo>
                    <a:pt x="317" y="12"/>
                    <a:pt x="378" y="0"/>
                    <a:pt x="442" y="0"/>
                  </a:cubicBezTo>
                  <a:cubicBezTo>
                    <a:pt x="511" y="0"/>
                    <a:pt x="573" y="12"/>
                    <a:pt x="628" y="31"/>
                  </a:cubicBezTo>
                  <a:cubicBezTo>
                    <a:pt x="684" y="53"/>
                    <a:pt x="731" y="84"/>
                    <a:pt x="770" y="125"/>
                  </a:cubicBezTo>
                  <a:cubicBezTo>
                    <a:pt x="806" y="164"/>
                    <a:pt x="834" y="217"/>
                    <a:pt x="853" y="278"/>
                  </a:cubicBezTo>
                  <a:cubicBezTo>
                    <a:pt x="870" y="342"/>
                    <a:pt x="875" y="414"/>
                    <a:pt x="867" y="498"/>
                  </a:cubicBezTo>
                  <a:lnTo>
                    <a:pt x="186" y="353"/>
                  </a:lnTo>
                  <a:lnTo>
                    <a:pt x="186" y="353"/>
                  </a:lnTo>
                  <a:cubicBezTo>
                    <a:pt x="698" y="353"/>
                    <a:pt x="698" y="353"/>
                    <a:pt x="698" y="353"/>
                  </a:cubicBezTo>
                  <a:cubicBezTo>
                    <a:pt x="692" y="287"/>
                    <a:pt x="667" y="236"/>
                    <a:pt x="623" y="203"/>
                  </a:cubicBezTo>
                  <a:cubicBezTo>
                    <a:pt x="578" y="170"/>
                    <a:pt x="520" y="153"/>
                    <a:pt x="448" y="153"/>
                  </a:cubicBezTo>
                  <a:cubicBezTo>
                    <a:pt x="384" y="153"/>
                    <a:pt x="328" y="170"/>
                    <a:pt x="278" y="203"/>
                  </a:cubicBezTo>
                  <a:cubicBezTo>
                    <a:pt x="231" y="236"/>
                    <a:pt x="200" y="287"/>
                    <a:pt x="186" y="353"/>
                  </a:cubicBezTo>
                  <a:lnTo>
                    <a:pt x="867"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6" name="Freeform 13">
              <a:extLst>
                <a:ext uri="{FF2B5EF4-FFF2-40B4-BE49-F238E27FC236}">
                  <a16:creationId xmlns:a16="http://schemas.microsoft.com/office/drawing/2014/main" id="{D808B508-B861-7C47-882C-1E46A3019A68}"/>
                </a:ext>
              </a:extLst>
            </p:cNvPr>
            <p:cNvSpPr>
              <a:spLocks noChangeArrowheads="1"/>
            </p:cNvSpPr>
            <p:nvPr userDrawn="1"/>
          </p:nvSpPr>
          <p:spPr bwMode="auto">
            <a:xfrm>
              <a:off x="6305550" y="3141663"/>
              <a:ext cx="228600" cy="303212"/>
            </a:xfrm>
            <a:custGeom>
              <a:avLst/>
              <a:gdLst>
                <a:gd name="T0" fmla="*/ 164 w 634"/>
                <a:gd name="T1" fmla="*/ 20 h 843"/>
                <a:gd name="T2" fmla="*/ 164 w 634"/>
                <a:gd name="T3" fmla="*/ 20 h 843"/>
                <a:gd name="T4" fmla="*/ 177 w 634"/>
                <a:gd name="T5" fmla="*/ 128 h 843"/>
                <a:gd name="T6" fmla="*/ 289 w 634"/>
                <a:gd name="T7" fmla="*/ 25 h 843"/>
                <a:gd name="T8" fmla="*/ 425 w 634"/>
                <a:gd name="T9" fmla="*/ 0 h 843"/>
                <a:gd name="T10" fmla="*/ 541 w 634"/>
                <a:gd name="T11" fmla="*/ 20 h 843"/>
                <a:gd name="T12" fmla="*/ 633 w 634"/>
                <a:gd name="T13" fmla="*/ 70 h 843"/>
                <a:gd name="T14" fmla="*/ 552 w 634"/>
                <a:gd name="T15" fmla="*/ 222 h 843"/>
                <a:gd name="T16" fmla="*/ 486 w 634"/>
                <a:gd name="T17" fmla="*/ 184 h 843"/>
                <a:gd name="T18" fmla="*/ 405 w 634"/>
                <a:gd name="T19" fmla="*/ 172 h 843"/>
                <a:gd name="T20" fmla="*/ 316 w 634"/>
                <a:gd name="T21" fmla="*/ 186 h 843"/>
                <a:gd name="T22" fmla="*/ 244 w 634"/>
                <a:gd name="T23" fmla="*/ 228 h 843"/>
                <a:gd name="T24" fmla="*/ 197 w 634"/>
                <a:gd name="T25" fmla="*/ 297 h 843"/>
                <a:gd name="T26" fmla="*/ 177 w 634"/>
                <a:gd name="T27" fmla="*/ 397 h 843"/>
                <a:gd name="T28" fmla="*/ 177 w 634"/>
                <a:gd name="T29" fmla="*/ 842 h 843"/>
                <a:gd name="T30" fmla="*/ 0 w 634"/>
                <a:gd name="T31" fmla="*/ 842 h 843"/>
                <a:gd name="T32" fmla="*/ 0 w 634"/>
                <a:gd name="T33" fmla="*/ 20 h 843"/>
                <a:gd name="T34" fmla="*/ 164 w 634"/>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4" h="843">
                  <a:moveTo>
                    <a:pt x="164" y="20"/>
                  </a:moveTo>
                  <a:lnTo>
                    <a:pt x="164" y="20"/>
                  </a:lnTo>
                  <a:cubicBezTo>
                    <a:pt x="177" y="128"/>
                    <a:pt x="177" y="128"/>
                    <a:pt x="177" y="128"/>
                  </a:cubicBezTo>
                  <a:cubicBezTo>
                    <a:pt x="208" y="75"/>
                    <a:pt x="244" y="42"/>
                    <a:pt x="289" y="25"/>
                  </a:cubicBezTo>
                  <a:cubicBezTo>
                    <a:pt x="333" y="9"/>
                    <a:pt x="380" y="0"/>
                    <a:pt x="425" y="0"/>
                  </a:cubicBezTo>
                  <a:cubicBezTo>
                    <a:pt x="466" y="0"/>
                    <a:pt x="505" y="9"/>
                    <a:pt x="541" y="20"/>
                  </a:cubicBezTo>
                  <a:cubicBezTo>
                    <a:pt x="577" y="34"/>
                    <a:pt x="608" y="50"/>
                    <a:pt x="633" y="70"/>
                  </a:cubicBezTo>
                  <a:cubicBezTo>
                    <a:pt x="552" y="222"/>
                    <a:pt x="552" y="222"/>
                    <a:pt x="552" y="222"/>
                  </a:cubicBezTo>
                  <a:cubicBezTo>
                    <a:pt x="530" y="206"/>
                    <a:pt x="508" y="192"/>
                    <a:pt x="486" y="184"/>
                  </a:cubicBezTo>
                  <a:cubicBezTo>
                    <a:pt x="464" y="175"/>
                    <a:pt x="436" y="172"/>
                    <a:pt x="405" y="172"/>
                  </a:cubicBezTo>
                  <a:cubicBezTo>
                    <a:pt x="372" y="172"/>
                    <a:pt x="344" y="175"/>
                    <a:pt x="316" y="186"/>
                  </a:cubicBezTo>
                  <a:cubicBezTo>
                    <a:pt x="289" y="195"/>
                    <a:pt x="266" y="209"/>
                    <a:pt x="244" y="228"/>
                  </a:cubicBezTo>
                  <a:cubicBezTo>
                    <a:pt x="225" y="245"/>
                    <a:pt x="208" y="270"/>
                    <a:pt x="197" y="297"/>
                  </a:cubicBezTo>
                  <a:cubicBezTo>
                    <a:pt x="183" y="325"/>
                    <a:pt x="177" y="359"/>
                    <a:pt x="177" y="397"/>
                  </a:cubicBezTo>
                  <a:cubicBezTo>
                    <a:pt x="177" y="842"/>
                    <a:pt x="177" y="842"/>
                    <a:pt x="177"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7" name="Freeform 14">
              <a:extLst>
                <a:ext uri="{FF2B5EF4-FFF2-40B4-BE49-F238E27FC236}">
                  <a16:creationId xmlns:a16="http://schemas.microsoft.com/office/drawing/2014/main" id="{DA4B5B07-1DD1-444C-9434-A5BD0D4BC375}"/>
                </a:ext>
              </a:extLst>
            </p:cNvPr>
            <p:cNvSpPr>
              <a:spLocks noChangeArrowheads="1"/>
            </p:cNvSpPr>
            <p:nvPr userDrawn="1"/>
          </p:nvSpPr>
          <p:spPr bwMode="auto">
            <a:xfrm>
              <a:off x="6577013" y="3148013"/>
              <a:ext cx="63500" cy="296862"/>
            </a:xfrm>
            <a:custGeom>
              <a:avLst/>
              <a:gdLst>
                <a:gd name="T0" fmla="*/ 175 w 176"/>
                <a:gd name="T1" fmla="*/ 825 h 826"/>
                <a:gd name="T2" fmla="*/ 0 w 176"/>
                <a:gd name="T3" fmla="*/ 825 h 826"/>
                <a:gd name="T4" fmla="*/ 0 w 176"/>
                <a:gd name="T5" fmla="*/ 0 h 826"/>
                <a:gd name="T6" fmla="*/ 175 w 176"/>
                <a:gd name="T7" fmla="*/ 0 h 826"/>
                <a:gd name="T8" fmla="*/ 175 w 176"/>
                <a:gd name="T9" fmla="*/ 825 h 826"/>
              </a:gdLst>
              <a:ahLst/>
              <a:cxnLst>
                <a:cxn ang="0">
                  <a:pos x="T0" y="T1"/>
                </a:cxn>
                <a:cxn ang="0">
                  <a:pos x="T2" y="T3"/>
                </a:cxn>
                <a:cxn ang="0">
                  <a:pos x="T4" y="T5"/>
                </a:cxn>
                <a:cxn ang="0">
                  <a:pos x="T6" y="T7"/>
                </a:cxn>
                <a:cxn ang="0">
                  <a:pos x="T8" y="T9"/>
                </a:cxn>
              </a:cxnLst>
              <a:rect l="0" t="0" r="r" b="b"/>
              <a:pathLst>
                <a:path w="176" h="826">
                  <a:moveTo>
                    <a:pt x="175" y="825"/>
                  </a:moveTo>
                  <a:lnTo>
                    <a:pt x="0" y="825"/>
                  </a:lnTo>
                  <a:lnTo>
                    <a:pt x="0" y="0"/>
                  </a:lnTo>
                  <a:lnTo>
                    <a:pt x="175" y="0"/>
                  </a:lnTo>
                  <a:lnTo>
                    <a:pt x="175" y="8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8" name="Freeform 15">
              <a:extLst>
                <a:ext uri="{FF2B5EF4-FFF2-40B4-BE49-F238E27FC236}">
                  <a16:creationId xmlns:a16="http://schemas.microsoft.com/office/drawing/2014/main" id="{D083457F-493B-9D49-9B53-1046E4A96F81}"/>
                </a:ext>
              </a:extLst>
            </p:cNvPr>
            <p:cNvSpPr>
              <a:spLocks noChangeArrowheads="1"/>
            </p:cNvSpPr>
            <p:nvPr userDrawn="1"/>
          </p:nvSpPr>
          <p:spPr bwMode="auto">
            <a:xfrm>
              <a:off x="6707188" y="3141663"/>
              <a:ext cx="314325" cy="312737"/>
            </a:xfrm>
            <a:custGeom>
              <a:avLst/>
              <a:gdLst>
                <a:gd name="T0" fmla="*/ 864 w 873"/>
                <a:gd name="T1" fmla="*/ 498 h 868"/>
                <a:gd name="T2" fmla="*/ 864 w 873"/>
                <a:gd name="T3" fmla="*/ 498 h 868"/>
                <a:gd name="T4" fmla="*/ 184 w 873"/>
                <a:gd name="T5" fmla="*/ 498 h 868"/>
                <a:gd name="T6" fmla="*/ 267 w 873"/>
                <a:gd name="T7" fmla="*/ 650 h 868"/>
                <a:gd name="T8" fmla="*/ 459 w 873"/>
                <a:gd name="T9" fmla="*/ 706 h 868"/>
                <a:gd name="T10" fmla="*/ 592 w 873"/>
                <a:gd name="T11" fmla="*/ 684 h 868"/>
                <a:gd name="T12" fmla="*/ 700 w 873"/>
                <a:gd name="T13" fmla="*/ 617 h 868"/>
                <a:gd name="T14" fmla="*/ 817 w 873"/>
                <a:gd name="T15" fmla="*/ 725 h 868"/>
                <a:gd name="T16" fmla="*/ 742 w 873"/>
                <a:gd name="T17" fmla="*/ 786 h 868"/>
                <a:gd name="T18" fmla="*/ 650 w 873"/>
                <a:gd name="T19" fmla="*/ 831 h 868"/>
                <a:gd name="T20" fmla="*/ 553 w 873"/>
                <a:gd name="T21" fmla="*/ 859 h 868"/>
                <a:gd name="T22" fmla="*/ 453 w 873"/>
                <a:gd name="T23" fmla="*/ 867 h 868"/>
                <a:gd name="T24" fmla="*/ 267 w 873"/>
                <a:gd name="T25" fmla="*/ 836 h 868"/>
                <a:gd name="T26" fmla="*/ 123 w 873"/>
                <a:gd name="T27" fmla="*/ 748 h 868"/>
                <a:gd name="T28" fmla="*/ 34 w 873"/>
                <a:gd name="T29" fmla="*/ 609 h 868"/>
                <a:gd name="T30" fmla="*/ 0 w 873"/>
                <a:gd name="T31" fmla="*/ 431 h 868"/>
                <a:gd name="T32" fmla="*/ 34 w 873"/>
                <a:gd name="T33" fmla="*/ 256 h 868"/>
                <a:gd name="T34" fmla="*/ 123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7 w 873"/>
                <a:gd name="T53" fmla="*/ 353 h 868"/>
                <a:gd name="T54" fmla="*/ 622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4" y="498"/>
                    <a:pt x="184" y="498"/>
                    <a:pt x="184" y="498"/>
                  </a:cubicBezTo>
                  <a:cubicBezTo>
                    <a:pt x="189" y="562"/>
                    <a:pt x="220" y="611"/>
                    <a:pt x="267" y="650"/>
                  </a:cubicBezTo>
                  <a:cubicBezTo>
                    <a:pt x="317" y="686"/>
                    <a:pt x="381" y="706"/>
                    <a:pt x="459" y="706"/>
                  </a:cubicBezTo>
                  <a:cubicBezTo>
                    <a:pt x="500" y="706"/>
                    <a:pt x="545" y="698"/>
                    <a:pt x="592" y="684"/>
                  </a:cubicBezTo>
                  <a:cubicBezTo>
                    <a:pt x="639" y="667"/>
                    <a:pt x="675" y="645"/>
                    <a:pt x="700" y="617"/>
                  </a:cubicBezTo>
                  <a:cubicBezTo>
                    <a:pt x="817" y="725"/>
                    <a:pt x="817" y="725"/>
                    <a:pt x="817" y="725"/>
                  </a:cubicBezTo>
                  <a:cubicBezTo>
                    <a:pt x="795" y="750"/>
                    <a:pt x="770" y="770"/>
                    <a:pt x="742" y="786"/>
                  </a:cubicBezTo>
                  <a:cubicBezTo>
                    <a:pt x="711" y="806"/>
                    <a:pt x="684" y="820"/>
                    <a:pt x="650" y="831"/>
                  </a:cubicBezTo>
                  <a:cubicBezTo>
                    <a:pt x="620" y="845"/>
                    <a:pt x="586" y="853"/>
                    <a:pt x="553" y="859"/>
                  </a:cubicBezTo>
                  <a:cubicBezTo>
                    <a:pt x="520" y="864"/>
                    <a:pt x="486" y="867"/>
                    <a:pt x="453" y="867"/>
                  </a:cubicBezTo>
                  <a:cubicBezTo>
                    <a:pt x="384" y="867"/>
                    <a:pt x="322" y="856"/>
                    <a:pt x="267" y="836"/>
                  </a:cubicBezTo>
                  <a:cubicBezTo>
                    <a:pt x="211" y="814"/>
                    <a:pt x="164" y="786"/>
                    <a:pt x="123" y="748"/>
                  </a:cubicBezTo>
                  <a:cubicBezTo>
                    <a:pt x="84" y="709"/>
                    <a:pt x="53" y="664"/>
                    <a:pt x="34" y="609"/>
                  </a:cubicBezTo>
                  <a:cubicBezTo>
                    <a:pt x="11" y="556"/>
                    <a:pt x="0" y="495"/>
                    <a:pt x="0" y="431"/>
                  </a:cubicBezTo>
                  <a:cubicBezTo>
                    <a:pt x="0" y="367"/>
                    <a:pt x="11" y="309"/>
                    <a:pt x="34" y="256"/>
                  </a:cubicBezTo>
                  <a:cubicBezTo>
                    <a:pt x="53" y="203"/>
                    <a:pt x="84" y="159"/>
                    <a:pt x="123" y="120"/>
                  </a:cubicBezTo>
                  <a:cubicBezTo>
                    <a:pt x="161" y="84"/>
                    <a:pt x="209" y="53"/>
                    <a:pt x="261" y="31"/>
                  </a:cubicBezTo>
                  <a:cubicBezTo>
                    <a:pt x="317" y="12"/>
                    <a:pt x="375" y="0"/>
                    <a:pt x="442" y="0"/>
                  </a:cubicBezTo>
                  <a:cubicBezTo>
                    <a:pt x="511" y="0"/>
                    <a:pt x="572" y="12"/>
                    <a:pt x="628" y="31"/>
                  </a:cubicBezTo>
                  <a:cubicBezTo>
                    <a:pt x="684" y="53"/>
                    <a:pt x="728" y="84"/>
                    <a:pt x="767" y="125"/>
                  </a:cubicBezTo>
                  <a:cubicBezTo>
                    <a:pt x="806" y="164"/>
                    <a:pt x="834" y="217"/>
                    <a:pt x="850" y="278"/>
                  </a:cubicBezTo>
                  <a:cubicBezTo>
                    <a:pt x="870" y="342"/>
                    <a:pt x="872" y="414"/>
                    <a:pt x="864" y="498"/>
                  </a:cubicBezTo>
                  <a:lnTo>
                    <a:pt x="186" y="353"/>
                  </a:lnTo>
                  <a:lnTo>
                    <a:pt x="186" y="353"/>
                  </a:lnTo>
                  <a:cubicBezTo>
                    <a:pt x="697" y="353"/>
                    <a:pt x="697" y="353"/>
                    <a:pt x="697" y="353"/>
                  </a:cubicBezTo>
                  <a:cubicBezTo>
                    <a:pt x="692" y="287"/>
                    <a:pt x="667" y="236"/>
                    <a:pt x="622" y="203"/>
                  </a:cubicBezTo>
                  <a:cubicBezTo>
                    <a:pt x="578" y="170"/>
                    <a:pt x="520" y="153"/>
                    <a:pt x="447" y="153"/>
                  </a:cubicBezTo>
                  <a:cubicBezTo>
                    <a:pt x="384"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9" name="Freeform 16">
              <a:extLst>
                <a:ext uri="{FF2B5EF4-FFF2-40B4-BE49-F238E27FC236}">
                  <a16:creationId xmlns:a16="http://schemas.microsoft.com/office/drawing/2014/main" id="{DE651136-D223-7E43-A25B-367D3263D05B}"/>
                </a:ext>
              </a:extLst>
            </p:cNvPr>
            <p:cNvSpPr>
              <a:spLocks noChangeArrowheads="1"/>
            </p:cNvSpPr>
            <p:nvPr userDrawn="1"/>
          </p:nvSpPr>
          <p:spPr bwMode="auto">
            <a:xfrm>
              <a:off x="7083425" y="3144838"/>
              <a:ext cx="293688" cy="301625"/>
            </a:xfrm>
            <a:custGeom>
              <a:avLst/>
              <a:gdLst>
                <a:gd name="T0" fmla="*/ 638 w 817"/>
                <a:gd name="T1" fmla="*/ 836 h 837"/>
                <a:gd name="T2" fmla="*/ 638 w 817"/>
                <a:gd name="T3" fmla="*/ 836 h 837"/>
                <a:gd name="T4" fmla="*/ 638 w 817"/>
                <a:gd name="T5" fmla="*/ 397 h 837"/>
                <a:gd name="T6" fmla="*/ 580 w 817"/>
                <a:gd name="T7" fmla="*/ 225 h 837"/>
                <a:gd name="T8" fmla="*/ 411 w 817"/>
                <a:gd name="T9" fmla="*/ 161 h 837"/>
                <a:gd name="T10" fmla="*/ 313 w 817"/>
                <a:gd name="T11" fmla="*/ 180 h 837"/>
                <a:gd name="T12" fmla="*/ 241 w 817"/>
                <a:gd name="T13" fmla="*/ 233 h 837"/>
                <a:gd name="T14" fmla="*/ 194 w 817"/>
                <a:gd name="T15" fmla="*/ 311 h 837"/>
                <a:gd name="T16" fmla="*/ 175 w 817"/>
                <a:gd name="T17" fmla="*/ 408 h 837"/>
                <a:gd name="T18" fmla="*/ 175 w 817"/>
                <a:gd name="T19" fmla="*/ 836 h 837"/>
                <a:gd name="T20" fmla="*/ 0 w 817"/>
                <a:gd name="T21" fmla="*/ 836 h 837"/>
                <a:gd name="T22" fmla="*/ 0 w 817"/>
                <a:gd name="T23" fmla="*/ 11 h 837"/>
                <a:gd name="T24" fmla="*/ 161 w 817"/>
                <a:gd name="T25" fmla="*/ 11 h 837"/>
                <a:gd name="T26" fmla="*/ 172 w 817"/>
                <a:gd name="T27" fmla="*/ 133 h 837"/>
                <a:gd name="T28" fmla="*/ 455 w 817"/>
                <a:gd name="T29" fmla="*/ 0 h 837"/>
                <a:gd name="T30" fmla="*/ 597 w 817"/>
                <a:gd name="T31" fmla="*/ 25 h 837"/>
                <a:gd name="T32" fmla="*/ 711 w 817"/>
                <a:gd name="T33" fmla="*/ 103 h 837"/>
                <a:gd name="T34" fmla="*/ 788 w 817"/>
                <a:gd name="T35" fmla="*/ 225 h 837"/>
                <a:gd name="T36" fmla="*/ 816 w 817"/>
                <a:gd name="T37" fmla="*/ 394 h 837"/>
                <a:gd name="T38" fmla="*/ 816 w 817"/>
                <a:gd name="T39" fmla="*/ 836 h 837"/>
                <a:gd name="T40" fmla="*/ 638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8" y="836"/>
                  </a:moveTo>
                  <a:lnTo>
                    <a:pt x="638" y="836"/>
                  </a:lnTo>
                  <a:cubicBezTo>
                    <a:pt x="638" y="397"/>
                    <a:pt x="638" y="397"/>
                    <a:pt x="638" y="397"/>
                  </a:cubicBezTo>
                  <a:cubicBezTo>
                    <a:pt x="638" y="325"/>
                    <a:pt x="619" y="269"/>
                    <a:pt x="580" y="225"/>
                  </a:cubicBezTo>
                  <a:cubicBezTo>
                    <a:pt x="541" y="183"/>
                    <a:pt x="483" y="161"/>
                    <a:pt x="411" y="161"/>
                  </a:cubicBezTo>
                  <a:cubicBezTo>
                    <a:pt x="375" y="161"/>
                    <a:pt x="344" y="166"/>
                    <a:pt x="313" y="180"/>
                  </a:cubicBezTo>
                  <a:cubicBezTo>
                    <a:pt x="286" y="191"/>
                    <a:pt x="261" y="211"/>
                    <a:pt x="241" y="233"/>
                  </a:cubicBezTo>
                  <a:cubicBezTo>
                    <a:pt x="219" y="255"/>
                    <a:pt x="205" y="283"/>
                    <a:pt x="194" y="311"/>
                  </a:cubicBezTo>
                  <a:cubicBezTo>
                    <a:pt x="180" y="341"/>
                    <a:pt x="175" y="375"/>
                    <a:pt x="175" y="408"/>
                  </a:cubicBezTo>
                  <a:cubicBezTo>
                    <a:pt x="175" y="836"/>
                    <a:pt x="175" y="836"/>
                    <a:pt x="175" y="836"/>
                  </a:cubicBezTo>
                  <a:cubicBezTo>
                    <a:pt x="0" y="836"/>
                    <a:pt x="0" y="836"/>
                    <a:pt x="0" y="836"/>
                  </a:cubicBezTo>
                  <a:cubicBezTo>
                    <a:pt x="0" y="11"/>
                    <a:pt x="0" y="11"/>
                    <a:pt x="0" y="11"/>
                  </a:cubicBezTo>
                  <a:cubicBezTo>
                    <a:pt x="161" y="11"/>
                    <a:pt x="161" y="11"/>
                    <a:pt x="161" y="11"/>
                  </a:cubicBezTo>
                  <a:cubicBezTo>
                    <a:pt x="172" y="133"/>
                    <a:pt x="172" y="133"/>
                    <a:pt x="172" y="133"/>
                  </a:cubicBezTo>
                  <a:cubicBezTo>
                    <a:pt x="250" y="44"/>
                    <a:pt x="344" y="0"/>
                    <a:pt x="455" y="0"/>
                  </a:cubicBezTo>
                  <a:cubicBezTo>
                    <a:pt x="505" y="0"/>
                    <a:pt x="552" y="8"/>
                    <a:pt x="597" y="25"/>
                  </a:cubicBezTo>
                  <a:cubicBezTo>
                    <a:pt x="641" y="44"/>
                    <a:pt x="677" y="69"/>
                    <a:pt x="711" y="103"/>
                  </a:cubicBezTo>
                  <a:cubicBezTo>
                    <a:pt x="744" y="136"/>
                    <a:pt x="769" y="178"/>
                    <a:pt x="788" y="225"/>
                  </a:cubicBezTo>
                  <a:cubicBezTo>
                    <a:pt x="808" y="275"/>
                    <a:pt x="816" y="330"/>
                    <a:pt x="816" y="394"/>
                  </a:cubicBezTo>
                  <a:cubicBezTo>
                    <a:pt x="816" y="836"/>
                    <a:pt x="816" y="836"/>
                    <a:pt x="816" y="836"/>
                  </a:cubicBezTo>
                  <a:lnTo>
                    <a:pt x="638"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0" name="Freeform 17">
              <a:extLst>
                <a:ext uri="{FF2B5EF4-FFF2-40B4-BE49-F238E27FC236}">
                  <a16:creationId xmlns:a16="http://schemas.microsoft.com/office/drawing/2014/main" id="{F66E08D8-03E8-7E47-B511-F56EB14F7451}"/>
                </a:ext>
              </a:extLst>
            </p:cNvPr>
            <p:cNvSpPr>
              <a:spLocks noChangeArrowheads="1"/>
            </p:cNvSpPr>
            <p:nvPr userDrawn="1"/>
          </p:nvSpPr>
          <p:spPr bwMode="auto">
            <a:xfrm>
              <a:off x="7440613" y="3141663"/>
              <a:ext cx="274637" cy="311150"/>
            </a:xfrm>
            <a:custGeom>
              <a:avLst/>
              <a:gdLst>
                <a:gd name="T0" fmla="*/ 761 w 762"/>
                <a:gd name="T1" fmla="*/ 736 h 865"/>
                <a:gd name="T2" fmla="*/ 761 w 762"/>
                <a:gd name="T3" fmla="*/ 736 h 865"/>
                <a:gd name="T4" fmla="*/ 614 w 762"/>
                <a:gd name="T5" fmla="*/ 833 h 865"/>
                <a:gd name="T6" fmla="*/ 442 w 762"/>
                <a:gd name="T7" fmla="*/ 864 h 865"/>
                <a:gd name="T8" fmla="*/ 272 w 762"/>
                <a:gd name="T9" fmla="*/ 836 h 865"/>
                <a:gd name="T10" fmla="*/ 131 w 762"/>
                <a:gd name="T11" fmla="*/ 756 h 865"/>
                <a:gd name="T12" fmla="*/ 34 w 762"/>
                <a:gd name="T13" fmla="*/ 620 h 865"/>
                <a:gd name="T14" fmla="*/ 0 w 762"/>
                <a:gd name="T15" fmla="*/ 431 h 865"/>
                <a:gd name="T16" fmla="*/ 34 w 762"/>
                <a:gd name="T17" fmla="*/ 245 h 865"/>
                <a:gd name="T18" fmla="*/ 131 w 762"/>
                <a:gd name="T19" fmla="*/ 109 h 865"/>
                <a:gd name="T20" fmla="*/ 270 w 762"/>
                <a:gd name="T21" fmla="*/ 28 h 865"/>
                <a:gd name="T22" fmla="*/ 442 w 762"/>
                <a:gd name="T23" fmla="*/ 0 h 865"/>
                <a:gd name="T24" fmla="*/ 603 w 762"/>
                <a:gd name="T25" fmla="*/ 28 h 865"/>
                <a:gd name="T26" fmla="*/ 747 w 762"/>
                <a:gd name="T27" fmla="*/ 122 h 865"/>
                <a:gd name="T28" fmla="*/ 633 w 762"/>
                <a:gd name="T29" fmla="*/ 236 h 865"/>
                <a:gd name="T30" fmla="*/ 545 w 762"/>
                <a:gd name="T31" fmla="*/ 181 h 865"/>
                <a:gd name="T32" fmla="*/ 445 w 762"/>
                <a:gd name="T33" fmla="*/ 164 h 865"/>
                <a:gd name="T34" fmla="*/ 339 w 762"/>
                <a:gd name="T35" fmla="*/ 181 h 865"/>
                <a:gd name="T36" fmla="*/ 253 w 762"/>
                <a:gd name="T37" fmla="*/ 236 h 865"/>
                <a:gd name="T38" fmla="*/ 195 w 762"/>
                <a:gd name="T39" fmla="*/ 320 h 865"/>
                <a:gd name="T40" fmla="*/ 175 w 762"/>
                <a:gd name="T41" fmla="*/ 431 h 865"/>
                <a:gd name="T42" fmla="*/ 197 w 762"/>
                <a:gd name="T43" fmla="*/ 547 h 865"/>
                <a:gd name="T44" fmla="*/ 253 w 762"/>
                <a:gd name="T45" fmla="*/ 631 h 865"/>
                <a:gd name="T46" fmla="*/ 339 w 762"/>
                <a:gd name="T47" fmla="*/ 681 h 865"/>
                <a:gd name="T48" fmla="*/ 442 w 762"/>
                <a:gd name="T49" fmla="*/ 697 h 865"/>
                <a:gd name="T50" fmla="*/ 550 w 762"/>
                <a:gd name="T51" fmla="*/ 681 h 865"/>
                <a:gd name="T52" fmla="*/ 642 w 762"/>
                <a:gd name="T53" fmla="*/ 620 h 865"/>
                <a:gd name="T54" fmla="*/ 761 w 762"/>
                <a:gd name="T55" fmla="*/ 736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62" h="865">
                  <a:moveTo>
                    <a:pt x="761" y="736"/>
                  </a:moveTo>
                  <a:lnTo>
                    <a:pt x="761" y="736"/>
                  </a:lnTo>
                  <a:cubicBezTo>
                    <a:pt x="714" y="781"/>
                    <a:pt x="664" y="814"/>
                    <a:pt x="614" y="833"/>
                  </a:cubicBezTo>
                  <a:cubicBezTo>
                    <a:pt x="561" y="856"/>
                    <a:pt x="503" y="864"/>
                    <a:pt x="442" y="864"/>
                  </a:cubicBezTo>
                  <a:cubicBezTo>
                    <a:pt x="383" y="864"/>
                    <a:pt x="325" y="856"/>
                    <a:pt x="272" y="836"/>
                  </a:cubicBezTo>
                  <a:cubicBezTo>
                    <a:pt x="217" y="820"/>
                    <a:pt x="170" y="792"/>
                    <a:pt x="131" y="756"/>
                  </a:cubicBezTo>
                  <a:cubicBezTo>
                    <a:pt x="89" y="720"/>
                    <a:pt x="58" y="675"/>
                    <a:pt x="34" y="620"/>
                  </a:cubicBezTo>
                  <a:cubicBezTo>
                    <a:pt x="11" y="567"/>
                    <a:pt x="0" y="503"/>
                    <a:pt x="0" y="431"/>
                  </a:cubicBezTo>
                  <a:cubicBezTo>
                    <a:pt x="0" y="361"/>
                    <a:pt x="11" y="297"/>
                    <a:pt x="34" y="245"/>
                  </a:cubicBezTo>
                  <a:cubicBezTo>
                    <a:pt x="58" y="189"/>
                    <a:pt x="89" y="145"/>
                    <a:pt x="131" y="109"/>
                  </a:cubicBezTo>
                  <a:cubicBezTo>
                    <a:pt x="170" y="72"/>
                    <a:pt x="217" y="45"/>
                    <a:pt x="270" y="28"/>
                  </a:cubicBezTo>
                  <a:cubicBezTo>
                    <a:pt x="325" y="9"/>
                    <a:pt x="381" y="0"/>
                    <a:pt x="442" y="0"/>
                  </a:cubicBezTo>
                  <a:cubicBezTo>
                    <a:pt x="500" y="0"/>
                    <a:pt x="556" y="9"/>
                    <a:pt x="603" y="28"/>
                  </a:cubicBezTo>
                  <a:cubicBezTo>
                    <a:pt x="653" y="47"/>
                    <a:pt x="700" y="78"/>
                    <a:pt x="747" y="122"/>
                  </a:cubicBezTo>
                  <a:cubicBezTo>
                    <a:pt x="633" y="236"/>
                    <a:pt x="633" y="236"/>
                    <a:pt x="633" y="236"/>
                  </a:cubicBezTo>
                  <a:cubicBezTo>
                    <a:pt x="608" y="211"/>
                    <a:pt x="578" y="192"/>
                    <a:pt x="545" y="181"/>
                  </a:cubicBezTo>
                  <a:cubicBezTo>
                    <a:pt x="511" y="170"/>
                    <a:pt x="478" y="164"/>
                    <a:pt x="445" y="164"/>
                  </a:cubicBezTo>
                  <a:cubicBezTo>
                    <a:pt x="406" y="164"/>
                    <a:pt x="372" y="170"/>
                    <a:pt x="339" y="181"/>
                  </a:cubicBezTo>
                  <a:cubicBezTo>
                    <a:pt x="306" y="195"/>
                    <a:pt x="278" y="214"/>
                    <a:pt x="253" y="236"/>
                  </a:cubicBezTo>
                  <a:cubicBezTo>
                    <a:pt x="228" y="259"/>
                    <a:pt x="209" y="289"/>
                    <a:pt x="195" y="320"/>
                  </a:cubicBezTo>
                  <a:cubicBezTo>
                    <a:pt x="181" y="353"/>
                    <a:pt x="175" y="392"/>
                    <a:pt x="175" y="431"/>
                  </a:cubicBezTo>
                  <a:cubicBezTo>
                    <a:pt x="175" y="475"/>
                    <a:pt x="181" y="514"/>
                    <a:pt x="197" y="547"/>
                  </a:cubicBezTo>
                  <a:cubicBezTo>
                    <a:pt x="211" y="578"/>
                    <a:pt x="231" y="606"/>
                    <a:pt x="253" y="631"/>
                  </a:cubicBezTo>
                  <a:cubicBezTo>
                    <a:pt x="278" y="653"/>
                    <a:pt x="309" y="670"/>
                    <a:pt x="339" y="681"/>
                  </a:cubicBezTo>
                  <a:cubicBezTo>
                    <a:pt x="372" y="692"/>
                    <a:pt x="406" y="697"/>
                    <a:pt x="442" y="697"/>
                  </a:cubicBezTo>
                  <a:cubicBezTo>
                    <a:pt x="478" y="697"/>
                    <a:pt x="514" y="692"/>
                    <a:pt x="550" y="681"/>
                  </a:cubicBezTo>
                  <a:cubicBezTo>
                    <a:pt x="583" y="670"/>
                    <a:pt x="614" y="647"/>
                    <a:pt x="642" y="620"/>
                  </a:cubicBezTo>
                  <a:lnTo>
                    <a:pt x="761" y="7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1" name="Freeform 18">
              <a:extLst>
                <a:ext uri="{FF2B5EF4-FFF2-40B4-BE49-F238E27FC236}">
                  <a16:creationId xmlns:a16="http://schemas.microsoft.com/office/drawing/2014/main" id="{3566F7C8-94CB-004E-8CF3-366493033F57}"/>
                </a:ext>
              </a:extLst>
            </p:cNvPr>
            <p:cNvSpPr>
              <a:spLocks noChangeArrowheads="1"/>
            </p:cNvSpPr>
            <p:nvPr userDrawn="1"/>
          </p:nvSpPr>
          <p:spPr bwMode="auto">
            <a:xfrm>
              <a:off x="7747000" y="3141663"/>
              <a:ext cx="314325" cy="312737"/>
            </a:xfrm>
            <a:custGeom>
              <a:avLst/>
              <a:gdLst>
                <a:gd name="T0" fmla="*/ 864 w 873"/>
                <a:gd name="T1" fmla="*/ 498 h 868"/>
                <a:gd name="T2" fmla="*/ 864 w 873"/>
                <a:gd name="T3" fmla="*/ 498 h 868"/>
                <a:gd name="T4" fmla="*/ 181 w 873"/>
                <a:gd name="T5" fmla="*/ 498 h 868"/>
                <a:gd name="T6" fmla="*/ 267 w 873"/>
                <a:gd name="T7" fmla="*/ 650 h 868"/>
                <a:gd name="T8" fmla="*/ 456 w 873"/>
                <a:gd name="T9" fmla="*/ 706 h 868"/>
                <a:gd name="T10" fmla="*/ 592 w 873"/>
                <a:gd name="T11" fmla="*/ 684 h 868"/>
                <a:gd name="T12" fmla="*/ 700 w 873"/>
                <a:gd name="T13" fmla="*/ 617 h 868"/>
                <a:gd name="T14" fmla="*/ 817 w 873"/>
                <a:gd name="T15" fmla="*/ 725 h 868"/>
                <a:gd name="T16" fmla="*/ 739 w 873"/>
                <a:gd name="T17" fmla="*/ 786 h 868"/>
                <a:gd name="T18" fmla="*/ 650 w 873"/>
                <a:gd name="T19" fmla="*/ 831 h 868"/>
                <a:gd name="T20" fmla="*/ 553 w 873"/>
                <a:gd name="T21" fmla="*/ 859 h 868"/>
                <a:gd name="T22" fmla="*/ 453 w 873"/>
                <a:gd name="T23" fmla="*/ 867 h 868"/>
                <a:gd name="T24" fmla="*/ 267 w 873"/>
                <a:gd name="T25" fmla="*/ 836 h 868"/>
                <a:gd name="T26" fmla="*/ 122 w 873"/>
                <a:gd name="T27" fmla="*/ 748 h 868"/>
                <a:gd name="T28" fmla="*/ 31 w 873"/>
                <a:gd name="T29" fmla="*/ 609 h 868"/>
                <a:gd name="T30" fmla="*/ 0 w 873"/>
                <a:gd name="T31" fmla="*/ 431 h 868"/>
                <a:gd name="T32" fmla="*/ 31 w 873"/>
                <a:gd name="T33" fmla="*/ 256 h 868"/>
                <a:gd name="T34" fmla="*/ 122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4 w 873"/>
                <a:gd name="T53" fmla="*/ 353 h 868"/>
                <a:gd name="T54" fmla="*/ 619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1" y="498"/>
                    <a:pt x="181" y="498"/>
                    <a:pt x="181" y="498"/>
                  </a:cubicBezTo>
                  <a:cubicBezTo>
                    <a:pt x="189" y="562"/>
                    <a:pt x="219" y="611"/>
                    <a:pt x="267" y="650"/>
                  </a:cubicBezTo>
                  <a:cubicBezTo>
                    <a:pt x="317" y="686"/>
                    <a:pt x="381" y="706"/>
                    <a:pt x="456" y="706"/>
                  </a:cubicBezTo>
                  <a:cubicBezTo>
                    <a:pt x="500" y="706"/>
                    <a:pt x="544" y="698"/>
                    <a:pt x="592" y="684"/>
                  </a:cubicBezTo>
                  <a:cubicBezTo>
                    <a:pt x="639" y="667"/>
                    <a:pt x="675" y="645"/>
                    <a:pt x="700" y="617"/>
                  </a:cubicBezTo>
                  <a:cubicBezTo>
                    <a:pt x="817" y="725"/>
                    <a:pt x="817" y="725"/>
                    <a:pt x="817" y="725"/>
                  </a:cubicBezTo>
                  <a:cubicBezTo>
                    <a:pt x="794" y="750"/>
                    <a:pt x="769" y="770"/>
                    <a:pt x="739" y="786"/>
                  </a:cubicBezTo>
                  <a:cubicBezTo>
                    <a:pt x="711" y="806"/>
                    <a:pt x="681" y="820"/>
                    <a:pt x="650" y="831"/>
                  </a:cubicBezTo>
                  <a:cubicBezTo>
                    <a:pt x="619" y="845"/>
                    <a:pt x="586" y="853"/>
                    <a:pt x="553" y="859"/>
                  </a:cubicBezTo>
                  <a:cubicBezTo>
                    <a:pt x="519" y="864"/>
                    <a:pt x="486" y="867"/>
                    <a:pt x="453" y="867"/>
                  </a:cubicBezTo>
                  <a:cubicBezTo>
                    <a:pt x="383" y="867"/>
                    <a:pt x="322" y="856"/>
                    <a:pt x="267" y="836"/>
                  </a:cubicBezTo>
                  <a:cubicBezTo>
                    <a:pt x="208" y="814"/>
                    <a:pt x="161" y="786"/>
                    <a:pt x="122" y="748"/>
                  </a:cubicBezTo>
                  <a:cubicBezTo>
                    <a:pt x="83" y="709"/>
                    <a:pt x="53" y="664"/>
                    <a:pt x="31" y="609"/>
                  </a:cubicBezTo>
                  <a:cubicBezTo>
                    <a:pt x="11" y="556"/>
                    <a:pt x="0" y="495"/>
                    <a:pt x="0" y="431"/>
                  </a:cubicBezTo>
                  <a:cubicBezTo>
                    <a:pt x="0" y="367"/>
                    <a:pt x="11" y="309"/>
                    <a:pt x="31" y="256"/>
                  </a:cubicBezTo>
                  <a:cubicBezTo>
                    <a:pt x="53" y="203"/>
                    <a:pt x="83" y="159"/>
                    <a:pt x="122" y="120"/>
                  </a:cubicBezTo>
                  <a:cubicBezTo>
                    <a:pt x="161" y="84"/>
                    <a:pt x="208" y="53"/>
                    <a:pt x="261" y="31"/>
                  </a:cubicBezTo>
                  <a:cubicBezTo>
                    <a:pt x="314" y="12"/>
                    <a:pt x="375" y="0"/>
                    <a:pt x="442" y="0"/>
                  </a:cubicBezTo>
                  <a:cubicBezTo>
                    <a:pt x="508" y="0"/>
                    <a:pt x="572" y="12"/>
                    <a:pt x="628" y="31"/>
                  </a:cubicBezTo>
                  <a:cubicBezTo>
                    <a:pt x="681" y="53"/>
                    <a:pt x="728" y="84"/>
                    <a:pt x="767" y="125"/>
                  </a:cubicBezTo>
                  <a:cubicBezTo>
                    <a:pt x="806" y="164"/>
                    <a:pt x="833" y="217"/>
                    <a:pt x="850" y="278"/>
                  </a:cubicBezTo>
                  <a:cubicBezTo>
                    <a:pt x="867" y="342"/>
                    <a:pt x="872" y="414"/>
                    <a:pt x="864" y="498"/>
                  </a:cubicBezTo>
                  <a:lnTo>
                    <a:pt x="186" y="353"/>
                  </a:lnTo>
                  <a:lnTo>
                    <a:pt x="186" y="353"/>
                  </a:lnTo>
                  <a:cubicBezTo>
                    <a:pt x="694" y="353"/>
                    <a:pt x="694" y="353"/>
                    <a:pt x="694" y="353"/>
                  </a:cubicBezTo>
                  <a:cubicBezTo>
                    <a:pt x="689" y="287"/>
                    <a:pt x="664" y="236"/>
                    <a:pt x="619" y="203"/>
                  </a:cubicBezTo>
                  <a:cubicBezTo>
                    <a:pt x="575" y="170"/>
                    <a:pt x="519" y="153"/>
                    <a:pt x="447" y="153"/>
                  </a:cubicBezTo>
                  <a:cubicBezTo>
                    <a:pt x="381"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2" name="Freeform 19">
              <a:extLst>
                <a:ext uri="{FF2B5EF4-FFF2-40B4-BE49-F238E27FC236}">
                  <a16:creationId xmlns:a16="http://schemas.microsoft.com/office/drawing/2014/main" id="{DC3296C0-00C5-BF4D-A6F6-652287B3002A}"/>
                </a:ext>
              </a:extLst>
            </p:cNvPr>
            <p:cNvSpPr>
              <a:spLocks noChangeArrowheads="1"/>
            </p:cNvSpPr>
            <p:nvPr userDrawn="1"/>
          </p:nvSpPr>
          <p:spPr bwMode="auto">
            <a:xfrm>
              <a:off x="1828800" y="3743325"/>
              <a:ext cx="323850" cy="311150"/>
            </a:xfrm>
            <a:custGeom>
              <a:avLst/>
              <a:gdLst>
                <a:gd name="T0" fmla="*/ 722 w 901"/>
                <a:gd name="T1" fmla="*/ 147 h 865"/>
                <a:gd name="T2" fmla="*/ 722 w 901"/>
                <a:gd name="T3" fmla="*/ 147 h 865"/>
                <a:gd name="T4" fmla="*/ 728 w 901"/>
                <a:gd name="T5" fmla="*/ 17 h 865"/>
                <a:gd name="T6" fmla="*/ 900 w 901"/>
                <a:gd name="T7" fmla="*/ 17 h 865"/>
                <a:gd name="T8" fmla="*/ 900 w 901"/>
                <a:gd name="T9" fmla="*/ 842 h 865"/>
                <a:gd name="T10" fmla="*/ 731 w 901"/>
                <a:gd name="T11" fmla="*/ 842 h 865"/>
                <a:gd name="T12" fmla="*/ 722 w 901"/>
                <a:gd name="T13" fmla="*/ 709 h 865"/>
                <a:gd name="T14" fmla="*/ 669 w 901"/>
                <a:gd name="T15" fmla="*/ 778 h 865"/>
                <a:gd name="T16" fmla="*/ 597 w 901"/>
                <a:gd name="T17" fmla="*/ 825 h 865"/>
                <a:gd name="T18" fmla="*/ 514 w 901"/>
                <a:gd name="T19" fmla="*/ 856 h 865"/>
                <a:gd name="T20" fmla="*/ 433 w 901"/>
                <a:gd name="T21" fmla="*/ 864 h 865"/>
                <a:gd name="T22" fmla="*/ 261 w 901"/>
                <a:gd name="T23" fmla="*/ 836 h 865"/>
                <a:gd name="T24" fmla="*/ 125 w 901"/>
                <a:gd name="T25" fmla="*/ 753 h 865"/>
                <a:gd name="T26" fmla="*/ 33 w 901"/>
                <a:gd name="T27" fmla="*/ 617 h 865"/>
                <a:gd name="T28" fmla="*/ 0 w 901"/>
                <a:gd name="T29" fmla="*/ 428 h 865"/>
                <a:gd name="T30" fmla="*/ 36 w 901"/>
                <a:gd name="T31" fmla="*/ 245 h 865"/>
                <a:gd name="T32" fmla="*/ 128 w 901"/>
                <a:gd name="T33" fmla="*/ 111 h 865"/>
                <a:gd name="T34" fmla="*/ 267 w 901"/>
                <a:gd name="T35" fmla="*/ 28 h 865"/>
                <a:gd name="T36" fmla="*/ 436 w 901"/>
                <a:gd name="T37" fmla="*/ 0 h 865"/>
                <a:gd name="T38" fmla="*/ 606 w 901"/>
                <a:gd name="T39" fmla="*/ 39 h 865"/>
                <a:gd name="T40" fmla="*/ 722 w 901"/>
                <a:gd name="T41" fmla="*/ 147 h 865"/>
                <a:gd name="T42" fmla="*/ 450 w 901"/>
                <a:gd name="T43" fmla="*/ 156 h 865"/>
                <a:gd name="T44" fmla="*/ 450 w 901"/>
                <a:gd name="T45" fmla="*/ 156 h 865"/>
                <a:gd name="T46" fmla="*/ 344 w 901"/>
                <a:gd name="T47" fmla="*/ 175 h 865"/>
                <a:gd name="T48" fmla="*/ 258 w 901"/>
                <a:gd name="T49" fmla="*/ 231 h 865"/>
                <a:gd name="T50" fmla="*/ 197 w 901"/>
                <a:gd name="T51" fmla="*/ 317 h 865"/>
                <a:gd name="T52" fmla="*/ 178 w 901"/>
                <a:gd name="T53" fmla="*/ 428 h 865"/>
                <a:gd name="T54" fmla="*/ 197 w 901"/>
                <a:gd name="T55" fmla="*/ 545 h 865"/>
                <a:gd name="T56" fmla="*/ 258 w 901"/>
                <a:gd name="T57" fmla="*/ 631 h 865"/>
                <a:gd name="T58" fmla="*/ 344 w 901"/>
                <a:gd name="T59" fmla="*/ 684 h 865"/>
                <a:gd name="T60" fmla="*/ 450 w 901"/>
                <a:gd name="T61" fmla="*/ 703 h 865"/>
                <a:gd name="T62" fmla="*/ 600 w 901"/>
                <a:gd name="T63" fmla="*/ 664 h 865"/>
                <a:gd name="T64" fmla="*/ 692 w 901"/>
                <a:gd name="T65" fmla="*/ 561 h 865"/>
                <a:gd name="T66" fmla="*/ 722 w 901"/>
                <a:gd name="T67" fmla="*/ 431 h 865"/>
                <a:gd name="T68" fmla="*/ 692 w 901"/>
                <a:gd name="T69" fmla="*/ 298 h 865"/>
                <a:gd name="T70" fmla="*/ 600 w 901"/>
                <a:gd name="T71" fmla="*/ 198 h 865"/>
                <a:gd name="T72" fmla="*/ 450 w 901"/>
                <a:gd name="T73" fmla="*/ 156 h 865"/>
                <a:gd name="T74" fmla="*/ 722 w 901"/>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1" h="865">
                  <a:moveTo>
                    <a:pt x="722" y="147"/>
                  </a:moveTo>
                  <a:lnTo>
                    <a:pt x="722" y="147"/>
                  </a:lnTo>
                  <a:cubicBezTo>
                    <a:pt x="728" y="17"/>
                    <a:pt x="728" y="17"/>
                    <a:pt x="728" y="17"/>
                  </a:cubicBezTo>
                  <a:cubicBezTo>
                    <a:pt x="900" y="17"/>
                    <a:pt x="900" y="17"/>
                    <a:pt x="900" y="17"/>
                  </a:cubicBezTo>
                  <a:cubicBezTo>
                    <a:pt x="900" y="842"/>
                    <a:pt x="900" y="842"/>
                    <a:pt x="900" y="842"/>
                  </a:cubicBezTo>
                  <a:cubicBezTo>
                    <a:pt x="731" y="842"/>
                    <a:pt x="731" y="842"/>
                    <a:pt x="731" y="842"/>
                  </a:cubicBezTo>
                  <a:cubicBezTo>
                    <a:pt x="722" y="709"/>
                    <a:pt x="722" y="709"/>
                    <a:pt x="722" y="709"/>
                  </a:cubicBezTo>
                  <a:cubicBezTo>
                    <a:pt x="708" y="736"/>
                    <a:pt x="692" y="759"/>
                    <a:pt x="669" y="778"/>
                  </a:cubicBezTo>
                  <a:cubicBezTo>
                    <a:pt x="647" y="797"/>
                    <a:pt x="622" y="814"/>
                    <a:pt x="597" y="825"/>
                  </a:cubicBezTo>
                  <a:cubicBezTo>
                    <a:pt x="569" y="839"/>
                    <a:pt x="542" y="847"/>
                    <a:pt x="514" y="856"/>
                  </a:cubicBezTo>
                  <a:cubicBezTo>
                    <a:pt x="486" y="861"/>
                    <a:pt x="458" y="864"/>
                    <a:pt x="433" y="864"/>
                  </a:cubicBezTo>
                  <a:cubicBezTo>
                    <a:pt x="372" y="864"/>
                    <a:pt x="314" y="853"/>
                    <a:pt x="261" y="836"/>
                  </a:cubicBezTo>
                  <a:cubicBezTo>
                    <a:pt x="208" y="817"/>
                    <a:pt x="164" y="789"/>
                    <a:pt x="125" y="753"/>
                  </a:cubicBezTo>
                  <a:cubicBezTo>
                    <a:pt x="86" y="714"/>
                    <a:pt x="56" y="670"/>
                    <a:pt x="33" y="617"/>
                  </a:cubicBezTo>
                  <a:cubicBezTo>
                    <a:pt x="11" y="561"/>
                    <a:pt x="0" y="500"/>
                    <a:pt x="0" y="428"/>
                  </a:cubicBezTo>
                  <a:cubicBezTo>
                    <a:pt x="0" y="361"/>
                    <a:pt x="11" y="300"/>
                    <a:pt x="36" y="245"/>
                  </a:cubicBezTo>
                  <a:cubicBezTo>
                    <a:pt x="58" y="192"/>
                    <a:pt x="89" y="147"/>
                    <a:pt x="128" y="111"/>
                  </a:cubicBezTo>
                  <a:cubicBezTo>
                    <a:pt x="167" y="75"/>
                    <a:pt x="214" y="48"/>
                    <a:pt x="267" y="28"/>
                  </a:cubicBezTo>
                  <a:cubicBezTo>
                    <a:pt x="319" y="9"/>
                    <a:pt x="375" y="0"/>
                    <a:pt x="436" y="0"/>
                  </a:cubicBezTo>
                  <a:cubicBezTo>
                    <a:pt x="497" y="0"/>
                    <a:pt x="553" y="14"/>
                    <a:pt x="606" y="39"/>
                  </a:cubicBezTo>
                  <a:cubicBezTo>
                    <a:pt x="658" y="64"/>
                    <a:pt x="697" y="103"/>
                    <a:pt x="722" y="147"/>
                  </a:cubicBezTo>
                  <a:lnTo>
                    <a:pt x="450" y="156"/>
                  </a:lnTo>
                  <a:lnTo>
                    <a:pt x="450" y="156"/>
                  </a:lnTo>
                  <a:cubicBezTo>
                    <a:pt x="414" y="156"/>
                    <a:pt x="378" y="164"/>
                    <a:pt x="344" y="175"/>
                  </a:cubicBezTo>
                  <a:cubicBezTo>
                    <a:pt x="311" y="189"/>
                    <a:pt x="283" y="206"/>
                    <a:pt x="258" y="231"/>
                  </a:cubicBezTo>
                  <a:cubicBezTo>
                    <a:pt x="233" y="253"/>
                    <a:pt x="211" y="284"/>
                    <a:pt x="197" y="317"/>
                  </a:cubicBezTo>
                  <a:cubicBezTo>
                    <a:pt x="183" y="350"/>
                    <a:pt x="178" y="386"/>
                    <a:pt x="178" y="428"/>
                  </a:cubicBezTo>
                  <a:cubicBezTo>
                    <a:pt x="178" y="472"/>
                    <a:pt x="183" y="509"/>
                    <a:pt x="197" y="545"/>
                  </a:cubicBezTo>
                  <a:cubicBezTo>
                    <a:pt x="211" y="578"/>
                    <a:pt x="233" y="606"/>
                    <a:pt x="258" y="631"/>
                  </a:cubicBezTo>
                  <a:cubicBezTo>
                    <a:pt x="283" y="653"/>
                    <a:pt x="311" y="672"/>
                    <a:pt x="344" y="684"/>
                  </a:cubicBezTo>
                  <a:cubicBezTo>
                    <a:pt x="378" y="698"/>
                    <a:pt x="414" y="703"/>
                    <a:pt x="450" y="703"/>
                  </a:cubicBezTo>
                  <a:cubicBezTo>
                    <a:pt x="511" y="703"/>
                    <a:pt x="561" y="689"/>
                    <a:pt x="600" y="664"/>
                  </a:cubicBezTo>
                  <a:cubicBezTo>
                    <a:pt x="642" y="636"/>
                    <a:pt x="672" y="603"/>
                    <a:pt x="692" y="561"/>
                  </a:cubicBezTo>
                  <a:cubicBezTo>
                    <a:pt x="714" y="522"/>
                    <a:pt x="722" y="478"/>
                    <a:pt x="722" y="431"/>
                  </a:cubicBezTo>
                  <a:cubicBezTo>
                    <a:pt x="722" y="384"/>
                    <a:pt x="714" y="339"/>
                    <a:pt x="692" y="298"/>
                  </a:cubicBezTo>
                  <a:cubicBezTo>
                    <a:pt x="672" y="259"/>
                    <a:pt x="642" y="223"/>
                    <a:pt x="600" y="198"/>
                  </a:cubicBezTo>
                  <a:cubicBezTo>
                    <a:pt x="561" y="170"/>
                    <a:pt x="511"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3" name="Freeform 20">
              <a:extLst>
                <a:ext uri="{FF2B5EF4-FFF2-40B4-BE49-F238E27FC236}">
                  <a16:creationId xmlns:a16="http://schemas.microsoft.com/office/drawing/2014/main" id="{E82F8AD2-BFCD-CE41-BBB0-1559F4962DCA}"/>
                </a:ext>
              </a:extLst>
            </p:cNvPr>
            <p:cNvSpPr>
              <a:spLocks noChangeArrowheads="1"/>
            </p:cNvSpPr>
            <p:nvPr userDrawn="1"/>
          </p:nvSpPr>
          <p:spPr bwMode="auto">
            <a:xfrm>
              <a:off x="2214563" y="3743325"/>
              <a:ext cx="266700" cy="312738"/>
            </a:xfrm>
            <a:custGeom>
              <a:avLst/>
              <a:gdLst>
                <a:gd name="T0" fmla="*/ 603 w 743"/>
                <a:gd name="T1" fmla="*/ 222 h 870"/>
                <a:gd name="T2" fmla="*/ 603 w 743"/>
                <a:gd name="T3" fmla="*/ 222 h 870"/>
                <a:gd name="T4" fmla="*/ 500 w 743"/>
                <a:gd name="T5" fmla="*/ 161 h 870"/>
                <a:gd name="T6" fmla="*/ 381 w 743"/>
                <a:gd name="T7" fmla="*/ 147 h 870"/>
                <a:gd name="T8" fmla="*/ 250 w 743"/>
                <a:gd name="T9" fmla="*/ 169 h 870"/>
                <a:gd name="T10" fmla="*/ 203 w 743"/>
                <a:gd name="T11" fmla="*/ 244 h 870"/>
                <a:gd name="T12" fmla="*/ 253 w 743"/>
                <a:gd name="T13" fmla="*/ 319 h 870"/>
                <a:gd name="T14" fmla="*/ 386 w 743"/>
                <a:gd name="T15" fmla="*/ 349 h 870"/>
                <a:gd name="T16" fmla="*/ 506 w 743"/>
                <a:gd name="T17" fmla="*/ 366 h 870"/>
                <a:gd name="T18" fmla="*/ 622 w 743"/>
                <a:gd name="T19" fmla="*/ 405 h 870"/>
                <a:gd name="T20" fmla="*/ 708 w 743"/>
                <a:gd name="T21" fmla="*/ 480 h 870"/>
                <a:gd name="T22" fmla="*/ 742 w 743"/>
                <a:gd name="T23" fmla="*/ 608 h 870"/>
                <a:gd name="T24" fmla="*/ 717 w 743"/>
                <a:gd name="T25" fmla="*/ 713 h 870"/>
                <a:gd name="T26" fmla="*/ 645 w 743"/>
                <a:gd name="T27" fmla="*/ 797 h 870"/>
                <a:gd name="T28" fmla="*/ 531 w 743"/>
                <a:gd name="T29" fmla="*/ 849 h 870"/>
                <a:gd name="T30" fmla="*/ 383 w 743"/>
                <a:gd name="T31" fmla="*/ 869 h 870"/>
                <a:gd name="T32" fmla="*/ 184 w 743"/>
                <a:gd name="T33" fmla="*/ 838 h 870"/>
                <a:gd name="T34" fmla="*/ 0 w 743"/>
                <a:gd name="T35" fmla="*/ 716 h 870"/>
                <a:gd name="T36" fmla="*/ 92 w 743"/>
                <a:gd name="T37" fmla="*/ 597 h 870"/>
                <a:gd name="T38" fmla="*/ 231 w 743"/>
                <a:gd name="T39" fmla="*/ 688 h 870"/>
                <a:gd name="T40" fmla="*/ 386 w 743"/>
                <a:gd name="T41" fmla="*/ 719 h 870"/>
                <a:gd name="T42" fmla="*/ 450 w 743"/>
                <a:gd name="T43" fmla="*/ 713 h 870"/>
                <a:gd name="T44" fmla="*/ 506 w 743"/>
                <a:gd name="T45" fmla="*/ 694 h 870"/>
                <a:gd name="T46" fmla="*/ 550 w 743"/>
                <a:gd name="T47" fmla="*/ 661 h 870"/>
                <a:gd name="T48" fmla="*/ 567 w 743"/>
                <a:gd name="T49" fmla="*/ 611 h 870"/>
                <a:gd name="T50" fmla="*/ 517 w 743"/>
                <a:gd name="T51" fmla="*/ 530 h 870"/>
                <a:gd name="T52" fmla="*/ 372 w 743"/>
                <a:gd name="T53" fmla="*/ 497 h 870"/>
                <a:gd name="T54" fmla="*/ 250 w 743"/>
                <a:gd name="T55" fmla="*/ 477 h 870"/>
                <a:gd name="T56" fmla="*/ 142 w 743"/>
                <a:gd name="T57" fmla="*/ 436 h 870"/>
                <a:gd name="T58" fmla="*/ 61 w 743"/>
                <a:gd name="T59" fmla="*/ 363 h 870"/>
                <a:gd name="T60" fmla="*/ 28 w 743"/>
                <a:gd name="T61" fmla="*/ 249 h 870"/>
                <a:gd name="T62" fmla="*/ 61 w 743"/>
                <a:gd name="T63" fmla="*/ 133 h 870"/>
                <a:gd name="T64" fmla="*/ 145 w 743"/>
                <a:gd name="T65" fmla="*/ 55 h 870"/>
                <a:gd name="T66" fmla="*/ 258 w 743"/>
                <a:gd name="T67" fmla="*/ 11 h 870"/>
                <a:gd name="T68" fmla="*/ 378 w 743"/>
                <a:gd name="T69" fmla="*/ 0 h 870"/>
                <a:gd name="T70" fmla="*/ 553 w 743"/>
                <a:gd name="T71" fmla="*/ 22 h 870"/>
                <a:gd name="T72" fmla="*/ 703 w 743"/>
                <a:gd name="T73" fmla="*/ 108 h 870"/>
                <a:gd name="T74" fmla="*/ 603 w 743"/>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3" h="870">
                  <a:moveTo>
                    <a:pt x="603" y="222"/>
                  </a:moveTo>
                  <a:lnTo>
                    <a:pt x="603" y="222"/>
                  </a:lnTo>
                  <a:cubicBezTo>
                    <a:pt x="572" y="191"/>
                    <a:pt x="536" y="172"/>
                    <a:pt x="500" y="161"/>
                  </a:cubicBezTo>
                  <a:cubicBezTo>
                    <a:pt x="464" y="149"/>
                    <a:pt x="425" y="147"/>
                    <a:pt x="381" y="147"/>
                  </a:cubicBezTo>
                  <a:cubicBezTo>
                    <a:pt x="328" y="144"/>
                    <a:pt x="284" y="152"/>
                    <a:pt x="250" y="169"/>
                  </a:cubicBezTo>
                  <a:cubicBezTo>
                    <a:pt x="220" y="188"/>
                    <a:pt x="203" y="211"/>
                    <a:pt x="203" y="244"/>
                  </a:cubicBezTo>
                  <a:cubicBezTo>
                    <a:pt x="203" y="280"/>
                    <a:pt x="220" y="302"/>
                    <a:pt x="253" y="319"/>
                  </a:cubicBezTo>
                  <a:cubicBezTo>
                    <a:pt x="286" y="333"/>
                    <a:pt x="331" y="344"/>
                    <a:pt x="386" y="349"/>
                  </a:cubicBezTo>
                  <a:cubicBezTo>
                    <a:pt x="425" y="352"/>
                    <a:pt x="464" y="358"/>
                    <a:pt x="506" y="366"/>
                  </a:cubicBezTo>
                  <a:cubicBezTo>
                    <a:pt x="550" y="372"/>
                    <a:pt x="586" y="386"/>
                    <a:pt x="622" y="405"/>
                  </a:cubicBezTo>
                  <a:cubicBezTo>
                    <a:pt x="658" y="422"/>
                    <a:pt x="686" y="447"/>
                    <a:pt x="708" y="480"/>
                  </a:cubicBezTo>
                  <a:cubicBezTo>
                    <a:pt x="731" y="513"/>
                    <a:pt x="742" y="555"/>
                    <a:pt x="742" y="608"/>
                  </a:cubicBezTo>
                  <a:cubicBezTo>
                    <a:pt x="742" y="647"/>
                    <a:pt x="733" y="683"/>
                    <a:pt x="717" y="713"/>
                  </a:cubicBezTo>
                  <a:cubicBezTo>
                    <a:pt x="700" y="747"/>
                    <a:pt x="675" y="774"/>
                    <a:pt x="645" y="797"/>
                  </a:cubicBezTo>
                  <a:cubicBezTo>
                    <a:pt x="614" y="819"/>
                    <a:pt x="575" y="838"/>
                    <a:pt x="531" y="849"/>
                  </a:cubicBezTo>
                  <a:cubicBezTo>
                    <a:pt x="486" y="863"/>
                    <a:pt x="439" y="869"/>
                    <a:pt x="383" y="869"/>
                  </a:cubicBezTo>
                  <a:cubicBezTo>
                    <a:pt x="317" y="869"/>
                    <a:pt x="247" y="858"/>
                    <a:pt x="184" y="838"/>
                  </a:cubicBezTo>
                  <a:cubicBezTo>
                    <a:pt x="117" y="819"/>
                    <a:pt x="56" y="777"/>
                    <a:pt x="0" y="716"/>
                  </a:cubicBezTo>
                  <a:cubicBezTo>
                    <a:pt x="92" y="597"/>
                    <a:pt x="92" y="597"/>
                    <a:pt x="92" y="597"/>
                  </a:cubicBezTo>
                  <a:cubicBezTo>
                    <a:pt x="131" y="638"/>
                    <a:pt x="178" y="669"/>
                    <a:pt x="231" y="688"/>
                  </a:cubicBezTo>
                  <a:cubicBezTo>
                    <a:pt x="286" y="708"/>
                    <a:pt x="336" y="719"/>
                    <a:pt x="386" y="719"/>
                  </a:cubicBezTo>
                  <a:cubicBezTo>
                    <a:pt x="408" y="719"/>
                    <a:pt x="428" y="716"/>
                    <a:pt x="450" y="713"/>
                  </a:cubicBezTo>
                  <a:cubicBezTo>
                    <a:pt x="470" y="708"/>
                    <a:pt x="489" y="702"/>
                    <a:pt x="506" y="694"/>
                  </a:cubicBezTo>
                  <a:cubicBezTo>
                    <a:pt x="522" y="686"/>
                    <a:pt x="539" y="674"/>
                    <a:pt x="550" y="661"/>
                  </a:cubicBezTo>
                  <a:cubicBezTo>
                    <a:pt x="561" y="647"/>
                    <a:pt x="567" y="630"/>
                    <a:pt x="567" y="611"/>
                  </a:cubicBezTo>
                  <a:cubicBezTo>
                    <a:pt x="567" y="574"/>
                    <a:pt x="550" y="547"/>
                    <a:pt x="517" y="530"/>
                  </a:cubicBezTo>
                  <a:cubicBezTo>
                    <a:pt x="483" y="513"/>
                    <a:pt x="433" y="502"/>
                    <a:pt x="372" y="497"/>
                  </a:cubicBezTo>
                  <a:cubicBezTo>
                    <a:pt x="331" y="494"/>
                    <a:pt x="292" y="486"/>
                    <a:pt x="250" y="477"/>
                  </a:cubicBezTo>
                  <a:cubicBezTo>
                    <a:pt x="211" y="469"/>
                    <a:pt x="175" y="455"/>
                    <a:pt x="142" y="436"/>
                  </a:cubicBezTo>
                  <a:cubicBezTo>
                    <a:pt x="109" y="416"/>
                    <a:pt x="81" y="394"/>
                    <a:pt x="61" y="363"/>
                  </a:cubicBezTo>
                  <a:cubicBezTo>
                    <a:pt x="39" y="333"/>
                    <a:pt x="28" y="294"/>
                    <a:pt x="28" y="249"/>
                  </a:cubicBezTo>
                  <a:cubicBezTo>
                    <a:pt x="28" y="202"/>
                    <a:pt x="39" y="166"/>
                    <a:pt x="61" y="133"/>
                  </a:cubicBezTo>
                  <a:cubicBezTo>
                    <a:pt x="84" y="102"/>
                    <a:pt x="111" y="74"/>
                    <a:pt x="145" y="55"/>
                  </a:cubicBezTo>
                  <a:cubicBezTo>
                    <a:pt x="178" y="36"/>
                    <a:pt x="217" y="22"/>
                    <a:pt x="258" y="11"/>
                  </a:cubicBezTo>
                  <a:cubicBezTo>
                    <a:pt x="297" y="2"/>
                    <a:pt x="339" y="0"/>
                    <a:pt x="378" y="0"/>
                  </a:cubicBezTo>
                  <a:cubicBezTo>
                    <a:pt x="445" y="0"/>
                    <a:pt x="503" y="8"/>
                    <a:pt x="553" y="22"/>
                  </a:cubicBezTo>
                  <a:cubicBezTo>
                    <a:pt x="606" y="38"/>
                    <a:pt x="656" y="66"/>
                    <a:pt x="703" y="108"/>
                  </a:cubicBezTo>
                  <a:lnTo>
                    <a:pt x="603"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4" name="Freeform 21">
              <a:extLst>
                <a:ext uri="{FF2B5EF4-FFF2-40B4-BE49-F238E27FC236}">
                  <a16:creationId xmlns:a16="http://schemas.microsoft.com/office/drawing/2014/main" id="{61AB1DB2-E43E-514B-92CA-CEB287F6494F}"/>
                </a:ext>
              </a:extLst>
            </p:cNvPr>
            <p:cNvSpPr>
              <a:spLocks noChangeArrowheads="1"/>
            </p:cNvSpPr>
            <p:nvPr userDrawn="1"/>
          </p:nvSpPr>
          <p:spPr bwMode="auto">
            <a:xfrm>
              <a:off x="2698750" y="3749675"/>
              <a:ext cx="63500" cy="298450"/>
            </a:xfrm>
            <a:custGeom>
              <a:avLst/>
              <a:gdLst>
                <a:gd name="T0" fmla="*/ 175 w 176"/>
                <a:gd name="T1" fmla="*/ 828 h 829"/>
                <a:gd name="T2" fmla="*/ 0 w 176"/>
                <a:gd name="T3" fmla="*/ 828 h 829"/>
                <a:gd name="T4" fmla="*/ 0 w 176"/>
                <a:gd name="T5" fmla="*/ 0 h 829"/>
                <a:gd name="T6" fmla="*/ 175 w 176"/>
                <a:gd name="T7" fmla="*/ 0 h 829"/>
                <a:gd name="T8" fmla="*/ 175 w 176"/>
                <a:gd name="T9" fmla="*/ 828 h 829"/>
              </a:gdLst>
              <a:ahLst/>
              <a:cxnLst>
                <a:cxn ang="0">
                  <a:pos x="T0" y="T1"/>
                </a:cxn>
                <a:cxn ang="0">
                  <a:pos x="T2" y="T3"/>
                </a:cxn>
                <a:cxn ang="0">
                  <a:pos x="T4" y="T5"/>
                </a:cxn>
                <a:cxn ang="0">
                  <a:pos x="T6" y="T7"/>
                </a:cxn>
                <a:cxn ang="0">
                  <a:pos x="T8" y="T9"/>
                </a:cxn>
              </a:cxnLst>
              <a:rect l="0" t="0" r="r" b="b"/>
              <a:pathLst>
                <a:path w="176" h="829">
                  <a:moveTo>
                    <a:pt x="175" y="828"/>
                  </a:moveTo>
                  <a:lnTo>
                    <a:pt x="0" y="828"/>
                  </a:lnTo>
                  <a:lnTo>
                    <a:pt x="0" y="0"/>
                  </a:lnTo>
                  <a:lnTo>
                    <a:pt x="175" y="0"/>
                  </a:lnTo>
                  <a:lnTo>
                    <a:pt x="175" y="82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5" name="Freeform 22">
              <a:extLst>
                <a:ext uri="{FF2B5EF4-FFF2-40B4-BE49-F238E27FC236}">
                  <a16:creationId xmlns:a16="http://schemas.microsoft.com/office/drawing/2014/main" id="{CFCAC116-9040-2F48-B9AB-C7BCC5BA35A9}"/>
                </a:ext>
              </a:extLst>
            </p:cNvPr>
            <p:cNvSpPr>
              <a:spLocks noChangeArrowheads="1"/>
            </p:cNvSpPr>
            <p:nvPr userDrawn="1"/>
          </p:nvSpPr>
          <p:spPr bwMode="auto">
            <a:xfrm>
              <a:off x="2822575" y="3665538"/>
              <a:ext cx="223838" cy="385762"/>
            </a:xfrm>
            <a:custGeom>
              <a:avLst/>
              <a:gdLst>
                <a:gd name="T0" fmla="*/ 342 w 620"/>
                <a:gd name="T1" fmla="*/ 0 h 1073"/>
                <a:gd name="T2" fmla="*/ 342 w 620"/>
                <a:gd name="T3" fmla="*/ 0 h 1073"/>
                <a:gd name="T4" fmla="*/ 342 w 620"/>
                <a:gd name="T5" fmla="*/ 239 h 1073"/>
                <a:gd name="T6" fmla="*/ 586 w 620"/>
                <a:gd name="T7" fmla="*/ 239 h 1073"/>
                <a:gd name="T8" fmla="*/ 586 w 620"/>
                <a:gd name="T9" fmla="*/ 389 h 1073"/>
                <a:gd name="T10" fmla="*/ 339 w 620"/>
                <a:gd name="T11" fmla="*/ 389 h 1073"/>
                <a:gd name="T12" fmla="*/ 339 w 620"/>
                <a:gd name="T13" fmla="*/ 780 h 1073"/>
                <a:gd name="T14" fmla="*/ 369 w 620"/>
                <a:gd name="T15" fmla="*/ 880 h 1073"/>
                <a:gd name="T16" fmla="*/ 461 w 620"/>
                <a:gd name="T17" fmla="*/ 917 h 1073"/>
                <a:gd name="T18" fmla="*/ 514 w 620"/>
                <a:gd name="T19" fmla="*/ 908 h 1073"/>
                <a:gd name="T20" fmla="*/ 566 w 620"/>
                <a:gd name="T21" fmla="*/ 886 h 1073"/>
                <a:gd name="T22" fmla="*/ 619 w 620"/>
                <a:gd name="T23" fmla="*/ 1033 h 1073"/>
                <a:gd name="T24" fmla="*/ 533 w 620"/>
                <a:gd name="T25" fmla="*/ 1061 h 1073"/>
                <a:gd name="T26" fmla="*/ 450 w 620"/>
                <a:gd name="T27" fmla="*/ 1072 h 1073"/>
                <a:gd name="T28" fmla="*/ 236 w 620"/>
                <a:gd name="T29" fmla="*/ 1000 h 1073"/>
                <a:gd name="T30" fmla="*/ 164 w 620"/>
                <a:gd name="T31" fmla="*/ 780 h 1073"/>
                <a:gd name="T32" fmla="*/ 164 w 620"/>
                <a:gd name="T33" fmla="*/ 389 h 1073"/>
                <a:gd name="T34" fmla="*/ 0 w 620"/>
                <a:gd name="T35" fmla="*/ 389 h 1073"/>
                <a:gd name="T36" fmla="*/ 0 w 620"/>
                <a:gd name="T37" fmla="*/ 239 h 1073"/>
                <a:gd name="T38" fmla="*/ 164 w 620"/>
                <a:gd name="T39" fmla="*/ 239 h 1073"/>
                <a:gd name="T40" fmla="*/ 164 w 620"/>
                <a:gd name="T41" fmla="*/ 19 h 1073"/>
                <a:gd name="T42" fmla="*/ 342 w 620"/>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0" h="1073">
                  <a:moveTo>
                    <a:pt x="342" y="0"/>
                  </a:moveTo>
                  <a:lnTo>
                    <a:pt x="342" y="0"/>
                  </a:lnTo>
                  <a:cubicBezTo>
                    <a:pt x="342" y="239"/>
                    <a:pt x="342" y="239"/>
                    <a:pt x="342" y="239"/>
                  </a:cubicBezTo>
                  <a:cubicBezTo>
                    <a:pt x="586" y="239"/>
                    <a:pt x="586" y="239"/>
                    <a:pt x="586" y="239"/>
                  </a:cubicBezTo>
                  <a:cubicBezTo>
                    <a:pt x="586" y="389"/>
                    <a:pt x="586" y="389"/>
                    <a:pt x="586" y="389"/>
                  </a:cubicBezTo>
                  <a:cubicBezTo>
                    <a:pt x="339" y="389"/>
                    <a:pt x="339" y="389"/>
                    <a:pt x="339" y="389"/>
                  </a:cubicBezTo>
                  <a:cubicBezTo>
                    <a:pt x="339" y="780"/>
                    <a:pt x="339" y="780"/>
                    <a:pt x="339" y="780"/>
                  </a:cubicBezTo>
                  <a:cubicBezTo>
                    <a:pt x="339" y="825"/>
                    <a:pt x="350" y="858"/>
                    <a:pt x="369" y="880"/>
                  </a:cubicBezTo>
                  <a:cubicBezTo>
                    <a:pt x="389" y="905"/>
                    <a:pt x="419" y="917"/>
                    <a:pt x="461" y="917"/>
                  </a:cubicBezTo>
                  <a:cubicBezTo>
                    <a:pt x="478" y="917"/>
                    <a:pt x="494" y="914"/>
                    <a:pt x="514" y="908"/>
                  </a:cubicBezTo>
                  <a:cubicBezTo>
                    <a:pt x="533" y="903"/>
                    <a:pt x="550" y="897"/>
                    <a:pt x="566" y="886"/>
                  </a:cubicBezTo>
                  <a:cubicBezTo>
                    <a:pt x="619" y="1033"/>
                    <a:pt x="619" y="1033"/>
                    <a:pt x="619" y="1033"/>
                  </a:cubicBezTo>
                  <a:cubicBezTo>
                    <a:pt x="589" y="1047"/>
                    <a:pt x="561" y="1055"/>
                    <a:pt x="533" y="1061"/>
                  </a:cubicBezTo>
                  <a:cubicBezTo>
                    <a:pt x="508" y="1069"/>
                    <a:pt x="480" y="1072"/>
                    <a:pt x="450" y="1072"/>
                  </a:cubicBezTo>
                  <a:cubicBezTo>
                    <a:pt x="358" y="1072"/>
                    <a:pt x="286" y="1050"/>
                    <a:pt x="236" y="1000"/>
                  </a:cubicBezTo>
                  <a:cubicBezTo>
                    <a:pt x="189" y="953"/>
                    <a:pt x="164" y="878"/>
                    <a:pt x="164" y="780"/>
                  </a:cubicBezTo>
                  <a:cubicBezTo>
                    <a:pt x="164" y="389"/>
                    <a:pt x="164" y="389"/>
                    <a:pt x="164" y="389"/>
                  </a:cubicBezTo>
                  <a:cubicBezTo>
                    <a:pt x="0" y="389"/>
                    <a:pt x="0" y="389"/>
                    <a:pt x="0" y="389"/>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6" name="Freeform 23">
              <a:extLst>
                <a:ext uri="{FF2B5EF4-FFF2-40B4-BE49-F238E27FC236}">
                  <a16:creationId xmlns:a16="http://schemas.microsoft.com/office/drawing/2014/main" id="{61F6BBC5-E2A1-1344-BAA4-D2A101D1E8E2}"/>
                </a:ext>
              </a:extLst>
            </p:cNvPr>
            <p:cNvSpPr>
              <a:spLocks noChangeArrowheads="1"/>
            </p:cNvSpPr>
            <p:nvPr userDrawn="1"/>
          </p:nvSpPr>
          <p:spPr bwMode="auto">
            <a:xfrm>
              <a:off x="3208338" y="3749675"/>
              <a:ext cx="492125" cy="298450"/>
            </a:xfrm>
            <a:custGeom>
              <a:avLst/>
              <a:gdLst>
                <a:gd name="T0" fmla="*/ 761 w 1368"/>
                <a:gd name="T1" fmla="*/ 0 h 829"/>
                <a:gd name="T2" fmla="*/ 961 w 1368"/>
                <a:gd name="T3" fmla="*/ 647 h 829"/>
                <a:gd name="T4" fmla="*/ 1169 w 1368"/>
                <a:gd name="T5" fmla="*/ 0 h 829"/>
                <a:gd name="T6" fmla="*/ 1367 w 1368"/>
                <a:gd name="T7" fmla="*/ 0 h 829"/>
                <a:gd name="T8" fmla="*/ 1072 w 1368"/>
                <a:gd name="T9" fmla="*/ 828 h 829"/>
                <a:gd name="T10" fmla="*/ 867 w 1368"/>
                <a:gd name="T11" fmla="*/ 828 h 829"/>
                <a:gd name="T12" fmla="*/ 767 w 1368"/>
                <a:gd name="T13" fmla="*/ 555 h 829"/>
                <a:gd name="T14" fmla="*/ 686 w 1368"/>
                <a:gd name="T15" fmla="*/ 267 h 829"/>
                <a:gd name="T16" fmla="*/ 603 w 1368"/>
                <a:gd name="T17" fmla="*/ 555 h 829"/>
                <a:gd name="T18" fmla="*/ 503 w 1368"/>
                <a:gd name="T19" fmla="*/ 828 h 829"/>
                <a:gd name="T20" fmla="*/ 297 w 1368"/>
                <a:gd name="T21" fmla="*/ 828 h 829"/>
                <a:gd name="T22" fmla="*/ 0 w 1368"/>
                <a:gd name="T23" fmla="*/ 0 h 829"/>
                <a:gd name="T24" fmla="*/ 200 w 1368"/>
                <a:gd name="T25" fmla="*/ 0 h 829"/>
                <a:gd name="T26" fmla="*/ 408 w 1368"/>
                <a:gd name="T27" fmla="*/ 647 h 829"/>
                <a:gd name="T28" fmla="*/ 608 w 1368"/>
                <a:gd name="T29" fmla="*/ 0 h 829"/>
                <a:gd name="T30" fmla="*/ 761 w 1368"/>
                <a:gd name="T31" fmla="*/ 0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8" h="829">
                  <a:moveTo>
                    <a:pt x="761" y="0"/>
                  </a:moveTo>
                  <a:lnTo>
                    <a:pt x="961" y="647"/>
                  </a:lnTo>
                  <a:lnTo>
                    <a:pt x="1169" y="0"/>
                  </a:lnTo>
                  <a:lnTo>
                    <a:pt x="1367" y="0"/>
                  </a:lnTo>
                  <a:lnTo>
                    <a:pt x="1072" y="828"/>
                  </a:lnTo>
                  <a:lnTo>
                    <a:pt x="867" y="828"/>
                  </a:lnTo>
                  <a:lnTo>
                    <a:pt x="767" y="555"/>
                  </a:lnTo>
                  <a:lnTo>
                    <a:pt x="686" y="267"/>
                  </a:lnTo>
                  <a:lnTo>
                    <a:pt x="603" y="555"/>
                  </a:lnTo>
                  <a:lnTo>
                    <a:pt x="503" y="828"/>
                  </a:lnTo>
                  <a:lnTo>
                    <a:pt x="297" y="828"/>
                  </a:lnTo>
                  <a:lnTo>
                    <a:pt x="0" y="0"/>
                  </a:lnTo>
                  <a:lnTo>
                    <a:pt x="200" y="0"/>
                  </a:lnTo>
                  <a:lnTo>
                    <a:pt x="408" y="647"/>
                  </a:lnTo>
                  <a:lnTo>
                    <a:pt x="608" y="0"/>
                  </a:lnTo>
                  <a:lnTo>
                    <a:pt x="761"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7" name="Freeform 24">
              <a:extLst>
                <a:ext uri="{FF2B5EF4-FFF2-40B4-BE49-F238E27FC236}">
                  <a16:creationId xmlns:a16="http://schemas.microsoft.com/office/drawing/2014/main" id="{9D996C5A-C3DD-2E4B-8AA7-D5749EE2521F}"/>
                </a:ext>
              </a:extLst>
            </p:cNvPr>
            <p:cNvSpPr>
              <a:spLocks noChangeArrowheads="1"/>
            </p:cNvSpPr>
            <p:nvPr userDrawn="1"/>
          </p:nvSpPr>
          <p:spPr bwMode="auto">
            <a:xfrm>
              <a:off x="37322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3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8" y="147"/>
                    <a:pt x="127" y="111"/>
                  </a:cubicBezTo>
                  <a:cubicBezTo>
                    <a:pt x="166" y="75"/>
                    <a:pt x="211" y="48"/>
                    <a:pt x="263"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38" y="636"/>
                    <a:pt x="669" y="603"/>
                    <a:pt x="691" y="561"/>
                  </a:cubicBezTo>
                  <a:cubicBezTo>
                    <a:pt x="711" y="522"/>
                    <a:pt x="722" y="478"/>
                    <a:pt x="722" y="431"/>
                  </a:cubicBezTo>
                  <a:cubicBezTo>
                    <a:pt x="722" y="384"/>
                    <a:pt x="711" y="339"/>
                    <a:pt x="691" y="298"/>
                  </a:cubicBezTo>
                  <a:cubicBezTo>
                    <a:pt x="669" y="259"/>
                    <a:pt x="638"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8" name="Freeform 25">
              <a:extLst>
                <a:ext uri="{FF2B5EF4-FFF2-40B4-BE49-F238E27FC236}">
                  <a16:creationId xmlns:a16="http://schemas.microsoft.com/office/drawing/2014/main" id="{FA0F66E9-1CA9-BB45-BCA8-FB287A85103C}"/>
                </a:ext>
              </a:extLst>
            </p:cNvPr>
            <p:cNvSpPr>
              <a:spLocks noChangeArrowheads="1"/>
            </p:cNvSpPr>
            <p:nvPr userDrawn="1"/>
          </p:nvSpPr>
          <p:spPr bwMode="auto">
            <a:xfrm>
              <a:off x="4116388" y="3743325"/>
              <a:ext cx="268287" cy="312738"/>
            </a:xfrm>
            <a:custGeom>
              <a:avLst/>
              <a:gdLst>
                <a:gd name="T0" fmla="*/ 605 w 745"/>
                <a:gd name="T1" fmla="*/ 222 h 870"/>
                <a:gd name="T2" fmla="*/ 605 w 745"/>
                <a:gd name="T3" fmla="*/ 222 h 870"/>
                <a:gd name="T4" fmla="*/ 500 w 745"/>
                <a:gd name="T5" fmla="*/ 161 h 870"/>
                <a:gd name="T6" fmla="*/ 383 w 745"/>
                <a:gd name="T7" fmla="*/ 147 h 870"/>
                <a:gd name="T8" fmla="*/ 253 w 745"/>
                <a:gd name="T9" fmla="*/ 169 h 870"/>
                <a:gd name="T10" fmla="*/ 203 w 745"/>
                <a:gd name="T11" fmla="*/ 244 h 870"/>
                <a:gd name="T12" fmla="*/ 256 w 745"/>
                <a:gd name="T13" fmla="*/ 319 h 870"/>
                <a:gd name="T14" fmla="*/ 386 w 745"/>
                <a:gd name="T15" fmla="*/ 349 h 870"/>
                <a:gd name="T16" fmla="*/ 508 w 745"/>
                <a:gd name="T17" fmla="*/ 366 h 870"/>
                <a:gd name="T18" fmla="*/ 625 w 745"/>
                <a:gd name="T19" fmla="*/ 405 h 870"/>
                <a:gd name="T20" fmla="*/ 711 w 745"/>
                <a:gd name="T21" fmla="*/ 480 h 870"/>
                <a:gd name="T22" fmla="*/ 744 w 745"/>
                <a:gd name="T23" fmla="*/ 608 h 870"/>
                <a:gd name="T24" fmla="*/ 717 w 745"/>
                <a:gd name="T25" fmla="*/ 713 h 870"/>
                <a:gd name="T26" fmla="*/ 644 w 745"/>
                <a:gd name="T27" fmla="*/ 797 h 870"/>
                <a:gd name="T28" fmla="*/ 533 w 745"/>
                <a:gd name="T29" fmla="*/ 849 h 870"/>
                <a:gd name="T30" fmla="*/ 386 w 745"/>
                <a:gd name="T31" fmla="*/ 869 h 870"/>
                <a:gd name="T32" fmla="*/ 183 w 745"/>
                <a:gd name="T33" fmla="*/ 838 h 870"/>
                <a:gd name="T34" fmla="*/ 0 w 745"/>
                <a:gd name="T35" fmla="*/ 716 h 870"/>
                <a:gd name="T36" fmla="*/ 92 w 745"/>
                <a:gd name="T37" fmla="*/ 597 h 870"/>
                <a:gd name="T38" fmla="*/ 233 w 745"/>
                <a:gd name="T39" fmla="*/ 688 h 870"/>
                <a:gd name="T40" fmla="*/ 389 w 745"/>
                <a:gd name="T41" fmla="*/ 719 h 870"/>
                <a:gd name="T42" fmla="*/ 450 w 745"/>
                <a:gd name="T43" fmla="*/ 713 h 870"/>
                <a:gd name="T44" fmla="*/ 508 w 745"/>
                <a:gd name="T45" fmla="*/ 694 h 870"/>
                <a:gd name="T46" fmla="*/ 550 w 745"/>
                <a:gd name="T47" fmla="*/ 661 h 870"/>
                <a:gd name="T48" fmla="*/ 567 w 745"/>
                <a:gd name="T49" fmla="*/ 611 h 870"/>
                <a:gd name="T50" fmla="*/ 519 w 745"/>
                <a:gd name="T51" fmla="*/ 530 h 870"/>
                <a:gd name="T52" fmla="*/ 372 w 745"/>
                <a:gd name="T53" fmla="*/ 497 h 870"/>
                <a:gd name="T54" fmla="*/ 253 w 745"/>
                <a:gd name="T55" fmla="*/ 477 h 870"/>
                <a:gd name="T56" fmla="*/ 142 w 745"/>
                <a:gd name="T57" fmla="*/ 436 h 870"/>
                <a:gd name="T58" fmla="*/ 61 w 745"/>
                <a:gd name="T59" fmla="*/ 363 h 870"/>
                <a:gd name="T60" fmla="*/ 30 w 745"/>
                <a:gd name="T61" fmla="*/ 249 h 870"/>
                <a:gd name="T62" fmla="*/ 61 w 745"/>
                <a:gd name="T63" fmla="*/ 133 h 870"/>
                <a:gd name="T64" fmla="*/ 147 w 745"/>
                <a:gd name="T65" fmla="*/ 55 h 870"/>
                <a:gd name="T66" fmla="*/ 258 w 745"/>
                <a:gd name="T67" fmla="*/ 11 h 870"/>
                <a:gd name="T68" fmla="*/ 381 w 745"/>
                <a:gd name="T69" fmla="*/ 0 h 870"/>
                <a:gd name="T70" fmla="*/ 556 w 745"/>
                <a:gd name="T71" fmla="*/ 22 h 870"/>
                <a:gd name="T72" fmla="*/ 705 w 745"/>
                <a:gd name="T73" fmla="*/ 108 h 870"/>
                <a:gd name="T74" fmla="*/ 605 w 745"/>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5" h="870">
                  <a:moveTo>
                    <a:pt x="605" y="222"/>
                  </a:moveTo>
                  <a:lnTo>
                    <a:pt x="605" y="222"/>
                  </a:lnTo>
                  <a:cubicBezTo>
                    <a:pt x="572" y="191"/>
                    <a:pt x="536" y="172"/>
                    <a:pt x="500" y="161"/>
                  </a:cubicBezTo>
                  <a:cubicBezTo>
                    <a:pt x="464" y="149"/>
                    <a:pt x="425" y="147"/>
                    <a:pt x="383" y="147"/>
                  </a:cubicBezTo>
                  <a:cubicBezTo>
                    <a:pt x="328" y="144"/>
                    <a:pt x="286" y="152"/>
                    <a:pt x="253" y="169"/>
                  </a:cubicBezTo>
                  <a:cubicBezTo>
                    <a:pt x="219" y="188"/>
                    <a:pt x="203" y="211"/>
                    <a:pt x="203" y="244"/>
                  </a:cubicBezTo>
                  <a:cubicBezTo>
                    <a:pt x="206" y="280"/>
                    <a:pt x="222" y="302"/>
                    <a:pt x="256" y="319"/>
                  </a:cubicBezTo>
                  <a:cubicBezTo>
                    <a:pt x="289" y="333"/>
                    <a:pt x="333" y="344"/>
                    <a:pt x="386" y="349"/>
                  </a:cubicBezTo>
                  <a:cubicBezTo>
                    <a:pt x="425" y="352"/>
                    <a:pt x="467" y="358"/>
                    <a:pt x="508" y="366"/>
                  </a:cubicBezTo>
                  <a:cubicBezTo>
                    <a:pt x="550" y="372"/>
                    <a:pt x="589" y="386"/>
                    <a:pt x="625" y="405"/>
                  </a:cubicBezTo>
                  <a:cubicBezTo>
                    <a:pt x="658" y="422"/>
                    <a:pt x="689" y="447"/>
                    <a:pt x="711" y="480"/>
                  </a:cubicBezTo>
                  <a:cubicBezTo>
                    <a:pt x="733" y="513"/>
                    <a:pt x="744" y="555"/>
                    <a:pt x="744" y="608"/>
                  </a:cubicBezTo>
                  <a:cubicBezTo>
                    <a:pt x="744" y="647"/>
                    <a:pt x="736" y="683"/>
                    <a:pt x="717" y="713"/>
                  </a:cubicBezTo>
                  <a:cubicBezTo>
                    <a:pt x="700" y="747"/>
                    <a:pt x="678" y="774"/>
                    <a:pt x="644" y="797"/>
                  </a:cubicBezTo>
                  <a:cubicBezTo>
                    <a:pt x="614" y="819"/>
                    <a:pt x="578" y="838"/>
                    <a:pt x="533" y="849"/>
                  </a:cubicBezTo>
                  <a:cubicBezTo>
                    <a:pt x="489" y="863"/>
                    <a:pt x="439" y="869"/>
                    <a:pt x="386" y="869"/>
                  </a:cubicBezTo>
                  <a:cubicBezTo>
                    <a:pt x="317" y="869"/>
                    <a:pt x="250" y="858"/>
                    <a:pt x="183" y="838"/>
                  </a:cubicBezTo>
                  <a:cubicBezTo>
                    <a:pt x="117" y="819"/>
                    <a:pt x="56" y="777"/>
                    <a:pt x="0" y="716"/>
                  </a:cubicBezTo>
                  <a:cubicBezTo>
                    <a:pt x="92" y="597"/>
                    <a:pt x="92" y="597"/>
                    <a:pt x="92" y="597"/>
                  </a:cubicBezTo>
                  <a:cubicBezTo>
                    <a:pt x="133" y="638"/>
                    <a:pt x="181" y="669"/>
                    <a:pt x="233" y="688"/>
                  </a:cubicBezTo>
                  <a:cubicBezTo>
                    <a:pt x="286" y="708"/>
                    <a:pt x="339" y="719"/>
                    <a:pt x="389" y="719"/>
                  </a:cubicBezTo>
                  <a:cubicBezTo>
                    <a:pt x="408" y="719"/>
                    <a:pt x="430" y="716"/>
                    <a:pt x="450" y="713"/>
                  </a:cubicBezTo>
                  <a:cubicBezTo>
                    <a:pt x="472" y="708"/>
                    <a:pt x="492" y="702"/>
                    <a:pt x="508" y="694"/>
                  </a:cubicBezTo>
                  <a:cubicBezTo>
                    <a:pt x="525" y="686"/>
                    <a:pt x="539" y="674"/>
                    <a:pt x="550" y="661"/>
                  </a:cubicBezTo>
                  <a:cubicBezTo>
                    <a:pt x="561" y="647"/>
                    <a:pt x="567" y="630"/>
                    <a:pt x="567" y="611"/>
                  </a:cubicBezTo>
                  <a:cubicBezTo>
                    <a:pt x="569" y="574"/>
                    <a:pt x="553" y="547"/>
                    <a:pt x="519" y="530"/>
                  </a:cubicBezTo>
                  <a:cubicBezTo>
                    <a:pt x="483" y="513"/>
                    <a:pt x="436" y="502"/>
                    <a:pt x="372" y="497"/>
                  </a:cubicBezTo>
                  <a:cubicBezTo>
                    <a:pt x="333" y="494"/>
                    <a:pt x="292" y="486"/>
                    <a:pt x="253" y="477"/>
                  </a:cubicBezTo>
                  <a:cubicBezTo>
                    <a:pt x="211" y="469"/>
                    <a:pt x="175" y="455"/>
                    <a:pt x="142" y="436"/>
                  </a:cubicBezTo>
                  <a:cubicBezTo>
                    <a:pt x="108" y="416"/>
                    <a:pt x="83" y="394"/>
                    <a:pt x="61" y="363"/>
                  </a:cubicBezTo>
                  <a:cubicBezTo>
                    <a:pt x="42" y="333"/>
                    <a:pt x="30" y="294"/>
                    <a:pt x="30" y="249"/>
                  </a:cubicBezTo>
                  <a:cubicBezTo>
                    <a:pt x="30" y="202"/>
                    <a:pt x="42" y="166"/>
                    <a:pt x="61" y="133"/>
                  </a:cubicBezTo>
                  <a:cubicBezTo>
                    <a:pt x="83" y="102"/>
                    <a:pt x="111" y="74"/>
                    <a:pt x="147" y="55"/>
                  </a:cubicBezTo>
                  <a:cubicBezTo>
                    <a:pt x="181" y="36"/>
                    <a:pt x="217" y="22"/>
                    <a:pt x="258" y="11"/>
                  </a:cubicBezTo>
                  <a:cubicBezTo>
                    <a:pt x="300" y="2"/>
                    <a:pt x="339" y="0"/>
                    <a:pt x="381" y="0"/>
                  </a:cubicBezTo>
                  <a:cubicBezTo>
                    <a:pt x="444" y="0"/>
                    <a:pt x="503" y="8"/>
                    <a:pt x="556" y="22"/>
                  </a:cubicBezTo>
                  <a:cubicBezTo>
                    <a:pt x="605" y="38"/>
                    <a:pt x="656" y="66"/>
                    <a:pt x="705" y="108"/>
                  </a:cubicBezTo>
                  <a:lnTo>
                    <a:pt x="605"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9" name="Freeform 26">
              <a:extLst>
                <a:ext uri="{FF2B5EF4-FFF2-40B4-BE49-F238E27FC236}">
                  <a16:creationId xmlns:a16="http://schemas.microsoft.com/office/drawing/2014/main" id="{A07ADD3F-5315-224B-972A-2FB32B6B6B0E}"/>
                </a:ext>
              </a:extLst>
            </p:cNvPr>
            <p:cNvSpPr>
              <a:spLocks noChangeArrowheads="1"/>
            </p:cNvSpPr>
            <p:nvPr userDrawn="1"/>
          </p:nvSpPr>
          <p:spPr bwMode="auto">
            <a:xfrm>
              <a:off x="4600575" y="3744913"/>
              <a:ext cx="476250" cy="301625"/>
            </a:xfrm>
            <a:custGeom>
              <a:avLst/>
              <a:gdLst>
                <a:gd name="T0" fmla="*/ 575 w 1322"/>
                <a:gd name="T1" fmla="*/ 839 h 840"/>
                <a:gd name="T2" fmla="*/ 575 w 1322"/>
                <a:gd name="T3" fmla="*/ 839 h 840"/>
                <a:gd name="T4" fmla="*/ 575 w 1322"/>
                <a:gd name="T5" fmla="*/ 386 h 840"/>
                <a:gd name="T6" fmla="*/ 564 w 1322"/>
                <a:gd name="T7" fmla="*/ 300 h 840"/>
                <a:gd name="T8" fmla="*/ 525 w 1322"/>
                <a:gd name="T9" fmla="*/ 228 h 840"/>
                <a:gd name="T10" fmla="*/ 461 w 1322"/>
                <a:gd name="T11" fmla="*/ 178 h 840"/>
                <a:gd name="T12" fmla="*/ 381 w 1322"/>
                <a:gd name="T13" fmla="*/ 161 h 840"/>
                <a:gd name="T14" fmla="*/ 295 w 1322"/>
                <a:gd name="T15" fmla="*/ 178 h 840"/>
                <a:gd name="T16" fmla="*/ 231 w 1322"/>
                <a:gd name="T17" fmla="*/ 228 h 840"/>
                <a:gd name="T18" fmla="*/ 192 w 1322"/>
                <a:gd name="T19" fmla="*/ 300 h 840"/>
                <a:gd name="T20" fmla="*/ 175 w 1322"/>
                <a:gd name="T21" fmla="*/ 386 h 840"/>
                <a:gd name="T22" fmla="*/ 175 w 1322"/>
                <a:gd name="T23" fmla="*/ 839 h 840"/>
                <a:gd name="T24" fmla="*/ 0 w 1322"/>
                <a:gd name="T25" fmla="*/ 839 h 840"/>
                <a:gd name="T26" fmla="*/ 0 w 1322"/>
                <a:gd name="T27" fmla="*/ 14 h 840"/>
                <a:gd name="T28" fmla="*/ 164 w 1322"/>
                <a:gd name="T29" fmla="*/ 14 h 840"/>
                <a:gd name="T30" fmla="*/ 175 w 1322"/>
                <a:gd name="T31" fmla="*/ 125 h 840"/>
                <a:gd name="T32" fmla="*/ 278 w 1322"/>
                <a:gd name="T33" fmla="*/ 28 h 840"/>
                <a:gd name="T34" fmla="*/ 411 w 1322"/>
                <a:gd name="T35" fmla="*/ 0 h 840"/>
                <a:gd name="T36" fmla="*/ 492 w 1322"/>
                <a:gd name="T37" fmla="*/ 8 h 840"/>
                <a:gd name="T38" fmla="*/ 567 w 1322"/>
                <a:gd name="T39" fmla="*/ 36 h 840"/>
                <a:gd name="T40" fmla="*/ 631 w 1322"/>
                <a:gd name="T41" fmla="*/ 89 h 840"/>
                <a:gd name="T42" fmla="*/ 675 w 1322"/>
                <a:gd name="T43" fmla="*/ 167 h 840"/>
                <a:gd name="T44" fmla="*/ 803 w 1322"/>
                <a:gd name="T45" fmla="*/ 39 h 840"/>
                <a:gd name="T46" fmla="*/ 964 w 1322"/>
                <a:gd name="T47" fmla="*/ 3 h 840"/>
                <a:gd name="T48" fmla="*/ 1230 w 1322"/>
                <a:gd name="T49" fmla="*/ 103 h 840"/>
                <a:gd name="T50" fmla="*/ 1321 w 1322"/>
                <a:gd name="T51" fmla="*/ 383 h 840"/>
                <a:gd name="T52" fmla="*/ 1321 w 1322"/>
                <a:gd name="T53" fmla="*/ 839 h 840"/>
                <a:gd name="T54" fmla="*/ 1145 w 1322"/>
                <a:gd name="T55" fmla="*/ 839 h 840"/>
                <a:gd name="T56" fmla="*/ 1145 w 1322"/>
                <a:gd name="T57" fmla="*/ 381 h 840"/>
                <a:gd name="T58" fmla="*/ 1134 w 1322"/>
                <a:gd name="T59" fmla="*/ 297 h 840"/>
                <a:gd name="T60" fmla="*/ 1097 w 1322"/>
                <a:gd name="T61" fmla="*/ 225 h 840"/>
                <a:gd name="T62" fmla="*/ 1039 w 1322"/>
                <a:gd name="T63" fmla="*/ 178 h 840"/>
                <a:gd name="T64" fmla="*/ 959 w 1322"/>
                <a:gd name="T65" fmla="*/ 161 h 840"/>
                <a:gd name="T66" fmla="*/ 872 w 1322"/>
                <a:gd name="T67" fmla="*/ 181 h 840"/>
                <a:gd name="T68" fmla="*/ 809 w 1322"/>
                <a:gd name="T69" fmla="*/ 228 h 840"/>
                <a:gd name="T70" fmla="*/ 767 w 1322"/>
                <a:gd name="T71" fmla="*/ 300 h 840"/>
                <a:gd name="T72" fmla="*/ 753 w 1322"/>
                <a:gd name="T73" fmla="*/ 386 h 840"/>
                <a:gd name="T74" fmla="*/ 753 w 1322"/>
                <a:gd name="T75" fmla="*/ 839 h 840"/>
                <a:gd name="T76" fmla="*/ 575 w 1322"/>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2" h="840">
                  <a:moveTo>
                    <a:pt x="575" y="839"/>
                  </a:moveTo>
                  <a:lnTo>
                    <a:pt x="575" y="839"/>
                  </a:lnTo>
                  <a:cubicBezTo>
                    <a:pt x="575" y="386"/>
                    <a:pt x="575" y="386"/>
                    <a:pt x="575" y="386"/>
                  </a:cubicBezTo>
                  <a:cubicBezTo>
                    <a:pt x="575" y="356"/>
                    <a:pt x="572" y="325"/>
                    <a:pt x="564" y="300"/>
                  </a:cubicBezTo>
                  <a:cubicBezTo>
                    <a:pt x="556" y="272"/>
                    <a:pt x="542" y="247"/>
                    <a:pt x="525" y="228"/>
                  </a:cubicBezTo>
                  <a:cubicBezTo>
                    <a:pt x="509" y="206"/>
                    <a:pt x="486" y="189"/>
                    <a:pt x="461" y="178"/>
                  </a:cubicBezTo>
                  <a:cubicBezTo>
                    <a:pt x="436" y="167"/>
                    <a:pt x="411" y="161"/>
                    <a:pt x="381" y="161"/>
                  </a:cubicBezTo>
                  <a:cubicBezTo>
                    <a:pt x="347" y="161"/>
                    <a:pt x="320" y="167"/>
                    <a:pt x="295" y="178"/>
                  </a:cubicBezTo>
                  <a:cubicBezTo>
                    <a:pt x="270" y="189"/>
                    <a:pt x="250" y="206"/>
                    <a:pt x="231" y="228"/>
                  </a:cubicBezTo>
                  <a:cubicBezTo>
                    <a:pt x="214" y="247"/>
                    <a:pt x="200" y="272"/>
                    <a:pt x="192" y="300"/>
                  </a:cubicBezTo>
                  <a:cubicBezTo>
                    <a:pt x="181" y="325"/>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200" y="78"/>
                    <a:pt x="234" y="47"/>
                    <a:pt x="278" y="28"/>
                  </a:cubicBezTo>
                  <a:cubicBezTo>
                    <a:pt x="323" y="8"/>
                    <a:pt x="367" y="0"/>
                    <a:pt x="411" y="0"/>
                  </a:cubicBezTo>
                  <a:cubicBezTo>
                    <a:pt x="439" y="0"/>
                    <a:pt x="467" y="3"/>
                    <a:pt x="492" y="8"/>
                  </a:cubicBezTo>
                  <a:cubicBezTo>
                    <a:pt x="520" y="14"/>
                    <a:pt x="542" y="22"/>
                    <a:pt x="567" y="36"/>
                  </a:cubicBezTo>
                  <a:cubicBezTo>
                    <a:pt x="589" y="50"/>
                    <a:pt x="611" y="67"/>
                    <a:pt x="631" y="89"/>
                  </a:cubicBezTo>
                  <a:cubicBezTo>
                    <a:pt x="647" y="111"/>
                    <a:pt x="664" y="136"/>
                    <a:pt x="675" y="167"/>
                  </a:cubicBezTo>
                  <a:cubicBezTo>
                    <a:pt x="711" y="106"/>
                    <a:pt x="753" y="61"/>
                    <a:pt x="803" y="39"/>
                  </a:cubicBezTo>
                  <a:cubicBezTo>
                    <a:pt x="853" y="14"/>
                    <a:pt x="906" y="3"/>
                    <a:pt x="964" y="3"/>
                  </a:cubicBezTo>
                  <a:cubicBezTo>
                    <a:pt x="1084" y="3"/>
                    <a:pt x="1172" y="36"/>
                    <a:pt x="1230" y="103"/>
                  </a:cubicBezTo>
                  <a:cubicBezTo>
                    <a:pt x="1291" y="169"/>
                    <a:pt x="1321" y="264"/>
                    <a:pt x="1321" y="383"/>
                  </a:cubicBezTo>
                  <a:cubicBezTo>
                    <a:pt x="1321" y="839"/>
                    <a:pt x="1321" y="839"/>
                    <a:pt x="1321" y="839"/>
                  </a:cubicBezTo>
                  <a:cubicBezTo>
                    <a:pt x="1145" y="839"/>
                    <a:pt x="1145" y="839"/>
                    <a:pt x="1145" y="839"/>
                  </a:cubicBezTo>
                  <a:cubicBezTo>
                    <a:pt x="1145" y="381"/>
                    <a:pt x="1145" y="381"/>
                    <a:pt x="1145" y="381"/>
                  </a:cubicBezTo>
                  <a:cubicBezTo>
                    <a:pt x="1145" y="353"/>
                    <a:pt x="1139" y="322"/>
                    <a:pt x="1134" y="297"/>
                  </a:cubicBezTo>
                  <a:cubicBezTo>
                    <a:pt x="1125" y="269"/>
                    <a:pt x="1114" y="247"/>
                    <a:pt x="1097" y="225"/>
                  </a:cubicBezTo>
                  <a:cubicBezTo>
                    <a:pt x="1081" y="206"/>
                    <a:pt x="1061" y="189"/>
                    <a:pt x="1039" y="178"/>
                  </a:cubicBezTo>
                  <a:cubicBezTo>
                    <a:pt x="1017" y="167"/>
                    <a:pt x="989" y="161"/>
                    <a:pt x="959" y="161"/>
                  </a:cubicBezTo>
                  <a:cubicBezTo>
                    <a:pt x="928" y="161"/>
                    <a:pt x="900" y="169"/>
                    <a:pt x="872" y="181"/>
                  </a:cubicBezTo>
                  <a:cubicBezTo>
                    <a:pt x="847" y="192"/>
                    <a:pt x="825" y="208"/>
                    <a:pt x="809" y="228"/>
                  </a:cubicBezTo>
                  <a:cubicBezTo>
                    <a:pt x="792" y="247"/>
                    <a:pt x="778" y="272"/>
                    <a:pt x="767" y="300"/>
                  </a:cubicBezTo>
                  <a:cubicBezTo>
                    <a:pt x="759" y="325"/>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0" name="Freeform 27">
              <a:extLst>
                <a:ext uri="{FF2B5EF4-FFF2-40B4-BE49-F238E27FC236}">
                  <a16:creationId xmlns:a16="http://schemas.microsoft.com/office/drawing/2014/main" id="{1B6B39AC-8529-C84D-9CD3-6DD82AF32DF8}"/>
                </a:ext>
              </a:extLst>
            </p:cNvPr>
            <p:cNvSpPr>
              <a:spLocks noChangeArrowheads="1"/>
            </p:cNvSpPr>
            <p:nvPr userDrawn="1"/>
          </p:nvSpPr>
          <p:spPr bwMode="auto">
            <a:xfrm>
              <a:off x="5138738" y="3743325"/>
              <a:ext cx="315912"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2 w 876"/>
                <a:gd name="T11" fmla="*/ 680 h 864"/>
                <a:gd name="T12" fmla="*/ 703 w 876"/>
                <a:gd name="T13" fmla="*/ 616 h 864"/>
                <a:gd name="T14" fmla="*/ 817 w 876"/>
                <a:gd name="T15" fmla="*/ 724 h 864"/>
                <a:gd name="T16" fmla="*/ 742 w 876"/>
                <a:gd name="T17" fmla="*/ 786 h 864"/>
                <a:gd name="T18" fmla="*/ 653 w 876"/>
                <a:gd name="T19" fmla="*/ 830 h 864"/>
                <a:gd name="T20" fmla="*/ 553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3 w 876"/>
                <a:gd name="T35" fmla="*/ 119 h 864"/>
                <a:gd name="T36" fmla="*/ 261 w 876"/>
                <a:gd name="T37" fmla="*/ 30 h 864"/>
                <a:gd name="T38" fmla="*/ 442 w 876"/>
                <a:gd name="T39" fmla="*/ 0 h 864"/>
                <a:gd name="T40" fmla="*/ 628 w 876"/>
                <a:gd name="T41" fmla="*/ 30 h 864"/>
                <a:gd name="T42" fmla="*/ 767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2 w 876"/>
                <a:gd name="T55" fmla="*/ 202 h 864"/>
                <a:gd name="T56" fmla="*/ 448 w 876"/>
                <a:gd name="T57" fmla="*/ 152 h 864"/>
                <a:gd name="T58" fmla="*/ 278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17" y="686"/>
                    <a:pt x="381" y="705"/>
                    <a:pt x="459" y="705"/>
                  </a:cubicBezTo>
                  <a:cubicBezTo>
                    <a:pt x="500" y="705"/>
                    <a:pt x="548" y="697"/>
                    <a:pt x="592" y="680"/>
                  </a:cubicBezTo>
                  <a:cubicBezTo>
                    <a:pt x="639" y="666"/>
                    <a:pt x="675" y="644"/>
                    <a:pt x="703" y="616"/>
                  </a:cubicBezTo>
                  <a:cubicBezTo>
                    <a:pt x="817" y="724"/>
                    <a:pt x="817" y="724"/>
                    <a:pt x="817" y="724"/>
                  </a:cubicBezTo>
                  <a:cubicBezTo>
                    <a:pt x="795" y="747"/>
                    <a:pt x="770" y="769"/>
                    <a:pt x="742" y="786"/>
                  </a:cubicBezTo>
                  <a:cubicBezTo>
                    <a:pt x="714" y="802"/>
                    <a:pt x="684" y="819"/>
                    <a:pt x="653" y="830"/>
                  </a:cubicBezTo>
                  <a:cubicBezTo>
                    <a:pt x="620" y="841"/>
                    <a:pt x="589" y="849"/>
                    <a:pt x="553" y="855"/>
                  </a:cubicBezTo>
                  <a:cubicBezTo>
                    <a:pt x="520" y="861"/>
                    <a:pt x="486" y="863"/>
                    <a:pt x="456" y="863"/>
                  </a:cubicBezTo>
                  <a:cubicBezTo>
                    <a:pt x="386" y="863"/>
                    <a:pt x="323" y="855"/>
                    <a:pt x="267" y="833"/>
                  </a:cubicBezTo>
                  <a:cubicBezTo>
                    <a:pt x="211" y="813"/>
                    <a:pt x="164" y="783"/>
                    <a:pt x="125" y="747"/>
                  </a:cubicBezTo>
                  <a:cubicBezTo>
                    <a:pt x="86" y="708"/>
                    <a:pt x="56" y="661"/>
                    <a:pt x="34" y="608"/>
                  </a:cubicBezTo>
                  <a:cubicBezTo>
                    <a:pt x="11" y="552"/>
                    <a:pt x="0" y="494"/>
                    <a:pt x="0" y="427"/>
                  </a:cubicBezTo>
                  <a:cubicBezTo>
                    <a:pt x="0" y="366"/>
                    <a:pt x="11" y="308"/>
                    <a:pt x="34" y="255"/>
                  </a:cubicBezTo>
                  <a:cubicBezTo>
                    <a:pt x="56" y="202"/>
                    <a:pt x="84" y="158"/>
                    <a:pt x="123" y="119"/>
                  </a:cubicBezTo>
                  <a:cubicBezTo>
                    <a:pt x="161" y="80"/>
                    <a:pt x="209" y="52"/>
                    <a:pt x="261" y="30"/>
                  </a:cubicBezTo>
                  <a:cubicBezTo>
                    <a:pt x="317" y="8"/>
                    <a:pt x="378" y="0"/>
                    <a:pt x="442" y="0"/>
                  </a:cubicBezTo>
                  <a:cubicBezTo>
                    <a:pt x="511" y="0"/>
                    <a:pt x="573" y="8"/>
                    <a:pt x="628" y="30"/>
                  </a:cubicBezTo>
                  <a:cubicBezTo>
                    <a:pt x="684" y="50"/>
                    <a:pt x="731" y="80"/>
                    <a:pt x="767" y="122"/>
                  </a:cubicBezTo>
                  <a:cubicBezTo>
                    <a:pt x="806" y="163"/>
                    <a:pt x="834" y="216"/>
                    <a:pt x="853" y="277"/>
                  </a:cubicBezTo>
                  <a:cubicBezTo>
                    <a:pt x="870" y="341"/>
                    <a:pt x="875" y="413"/>
                    <a:pt x="867" y="497"/>
                  </a:cubicBezTo>
                  <a:lnTo>
                    <a:pt x="186" y="352"/>
                  </a:lnTo>
                  <a:lnTo>
                    <a:pt x="186" y="352"/>
                  </a:lnTo>
                  <a:cubicBezTo>
                    <a:pt x="698" y="352"/>
                    <a:pt x="698" y="352"/>
                    <a:pt x="698" y="352"/>
                  </a:cubicBezTo>
                  <a:cubicBezTo>
                    <a:pt x="692" y="286"/>
                    <a:pt x="667" y="236"/>
                    <a:pt x="622" y="202"/>
                  </a:cubicBezTo>
                  <a:cubicBezTo>
                    <a:pt x="578" y="169"/>
                    <a:pt x="520" y="152"/>
                    <a:pt x="448" y="152"/>
                  </a:cubicBezTo>
                  <a:cubicBezTo>
                    <a:pt x="384" y="152"/>
                    <a:pt x="328" y="169"/>
                    <a:pt x="278"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1" name="Freeform 28">
              <a:extLst>
                <a:ext uri="{FF2B5EF4-FFF2-40B4-BE49-F238E27FC236}">
                  <a16:creationId xmlns:a16="http://schemas.microsoft.com/office/drawing/2014/main" id="{A0B688E5-E880-494C-A7E2-965EBD02B269}"/>
                </a:ext>
              </a:extLst>
            </p:cNvPr>
            <p:cNvSpPr>
              <a:spLocks noChangeArrowheads="1"/>
            </p:cNvSpPr>
            <p:nvPr userDrawn="1"/>
          </p:nvSpPr>
          <p:spPr bwMode="auto">
            <a:xfrm>
              <a:off x="54975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4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9" y="147"/>
                    <a:pt x="127" y="111"/>
                  </a:cubicBezTo>
                  <a:cubicBezTo>
                    <a:pt x="166" y="75"/>
                    <a:pt x="211" y="48"/>
                    <a:pt x="264"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41" y="636"/>
                    <a:pt x="669" y="603"/>
                    <a:pt x="691" y="561"/>
                  </a:cubicBezTo>
                  <a:cubicBezTo>
                    <a:pt x="711" y="522"/>
                    <a:pt x="722" y="478"/>
                    <a:pt x="722" y="431"/>
                  </a:cubicBezTo>
                  <a:cubicBezTo>
                    <a:pt x="722" y="384"/>
                    <a:pt x="711" y="339"/>
                    <a:pt x="691" y="298"/>
                  </a:cubicBezTo>
                  <a:cubicBezTo>
                    <a:pt x="669" y="259"/>
                    <a:pt x="641"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2" name="Freeform 29">
              <a:extLst>
                <a:ext uri="{FF2B5EF4-FFF2-40B4-BE49-F238E27FC236}">
                  <a16:creationId xmlns:a16="http://schemas.microsoft.com/office/drawing/2014/main" id="{39472782-B9C9-C849-8527-BCD0B682C440}"/>
                </a:ext>
              </a:extLst>
            </p:cNvPr>
            <p:cNvSpPr>
              <a:spLocks noChangeArrowheads="1"/>
            </p:cNvSpPr>
            <p:nvPr userDrawn="1"/>
          </p:nvSpPr>
          <p:spPr bwMode="auto">
            <a:xfrm>
              <a:off x="5905500" y="3746500"/>
              <a:ext cx="293688" cy="301625"/>
            </a:xfrm>
            <a:custGeom>
              <a:avLst/>
              <a:gdLst>
                <a:gd name="T0" fmla="*/ 639 w 817"/>
                <a:gd name="T1" fmla="*/ 836 h 837"/>
                <a:gd name="T2" fmla="*/ 639 w 817"/>
                <a:gd name="T3" fmla="*/ 836 h 837"/>
                <a:gd name="T4" fmla="*/ 639 w 817"/>
                <a:gd name="T5" fmla="*/ 397 h 837"/>
                <a:gd name="T6" fmla="*/ 580 w 817"/>
                <a:gd name="T7" fmla="*/ 225 h 837"/>
                <a:gd name="T8" fmla="*/ 411 w 817"/>
                <a:gd name="T9" fmla="*/ 158 h 837"/>
                <a:gd name="T10" fmla="*/ 316 w 817"/>
                <a:gd name="T11" fmla="*/ 178 h 837"/>
                <a:gd name="T12" fmla="*/ 241 w 817"/>
                <a:gd name="T13" fmla="*/ 230 h 837"/>
                <a:gd name="T14" fmla="*/ 194 w 817"/>
                <a:gd name="T15" fmla="*/ 311 h 837"/>
                <a:gd name="T16" fmla="*/ 177 w 817"/>
                <a:gd name="T17" fmla="*/ 405 h 837"/>
                <a:gd name="T18" fmla="*/ 177 w 817"/>
                <a:gd name="T19" fmla="*/ 836 h 837"/>
                <a:gd name="T20" fmla="*/ 0 w 817"/>
                <a:gd name="T21" fmla="*/ 836 h 837"/>
                <a:gd name="T22" fmla="*/ 0 w 817"/>
                <a:gd name="T23" fmla="*/ 11 h 837"/>
                <a:gd name="T24" fmla="*/ 161 w 817"/>
                <a:gd name="T25" fmla="*/ 11 h 837"/>
                <a:gd name="T26" fmla="*/ 172 w 817"/>
                <a:gd name="T27" fmla="*/ 130 h 837"/>
                <a:gd name="T28" fmla="*/ 455 w 817"/>
                <a:gd name="T29" fmla="*/ 0 h 837"/>
                <a:gd name="T30" fmla="*/ 597 w 817"/>
                <a:gd name="T31" fmla="*/ 25 h 837"/>
                <a:gd name="T32" fmla="*/ 711 w 817"/>
                <a:gd name="T33" fmla="*/ 100 h 837"/>
                <a:gd name="T34" fmla="*/ 789 w 817"/>
                <a:gd name="T35" fmla="*/ 225 h 837"/>
                <a:gd name="T36" fmla="*/ 816 w 817"/>
                <a:gd name="T37" fmla="*/ 394 h 837"/>
                <a:gd name="T38" fmla="*/ 816 w 817"/>
                <a:gd name="T39" fmla="*/ 836 h 837"/>
                <a:gd name="T40" fmla="*/ 639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9" y="836"/>
                  </a:moveTo>
                  <a:lnTo>
                    <a:pt x="639" y="836"/>
                  </a:lnTo>
                  <a:cubicBezTo>
                    <a:pt x="639" y="397"/>
                    <a:pt x="639" y="397"/>
                    <a:pt x="639" y="397"/>
                  </a:cubicBezTo>
                  <a:cubicBezTo>
                    <a:pt x="639" y="325"/>
                    <a:pt x="619" y="266"/>
                    <a:pt x="580" y="225"/>
                  </a:cubicBezTo>
                  <a:cubicBezTo>
                    <a:pt x="541" y="180"/>
                    <a:pt x="486" y="158"/>
                    <a:pt x="411" y="158"/>
                  </a:cubicBezTo>
                  <a:cubicBezTo>
                    <a:pt x="377" y="158"/>
                    <a:pt x="344" y="166"/>
                    <a:pt x="316" y="178"/>
                  </a:cubicBezTo>
                  <a:cubicBezTo>
                    <a:pt x="286" y="192"/>
                    <a:pt x="261" y="208"/>
                    <a:pt x="241" y="230"/>
                  </a:cubicBezTo>
                  <a:cubicBezTo>
                    <a:pt x="222" y="255"/>
                    <a:pt x="205" y="280"/>
                    <a:pt x="194" y="311"/>
                  </a:cubicBezTo>
                  <a:cubicBezTo>
                    <a:pt x="183" y="341"/>
                    <a:pt x="177" y="372"/>
                    <a:pt x="177" y="405"/>
                  </a:cubicBezTo>
                  <a:cubicBezTo>
                    <a:pt x="177" y="836"/>
                    <a:pt x="177" y="836"/>
                    <a:pt x="177" y="836"/>
                  </a:cubicBezTo>
                  <a:cubicBezTo>
                    <a:pt x="0" y="836"/>
                    <a:pt x="0" y="836"/>
                    <a:pt x="0" y="836"/>
                  </a:cubicBezTo>
                  <a:cubicBezTo>
                    <a:pt x="0" y="11"/>
                    <a:pt x="0" y="11"/>
                    <a:pt x="0" y="11"/>
                  </a:cubicBezTo>
                  <a:cubicBezTo>
                    <a:pt x="161" y="11"/>
                    <a:pt x="161" y="11"/>
                    <a:pt x="161" y="11"/>
                  </a:cubicBezTo>
                  <a:cubicBezTo>
                    <a:pt x="172" y="130"/>
                    <a:pt x="172" y="130"/>
                    <a:pt x="172" y="130"/>
                  </a:cubicBezTo>
                  <a:cubicBezTo>
                    <a:pt x="250" y="42"/>
                    <a:pt x="344" y="0"/>
                    <a:pt x="455" y="0"/>
                  </a:cubicBezTo>
                  <a:cubicBezTo>
                    <a:pt x="505" y="0"/>
                    <a:pt x="552" y="8"/>
                    <a:pt x="597" y="25"/>
                  </a:cubicBezTo>
                  <a:cubicBezTo>
                    <a:pt x="641" y="42"/>
                    <a:pt x="680" y="66"/>
                    <a:pt x="711" y="100"/>
                  </a:cubicBezTo>
                  <a:cubicBezTo>
                    <a:pt x="744" y="133"/>
                    <a:pt x="769" y="175"/>
                    <a:pt x="789" y="225"/>
                  </a:cubicBezTo>
                  <a:cubicBezTo>
                    <a:pt x="808" y="275"/>
                    <a:pt x="816" y="330"/>
                    <a:pt x="816" y="394"/>
                  </a:cubicBezTo>
                  <a:cubicBezTo>
                    <a:pt x="816" y="836"/>
                    <a:pt x="816" y="836"/>
                    <a:pt x="816" y="836"/>
                  </a:cubicBezTo>
                  <a:lnTo>
                    <a:pt x="639"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3" name="Freeform 30">
              <a:extLst>
                <a:ext uri="{FF2B5EF4-FFF2-40B4-BE49-F238E27FC236}">
                  <a16:creationId xmlns:a16="http://schemas.microsoft.com/office/drawing/2014/main" id="{8F11BFC9-4076-B740-8CE4-34A4B1E5C4AA}"/>
                </a:ext>
              </a:extLst>
            </p:cNvPr>
            <p:cNvSpPr>
              <a:spLocks noChangeArrowheads="1"/>
            </p:cNvSpPr>
            <p:nvPr userDrawn="1"/>
          </p:nvSpPr>
          <p:spPr bwMode="auto">
            <a:xfrm>
              <a:off x="6251575"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4" name="Freeform 31">
              <a:extLst>
                <a:ext uri="{FF2B5EF4-FFF2-40B4-BE49-F238E27FC236}">
                  <a16:creationId xmlns:a16="http://schemas.microsoft.com/office/drawing/2014/main" id="{24B40F44-AAD1-F643-9711-673A0A45D8F3}"/>
                </a:ext>
              </a:extLst>
            </p:cNvPr>
            <p:cNvSpPr>
              <a:spLocks noChangeArrowheads="1"/>
            </p:cNvSpPr>
            <p:nvPr userDrawn="1"/>
          </p:nvSpPr>
          <p:spPr bwMode="auto">
            <a:xfrm>
              <a:off x="6643688"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5" name="Freeform 32">
              <a:extLst>
                <a:ext uri="{FF2B5EF4-FFF2-40B4-BE49-F238E27FC236}">
                  <a16:creationId xmlns:a16="http://schemas.microsoft.com/office/drawing/2014/main" id="{8E0C36A3-BC82-984B-A39A-002214E497EA}"/>
                </a:ext>
              </a:extLst>
            </p:cNvPr>
            <p:cNvSpPr>
              <a:spLocks noChangeArrowheads="1"/>
            </p:cNvSpPr>
            <p:nvPr userDrawn="1"/>
          </p:nvSpPr>
          <p:spPr bwMode="auto">
            <a:xfrm>
              <a:off x="6897688" y="3743325"/>
              <a:ext cx="314325" cy="309563"/>
            </a:xfrm>
            <a:custGeom>
              <a:avLst/>
              <a:gdLst>
                <a:gd name="T0" fmla="*/ 436 w 873"/>
                <a:gd name="T1" fmla="*/ 0 h 860"/>
                <a:gd name="T2" fmla="*/ 436 w 873"/>
                <a:gd name="T3" fmla="*/ 0 h 860"/>
                <a:gd name="T4" fmla="*/ 611 w 873"/>
                <a:gd name="T5" fmla="*/ 34 h 860"/>
                <a:gd name="T6" fmla="*/ 750 w 873"/>
                <a:gd name="T7" fmla="*/ 125 h 860"/>
                <a:gd name="T8" fmla="*/ 842 w 873"/>
                <a:gd name="T9" fmla="*/ 261 h 860"/>
                <a:gd name="T10" fmla="*/ 872 w 873"/>
                <a:gd name="T11" fmla="*/ 431 h 860"/>
                <a:gd name="T12" fmla="*/ 842 w 873"/>
                <a:gd name="T13" fmla="*/ 600 h 860"/>
                <a:gd name="T14" fmla="*/ 753 w 873"/>
                <a:gd name="T15" fmla="*/ 736 h 860"/>
                <a:gd name="T16" fmla="*/ 614 w 873"/>
                <a:gd name="T17" fmla="*/ 825 h 860"/>
                <a:gd name="T18" fmla="*/ 436 w 873"/>
                <a:gd name="T19" fmla="*/ 859 h 860"/>
                <a:gd name="T20" fmla="*/ 256 w 873"/>
                <a:gd name="T21" fmla="*/ 825 h 860"/>
                <a:gd name="T22" fmla="*/ 119 w 873"/>
                <a:gd name="T23" fmla="*/ 736 h 860"/>
                <a:gd name="T24" fmla="*/ 31 w 873"/>
                <a:gd name="T25" fmla="*/ 600 h 860"/>
                <a:gd name="T26" fmla="*/ 0 w 873"/>
                <a:gd name="T27" fmla="*/ 431 h 860"/>
                <a:gd name="T28" fmla="*/ 31 w 873"/>
                <a:gd name="T29" fmla="*/ 261 h 860"/>
                <a:gd name="T30" fmla="*/ 119 w 873"/>
                <a:gd name="T31" fmla="*/ 125 h 860"/>
                <a:gd name="T32" fmla="*/ 258 w 873"/>
                <a:gd name="T33" fmla="*/ 34 h 860"/>
                <a:gd name="T34" fmla="*/ 436 w 873"/>
                <a:gd name="T35" fmla="*/ 0 h 860"/>
                <a:gd name="T36" fmla="*/ 436 w 873"/>
                <a:gd name="T37" fmla="*/ 161 h 860"/>
                <a:gd name="T38" fmla="*/ 436 w 873"/>
                <a:gd name="T39" fmla="*/ 161 h 860"/>
                <a:gd name="T40" fmla="*/ 328 w 873"/>
                <a:gd name="T41" fmla="*/ 184 h 860"/>
                <a:gd name="T42" fmla="*/ 247 w 873"/>
                <a:gd name="T43" fmla="*/ 242 h 860"/>
                <a:gd name="T44" fmla="*/ 194 w 873"/>
                <a:gd name="T45" fmla="*/ 328 h 860"/>
                <a:gd name="T46" fmla="*/ 178 w 873"/>
                <a:gd name="T47" fmla="*/ 431 h 860"/>
                <a:gd name="T48" fmla="*/ 194 w 873"/>
                <a:gd name="T49" fmla="*/ 536 h 860"/>
                <a:gd name="T50" fmla="*/ 247 w 873"/>
                <a:gd name="T51" fmla="*/ 620 h 860"/>
                <a:gd name="T52" fmla="*/ 328 w 873"/>
                <a:gd name="T53" fmla="*/ 678 h 860"/>
                <a:gd name="T54" fmla="*/ 436 w 873"/>
                <a:gd name="T55" fmla="*/ 698 h 860"/>
                <a:gd name="T56" fmla="*/ 544 w 873"/>
                <a:gd name="T57" fmla="*/ 678 h 860"/>
                <a:gd name="T58" fmla="*/ 625 w 873"/>
                <a:gd name="T59" fmla="*/ 620 h 860"/>
                <a:gd name="T60" fmla="*/ 678 w 873"/>
                <a:gd name="T61" fmla="*/ 536 h 860"/>
                <a:gd name="T62" fmla="*/ 694 w 873"/>
                <a:gd name="T63" fmla="*/ 431 h 860"/>
                <a:gd name="T64" fmla="*/ 675 w 873"/>
                <a:gd name="T65" fmla="*/ 328 h 860"/>
                <a:gd name="T66" fmla="*/ 622 w 873"/>
                <a:gd name="T67" fmla="*/ 242 h 860"/>
                <a:gd name="T68" fmla="*/ 542 w 873"/>
                <a:gd name="T69" fmla="*/ 184 h 860"/>
                <a:gd name="T70" fmla="*/ 436 w 873"/>
                <a:gd name="T71" fmla="*/ 161 h 860"/>
                <a:gd name="T72" fmla="*/ 436 w 873"/>
                <a:gd name="T73"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60">
                  <a:moveTo>
                    <a:pt x="436" y="0"/>
                  </a:moveTo>
                  <a:lnTo>
                    <a:pt x="436" y="0"/>
                  </a:lnTo>
                  <a:cubicBezTo>
                    <a:pt x="500" y="0"/>
                    <a:pt x="558" y="11"/>
                    <a:pt x="611" y="34"/>
                  </a:cubicBezTo>
                  <a:cubicBezTo>
                    <a:pt x="667" y="59"/>
                    <a:pt x="711" y="86"/>
                    <a:pt x="750" y="125"/>
                  </a:cubicBezTo>
                  <a:cubicBezTo>
                    <a:pt x="789" y="164"/>
                    <a:pt x="819" y="209"/>
                    <a:pt x="842" y="261"/>
                  </a:cubicBezTo>
                  <a:cubicBezTo>
                    <a:pt x="861" y="314"/>
                    <a:pt x="872" y="370"/>
                    <a:pt x="872" y="431"/>
                  </a:cubicBezTo>
                  <a:cubicBezTo>
                    <a:pt x="872" y="492"/>
                    <a:pt x="861" y="547"/>
                    <a:pt x="842" y="600"/>
                  </a:cubicBezTo>
                  <a:cubicBezTo>
                    <a:pt x="819" y="653"/>
                    <a:pt x="792" y="698"/>
                    <a:pt x="753" y="736"/>
                  </a:cubicBezTo>
                  <a:cubicBezTo>
                    <a:pt x="714" y="775"/>
                    <a:pt x="669" y="806"/>
                    <a:pt x="614" y="825"/>
                  </a:cubicBezTo>
                  <a:cubicBezTo>
                    <a:pt x="561" y="847"/>
                    <a:pt x="500" y="859"/>
                    <a:pt x="436" y="859"/>
                  </a:cubicBezTo>
                  <a:cubicBezTo>
                    <a:pt x="369" y="859"/>
                    <a:pt x="308" y="847"/>
                    <a:pt x="256" y="825"/>
                  </a:cubicBezTo>
                  <a:cubicBezTo>
                    <a:pt x="203" y="806"/>
                    <a:pt x="156" y="775"/>
                    <a:pt x="119" y="736"/>
                  </a:cubicBezTo>
                  <a:cubicBezTo>
                    <a:pt x="80" y="698"/>
                    <a:pt x="53" y="653"/>
                    <a:pt x="31" y="600"/>
                  </a:cubicBezTo>
                  <a:cubicBezTo>
                    <a:pt x="11" y="547"/>
                    <a:pt x="0" y="492"/>
                    <a:pt x="0" y="431"/>
                  </a:cubicBezTo>
                  <a:cubicBezTo>
                    <a:pt x="0" y="370"/>
                    <a:pt x="11" y="314"/>
                    <a:pt x="31" y="261"/>
                  </a:cubicBezTo>
                  <a:cubicBezTo>
                    <a:pt x="53" y="209"/>
                    <a:pt x="80" y="164"/>
                    <a:pt x="119" y="125"/>
                  </a:cubicBezTo>
                  <a:cubicBezTo>
                    <a:pt x="158" y="86"/>
                    <a:pt x="203" y="59"/>
                    <a:pt x="258" y="34"/>
                  </a:cubicBezTo>
                  <a:cubicBezTo>
                    <a:pt x="311" y="11"/>
                    <a:pt x="369" y="0"/>
                    <a:pt x="436" y="0"/>
                  </a:cubicBezTo>
                  <a:lnTo>
                    <a:pt x="436" y="161"/>
                  </a:lnTo>
                  <a:lnTo>
                    <a:pt x="436" y="161"/>
                  </a:lnTo>
                  <a:cubicBezTo>
                    <a:pt x="394" y="161"/>
                    <a:pt x="358" y="170"/>
                    <a:pt x="328" y="184"/>
                  </a:cubicBezTo>
                  <a:cubicBezTo>
                    <a:pt x="294" y="198"/>
                    <a:pt x="269" y="217"/>
                    <a:pt x="247" y="242"/>
                  </a:cubicBezTo>
                  <a:cubicBezTo>
                    <a:pt x="225" y="267"/>
                    <a:pt x="206" y="298"/>
                    <a:pt x="194" y="328"/>
                  </a:cubicBezTo>
                  <a:cubicBezTo>
                    <a:pt x="183" y="361"/>
                    <a:pt x="178" y="395"/>
                    <a:pt x="178" y="431"/>
                  </a:cubicBezTo>
                  <a:cubicBezTo>
                    <a:pt x="178" y="470"/>
                    <a:pt x="183" y="503"/>
                    <a:pt x="194" y="536"/>
                  </a:cubicBezTo>
                  <a:cubicBezTo>
                    <a:pt x="206" y="567"/>
                    <a:pt x="225" y="595"/>
                    <a:pt x="247" y="620"/>
                  </a:cubicBezTo>
                  <a:cubicBezTo>
                    <a:pt x="269" y="645"/>
                    <a:pt x="294" y="664"/>
                    <a:pt x="328" y="678"/>
                  </a:cubicBezTo>
                  <a:cubicBezTo>
                    <a:pt x="358" y="692"/>
                    <a:pt x="394" y="698"/>
                    <a:pt x="436" y="698"/>
                  </a:cubicBezTo>
                  <a:cubicBezTo>
                    <a:pt x="475" y="698"/>
                    <a:pt x="511" y="692"/>
                    <a:pt x="544" y="678"/>
                  </a:cubicBezTo>
                  <a:cubicBezTo>
                    <a:pt x="575" y="664"/>
                    <a:pt x="603" y="645"/>
                    <a:pt x="625" y="620"/>
                  </a:cubicBezTo>
                  <a:cubicBezTo>
                    <a:pt x="647" y="595"/>
                    <a:pt x="664" y="567"/>
                    <a:pt x="678" y="536"/>
                  </a:cubicBezTo>
                  <a:cubicBezTo>
                    <a:pt x="689" y="503"/>
                    <a:pt x="694" y="470"/>
                    <a:pt x="694" y="431"/>
                  </a:cubicBezTo>
                  <a:cubicBezTo>
                    <a:pt x="694" y="395"/>
                    <a:pt x="689" y="361"/>
                    <a:pt x="675" y="328"/>
                  </a:cubicBezTo>
                  <a:cubicBezTo>
                    <a:pt x="664" y="298"/>
                    <a:pt x="644" y="267"/>
                    <a:pt x="622" y="242"/>
                  </a:cubicBezTo>
                  <a:cubicBezTo>
                    <a:pt x="600" y="217"/>
                    <a:pt x="572" y="198"/>
                    <a:pt x="542" y="184"/>
                  </a:cubicBezTo>
                  <a:cubicBezTo>
                    <a:pt x="508" y="170"/>
                    <a:pt x="472" y="161"/>
                    <a:pt x="436" y="161"/>
                  </a:cubicBezTo>
                  <a:lnTo>
                    <a:pt x="43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6" name="Freeform 33">
              <a:extLst>
                <a:ext uri="{FF2B5EF4-FFF2-40B4-BE49-F238E27FC236}">
                  <a16:creationId xmlns:a16="http://schemas.microsoft.com/office/drawing/2014/main" id="{5CF4A206-F53D-1944-A7FE-2F43061F8665}"/>
                </a:ext>
              </a:extLst>
            </p:cNvPr>
            <p:cNvSpPr>
              <a:spLocks noChangeArrowheads="1"/>
            </p:cNvSpPr>
            <p:nvPr userDrawn="1"/>
          </p:nvSpPr>
          <p:spPr bwMode="auto">
            <a:xfrm>
              <a:off x="7431088" y="3627438"/>
              <a:ext cx="323850" cy="427037"/>
            </a:xfrm>
            <a:custGeom>
              <a:avLst/>
              <a:gdLst>
                <a:gd name="T0" fmla="*/ 175 w 898"/>
                <a:gd name="T1" fmla="*/ 0 h 1185"/>
                <a:gd name="T2" fmla="*/ 175 w 898"/>
                <a:gd name="T3" fmla="*/ 0 h 1185"/>
                <a:gd name="T4" fmla="*/ 175 w 898"/>
                <a:gd name="T5" fmla="*/ 472 h 1185"/>
                <a:gd name="T6" fmla="*/ 231 w 898"/>
                <a:gd name="T7" fmla="*/ 409 h 1185"/>
                <a:gd name="T8" fmla="*/ 306 w 898"/>
                <a:gd name="T9" fmla="*/ 361 h 1185"/>
                <a:gd name="T10" fmla="*/ 389 w 898"/>
                <a:gd name="T11" fmla="*/ 334 h 1185"/>
                <a:gd name="T12" fmla="*/ 472 w 898"/>
                <a:gd name="T13" fmla="*/ 325 h 1185"/>
                <a:gd name="T14" fmla="*/ 639 w 898"/>
                <a:gd name="T15" fmla="*/ 353 h 1185"/>
                <a:gd name="T16" fmla="*/ 775 w 898"/>
                <a:gd name="T17" fmla="*/ 434 h 1185"/>
                <a:gd name="T18" fmla="*/ 867 w 898"/>
                <a:gd name="T19" fmla="*/ 570 h 1185"/>
                <a:gd name="T20" fmla="*/ 897 w 898"/>
                <a:gd name="T21" fmla="*/ 753 h 1185"/>
                <a:gd name="T22" fmla="*/ 864 w 898"/>
                <a:gd name="T23" fmla="*/ 936 h 1185"/>
                <a:gd name="T24" fmla="*/ 775 w 898"/>
                <a:gd name="T25" fmla="*/ 1072 h 1185"/>
                <a:gd name="T26" fmla="*/ 639 w 898"/>
                <a:gd name="T27" fmla="*/ 1156 h 1185"/>
                <a:gd name="T28" fmla="*/ 467 w 898"/>
                <a:gd name="T29" fmla="*/ 1184 h 1185"/>
                <a:gd name="T30" fmla="*/ 303 w 898"/>
                <a:gd name="T31" fmla="*/ 1150 h 1185"/>
                <a:gd name="T32" fmla="*/ 175 w 898"/>
                <a:gd name="T33" fmla="*/ 1036 h 1185"/>
                <a:gd name="T34" fmla="*/ 167 w 898"/>
                <a:gd name="T35" fmla="*/ 1167 h 1185"/>
                <a:gd name="T36" fmla="*/ 0 w 898"/>
                <a:gd name="T37" fmla="*/ 1167 h 1185"/>
                <a:gd name="T38" fmla="*/ 0 w 898"/>
                <a:gd name="T39" fmla="*/ 0 h 1185"/>
                <a:gd name="T40" fmla="*/ 175 w 898"/>
                <a:gd name="T41" fmla="*/ 0 h 1185"/>
                <a:gd name="T42" fmla="*/ 456 w 898"/>
                <a:gd name="T43" fmla="*/ 486 h 1185"/>
                <a:gd name="T44" fmla="*/ 456 w 898"/>
                <a:gd name="T45" fmla="*/ 486 h 1185"/>
                <a:gd name="T46" fmla="*/ 353 w 898"/>
                <a:gd name="T47" fmla="*/ 506 h 1185"/>
                <a:gd name="T48" fmla="*/ 267 w 898"/>
                <a:gd name="T49" fmla="*/ 559 h 1185"/>
                <a:gd name="T50" fmla="*/ 208 w 898"/>
                <a:gd name="T51" fmla="*/ 645 h 1185"/>
                <a:gd name="T52" fmla="*/ 186 w 898"/>
                <a:gd name="T53" fmla="*/ 753 h 1185"/>
                <a:gd name="T54" fmla="*/ 208 w 898"/>
                <a:gd name="T55" fmla="*/ 864 h 1185"/>
                <a:gd name="T56" fmla="*/ 267 w 898"/>
                <a:gd name="T57" fmla="*/ 950 h 1185"/>
                <a:gd name="T58" fmla="*/ 350 w 898"/>
                <a:gd name="T59" fmla="*/ 1003 h 1185"/>
                <a:gd name="T60" fmla="*/ 456 w 898"/>
                <a:gd name="T61" fmla="*/ 1023 h 1185"/>
                <a:gd name="T62" fmla="*/ 558 w 898"/>
                <a:gd name="T63" fmla="*/ 1006 h 1185"/>
                <a:gd name="T64" fmla="*/ 645 w 898"/>
                <a:gd name="T65" fmla="*/ 950 h 1185"/>
                <a:gd name="T66" fmla="*/ 700 w 898"/>
                <a:gd name="T67" fmla="*/ 867 h 1185"/>
                <a:gd name="T68" fmla="*/ 722 w 898"/>
                <a:gd name="T69" fmla="*/ 753 h 1185"/>
                <a:gd name="T70" fmla="*/ 700 w 898"/>
                <a:gd name="T71" fmla="*/ 639 h 1185"/>
                <a:gd name="T72" fmla="*/ 645 w 898"/>
                <a:gd name="T73" fmla="*/ 556 h 1185"/>
                <a:gd name="T74" fmla="*/ 558 w 898"/>
                <a:gd name="T75" fmla="*/ 503 h 1185"/>
                <a:gd name="T76" fmla="*/ 456 w 898"/>
                <a:gd name="T77" fmla="*/ 48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8" h="1185">
                  <a:moveTo>
                    <a:pt x="175" y="0"/>
                  </a:moveTo>
                  <a:lnTo>
                    <a:pt x="175" y="0"/>
                  </a:lnTo>
                  <a:cubicBezTo>
                    <a:pt x="175" y="472"/>
                    <a:pt x="175" y="472"/>
                    <a:pt x="175" y="472"/>
                  </a:cubicBezTo>
                  <a:cubicBezTo>
                    <a:pt x="189" y="448"/>
                    <a:pt x="208" y="425"/>
                    <a:pt x="231" y="409"/>
                  </a:cubicBezTo>
                  <a:cubicBezTo>
                    <a:pt x="253" y="389"/>
                    <a:pt x="278" y="373"/>
                    <a:pt x="306" y="361"/>
                  </a:cubicBezTo>
                  <a:cubicBezTo>
                    <a:pt x="334" y="350"/>
                    <a:pt x="361" y="339"/>
                    <a:pt x="389" y="334"/>
                  </a:cubicBezTo>
                  <a:cubicBezTo>
                    <a:pt x="417" y="328"/>
                    <a:pt x="445" y="325"/>
                    <a:pt x="472" y="325"/>
                  </a:cubicBezTo>
                  <a:cubicBezTo>
                    <a:pt x="531" y="325"/>
                    <a:pt x="589" y="334"/>
                    <a:pt x="639" y="353"/>
                  </a:cubicBezTo>
                  <a:cubicBezTo>
                    <a:pt x="692" y="370"/>
                    <a:pt x="739" y="397"/>
                    <a:pt x="775" y="434"/>
                  </a:cubicBezTo>
                  <a:cubicBezTo>
                    <a:pt x="814" y="470"/>
                    <a:pt x="845" y="514"/>
                    <a:pt x="867" y="570"/>
                  </a:cubicBezTo>
                  <a:cubicBezTo>
                    <a:pt x="886" y="623"/>
                    <a:pt x="897" y="684"/>
                    <a:pt x="897" y="753"/>
                  </a:cubicBezTo>
                  <a:cubicBezTo>
                    <a:pt x="897" y="823"/>
                    <a:pt x="886" y="884"/>
                    <a:pt x="864" y="936"/>
                  </a:cubicBezTo>
                  <a:cubicBezTo>
                    <a:pt x="842" y="989"/>
                    <a:pt x="811" y="1036"/>
                    <a:pt x="775" y="1072"/>
                  </a:cubicBezTo>
                  <a:cubicBezTo>
                    <a:pt x="736" y="1109"/>
                    <a:pt x="692" y="1136"/>
                    <a:pt x="639" y="1156"/>
                  </a:cubicBezTo>
                  <a:cubicBezTo>
                    <a:pt x="586" y="1175"/>
                    <a:pt x="531" y="1184"/>
                    <a:pt x="467" y="1184"/>
                  </a:cubicBezTo>
                  <a:cubicBezTo>
                    <a:pt x="411" y="1184"/>
                    <a:pt x="356" y="1172"/>
                    <a:pt x="303" y="1150"/>
                  </a:cubicBezTo>
                  <a:cubicBezTo>
                    <a:pt x="253" y="1128"/>
                    <a:pt x="208" y="1089"/>
                    <a:pt x="175" y="1036"/>
                  </a:cubicBezTo>
                  <a:cubicBezTo>
                    <a:pt x="167" y="1167"/>
                    <a:pt x="167" y="1167"/>
                    <a:pt x="167" y="1167"/>
                  </a:cubicBezTo>
                  <a:cubicBezTo>
                    <a:pt x="0" y="1167"/>
                    <a:pt x="0" y="1167"/>
                    <a:pt x="0" y="1167"/>
                  </a:cubicBezTo>
                  <a:cubicBezTo>
                    <a:pt x="0" y="0"/>
                    <a:pt x="0" y="0"/>
                    <a:pt x="0" y="0"/>
                  </a:cubicBezTo>
                  <a:lnTo>
                    <a:pt x="175" y="0"/>
                  </a:lnTo>
                  <a:close/>
                  <a:moveTo>
                    <a:pt x="456" y="486"/>
                  </a:moveTo>
                  <a:lnTo>
                    <a:pt x="456" y="486"/>
                  </a:lnTo>
                  <a:cubicBezTo>
                    <a:pt x="420" y="486"/>
                    <a:pt x="383" y="492"/>
                    <a:pt x="353" y="506"/>
                  </a:cubicBezTo>
                  <a:cubicBezTo>
                    <a:pt x="320" y="517"/>
                    <a:pt x="289" y="536"/>
                    <a:pt x="267" y="559"/>
                  </a:cubicBezTo>
                  <a:cubicBezTo>
                    <a:pt x="242" y="584"/>
                    <a:pt x="222" y="611"/>
                    <a:pt x="208" y="645"/>
                  </a:cubicBezTo>
                  <a:cubicBezTo>
                    <a:pt x="195" y="678"/>
                    <a:pt x="186" y="714"/>
                    <a:pt x="186" y="753"/>
                  </a:cubicBezTo>
                  <a:cubicBezTo>
                    <a:pt x="186" y="795"/>
                    <a:pt x="195" y="831"/>
                    <a:pt x="208" y="864"/>
                  </a:cubicBezTo>
                  <a:cubicBezTo>
                    <a:pt x="222" y="897"/>
                    <a:pt x="242" y="925"/>
                    <a:pt x="267" y="950"/>
                  </a:cubicBezTo>
                  <a:cubicBezTo>
                    <a:pt x="289" y="972"/>
                    <a:pt x="320" y="992"/>
                    <a:pt x="350" y="1003"/>
                  </a:cubicBezTo>
                  <a:cubicBezTo>
                    <a:pt x="383" y="1017"/>
                    <a:pt x="420" y="1023"/>
                    <a:pt x="456" y="1023"/>
                  </a:cubicBezTo>
                  <a:cubicBezTo>
                    <a:pt x="492" y="1023"/>
                    <a:pt x="528" y="1017"/>
                    <a:pt x="558" y="1006"/>
                  </a:cubicBezTo>
                  <a:cubicBezTo>
                    <a:pt x="592" y="992"/>
                    <a:pt x="620" y="975"/>
                    <a:pt x="645" y="950"/>
                  </a:cubicBezTo>
                  <a:cubicBezTo>
                    <a:pt x="667" y="928"/>
                    <a:pt x="686" y="900"/>
                    <a:pt x="700" y="867"/>
                  </a:cubicBezTo>
                  <a:cubicBezTo>
                    <a:pt x="714" y="834"/>
                    <a:pt x="722" y="795"/>
                    <a:pt x="722" y="753"/>
                  </a:cubicBezTo>
                  <a:cubicBezTo>
                    <a:pt x="722" y="711"/>
                    <a:pt x="714" y="672"/>
                    <a:pt x="700" y="639"/>
                  </a:cubicBezTo>
                  <a:cubicBezTo>
                    <a:pt x="686" y="609"/>
                    <a:pt x="667" y="581"/>
                    <a:pt x="645" y="556"/>
                  </a:cubicBezTo>
                  <a:cubicBezTo>
                    <a:pt x="620" y="534"/>
                    <a:pt x="592" y="517"/>
                    <a:pt x="558" y="503"/>
                  </a:cubicBezTo>
                  <a:cubicBezTo>
                    <a:pt x="528" y="492"/>
                    <a:pt x="492" y="486"/>
                    <a:pt x="456" y="486"/>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7" name="Freeform 34">
              <a:extLst>
                <a:ext uri="{FF2B5EF4-FFF2-40B4-BE49-F238E27FC236}">
                  <a16:creationId xmlns:a16="http://schemas.microsoft.com/office/drawing/2014/main" id="{721AEE28-67D2-9249-97C2-EEF0842E5ECE}"/>
                </a:ext>
              </a:extLst>
            </p:cNvPr>
            <p:cNvSpPr>
              <a:spLocks noChangeArrowheads="1"/>
            </p:cNvSpPr>
            <p:nvPr userDrawn="1"/>
          </p:nvSpPr>
          <p:spPr bwMode="auto">
            <a:xfrm>
              <a:off x="7804150" y="3743325"/>
              <a:ext cx="315913"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5 w 876"/>
                <a:gd name="T11" fmla="*/ 680 h 864"/>
                <a:gd name="T12" fmla="*/ 703 w 876"/>
                <a:gd name="T13" fmla="*/ 616 h 864"/>
                <a:gd name="T14" fmla="*/ 817 w 876"/>
                <a:gd name="T15" fmla="*/ 724 h 864"/>
                <a:gd name="T16" fmla="*/ 742 w 876"/>
                <a:gd name="T17" fmla="*/ 786 h 864"/>
                <a:gd name="T18" fmla="*/ 653 w 876"/>
                <a:gd name="T19" fmla="*/ 830 h 864"/>
                <a:gd name="T20" fmla="*/ 556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5 w 876"/>
                <a:gd name="T35" fmla="*/ 119 h 864"/>
                <a:gd name="T36" fmla="*/ 264 w 876"/>
                <a:gd name="T37" fmla="*/ 30 h 864"/>
                <a:gd name="T38" fmla="*/ 445 w 876"/>
                <a:gd name="T39" fmla="*/ 0 h 864"/>
                <a:gd name="T40" fmla="*/ 628 w 876"/>
                <a:gd name="T41" fmla="*/ 30 h 864"/>
                <a:gd name="T42" fmla="*/ 770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3 w 876"/>
                <a:gd name="T55" fmla="*/ 202 h 864"/>
                <a:gd name="T56" fmla="*/ 450 w 876"/>
                <a:gd name="T57" fmla="*/ 152 h 864"/>
                <a:gd name="T58" fmla="*/ 281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20" y="686"/>
                    <a:pt x="381" y="705"/>
                    <a:pt x="459" y="705"/>
                  </a:cubicBezTo>
                  <a:cubicBezTo>
                    <a:pt x="503" y="705"/>
                    <a:pt x="548" y="697"/>
                    <a:pt x="595" y="680"/>
                  </a:cubicBezTo>
                  <a:cubicBezTo>
                    <a:pt x="642" y="666"/>
                    <a:pt x="678" y="644"/>
                    <a:pt x="703" y="616"/>
                  </a:cubicBezTo>
                  <a:cubicBezTo>
                    <a:pt x="817" y="724"/>
                    <a:pt x="817" y="724"/>
                    <a:pt x="817" y="724"/>
                  </a:cubicBezTo>
                  <a:cubicBezTo>
                    <a:pt x="798" y="747"/>
                    <a:pt x="770" y="769"/>
                    <a:pt x="742" y="786"/>
                  </a:cubicBezTo>
                  <a:cubicBezTo>
                    <a:pt x="714" y="802"/>
                    <a:pt x="684" y="819"/>
                    <a:pt x="653" y="830"/>
                  </a:cubicBezTo>
                  <a:cubicBezTo>
                    <a:pt x="623" y="841"/>
                    <a:pt x="589" y="849"/>
                    <a:pt x="556" y="855"/>
                  </a:cubicBezTo>
                  <a:cubicBezTo>
                    <a:pt x="520" y="861"/>
                    <a:pt x="486" y="863"/>
                    <a:pt x="456" y="863"/>
                  </a:cubicBezTo>
                  <a:cubicBezTo>
                    <a:pt x="386" y="863"/>
                    <a:pt x="323" y="855"/>
                    <a:pt x="267" y="833"/>
                  </a:cubicBezTo>
                  <a:cubicBezTo>
                    <a:pt x="212" y="813"/>
                    <a:pt x="164" y="783"/>
                    <a:pt x="125" y="747"/>
                  </a:cubicBezTo>
                  <a:cubicBezTo>
                    <a:pt x="86" y="708"/>
                    <a:pt x="56" y="661"/>
                    <a:pt x="34" y="608"/>
                  </a:cubicBezTo>
                  <a:cubicBezTo>
                    <a:pt x="12" y="552"/>
                    <a:pt x="0" y="494"/>
                    <a:pt x="0" y="427"/>
                  </a:cubicBezTo>
                  <a:cubicBezTo>
                    <a:pt x="0" y="366"/>
                    <a:pt x="12" y="308"/>
                    <a:pt x="34" y="255"/>
                  </a:cubicBezTo>
                  <a:cubicBezTo>
                    <a:pt x="56" y="202"/>
                    <a:pt x="86" y="158"/>
                    <a:pt x="125" y="119"/>
                  </a:cubicBezTo>
                  <a:cubicBezTo>
                    <a:pt x="164" y="80"/>
                    <a:pt x="209" y="52"/>
                    <a:pt x="264" y="30"/>
                  </a:cubicBezTo>
                  <a:cubicBezTo>
                    <a:pt x="317" y="8"/>
                    <a:pt x="378" y="0"/>
                    <a:pt x="445" y="0"/>
                  </a:cubicBezTo>
                  <a:cubicBezTo>
                    <a:pt x="511" y="0"/>
                    <a:pt x="573" y="8"/>
                    <a:pt x="628" y="30"/>
                  </a:cubicBezTo>
                  <a:cubicBezTo>
                    <a:pt x="684" y="50"/>
                    <a:pt x="731" y="80"/>
                    <a:pt x="770" y="122"/>
                  </a:cubicBezTo>
                  <a:cubicBezTo>
                    <a:pt x="809" y="163"/>
                    <a:pt x="836" y="216"/>
                    <a:pt x="853" y="277"/>
                  </a:cubicBezTo>
                  <a:cubicBezTo>
                    <a:pt x="870" y="341"/>
                    <a:pt x="875" y="413"/>
                    <a:pt x="867" y="497"/>
                  </a:cubicBezTo>
                  <a:lnTo>
                    <a:pt x="186" y="352"/>
                  </a:lnTo>
                  <a:lnTo>
                    <a:pt x="186" y="352"/>
                  </a:lnTo>
                  <a:cubicBezTo>
                    <a:pt x="698" y="352"/>
                    <a:pt x="698" y="352"/>
                    <a:pt x="698" y="352"/>
                  </a:cubicBezTo>
                  <a:cubicBezTo>
                    <a:pt x="692" y="286"/>
                    <a:pt x="667" y="236"/>
                    <a:pt x="623" y="202"/>
                  </a:cubicBezTo>
                  <a:cubicBezTo>
                    <a:pt x="578" y="169"/>
                    <a:pt x="520" y="152"/>
                    <a:pt x="450" y="152"/>
                  </a:cubicBezTo>
                  <a:cubicBezTo>
                    <a:pt x="384" y="152"/>
                    <a:pt x="328" y="169"/>
                    <a:pt x="281"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9" name="Freeform 36">
              <a:extLst>
                <a:ext uri="{FF2B5EF4-FFF2-40B4-BE49-F238E27FC236}">
                  <a16:creationId xmlns:a16="http://schemas.microsoft.com/office/drawing/2014/main" id="{94F82546-F7D5-734A-8AE0-05FA12E572B7}"/>
                </a:ext>
              </a:extLst>
            </p:cNvPr>
            <p:cNvSpPr>
              <a:spLocks noChangeArrowheads="1"/>
            </p:cNvSpPr>
            <p:nvPr userDrawn="1"/>
          </p:nvSpPr>
          <p:spPr bwMode="auto">
            <a:xfrm>
              <a:off x="6570663" y="3024188"/>
              <a:ext cx="77787" cy="76200"/>
            </a:xfrm>
            <a:custGeom>
              <a:avLst/>
              <a:gdLst>
                <a:gd name="T0" fmla="*/ 0 w 218"/>
                <a:gd name="T1" fmla="*/ 106 h 213"/>
                <a:gd name="T2" fmla="*/ 0 w 218"/>
                <a:gd name="T3" fmla="*/ 106 h 213"/>
                <a:gd name="T4" fmla="*/ 33 w 218"/>
                <a:gd name="T5" fmla="*/ 25 h 213"/>
                <a:gd name="T6" fmla="*/ 108 w 218"/>
                <a:gd name="T7" fmla="*/ 0 h 213"/>
                <a:gd name="T8" fmla="*/ 183 w 218"/>
                <a:gd name="T9" fmla="*/ 25 h 213"/>
                <a:gd name="T10" fmla="*/ 217 w 218"/>
                <a:gd name="T11" fmla="*/ 106 h 213"/>
                <a:gd name="T12" fmla="*/ 183 w 218"/>
                <a:gd name="T13" fmla="*/ 184 h 213"/>
                <a:gd name="T14" fmla="*/ 108 w 218"/>
                <a:gd name="T15" fmla="*/ 212 h 213"/>
                <a:gd name="T16" fmla="*/ 33 w 218"/>
                <a:gd name="T17" fmla="*/ 184 h 213"/>
                <a:gd name="T18" fmla="*/ 0 w 218"/>
                <a:gd name="T19" fmla="*/ 10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3">
                  <a:moveTo>
                    <a:pt x="0" y="106"/>
                  </a:moveTo>
                  <a:lnTo>
                    <a:pt x="0" y="106"/>
                  </a:lnTo>
                  <a:cubicBezTo>
                    <a:pt x="0" y="70"/>
                    <a:pt x="11" y="42"/>
                    <a:pt x="33" y="25"/>
                  </a:cubicBezTo>
                  <a:cubicBezTo>
                    <a:pt x="56" y="9"/>
                    <a:pt x="80" y="0"/>
                    <a:pt x="108" y="0"/>
                  </a:cubicBezTo>
                  <a:cubicBezTo>
                    <a:pt x="136" y="0"/>
                    <a:pt x="161" y="9"/>
                    <a:pt x="183" y="25"/>
                  </a:cubicBezTo>
                  <a:cubicBezTo>
                    <a:pt x="206" y="42"/>
                    <a:pt x="217" y="70"/>
                    <a:pt x="217" y="106"/>
                  </a:cubicBezTo>
                  <a:cubicBezTo>
                    <a:pt x="217" y="139"/>
                    <a:pt x="206" y="167"/>
                    <a:pt x="183" y="184"/>
                  </a:cubicBezTo>
                  <a:cubicBezTo>
                    <a:pt x="161" y="203"/>
                    <a:pt x="136" y="212"/>
                    <a:pt x="108" y="212"/>
                  </a:cubicBezTo>
                  <a:cubicBezTo>
                    <a:pt x="80" y="212"/>
                    <a:pt x="56" y="203"/>
                    <a:pt x="33" y="184"/>
                  </a:cubicBezTo>
                  <a:cubicBezTo>
                    <a:pt x="11" y="167"/>
                    <a:pt x="0" y="139"/>
                    <a:pt x="0" y="106"/>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0" name="Freeform 37">
              <a:extLst>
                <a:ext uri="{FF2B5EF4-FFF2-40B4-BE49-F238E27FC236}">
                  <a16:creationId xmlns:a16="http://schemas.microsoft.com/office/drawing/2014/main" id="{F32F4CFE-B218-A640-BC61-78FC631429B0}"/>
                </a:ext>
              </a:extLst>
            </p:cNvPr>
            <p:cNvSpPr>
              <a:spLocks noChangeArrowheads="1"/>
            </p:cNvSpPr>
            <p:nvPr userDrawn="1"/>
          </p:nvSpPr>
          <p:spPr bwMode="auto">
            <a:xfrm>
              <a:off x="2690813" y="3625850"/>
              <a:ext cx="79375" cy="77788"/>
            </a:xfrm>
            <a:custGeom>
              <a:avLst/>
              <a:gdLst>
                <a:gd name="T0" fmla="*/ 0 w 221"/>
                <a:gd name="T1" fmla="*/ 105 h 215"/>
                <a:gd name="T2" fmla="*/ 0 w 221"/>
                <a:gd name="T3" fmla="*/ 105 h 215"/>
                <a:gd name="T4" fmla="*/ 34 w 221"/>
                <a:gd name="T5" fmla="*/ 28 h 215"/>
                <a:gd name="T6" fmla="*/ 111 w 221"/>
                <a:gd name="T7" fmla="*/ 0 h 215"/>
                <a:gd name="T8" fmla="*/ 186 w 221"/>
                <a:gd name="T9" fmla="*/ 28 h 215"/>
                <a:gd name="T10" fmla="*/ 220 w 221"/>
                <a:gd name="T11" fmla="*/ 105 h 215"/>
                <a:gd name="T12" fmla="*/ 186 w 221"/>
                <a:gd name="T13" fmla="*/ 186 h 215"/>
                <a:gd name="T14" fmla="*/ 111 w 221"/>
                <a:gd name="T15" fmla="*/ 214 h 215"/>
                <a:gd name="T16" fmla="*/ 34 w 221"/>
                <a:gd name="T17" fmla="*/ 186 h 215"/>
                <a:gd name="T18" fmla="*/ 0 w 221"/>
                <a:gd name="T19" fmla="*/ 10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215">
                  <a:moveTo>
                    <a:pt x="0" y="105"/>
                  </a:moveTo>
                  <a:lnTo>
                    <a:pt x="0" y="105"/>
                  </a:lnTo>
                  <a:cubicBezTo>
                    <a:pt x="0" y="69"/>
                    <a:pt x="11" y="44"/>
                    <a:pt x="34" y="28"/>
                  </a:cubicBezTo>
                  <a:cubicBezTo>
                    <a:pt x="59" y="8"/>
                    <a:pt x="84" y="0"/>
                    <a:pt x="111" y="0"/>
                  </a:cubicBezTo>
                  <a:cubicBezTo>
                    <a:pt x="136" y="0"/>
                    <a:pt x="161" y="8"/>
                    <a:pt x="186" y="28"/>
                  </a:cubicBezTo>
                  <a:cubicBezTo>
                    <a:pt x="209" y="44"/>
                    <a:pt x="220" y="69"/>
                    <a:pt x="220" y="105"/>
                  </a:cubicBezTo>
                  <a:cubicBezTo>
                    <a:pt x="220" y="141"/>
                    <a:pt x="209" y="169"/>
                    <a:pt x="186" y="186"/>
                  </a:cubicBezTo>
                  <a:cubicBezTo>
                    <a:pt x="161" y="202"/>
                    <a:pt x="136" y="214"/>
                    <a:pt x="111" y="214"/>
                  </a:cubicBezTo>
                  <a:cubicBezTo>
                    <a:pt x="84" y="214"/>
                    <a:pt x="59" y="202"/>
                    <a:pt x="34" y="186"/>
                  </a:cubicBezTo>
                  <a:cubicBezTo>
                    <a:pt x="11" y="169"/>
                    <a:pt x="0" y="141"/>
                    <a:pt x="0" y="105"/>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Tree>
    <p:extLst>
      <p:ext uri="{BB962C8B-B14F-4D97-AF65-F5344CB8AC3E}">
        <p14:creationId xmlns:p14="http://schemas.microsoft.com/office/powerpoint/2010/main" val="2540592926"/>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Odigo-Content_Description-chart-light">
    <p:spTree>
      <p:nvGrpSpPr>
        <p:cNvPr id="1" name=""/>
        <p:cNvGrpSpPr/>
        <p:nvPr/>
      </p:nvGrpSpPr>
      <p:grpSpPr>
        <a:xfrm>
          <a:off x="0" y="0"/>
          <a:ext cx="0" cy="0"/>
          <a:chOff x="0" y="0"/>
          <a:chExt cx="0" cy="0"/>
        </a:xfrm>
      </p:grpSpPr>
      <p:sp>
        <p:nvSpPr>
          <p:cNvPr id="7" name="Chart Placeholder 6">
            <a:extLst>
              <a:ext uri="{FF2B5EF4-FFF2-40B4-BE49-F238E27FC236}">
                <a16:creationId xmlns:a16="http://schemas.microsoft.com/office/drawing/2014/main" id="{0E64D95D-D47C-BA4E-B6F6-D2410A28BBEA}"/>
              </a:ext>
            </a:extLst>
          </p:cNvPr>
          <p:cNvSpPr>
            <a:spLocks noGrp="1"/>
          </p:cNvSpPr>
          <p:nvPr>
            <p:ph type="chart" sz="quarter" idx="13"/>
          </p:nvPr>
        </p:nvSpPr>
        <p:spPr>
          <a:xfrm>
            <a:off x="3455988" y="808038"/>
            <a:ext cx="5256212" cy="3924300"/>
          </a:xfrm>
          <a:prstGeom prst="rect">
            <a:avLst/>
          </a:prstGeom>
        </p:spPr>
        <p:txBody>
          <a:bodyPr lIns="180000" rIns="72000" bIns="0"/>
          <a:lstStyle>
            <a:lvl1pPr>
              <a:defRPr sz="1000">
                <a:solidFill>
                  <a:schemeClr val="accent2"/>
                </a:solidFill>
              </a:defRPr>
            </a:lvl1pPr>
          </a:lstStyle>
          <a:p>
            <a:endParaRPr lang="en-US" noProof="0"/>
          </a:p>
        </p:txBody>
      </p:sp>
      <p:sp>
        <p:nvSpPr>
          <p:cNvPr id="10" name="Title 5">
            <a:extLst>
              <a:ext uri="{FF2B5EF4-FFF2-40B4-BE49-F238E27FC236}">
                <a16:creationId xmlns:a16="http://schemas.microsoft.com/office/drawing/2014/main" id="{81DCB294-1E5F-A74B-B083-0FE0B00796C6}"/>
              </a:ext>
            </a:extLst>
          </p:cNvPr>
          <p:cNvSpPr>
            <a:spLocks noGrp="1"/>
          </p:cNvSpPr>
          <p:nvPr>
            <p:ph type="title"/>
          </p:nvPr>
        </p:nvSpPr>
        <p:spPr>
          <a:xfrm>
            <a:off x="9525" y="1"/>
            <a:ext cx="3446463"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
        <p:nvSpPr>
          <p:cNvPr id="11" name="Text Placeholder 5">
            <a:extLst>
              <a:ext uri="{FF2B5EF4-FFF2-40B4-BE49-F238E27FC236}">
                <a16:creationId xmlns:a16="http://schemas.microsoft.com/office/drawing/2014/main" id="{C71CFA1E-B44E-0145-81F9-CD811EE2BB9D}"/>
              </a:ext>
            </a:extLst>
          </p:cNvPr>
          <p:cNvSpPr>
            <a:spLocks noGrp="1"/>
          </p:cNvSpPr>
          <p:nvPr>
            <p:ph type="body" idx="10"/>
          </p:nvPr>
        </p:nvSpPr>
        <p:spPr>
          <a:xfrm>
            <a:off x="9524" y="1600200"/>
            <a:ext cx="3446463" cy="3132138"/>
          </a:xfrm>
          <a:prstGeom prst="rect">
            <a:avLst/>
          </a:prstGeom>
        </p:spPr>
        <p:txBody>
          <a:bodyPr lIns="432000" tIns="72000" rIns="288000" bIns="18000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7">
            <a:extLst>
              <a:ext uri="{FF2B5EF4-FFF2-40B4-BE49-F238E27FC236}">
                <a16:creationId xmlns:a16="http://schemas.microsoft.com/office/drawing/2014/main" id="{576A6138-4B0E-534E-BEBA-7BB994A00D4B}"/>
              </a:ext>
            </a:extLst>
          </p:cNvPr>
          <p:cNvSpPr>
            <a:spLocks noGrp="1"/>
          </p:cNvSpPr>
          <p:nvPr>
            <p:ph type="body" sz="quarter" idx="11" hasCustomPrompt="1"/>
          </p:nvPr>
        </p:nvSpPr>
        <p:spPr>
          <a:xfrm>
            <a:off x="9524" y="808038"/>
            <a:ext cx="3446463" cy="785650"/>
          </a:xfrm>
          <a:prstGeom prst="rect">
            <a:avLst/>
          </a:prstGeom>
        </p:spPr>
        <p:txBody>
          <a:bodyPr lIns="432000" tIns="72000" rIns="288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Tree>
    <p:extLst>
      <p:ext uri="{BB962C8B-B14F-4D97-AF65-F5344CB8AC3E}">
        <p14:creationId xmlns:p14="http://schemas.microsoft.com/office/powerpoint/2010/main" val="4202361387"/>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digo-Content_Description-chart-white">
    <p:bg>
      <p:bgRef idx="1001">
        <a:schemeClr val="bg1"/>
      </p:bgRef>
    </p:bg>
    <p:spTree>
      <p:nvGrpSpPr>
        <p:cNvPr id="1" name=""/>
        <p:cNvGrpSpPr/>
        <p:nvPr/>
      </p:nvGrpSpPr>
      <p:grpSpPr>
        <a:xfrm>
          <a:off x="0" y="0"/>
          <a:ext cx="0" cy="0"/>
          <a:chOff x="0" y="0"/>
          <a:chExt cx="0" cy="0"/>
        </a:xfrm>
      </p:grpSpPr>
      <p:sp>
        <p:nvSpPr>
          <p:cNvPr id="7" name="Chart Placeholder 6">
            <a:extLst>
              <a:ext uri="{FF2B5EF4-FFF2-40B4-BE49-F238E27FC236}">
                <a16:creationId xmlns:a16="http://schemas.microsoft.com/office/drawing/2014/main" id="{0E64D95D-D47C-BA4E-B6F6-D2410A28BBEA}"/>
              </a:ext>
            </a:extLst>
          </p:cNvPr>
          <p:cNvSpPr>
            <a:spLocks noGrp="1"/>
          </p:cNvSpPr>
          <p:nvPr>
            <p:ph type="chart" sz="quarter" idx="13"/>
          </p:nvPr>
        </p:nvSpPr>
        <p:spPr>
          <a:xfrm>
            <a:off x="3455988" y="808038"/>
            <a:ext cx="5256212" cy="3924300"/>
          </a:xfrm>
          <a:prstGeom prst="rect">
            <a:avLst/>
          </a:prstGeom>
        </p:spPr>
        <p:txBody>
          <a:bodyPr lIns="180000" rIns="72000" bIns="0"/>
          <a:lstStyle>
            <a:lvl1pPr>
              <a:defRPr sz="1000">
                <a:solidFill>
                  <a:schemeClr val="accent2"/>
                </a:solidFill>
              </a:defRPr>
            </a:lvl1pPr>
          </a:lstStyle>
          <a:p>
            <a:endParaRPr lang="en-US" noProof="0"/>
          </a:p>
        </p:txBody>
      </p:sp>
      <p:sp>
        <p:nvSpPr>
          <p:cNvPr id="10" name="Title 5">
            <a:extLst>
              <a:ext uri="{FF2B5EF4-FFF2-40B4-BE49-F238E27FC236}">
                <a16:creationId xmlns:a16="http://schemas.microsoft.com/office/drawing/2014/main" id="{81DCB294-1E5F-A74B-B083-0FE0B00796C6}"/>
              </a:ext>
            </a:extLst>
          </p:cNvPr>
          <p:cNvSpPr>
            <a:spLocks noGrp="1"/>
          </p:cNvSpPr>
          <p:nvPr>
            <p:ph type="title"/>
          </p:nvPr>
        </p:nvSpPr>
        <p:spPr>
          <a:xfrm>
            <a:off x="9525" y="1"/>
            <a:ext cx="3446463"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
        <p:nvSpPr>
          <p:cNvPr id="11" name="Text Placeholder 5">
            <a:extLst>
              <a:ext uri="{FF2B5EF4-FFF2-40B4-BE49-F238E27FC236}">
                <a16:creationId xmlns:a16="http://schemas.microsoft.com/office/drawing/2014/main" id="{C71CFA1E-B44E-0145-81F9-CD811EE2BB9D}"/>
              </a:ext>
            </a:extLst>
          </p:cNvPr>
          <p:cNvSpPr>
            <a:spLocks noGrp="1"/>
          </p:cNvSpPr>
          <p:nvPr>
            <p:ph type="body" idx="10"/>
          </p:nvPr>
        </p:nvSpPr>
        <p:spPr>
          <a:xfrm>
            <a:off x="9524" y="1600200"/>
            <a:ext cx="3446463" cy="3132138"/>
          </a:xfrm>
          <a:prstGeom prst="rect">
            <a:avLst/>
          </a:prstGeom>
        </p:spPr>
        <p:txBody>
          <a:bodyPr lIns="432000" tIns="72000" rIns="288000" bIns="18000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7">
            <a:extLst>
              <a:ext uri="{FF2B5EF4-FFF2-40B4-BE49-F238E27FC236}">
                <a16:creationId xmlns:a16="http://schemas.microsoft.com/office/drawing/2014/main" id="{576A6138-4B0E-534E-BEBA-7BB994A00D4B}"/>
              </a:ext>
            </a:extLst>
          </p:cNvPr>
          <p:cNvSpPr>
            <a:spLocks noGrp="1"/>
          </p:cNvSpPr>
          <p:nvPr>
            <p:ph type="body" sz="quarter" idx="11" hasCustomPrompt="1"/>
          </p:nvPr>
        </p:nvSpPr>
        <p:spPr>
          <a:xfrm>
            <a:off x="9524" y="808038"/>
            <a:ext cx="3446463" cy="785650"/>
          </a:xfrm>
          <a:prstGeom prst="rect">
            <a:avLst/>
          </a:prstGeom>
        </p:spPr>
        <p:txBody>
          <a:bodyPr lIns="432000" tIns="72000" rIns="288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Tree>
    <p:extLst>
      <p:ext uri="{BB962C8B-B14F-4D97-AF65-F5344CB8AC3E}">
        <p14:creationId xmlns:p14="http://schemas.microsoft.com/office/powerpoint/2010/main" val="2991325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digo-Content_Description-chart-dark">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EDE2500-D912-4743-87C1-905266D325A6}"/>
              </a:ext>
            </a:extLst>
          </p:cNvPr>
          <p:cNvSpPr/>
          <p:nvPr userDrawn="1"/>
        </p:nvSpPr>
        <p:spPr>
          <a:xfrm>
            <a:off x="3455988" y="0"/>
            <a:ext cx="5688012" cy="51434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Chart Placeholder 6">
            <a:extLst>
              <a:ext uri="{FF2B5EF4-FFF2-40B4-BE49-F238E27FC236}">
                <a16:creationId xmlns:a16="http://schemas.microsoft.com/office/drawing/2014/main" id="{0E64D95D-D47C-BA4E-B6F6-D2410A28BBEA}"/>
              </a:ext>
            </a:extLst>
          </p:cNvPr>
          <p:cNvSpPr>
            <a:spLocks noGrp="1"/>
          </p:cNvSpPr>
          <p:nvPr>
            <p:ph type="chart" sz="quarter" idx="13"/>
          </p:nvPr>
        </p:nvSpPr>
        <p:spPr>
          <a:xfrm>
            <a:off x="3455988" y="814550"/>
            <a:ext cx="5256212" cy="3912326"/>
          </a:xfrm>
          <a:prstGeom prst="rect">
            <a:avLst/>
          </a:prstGeom>
        </p:spPr>
        <p:txBody>
          <a:bodyPr lIns="180000" rIns="72000" bIns="0"/>
          <a:lstStyle>
            <a:lvl1pPr>
              <a:defRPr sz="1000">
                <a:solidFill>
                  <a:schemeClr val="accent2"/>
                </a:solidFill>
              </a:defRPr>
            </a:lvl1pPr>
          </a:lstStyle>
          <a:p>
            <a:endParaRPr lang="en-US" noProof="0"/>
          </a:p>
        </p:txBody>
      </p:sp>
      <p:sp>
        <p:nvSpPr>
          <p:cNvPr id="21" name="Slide Number Placeholder 14">
            <a:extLst>
              <a:ext uri="{FF2B5EF4-FFF2-40B4-BE49-F238E27FC236}">
                <a16:creationId xmlns:a16="http://schemas.microsoft.com/office/drawing/2014/main" id="{A645D002-EDD6-B54E-AD13-05452A748444}"/>
              </a:ext>
            </a:extLst>
          </p:cNvPr>
          <p:cNvSpPr txBox="1">
            <a:spLocks/>
          </p:cNvSpPr>
          <p:nvPr userDrawn="1"/>
        </p:nvSpPr>
        <p:spPr>
          <a:xfrm>
            <a:off x="6979136" y="4731750"/>
            <a:ext cx="2163409" cy="406875"/>
          </a:xfrm>
          <a:prstGeom prst="rect">
            <a:avLst/>
          </a:prstGeom>
        </p:spPr>
        <p:txBody>
          <a:bodyPr lIns="0" tIns="0" rIns="432000" bIns="180000" anchor="b" anchorCtr="0">
            <a:noAutofit/>
          </a:bodyPr>
          <a:lstStyle>
            <a:defPPr>
              <a:defRPr lang="pt-PT"/>
            </a:defPPr>
            <a:lvl1pPr marL="0" algn="l" defTabSz="685800" rtl="0" eaLnBrk="1" latinLnBrk="0" hangingPunct="1">
              <a:defRPr lang="pl-PL" sz="600" kern="1200" smtClean="0">
                <a:solidFill>
                  <a:schemeClr val="accent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defTabSz="180000">
              <a:spcBef>
                <a:spcPts val="750"/>
              </a:spcBef>
            </a:pPr>
            <a:r>
              <a:rPr lang="en-US" noProof="0">
                <a:solidFill>
                  <a:schemeClr val="bg1"/>
                </a:solidFill>
                <a:latin typeface="Verdana"/>
              </a:rPr>
              <a:t>© Odigo 2018. All rights reserved  |	</a:t>
            </a:r>
            <a:fld id="{B5D91C59-F2C4-3A40-B252-C7A31DDDAFEA}" type="slidenum">
              <a:rPr lang="en-US" noProof="0" smtClean="0">
                <a:solidFill>
                  <a:schemeClr val="bg1"/>
                </a:solidFill>
                <a:latin typeface="Verdana"/>
              </a:rPr>
              <a:pPr algn="r" defTabSz="180000">
                <a:spcBef>
                  <a:spcPts val="750"/>
                </a:spcBef>
              </a:pPr>
              <a:t>‹N°›</a:t>
            </a:fld>
            <a:endParaRPr lang="en-US" noProof="0">
              <a:solidFill>
                <a:schemeClr val="bg1"/>
              </a:solidFill>
              <a:latin typeface="Verdana"/>
            </a:endParaRPr>
          </a:p>
        </p:txBody>
      </p:sp>
      <p:sp>
        <p:nvSpPr>
          <p:cNvPr id="17" name="Title 5">
            <a:extLst>
              <a:ext uri="{FF2B5EF4-FFF2-40B4-BE49-F238E27FC236}">
                <a16:creationId xmlns:a16="http://schemas.microsoft.com/office/drawing/2014/main" id="{6186362F-B84F-A642-8F36-7AB6677AF28A}"/>
              </a:ext>
            </a:extLst>
          </p:cNvPr>
          <p:cNvSpPr>
            <a:spLocks noGrp="1"/>
          </p:cNvSpPr>
          <p:nvPr>
            <p:ph type="title"/>
          </p:nvPr>
        </p:nvSpPr>
        <p:spPr>
          <a:xfrm>
            <a:off x="9525" y="1"/>
            <a:ext cx="3446463"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
        <p:nvSpPr>
          <p:cNvPr id="23" name="Text Placeholder 5">
            <a:extLst>
              <a:ext uri="{FF2B5EF4-FFF2-40B4-BE49-F238E27FC236}">
                <a16:creationId xmlns:a16="http://schemas.microsoft.com/office/drawing/2014/main" id="{8C88405F-F24A-C643-BA13-06694719F5EC}"/>
              </a:ext>
            </a:extLst>
          </p:cNvPr>
          <p:cNvSpPr>
            <a:spLocks noGrp="1"/>
          </p:cNvSpPr>
          <p:nvPr>
            <p:ph type="body" idx="10"/>
          </p:nvPr>
        </p:nvSpPr>
        <p:spPr>
          <a:xfrm>
            <a:off x="9524" y="1600200"/>
            <a:ext cx="3446463" cy="3132138"/>
          </a:xfrm>
          <a:prstGeom prst="rect">
            <a:avLst/>
          </a:prstGeom>
        </p:spPr>
        <p:txBody>
          <a:bodyPr lIns="432000" tIns="72000" rIns="288000" bIns="18000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Text Placeholder 7">
            <a:extLst>
              <a:ext uri="{FF2B5EF4-FFF2-40B4-BE49-F238E27FC236}">
                <a16:creationId xmlns:a16="http://schemas.microsoft.com/office/drawing/2014/main" id="{5698C351-4DE1-2248-8AA0-2AF8DDAEB2AA}"/>
              </a:ext>
            </a:extLst>
          </p:cNvPr>
          <p:cNvSpPr>
            <a:spLocks noGrp="1"/>
          </p:cNvSpPr>
          <p:nvPr>
            <p:ph type="body" sz="quarter" idx="11" hasCustomPrompt="1"/>
          </p:nvPr>
        </p:nvSpPr>
        <p:spPr>
          <a:xfrm>
            <a:off x="9524" y="808038"/>
            <a:ext cx="3446463" cy="785650"/>
          </a:xfrm>
          <a:prstGeom prst="rect">
            <a:avLst/>
          </a:prstGeom>
        </p:spPr>
        <p:txBody>
          <a:bodyPr lIns="432000" tIns="72000" rIns="288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
        <p:nvSpPr>
          <p:cNvPr id="25" name="Freeform 1">
            <a:extLst>
              <a:ext uri="{FF2B5EF4-FFF2-40B4-BE49-F238E27FC236}">
                <a16:creationId xmlns:a16="http://schemas.microsoft.com/office/drawing/2014/main" id="{27C75DB1-2DDA-324E-85CD-B0F808F03543}"/>
              </a:ext>
            </a:extLst>
          </p:cNvPr>
          <p:cNvSpPr>
            <a:spLocks noChangeArrowheads="1"/>
          </p:cNvSpPr>
          <p:nvPr userDrawn="1"/>
        </p:nvSpPr>
        <p:spPr bwMode="auto">
          <a:xfrm>
            <a:off x="8294198" y="0"/>
            <a:ext cx="849802" cy="808038"/>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solidFill>
                <a:schemeClr val="accent2"/>
              </a:solidFill>
            </a:endParaRPr>
          </a:p>
        </p:txBody>
      </p:sp>
    </p:spTree>
    <p:extLst>
      <p:ext uri="{BB962C8B-B14F-4D97-AF65-F5344CB8AC3E}">
        <p14:creationId xmlns:p14="http://schemas.microsoft.com/office/powerpoint/2010/main" val="2530136219"/>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digo-Content_Description-chart-dark-white">
    <p:bg>
      <p:bgRef idx="1001">
        <a:schemeClr val="bg1"/>
      </p:bgRef>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EDE2500-D912-4743-87C1-905266D325A6}"/>
              </a:ext>
            </a:extLst>
          </p:cNvPr>
          <p:cNvSpPr/>
          <p:nvPr userDrawn="1"/>
        </p:nvSpPr>
        <p:spPr>
          <a:xfrm>
            <a:off x="3455988" y="0"/>
            <a:ext cx="5688012" cy="51434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Chart Placeholder 6">
            <a:extLst>
              <a:ext uri="{FF2B5EF4-FFF2-40B4-BE49-F238E27FC236}">
                <a16:creationId xmlns:a16="http://schemas.microsoft.com/office/drawing/2014/main" id="{0E64D95D-D47C-BA4E-B6F6-D2410A28BBEA}"/>
              </a:ext>
            </a:extLst>
          </p:cNvPr>
          <p:cNvSpPr>
            <a:spLocks noGrp="1"/>
          </p:cNvSpPr>
          <p:nvPr>
            <p:ph type="chart" sz="quarter" idx="13"/>
          </p:nvPr>
        </p:nvSpPr>
        <p:spPr>
          <a:xfrm>
            <a:off x="3455988" y="814550"/>
            <a:ext cx="5256212" cy="3912326"/>
          </a:xfrm>
          <a:prstGeom prst="rect">
            <a:avLst/>
          </a:prstGeom>
        </p:spPr>
        <p:txBody>
          <a:bodyPr lIns="180000" rIns="72000" bIns="0"/>
          <a:lstStyle>
            <a:lvl1pPr>
              <a:defRPr sz="1000">
                <a:solidFill>
                  <a:schemeClr val="accent2"/>
                </a:solidFill>
              </a:defRPr>
            </a:lvl1pPr>
          </a:lstStyle>
          <a:p>
            <a:endParaRPr lang="en-US" noProof="0"/>
          </a:p>
        </p:txBody>
      </p:sp>
      <p:sp>
        <p:nvSpPr>
          <p:cNvPr id="21" name="Slide Number Placeholder 14">
            <a:extLst>
              <a:ext uri="{FF2B5EF4-FFF2-40B4-BE49-F238E27FC236}">
                <a16:creationId xmlns:a16="http://schemas.microsoft.com/office/drawing/2014/main" id="{A645D002-EDD6-B54E-AD13-05452A748444}"/>
              </a:ext>
            </a:extLst>
          </p:cNvPr>
          <p:cNvSpPr txBox="1">
            <a:spLocks/>
          </p:cNvSpPr>
          <p:nvPr userDrawn="1"/>
        </p:nvSpPr>
        <p:spPr>
          <a:xfrm>
            <a:off x="6979136" y="4731750"/>
            <a:ext cx="2163409" cy="406875"/>
          </a:xfrm>
          <a:prstGeom prst="rect">
            <a:avLst/>
          </a:prstGeom>
        </p:spPr>
        <p:txBody>
          <a:bodyPr lIns="0" tIns="0" rIns="432000" bIns="180000" anchor="b" anchorCtr="0">
            <a:noAutofit/>
          </a:bodyPr>
          <a:lstStyle>
            <a:defPPr>
              <a:defRPr lang="pt-PT"/>
            </a:defPPr>
            <a:lvl1pPr marL="0" algn="l" defTabSz="685800" rtl="0" eaLnBrk="1" latinLnBrk="0" hangingPunct="1">
              <a:defRPr lang="pl-PL" sz="600" kern="1200" smtClean="0">
                <a:solidFill>
                  <a:schemeClr val="accent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defTabSz="180000">
              <a:spcBef>
                <a:spcPts val="750"/>
              </a:spcBef>
            </a:pPr>
            <a:r>
              <a:rPr lang="en-US" noProof="0">
                <a:solidFill>
                  <a:schemeClr val="bg1"/>
                </a:solidFill>
                <a:latin typeface="Verdana"/>
              </a:rPr>
              <a:t>© Odigo 2018. All rights reserved  |	</a:t>
            </a:r>
            <a:fld id="{B5D91C59-F2C4-3A40-B252-C7A31DDDAFEA}" type="slidenum">
              <a:rPr lang="en-US" noProof="0" smtClean="0">
                <a:solidFill>
                  <a:schemeClr val="bg1"/>
                </a:solidFill>
                <a:latin typeface="Verdana"/>
              </a:rPr>
              <a:pPr algn="r" defTabSz="180000">
                <a:spcBef>
                  <a:spcPts val="750"/>
                </a:spcBef>
              </a:pPr>
              <a:t>‹N°›</a:t>
            </a:fld>
            <a:endParaRPr lang="en-US" noProof="0">
              <a:solidFill>
                <a:schemeClr val="bg1"/>
              </a:solidFill>
              <a:latin typeface="Verdana"/>
            </a:endParaRPr>
          </a:p>
        </p:txBody>
      </p:sp>
      <p:sp>
        <p:nvSpPr>
          <p:cNvPr id="17" name="Title 5">
            <a:extLst>
              <a:ext uri="{FF2B5EF4-FFF2-40B4-BE49-F238E27FC236}">
                <a16:creationId xmlns:a16="http://schemas.microsoft.com/office/drawing/2014/main" id="{6186362F-B84F-A642-8F36-7AB6677AF28A}"/>
              </a:ext>
            </a:extLst>
          </p:cNvPr>
          <p:cNvSpPr>
            <a:spLocks noGrp="1"/>
          </p:cNvSpPr>
          <p:nvPr>
            <p:ph type="title"/>
          </p:nvPr>
        </p:nvSpPr>
        <p:spPr>
          <a:xfrm>
            <a:off x="9525" y="1"/>
            <a:ext cx="3446463"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
        <p:nvSpPr>
          <p:cNvPr id="23" name="Text Placeholder 5">
            <a:extLst>
              <a:ext uri="{FF2B5EF4-FFF2-40B4-BE49-F238E27FC236}">
                <a16:creationId xmlns:a16="http://schemas.microsoft.com/office/drawing/2014/main" id="{8C88405F-F24A-C643-BA13-06694719F5EC}"/>
              </a:ext>
            </a:extLst>
          </p:cNvPr>
          <p:cNvSpPr>
            <a:spLocks noGrp="1"/>
          </p:cNvSpPr>
          <p:nvPr>
            <p:ph type="body" idx="10"/>
          </p:nvPr>
        </p:nvSpPr>
        <p:spPr>
          <a:xfrm>
            <a:off x="9524" y="1600200"/>
            <a:ext cx="3446463" cy="3132138"/>
          </a:xfrm>
          <a:prstGeom prst="rect">
            <a:avLst/>
          </a:prstGeom>
        </p:spPr>
        <p:txBody>
          <a:bodyPr lIns="432000" tIns="72000" rIns="288000" bIns="180000"/>
          <a:lstStyle>
            <a:lvl1pPr>
              <a:lnSpc>
                <a:spcPct val="120000"/>
              </a:lnSpc>
              <a:spcAft>
                <a:spcPts val="600"/>
              </a:spcAft>
              <a:defRPr sz="1000"/>
            </a:lvl1pPr>
            <a:lvl2pPr>
              <a:lnSpc>
                <a:spcPct val="120000"/>
              </a:lnSpc>
              <a:spcAft>
                <a:spcPts val="600"/>
              </a:spcAft>
              <a:defRPr sz="1000"/>
            </a:lvl2pPr>
            <a:lvl3pPr>
              <a:lnSpc>
                <a:spcPct val="120000"/>
              </a:lnSpc>
              <a:spcAft>
                <a:spcPts val="600"/>
              </a:spcAft>
              <a:defRPr sz="1000"/>
            </a:lvl3pPr>
            <a:lvl4pPr>
              <a:lnSpc>
                <a:spcPct val="120000"/>
              </a:lnSpc>
              <a:spcAft>
                <a:spcPts val="600"/>
              </a:spcAft>
              <a:defRPr sz="1000"/>
            </a:lvl4pPr>
            <a:lvl5pPr>
              <a:lnSpc>
                <a:spcPct val="120000"/>
              </a:lnSpc>
              <a:spcAft>
                <a:spcPts val="600"/>
              </a:spcAft>
              <a:defRPr sz="10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Text Placeholder 7">
            <a:extLst>
              <a:ext uri="{FF2B5EF4-FFF2-40B4-BE49-F238E27FC236}">
                <a16:creationId xmlns:a16="http://schemas.microsoft.com/office/drawing/2014/main" id="{5698C351-4DE1-2248-8AA0-2AF8DDAEB2AA}"/>
              </a:ext>
            </a:extLst>
          </p:cNvPr>
          <p:cNvSpPr>
            <a:spLocks noGrp="1"/>
          </p:cNvSpPr>
          <p:nvPr>
            <p:ph type="body" sz="quarter" idx="11" hasCustomPrompt="1"/>
          </p:nvPr>
        </p:nvSpPr>
        <p:spPr>
          <a:xfrm>
            <a:off x="9524" y="808038"/>
            <a:ext cx="3446463" cy="785650"/>
          </a:xfrm>
          <a:prstGeom prst="rect">
            <a:avLst/>
          </a:prstGeom>
        </p:spPr>
        <p:txBody>
          <a:bodyPr lIns="432000" tIns="72000" rIns="288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
        <p:nvSpPr>
          <p:cNvPr id="25" name="Freeform 1">
            <a:extLst>
              <a:ext uri="{FF2B5EF4-FFF2-40B4-BE49-F238E27FC236}">
                <a16:creationId xmlns:a16="http://schemas.microsoft.com/office/drawing/2014/main" id="{27C75DB1-2DDA-324E-85CD-B0F808F03543}"/>
              </a:ext>
            </a:extLst>
          </p:cNvPr>
          <p:cNvSpPr>
            <a:spLocks noChangeArrowheads="1"/>
          </p:cNvSpPr>
          <p:nvPr userDrawn="1"/>
        </p:nvSpPr>
        <p:spPr bwMode="auto">
          <a:xfrm>
            <a:off x="8294198" y="0"/>
            <a:ext cx="849802" cy="808038"/>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solidFill>
                <a:schemeClr val="accent2"/>
              </a:solidFill>
            </a:endParaRPr>
          </a:p>
        </p:txBody>
      </p:sp>
    </p:spTree>
    <p:extLst>
      <p:ext uri="{BB962C8B-B14F-4D97-AF65-F5344CB8AC3E}">
        <p14:creationId xmlns:p14="http://schemas.microsoft.com/office/powerpoint/2010/main" val="385357463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digo-Content_Description-plus-column">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EDE2500-D912-4743-87C1-905266D325A6}"/>
              </a:ext>
            </a:extLst>
          </p:cNvPr>
          <p:cNvSpPr/>
          <p:nvPr userDrawn="1"/>
        </p:nvSpPr>
        <p:spPr>
          <a:xfrm>
            <a:off x="3455988" y="0"/>
            <a:ext cx="5688012" cy="51434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Slide Number Placeholder 14">
            <a:extLst>
              <a:ext uri="{FF2B5EF4-FFF2-40B4-BE49-F238E27FC236}">
                <a16:creationId xmlns:a16="http://schemas.microsoft.com/office/drawing/2014/main" id="{A645D002-EDD6-B54E-AD13-05452A748444}"/>
              </a:ext>
            </a:extLst>
          </p:cNvPr>
          <p:cNvSpPr txBox="1">
            <a:spLocks/>
          </p:cNvSpPr>
          <p:nvPr userDrawn="1"/>
        </p:nvSpPr>
        <p:spPr>
          <a:xfrm>
            <a:off x="6979136" y="4731750"/>
            <a:ext cx="2163409" cy="406875"/>
          </a:xfrm>
          <a:prstGeom prst="rect">
            <a:avLst/>
          </a:prstGeom>
        </p:spPr>
        <p:txBody>
          <a:bodyPr lIns="0" tIns="0" rIns="432000" bIns="180000" anchor="b" anchorCtr="0">
            <a:noAutofit/>
          </a:bodyPr>
          <a:lstStyle>
            <a:defPPr>
              <a:defRPr lang="pt-PT"/>
            </a:defPPr>
            <a:lvl1pPr marL="0" algn="l" defTabSz="685800" rtl="0" eaLnBrk="1" latinLnBrk="0" hangingPunct="1">
              <a:defRPr lang="pl-PL" sz="600" kern="1200" smtClean="0">
                <a:solidFill>
                  <a:schemeClr val="accent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defTabSz="180000">
              <a:spcBef>
                <a:spcPts val="750"/>
              </a:spcBef>
            </a:pPr>
            <a:r>
              <a:rPr lang="en-US" noProof="0">
                <a:solidFill>
                  <a:schemeClr val="bg1"/>
                </a:solidFill>
                <a:latin typeface="Verdana"/>
              </a:rPr>
              <a:t>© Odigo 2018. All rights reserved  |	</a:t>
            </a:r>
            <a:fld id="{B5D91C59-F2C4-3A40-B252-C7A31DDDAFEA}" type="slidenum">
              <a:rPr lang="en-US" noProof="0" smtClean="0">
                <a:solidFill>
                  <a:schemeClr val="bg1"/>
                </a:solidFill>
                <a:latin typeface="Verdana"/>
              </a:rPr>
              <a:pPr algn="r" defTabSz="180000">
                <a:spcBef>
                  <a:spcPts val="750"/>
                </a:spcBef>
              </a:pPr>
              <a:t>‹N°›</a:t>
            </a:fld>
            <a:endParaRPr lang="en-US" noProof="0">
              <a:solidFill>
                <a:schemeClr val="bg1"/>
              </a:solidFill>
              <a:latin typeface="Verdana"/>
            </a:endParaRPr>
          </a:p>
        </p:txBody>
      </p:sp>
      <p:sp>
        <p:nvSpPr>
          <p:cNvPr id="17" name="Title 5">
            <a:extLst>
              <a:ext uri="{FF2B5EF4-FFF2-40B4-BE49-F238E27FC236}">
                <a16:creationId xmlns:a16="http://schemas.microsoft.com/office/drawing/2014/main" id="{6186362F-B84F-A642-8F36-7AB6677AF28A}"/>
              </a:ext>
            </a:extLst>
          </p:cNvPr>
          <p:cNvSpPr>
            <a:spLocks noGrp="1"/>
          </p:cNvSpPr>
          <p:nvPr>
            <p:ph type="title"/>
          </p:nvPr>
        </p:nvSpPr>
        <p:spPr>
          <a:xfrm>
            <a:off x="9525" y="1"/>
            <a:ext cx="3446463"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
        <p:nvSpPr>
          <p:cNvPr id="25" name="Freeform 1">
            <a:extLst>
              <a:ext uri="{FF2B5EF4-FFF2-40B4-BE49-F238E27FC236}">
                <a16:creationId xmlns:a16="http://schemas.microsoft.com/office/drawing/2014/main" id="{27C75DB1-2DDA-324E-85CD-B0F808F03543}"/>
              </a:ext>
            </a:extLst>
          </p:cNvPr>
          <p:cNvSpPr>
            <a:spLocks noChangeArrowheads="1"/>
          </p:cNvSpPr>
          <p:nvPr userDrawn="1"/>
        </p:nvSpPr>
        <p:spPr bwMode="auto">
          <a:xfrm>
            <a:off x="8294198" y="0"/>
            <a:ext cx="849802" cy="808038"/>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solidFill>
                <a:schemeClr val="accent2"/>
              </a:solidFill>
            </a:endParaRPr>
          </a:p>
        </p:txBody>
      </p:sp>
      <p:sp>
        <p:nvSpPr>
          <p:cNvPr id="9" name="Picture Placeholder 22">
            <a:extLst>
              <a:ext uri="{FF2B5EF4-FFF2-40B4-BE49-F238E27FC236}">
                <a16:creationId xmlns:a16="http://schemas.microsoft.com/office/drawing/2014/main" id="{D199F67F-AF1C-0646-BFEF-CC0BCA37DC3D}"/>
              </a:ext>
            </a:extLst>
          </p:cNvPr>
          <p:cNvSpPr>
            <a:spLocks noGrp="1"/>
          </p:cNvSpPr>
          <p:nvPr>
            <p:ph type="pic" sz="quarter" idx="21"/>
          </p:nvPr>
        </p:nvSpPr>
        <p:spPr>
          <a:xfrm>
            <a:off x="431800" y="1600200"/>
            <a:ext cx="2592388" cy="1444625"/>
          </a:xfrm>
          <a:prstGeom prst="rect">
            <a:avLst/>
          </a:prstGeom>
        </p:spPr>
        <p:txBody>
          <a:bodyPr lIns="180000" rIns="72000" bIns="0"/>
          <a:lstStyle>
            <a:lvl1pPr>
              <a:defRPr sz="1000">
                <a:solidFill>
                  <a:schemeClr val="accent2"/>
                </a:solidFill>
              </a:defRPr>
            </a:lvl1pPr>
          </a:lstStyle>
          <a:p>
            <a:endParaRPr lang="en-US" noProof="0"/>
          </a:p>
        </p:txBody>
      </p:sp>
      <p:sp>
        <p:nvSpPr>
          <p:cNvPr id="10" name="Text Placeholder 3">
            <a:extLst>
              <a:ext uri="{FF2B5EF4-FFF2-40B4-BE49-F238E27FC236}">
                <a16:creationId xmlns:a16="http://schemas.microsoft.com/office/drawing/2014/main" id="{4369703A-22D1-FB41-8BA1-232BC9F87E59}"/>
              </a:ext>
            </a:extLst>
          </p:cNvPr>
          <p:cNvSpPr>
            <a:spLocks noGrp="1"/>
          </p:cNvSpPr>
          <p:nvPr>
            <p:ph type="body" sz="quarter" idx="22" hasCustomPrompt="1"/>
          </p:nvPr>
        </p:nvSpPr>
        <p:spPr>
          <a:xfrm>
            <a:off x="431800" y="3147162"/>
            <a:ext cx="2592388" cy="360000"/>
          </a:xfrm>
          <a:prstGeom prst="rect">
            <a:avLst/>
          </a:prstGeom>
          <a:solidFill>
            <a:schemeClr val="bg1"/>
          </a:solidFill>
        </p:spPr>
        <p:txBody>
          <a:bodyPr lIns="72000" tIns="72000" rIns="72000" bIns="72000" anchor="b" anchorCtr="0"/>
          <a:lstStyle>
            <a:lvl1pPr algn="l">
              <a:defRPr sz="1200">
                <a:solidFill>
                  <a:schemeClr val="accent2"/>
                </a:solidFill>
              </a:defRPr>
            </a:lvl1pPr>
          </a:lstStyle>
          <a:p>
            <a:pPr lvl="0"/>
            <a:r>
              <a:rPr lang="en-US" noProof="0"/>
              <a:t>Subtitle</a:t>
            </a:r>
          </a:p>
        </p:txBody>
      </p:sp>
      <p:sp>
        <p:nvSpPr>
          <p:cNvPr id="11" name="Text Placeholder 6">
            <a:extLst>
              <a:ext uri="{FF2B5EF4-FFF2-40B4-BE49-F238E27FC236}">
                <a16:creationId xmlns:a16="http://schemas.microsoft.com/office/drawing/2014/main" id="{0B033E2E-C8CE-8F4B-B0C5-0F1FA0CD610A}"/>
              </a:ext>
            </a:extLst>
          </p:cNvPr>
          <p:cNvSpPr>
            <a:spLocks noGrp="1"/>
          </p:cNvSpPr>
          <p:nvPr>
            <p:ph type="body" sz="quarter" idx="12"/>
          </p:nvPr>
        </p:nvSpPr>
        <p:spPr>
          <a:xfrm>
            <a:off x="431800" y="3507162"/>
            <a:ext cx="2592388" cy="936588"/>
          </a:xfrm>
          <a:prstGeom prst="rect">
            <a:avLst/>
          </a:prstGeom>
          <a:solidFill>
            <a:schemeClr val="bg1"/>
          </a:solidFill>
        </p:spPr>
        <p:txBody>
          <a:bodyPr lIns="72000" tIns="72000" rIns="72000" bIns="72000"/>
          <a:lstStyle>
            <a:lvl1pPr algn="l">
              <a:defRPr sz="1000"/>
            </a:lvl1pPr>
            <a:lvl2pPr>
              <a:defRPr sz="1000"/>
            </a:lvl2pPr>
            <a:lvl3pPr marL="675085" indent="-134541">
              <a:buFont typeface="System Font Regular"/>
              <a:buChar char="–"/>
              <a:defRPr sz="1000"/>
            </a:lvl3pPr>
            <a:lvl4pPr>
              <a:defRPr sz="1000"/>
            </a:lvl4pPr>
            <a:lvl5pPr marL="1215629" indent="-134541">
              <a:buFont typeface="System Font Regular"/>
              <a:buChar char="–"/>
              <a:defRPr sz="1000"/>
            </a:lvl5pPr>
          </a:lstStyle>
          <a:p>
            <a:pPr lvl="0"/>
            <a:r>
              <a:rPr lang="en-US" noProof="0"/>
              <a:t>Edit Master text styles</a:t>
            </a:r>
          </a:p>
        </p:txBody>
      </p:sp>
      <p:sp>
        <p:nvSpPr>
          <p:cNvPr id="13" name="Freeform 7">
            <a:extLst>
              <a:ext uri="{FF2B5EF4-FFF2-40B4-BE49-F238E27FC236}">
                <a16:creationId xmlns:a16="http://schemas.microsoft.com/office/drawing/2014/main" id="{61F23A75-CD16-E546-930B-7367D64EC41B}"/>
              </a:ext>
            </a:extLst>
          </p:cNvPr>
          <p:cNvSpPr>
            <a:spLocks noChangeArrowheads="1"/>
          </p:cNvSpPr>
          <p:nvPr userDrawn="1"/>
        </p:nvSpPr>
        <p:spPr bwMode="auto">
          <a:xfrm>
            <a:off x="7839264" y="2405361"/>
            <a:ext cx="1700899" cy="1663721"/>
          </a:xfrm>
          <a:custGeom>
            <a:avLst/>
            <a:gdLst>
              <a:gd name="T0" fmla="*/ 3076 w 4036"/>
              <a:gd name="T1" fmla="*/ 1764 h 3948"/>
              <a:gd name="T2" fmla="*/ 3076 w 4036"/>
              <a:gd name="T3" fmla="*/ 1764 h 3948"/>
              <a:gd name="T4" fmla="*/ 3076 w 4036"/>
              <a:gd name="T5" fmla="*/ 1974 h 3948"/>
              <a:gd name="T6" fmla="*/ 2007 w 4036"/>
              <a:gd name="T7" fmla="*/ 3087 h 3948"/>
              <a:gd name="T8" fmla="*/ 959 w 4036"/>
              <a:gd name="T9" fmla="*/ 1974 h 3948"/>
              <a:gd name="T10" fmla="*/ 2007 w 4036"/>
              <a:gd name="T11" fmla="*/ 871 h 3948"/>
              <a:gd name="T12" fmla="*/ 2062 w 4036"/>
              <a:gd name="T13" fmla="*/ 871 h 3948"/>
              <a:gd name="T14" fmla="*/ 2062 w 4036"/>
              <a:gd name="T15" fmla="*/ 0 h 3948"/>
              <a:gd name="T16" fmla="*/ 2007 w 4036"/>
              <a:gd name="T17" fmla="*/ 0 h 3948"/>
              <a:gd name="T18" fmla="*/ 0 w 4036"/>
              <a:gd name="T19" fmla="*/ 1974 h 3948"/>
              <a:gd name="T20" fmla="*/ 2007 w 4036"/>
              <a:gd name="T21" fmla="*/ 3947 h 3948"/>
              <a:gd name="T22" fmla="*/ 4035 w 4036"/>
              <a:gd name="T23" fmla="*/ 1974 h 3948"/>
              <a:gd name="T24" fmla="*/ 4002 w 4036"/>
              <a:gd name="T25" fmla="*/ 1764 h 3948"/>
              <a:gd name="T26" fmla="*/ 3076 w 4036"/>
              <a:gd name="T27" fmla="*/ 1764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6" h="3948">
                <a:moveTo>
                  <a:pt x="3076" y="1764"/>
                </a:moveTo>
                <a:lnTo>
                  <a:pt x="3076" y="1764"/>
                </a:lnTo>
                <a:cubicBezTo>
                  <a:pt x="3076" y="1852"/>
                  <a:pt x="3076" y="1907"/>
                  <a:pt x="3076" y="1974"/>
                </a:cubicBezTo>
                <a:cubicBezTo>
                  <a:pt x="3076" y="2624"/>
                  <a:pt x="2624" y="3087"/>
                  <a:pt x="2007" y="3087"/>
                </a:cubicBezTo>
                <a:cubicBezTo>
                  <a:pt x="1422" y="3087"/>
                  <a:pt x="959" y="2624"/>
                  <a:pt x="959" y="1974"/>
                </a:cubicBezTo>
                <a:cubicBezTo>
                  <a:pt x="959" y="1356"/>
                  <a:pt x="1389" y="871"/>
                  <a:pt x="2007" y="871"/>
                </a:cubicBezTo>
                <a:cubicBezTo>
                  <a:pt x="2040" y="871"/>
                  <a:pt x="2040" y="871"/>
                  <a:pt x="2062" y="871"/>
                </a:cubicBezTo>
                <a:cubicBezTo>
                  <a:pt x="2062" y="0"/>
                  <a:pt x="2062" y="0"/>
                  <a:pt x="2062" y="0"/>
                </a:cubicBezTo>
                <a:cubicBezTo>
                  <a:pt x="2040" y="0"/>
                  <a:pt x="2040" y="0"/>
                  <a:pt x="2007" y="0"/>
                </a:cubicBezTo>
                <a:cubicBezTo>
                  <a:pt x="871" y="0"/>
                  <a:pt x="0" y="893"/>
                  <a:pt x="0" y="1974"/>
                </a:cubicBezTo>
                <a:cubicBezTo>
                  <a:pt x="0" y="3109"/>
                  <a:pt x="871" y="3947"/>
                  <a:pt x="2007" y="3947"/>
                </a:cubicBezTo>
                <a:cubicBezTo>
                  <a:pt x="3175" y="3947"/>
                  <a:pt x="4035" y="3109"/>
                  <a:pt x="4035" y="1974"/>
                </a:cubicBezTo>
                <a:cubicBezTo>
                  <a:pt x="4035" y="1907"/>
                  <a:pt x="4035" y="1852"/>
                  <a:pt x="4002" y="1764"/>
                </a:cubicBezTo>
                <a:lnTo>
                  <a:pt x="3076" y="1764"/>
                </a:lnTo>
              </a:path>
            </a:pathLst>
          </a:custGeom>
          <a:solidFill>
            <a:schemeClr val="bg1"/>
          </a:solidFill>
          <a:ln>
            <a:noFill/>
          </a:ln>
          <a:effectLst/>
        </p:spPr>
        <p:txBody>
          <a:bodyPr wrap="none" anchor="ctr"/>
          <a:lstStyle/>
          <a:p>
            <a:endParaRPr lang="en-US" noProof="0">
              <a:solidFill>
                <a:schemeClr val="bg1"/>
              </a:solidFill>
            </a:endParaRPr>
          </a:p>
        </p:txBody>
      </p:sp>
      <p:sp>
        <p:nvSpPr>
          <p:cNvPr id="14" name="Text Placeholder 5">
            <a:extLst>
              <a:ext uri="{FF2B5EF4-FFF2-40B4-BE49-F238E27FC236}">
                <a16:creationId xmlns:a16="http://schemas.microsoft.com/office/drawing/2014/main" id="{C6C58D9B-1098-F04F-886B-CDAD8D512CA4}"/>
              </a:ext>
            </a:extLst>
          </p:cNvPr>
          <p:cNvSpPr>
            <a:spLocks noGrp="1"/>
          </p:cNvSpPr>
          <p:nvPr>
            <p:ph type="body" idx="10"/>
          </p:nvPr>
        </p:nvSpPr>
        <p:spPr>
          <a:xfrm>
            <a:off x="3455988" y="1600200"/>
            <a:ext cx="3521693" cy="3132138"/>
          </a:xfrm>
          <a:prstGeom prst="rect">
            <a:avLst/>
          </a:prstGeom>
        </p:spPr>
        <p:txBody>
          <a:bodyPr lIns="432000" tIns="72000" rIns="288000" bIns="180000"/>
          <a:lstStyle>
            <a:lvl1pPr>
              <a:lnSpc>
                <a:spcPct val="120000"/>
              </a:lnSpc>
              <a:spcAft>
                <a:spcPts val="600"/>
              </a:spcAft>
              <a:defRPr sz="1000">
                <a:solidFill>
                  <a:schemeClr val="bg1"/>
                </a:solidFill>
              </a:defRPr>
            </a:lvl1pPr>
            <a:lvl2pPr>
              <a:lnSpc>
                <a:spcPct val="120000"/>
              </a:lnSpc>
              <a:spcAft>
                <a:spcPts val="600"/>
              </a:spcAft>
              <a:buClr>
                <a:schemeClr val="bg1"/>
              </a:buClr>
              <a:defRPr sz="1000">
                <a:solidFill>
                  <a:schemeClr val="bg1"/>
                </a:solidFill>
              </a:defRPr>
            </a:lvl2pPr>
            <a:lvl3pPr>
              <a:lnSpc>
                <a:spcPct val="120000"/>
              </a:lnSpc>
              <a:spcAft>
                <a:spcPts val="600"/>
              </a:spcAft>
              <a:defRPr sz="1000">
                <a:solidFill>
                  <a:schemeClr val="bg1"/>
                </a:solidFill>
              </a:defRPr>
            </a:lvl3pPr>
            <a:lvl4pPr>
              <a:lnSpc>
                <a:spcPct val="120000"/>
              </a:lnSpc>
              <a:spcAft>
                <a:spcPts val="600"/>
              </a:spcAft>
              <a:defRPr sz="1000">
                <a:solidFill>
                  <a:schemeClr val="bg1"/>
                </a:solidFill>
              </a:defRPr>
            </a:lvl4pPr>
            <a:lvl5pPr>
              <a:lnSpc>
                <a:spcPct val="120000"/>
              </a:lnSpc>
              <a:spcAft>
                <a:spcPts val="600"/>
              </a:spcAft>
              <a:defRPr sz="1000">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7">
            <a:extLst>
              <a:ext uri="{FF2B5EF4-FFF2-40B4-BE49-F238E27FC236}">
                <a16:creationId xmlns:a16="http://schemas.microsoft.com/office/drawing/2014/main" id="{AB1915B8-FF0E-604C-895D-E50CA6D81705}"/>
              </a:ext>
            </a:extLst>
          </p:cNvPr>
          <p:cNvSpPr>
            <a:spLocks noGrp="1"/>
          </p:cNvSpPr>
          <p:nvPr>
            <p:ph type="body" sz="quarter" idx="11" hasCustomPrompt="1"/>
          </p:nvPr>
        </p:nvSpPr>
        <p:spPr>
          <a:xfrm>
            <a:off x="3455988" y="808038"/>
            <a:ext cx="3521693" cy="785650"/>
          </a:xfrm>
          <a:prstGeom prst="rect">
            <a:avLst/>
          </a:prstGeom>
        </p:spPr>
        <p:txBody>
          <a:bodyPr lIns="432000" tIns="72000" rIns="288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
        <p:nvSpPr>
          <p:cNvPr id="16" name="Text Placeholder 7">
            <a:extLst>
              <a:ext uri="{FF2B5EF4-FFF2-40B4-BE49-F238E27FC236}">
                <a16:creationId xmlns:a16="http://schemas.microsoft.com/office/drawing/2014/main" id="{45E9FA52-0744-FB4C-9A6F-523501A25C82}"/>
              </a:ext>
            </a:extLst>
          </p:cNvPr>
          <p:cNvSpPr>
            <a:spLocks noGrp="1"/>
          </p:cNvSpPr>
          <p:nvPr>
            <p:ph type="body" sz="quarter" idx="23" hasCustomPrompt="1"/>
          </p:nvPr>
        </p:nvSpPr>
        <p:spPr>
          <a:xfrm>
            <a:off x="9525" y="808038"/>
            <a:ext cx="3446463" cy="785650"/>
          </a:xfrm>
          <a:prstGeom prst="rect">
            <a:avLst/>
          </a:prstGeom>
        </p:spPr>
        <p:txBody>
          <a:bodyPr lIns="432000" tIns="72000" rIns="288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Tree>
    <p:extLst>
      <p:ext uri="{BB962C8B-B14F-4D97-AF65-F5344CB8AC3E}">
        <p14:creationId xmlns:p14="http://schemas.microsoft.com/office/powerpoint/2010/main" val="3276212035"/>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digo-Content_Description-plus-column-white">
    <p:bg>
      <p:bgRef idx="1001">
        <a:schemeClr val="bg1"/>
      </p:bgRef>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EDE2500-D912-4743-87C1-905266D325A6}"/>
              </a:ext>
            </a:extLst>
          </p:cNvPr>
          <p:cNvSpPr/>
          <p:nvPr userDrawn="1"/>
        </p:nvSpPr>
        <p:spPr>
          <a:xfrm>
            <a:off x="3455988" y="0"/>
            <a:ext cx="5688012" cy="51434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Slide Number Placeholder 14">
            <a:extLst>
              <a:ext uri="{FF2B5EF4-FFF2-40B4-BE49-F238E27FC236}">
                <a16:creationId xmlns:a16="http://schemas.microsoft.com/office/drawing/2014/main" id="{A645D002-EDD6-B54E-AD13-05452A748444}"/>
              </a:ext>
            </a:extLst>
          </p:cNvPr>
          <p:cNvSpPr txBox="1">
            <a:spLocks/>
          </p:cNvSpPr>
          <p:nvPr userDrawn="1"/>
        </p:nvSpPr>
        <p:spPr>
          <a:xfrm>
            <a:off x="6979136" y="4731750"/>
            <a:ext cx="2163409" cy="406875"/>
          </a:xfrm>
          <a:prstGeom prst="rect">
            <a:avLst/>
          </a:prstGeom>
        </p:spPr>
        <p:txBody>
          <a:bodyPr lIns="0" tIns="0" rIns="432000" bIns="180000" anchor="b" anchorCtr="0">
            <a:noAutofit/>
          </a:bodyPr>
          <a:lstStyle>
            <a:defPPr>
              <a:defRPr lang="pt-PT"/>
            </a:defPPr>
            <a:lvl1pPr marL="0" algn="l" defTabSz="685800" rtl="0" eaLnBrk="1" latinLnBrk="0" hangingPunct="1">
              <a:defRPr lang="pl-PL" sz="600" kern="1200" smtClean="0">
                <a:solidFill>
                  <a:schemeClr val="accent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defTabSz="180000">
              <a:spcBef>
                <a:spcPts val="750"/>
              </a:spcBef>
            </a:pPr>
            <a:r>
              <a:rPr lang="en-US" noProof="0">
                <a:solidFill>
                  <a:schemeClr val="bg1"/>
                </a:solidFill>
                <a:latin typeface="Verdana"/>
              </a:rPr>
              <a:t>© Odigo 2018. All rights reserved  |	</a:t>
            </a:r>
            <a:fld id="{B5D91C59-F2C4-3A40-B252-C7A31DDDAFEA}" type="slidenum">
              <a:rPr lang="en-US" noProof="0" smtClean="0">
                <a:solidFill>
                  <a:schemeClr val="bg1"/>
                </a:solidFill>
                <a:latin typeface="Verdana"/>
              </a:rPr>
              <a:pPr algn="r" defTabSz="180000">
                <a:spcBef>
                  <a:spcPts val="750"/>
                </a:spcBef>
              </a:pPr>
              <a:t>‹N°›</a:t>
            </a:fld>
            <a:endParaRPr lang="en-US" noProof="0">
              <a:solidFill>
                <a:schemeClr val="bg1"/>
              </a:solidFill>
              <a:latin typeface="Verdana"/>
            </a:endParaRPr>
          </a:p>
        </p:txBody>
      </p:sp>
      <p:sp>
        <p:nvSpPr>
          <p:cNvPr id="17" name="Title 5">
            <a:extLst>
              <a:ext uri="{FF2B5EF4-FFF2-40B4-BE49-F238E27FC236}">
                <a16:creationId xmlns:a16="http://schemas.microsoft.com/office/drawing/2014/main" id="{6186362F-B84F-A642-8F36-7AB6677AF28A}"/>
              </a:ext>
            </a:extLst>
          </p:cNvPr>
          <p:cNvSpPr>
            <a:spLocks noGrp="1"/>
          </p:cNvSpPr>
          <p:nvPr>
            <p:ph type="title"/>
          </p:nvPr>
        </p:nvSpPr>
        <p:spPr>
          <a:xfrm>
            <a:off x="9525" y="1"/>
            <a:ext cx="3446463"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
        <p:nvSpPr>
          <p:cNvPr id="25" name="Freeform 1">
            <a:extLst>
              <a:ext uri="{FF2B5EF4-FFF2-40B4-BE49-F238E27FC236}">
                <a16:creationId xmlns:a16="http://schemas.microsoft.com/office/drawing/2014/main" id="{27C75DB1-2DDA-324E-85CD-B0F808F03543}"/>
              </a:ext>
            </a:extLst>
          </p:cNvPr>
          <p:cNvSpPr>
            <a:spLocks noChangeArrowheads="1"/>
          </p:cNvSpPr>
          <p:nvPr userDrawn="1"/>
        </p:nvSpPr>
        <p:spPr bwMode="auto">
          <a:xfrm>
            <a:off x="8294198" y="0"/>
            <a:ext cx="849802" cy="808038"/>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solidFill>
                <a:schemeClr val="accent2"/>
              </a:solidFill>
            </a:endParaRPr>
          </a:p>
        </p:txBody>
      </p:sp>
      <p:sp>
        <p:nvSpPr>
          <p:cNvPr id="9" name="Picture Placeholder 22">
            <a:extLst>
              <a:ext uri="{FF2B5EF4-FFF2-40B4-BE49-F238E27FC236}">
                <a16:creationId xmlns:a16="http://schemas.microsoft.com/office/drawing/2014/main" id="{D199F67F-AF1C-0646-BFEF-CC0BCA37DC3D}"/>
              </a:ext>
            </a:extLst>
          </p:cNvPr>
          <p:cNvSpPr>
            <a:spLocks noGrp="1"/>
          </p:cNvSpPr>
          <p:nvPr>
            <p:ph type="pic" sz="quarter" idx="21"/>
          </p:nvPr>
        </p:nvSpPr>
        <p:spPr>
          <a:xfrm>
            <a:off x="431800" y="1600200"/>
            <a:ext cx="2592388" cy="1444625"/>
          </a:xfrm>
          <a:prstGeom prst="rect">
            <a:avLst/>
          </a:prstGeom>
        </p:spPr>
        <p:txBody>
          <a:bodyPr lIns="180000" rIns="72000" bIns="0"/>
          <a:lstStyle>
            <a:lvl1pPr>
              <a:defRPr sz="1000">
                <a:solidFill>
                  <a:schemeClr val="accent2"/>
                </a:solidFill>
              </a:defRPr>
            </a:lvl1pPr>
          </a:lstStyle>
          <a:p>
            <a:endParaRPr lang="en-US" noProof="0"/>
          </a:p>
        </p:txBody>
      </p:sp>
      <p:sp>
        <p:nvSpPr>
          <p:cNvPr id="10" name="Text Placeholder 3">
            <a:extLst>
              <a:ext uri="{FF2B5EF4-FFF2-40B4-BE49-F238E27FC236}">
                <a16:creationId xmlns:a16="http://schemas.microsoft.com/office/drawing/2014/main" id="{4369703A-22D1-FB41-8BA1-232BC9F87E59}"/>
              </a:ext>
            </a:extLst>
          </p:cNvPr>
          <p:cNvSpPr>
            <a:spLocks noGrp="1"/>
          </p:cNvSpPr>
          <p:nvPr>
            <p:ph type="body" sz="quarter" idx="22" hasCustomPrompt="1"/>
          </p:nvPr>
        </p:nvSpPr>
        <p:spPr>
          <a:xfrm>
            <a:off x="431800" y="3147162"/>
            <a:ext cx="2592388" cy="360000"/>
          </a:xfrm>
          <a:prstGeom prst="rect">
            <a:avLst/>
          </a:prstGeom>
          <a:solidFill>
            <a:schemeClr val="bg2"/>
          </a:solidFill>
        </p:spPr>
        <p:txBody>
          <a:bodyPr lIns="72000" tIns="72000" rIns="72000" bIns="72000" anchor="b" anchorCtr="0"/>
          <a:lstStyle>
            <a:lvl1pPr algn="l">
              <a:defRPr sz="1200">
                <a:solidFill>
                  <a:schemeClr val="accent2"/>
                </a:solidFill>
              </a:defRPr>
            </a:lvl1pPr>
          </a:lstStyle>
          <a:p>
            <a:pPr lvl="0"/>
            <a:r>
              <a:rPr lang="en-US" noProof="0"/>
              <a:t>Subtitle</a:t>
            </a:r>
          </a:p>
        </p:txBody>
      </p:sp>
      <p:sp>
        <p:nvSpPr>
          <p:cNvPr id="11" name="Text Placeholder 6">
            <a:extLst>
              <a:ext uri="{FF2B5EF4-FFF2-40B4-BE49-F238E27FC236}">
                <a16:creationId xmlns:a16="http://schemas.microsoft.com/office/drawing/2014/main" id="{0B033E2E-C8CE-8F4B-B0C5-0F1FA0CD610A}"/>
              </a:ext>
            </a:extLst>
          </p:cNvPr>
          <p:cNvSpPr>
            <a:spLocks noGrp="1"/>
          </p:cNvSpPr>
          <p:nvPr>
            <p:ph type="body" sz="quarter" idx="12"/>
          </p:nvPr>
        </p:nvSpPr>
        <p:spPr>
          <a:xfrm>
            <a:off x="431800" y="3507162"/>
            <a:ext cx="2592388" cy="936588"/>
          </a:xfrm>
          <a:prstGeom prst="rect">
            <a:avLst/>
          </a:prstGeom>
          <a:solidFill>
            <a:schemeClr val="bg2"/>
          </a:solidFill>
        </p:spPr>
        <p:txBody>
          <a:bodyPr lIns="72000" tIns="72000" rIns="72000" bIns="72000"/>
          <a:lstStyle>
            <a:lvl1pPr algn="l">
              <a:defRPr sz="1000"/>
            </a:lvl1pPr>
            <a:lvl2pPr>
              <a:defRPr sz="1000"/>
            </a:lvl2pPr>
            <a:lvl3pPr marL="675085" indent="-134541">
              <a:buFont typeface="System Font Regular"/>
              <a:buChar char="–"/>
              <a:defRPr sz="1000"/>
            </a:lvl3pPr>
            <a:lvl4pPr>
              <a:defRPr sz="1000"/>
            </a:lvl4pPr>
            <a:lvl5pPr marL="1215629" indent="-134541">
              <a:buFont typeface="System Font Regular"/>
              <a:buChar char="–"/>
              <a:defRPr sz="1000"/>
            </a:lvl5pPr>
          </a:lstStyle>
          <a:p>
            <a:pPr lvl="0"/>
            <a:r>
              <a:rPr lang="en-US" noProof="0"/>
              <a:t>Edit Master text styles</a:t>
            </a:r>
          </a:p>
        </p:txBody>
      </p:sp>
      <p:sp>
        <p:nvSpPr>
          <p:cNvPr id="13" name="Freeform 7">
            <a:extLst>
              <a:ext uri="{FF2B5EF4-FFF2-40B4-BE49-F238E27FC236}">
                <a16:creationId xmlns:a16="http://schemas.microsoft.com/office/drawing/2014/main" id="{61F23A75-CD16-E546-930B-7367D64EC41B}"/>
              </a:ext>
            </a:extLst>
          </p:cNvPr>
          <p:cNvSpPr>
            <a:spLocks noChangeArrowheads="1"/>
          </p:cNvSpPr>
          <p:nvPr userDrawn="1"/>
        </p:nvSpPr>
        <p:spPr bwMode="auto">
          <a:xfrm>
            <a:off x="7839264" y="2405361"/>
            <a:ext cx="1700899" cy="1663721"/>
          </a:xfrm>
          <a:custGeom>
            <a:avLst/>
            <a:gdLst>
              <a:gd name="T0" fmla="*/ 3076 w 4036"/>
              <a:gd name="T1" fmla="*/ 1764 h 3948"/>
              <a:gd name="T2" fmla="*/ 3076 w 4036"/>
              <a:gd name="T3" fmla="*/ 1764 h 3948"/>
              <a:gd name="T4" fmla="*/ 3076 w 4036"/>
              <a:gd name="T5" fmla="*/ 1974 h 3948"/>
              <a:gd name="T6" fmla="*/ 2007 w 4036"/>
              <a:gd name="T7" fmla="*/ 3087 h 3948"/>
              <a:gd name="T8" fmla="*/ 959 w 4036"/>
              <a:gd name="T9" fmla="*/ 1974 h 3948"/>
              <a:gd name="T10" fmla="*/ 2007 w 4036"/>
              <a:gd name="T11" fmla="*/ 871 h 3948"/>
              <a:gd name="T12" fmla="*/ 2062 w 4036"/>
              <a:gd name="T13" fmla="*/ 871 h 3948"/>
              <a:gd name="T14" fmla="*/ 2062 w 4036"/>
              <a:gd name="T15" fmla="*/ 0 h 3948"/>
              <a:gd name="T16" fmla="*/ 2007 w 4036"/>
              <a:gd name="T17" fmla="*/ 0 h 3948"/>
              <a:gd name="T18" fmla="*/ 0 w 4036"/>
              <a:gd name="T19" fmla="*/ 1974 h 3948"/>
              <a:gd name="T20" fmla="*/ 2007 w 4036"/>
              <a:gd name="T21" fmla="*/ 3947 h 3948"/>
              <a:gd name="T22" fmla="*/ 4035 w 4036"/>
              <a:gd name="T23" fmla="*/ 1974 h 3948"/>
              <a:gd name="T24" fmla="*/ 4002 w 4036"/>
              <a:gd name="T25" fmla="*/ 1764 h 3948"/>
              <a:gd name="T26" fmla="*/ 3076 w 4036"/>
              <a:gd name="T27" fmla="*/ 1764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6" h="3948">
                <a:moveTo>
                  <a:pt x="3076" y="1764"/>
                </a:moveTo>
                <a:lnTo>
                  <a:pt x="3076" y="1764"/>
                </a:lnTo>
                <a:cubicBezTo>
                  <a:pt x="3076" y="1852"/>
                  <a:pt x="3076" y="1907"/>
                  <a:pt x="3076" y="1974"/>
                </a:cubicBezTo>
                <a:cubicBezTo>
                  <a:pt x="3076" y="2624"/>
                  <a:pt x="2624" y="3087"/>
                  <a:pt x="2007" y="3087"/>
                </a:cubicBezTo>
                <a:cubicBezTo>
                  <a:pt x="1422" y="3087"/>
                  <a:pt x="959" y="2624"/>
                  <a:pt x="959" y="1974"/>
                </a:cubicBezTo>
                <a:cubicBezTo>
                  <a:pt x="959" y="1356"/>
                  <a:pt x="1389" y="871"/>
                  <a:pt x="2007" y="871"/>
                </a:cubicBezTo>
                <a:cubicBezTo>
                  <a:pt x="2040" y="871"/>
                  <a:pt x="2040" y="871"/>
                  <a:pt x="2062" y="871"/>
                </a:cubicBezTo>
                <a:cubicBezTo>
                  <a:pt x="2062" y="0"/>
                  <a:pt x="2062" y="0"/>
                  <a:pt x="2062" y="0"/>
                </a:cubicBezTo>
                <a:cubicBezTo>
                  <a:pt x="2040" y="0"/>
                  <a:pt x="2040" y="0"/>
                  <a:pt x="2007" y="0"/>
                </a:cubicBezTo>
                <a:cubicBezTo>
                  <a:pt x="871" y="0"/>
                  <a:pt x="0" y="893"/>
                  <a:pt x="0" y="1974"/>
                </a:cubicBezTo>
                <a:cubicBezTo>
                  <a:pt x="0" y="3109"/>
                  <a:pt x="871" y="3947"/>
                  <a:pt x="2007" y="3947"/>
                </a:cubicBezTo>
                <a:cubicBezTo>
                  <a:pt x="3175" y="3947"/>
                  <a:pt x="4035" y="3109"/>
                  <a:pt x="4035" y="1974"/>
                </a:cubicBezTo>
                <a:cubicBezTo>
                  <a:pt x="4035" y="1907"/>
                  <a:pt x="4035" y="1852"/>
                  <a:pt x="4002" y="1764"/>
                </a:cubicBezTo>
                <a:lnTo>
                  <a:pt x="3076" y="1764"/>
                </a:lnTo>
              </a:path>
            </a:pathLst>
          </a:custGeom>
          <a:solidFill>
            <a:schemeClr val="bg1"/>
          </a:solidFill>
          <a:ln>
            <a:noFill/>
          </a:ln>
          <a:effectLst/>
        </p:spPr>
        <p:txBody>
          <a:bodyPr wrap="none" anchor="ctr"/>
          <a:lstStyle/>
          <a:p>
            <a:endParaRPr lang="en-US" noProof="0">
              <a:solidFill>
                <a:schemeClr val="bg1"/>
              </a:solidFill>
            </a:endParaRPr>
          </a:p>
        </p:txBody>
      </p:sp>
      <p:sp>
        <p:nvSpPr>
          <p:cNvPr id="14" name="Text Placeholder 5">
            <a:extLst>
              <a:ext uri="{FF2B5EF4-FFF2-40B4-BE49-F238E27FC236}">
                <a16:creationId xmlns:a16="http://schemas.microsoft.com/office/drawing/2014/main" id="{C6C58D9B-1098-F04F-886B-CDAD8D512CA4}"/>
              </a:ext>
            </a:extLst>
          </p:cNvPr>
          <p:cNvSpPr>
            <a:spLocks noGrp="1"/>
          </p:cNvSpPr>
          <p:nvPr>
            <p:ph type="body" idx="10"/>
          </p:nvPr>
        </p:nvSpPr>
        <p:spPr>
          <a:xfrm>
            <a:off x="3455988" y="1600200"/>
            <a:ext cx="3521693" cy="3132138"/>
          </a:xfrm>
          <a:prstGeom prst="rect">
            <a:avLst/>
          </a:prstGeom>
        </p:spPr>
        <p:txBody>
          <a:bodyPr lIns="432000" tIns="72000" rIns="288000" bIns="180000"/>
          <a:lstStyle>
            <a:lvl1pPr>
              <a:lnSpc>
                <a:spcPct val="120000"/>
              </a:lnSpc>
              <a:spcAft>
                <a:spcPts val="600"/>
              </a:spcAft>
              <a:defRPr sz="1000">
                <a:solidFill>
                  <a:schemeClr val="bg1"/>
                </a:solidFill>
              </a:defRPr>
            </a:lvl1pPr>
            <a:lvl2pPr>
              <a:lnSpc>
                <a:spcPct val="120000"/>
              </a:lnSpc>
              <a:spcAft>
                <a:spcPts val="600"/>
              </a:spcAft>
              <a:buClr>
                <a:schemeClr val="bg1"/>
              </a:buClr>
              <a:defRPr sz="1000">
                <a:solidFill>
                  <a:schemeClr val="bg1"/>
                </a:solidFill>
              </a:defRPr>
            </a:lvl2pPr>
            <a:lvl3pPr>
              <a:lnSpc>
                <a:spcPct val="120000"/>
              </a:lnSpc>
              <a:spcAft>
                <a:spcPts val="600"/>
              </a:spcAft>
              <a:defRPr sz="1000">
                <a:solidFill>
                  <a:schemeClr val="bg1"/>
                </a:solidFill>
              </a:defRPr>
            </a:lvl3pPr>
            <a:lvl4pPr>
              <a:lnSpc>
                <a:spcPct val="120000"/>
              </a:lnSpc>
              <a:spcAft>
                <a:spcPts val="600"/>
              </a:spcAft>
              <a:defRPr sz="1000">
                <a:solidFill>
                  <a:schemeClr val="bg1"/>
                </a:solidFill>
              </a:defRPr>
            </a:lvl4pPr>
            <a:lvl5pPr>
              <a:lnSpc>
                <a:spcPct val="120000"/>
              </a:lnSpc>
              <a:spcAft>
                <a:spcPts val="600"/>
              </a:spcAft>
              <a:defRPr sz="1000">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7">
            <a:extLst>
              <a:ext uri="{FF2B5EF4-FFF2-40B4-BE49-F238E27FC236}">
                <a16:creationId xmlns:a16="http://schemas.microsoft.com/office/drawing/2014/main" id="{AB1915B8-FF0E-604C-895D-E50CA6D81705}"/>
              </a:ext>
            </a:extLst>
          </p:cNvPr>
          <p:cNvSpPr>
            <a:spLocks noGrp="1"/>
          </p:cNvSpPr>
          <p:nvPr>
            <p:ph type="body" sz="quarter" idx="11" hasCustomPrompt="1"/>
          </p:nvPr>
        </p:nvSpPr>
        <p:spPr>
          <a:xfrm>
            <a:off x="3455988" y="808038"/>
            <a:ext cx="3521693" cy="785650"/>
          </a:xfrm>
          <a:prstGeom prst="rect">
            <a:avLst/>
          </a:prstGeom>
        </p:spPr>
        <p:txBody>
          <a:bodyPr lIns="432000" tIns="72000" rIns="288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
        <p:nvSpPr>
          <p:cNvPr id="16" name="Text Placeholder 7">
            <a:extLst>
              <a:ext uri="{FF2B5EF4-FFF2-40B4-BE49-F238E27FC236}">
                <a16:creationId xmlns:a16="http://schemas.microsoft.com/office/drawing/2014/main" id="{45E9FA52-0744-FB4C-9A6F-523501A25C82}"/>
              </a:ext>
            </a:extLst>
          </p:cNvPr>
          <p:cNvSpPr>
            <a:spLocks noGrp="1"/>
          </p:cNvSpPr>
          <p:nvPr>
            <p:ph type="body" sz="quarter" idx="23" hasCustomPrompt="1"/>
          </p:nvPr>
        </p:nvSpPr>
        <p:spPr>
          <a:xfrm>
            <a:off x="9525" y="808038"/>
            <a:ext cx="3446463" cy="785650"/>
          </a:xfrm>
          <a:prstGeom prst="rect">
            <a:avLst/>
          </a:prstGeom>
        </p:spPr>
        <p:txBody>
          <a:bodyPr lIns="432000" tIns="72000" rIns="288000" bIns="180000" anchor="b" anchorCtr="0"/>
          <a:lstStyle>
            <a:lvl1pPr>
              <a:defRPr sz="1600">
                <a:solidFill>
                  <a:schemeClr val="accent2"/>
                </a:solidFill>
              </a:defRPr>
            </a:lvl1pPr>
            <a:lvl2pPr>
              <a:defRPr sz="1600">
                <a:solidFill>
                  <a:schemeClr val="accent2"/>
                </a:solidFill>
              </a:defRPr>
            </a:lvl2pPr>
            <a:lvl3pPr>
              <a:defRPr sz="1600">
                <a:solidFill>
                  <a:schemeClr val="accent2"/>
                </a:solidFill>
              </a:defRPr>
            </a:lvl3pPr>
            <a:lvl4pPr>
              <a:defRPr sz="1600">
                <a:solidFill>
                  <a:schemeClr val="accent2"/>
                </a:solidFill>
              </a:defRPr>
            </a:lvl4pPr>
            <a:lvl5pPr>
              <a:defRPr sz="1600">
                <a:solidFill>
                  <a:schemeClr val="accent2"/>
                </a:solidFill>
              </a:defRPr>
            </a:lvl5pPr>
          </a:lstStyle>
          <a:p>
            <a:pPr lvl="0"/>
            <a:r>
              <a:rPr lang="en-US" noProof="0"/>
              <a:t>Subtitle</a:t>
            </a:r>
          </a:p>
        </p:txBody>
      </p:sp>
    </p:spTree>
    <p:extLst>
      <p:ext uri="{BB962C8B-B14F-4D97-AF65-F5344CB8AC3E}">
        <p14:creationId xmlns:p14="http://schemas.microsoft.com/office/powerpoint/2010/main" val="23857551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digo-Content_Team">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75A528F-9C6A-E844-81CC-08E50CFEC82C}"/>
              </a:ext>
            </a:extLst>
          </p:cNvPr>
          <p:cNvSpPr>
            <a:spLocks noGrp="1"/>
          </p:cNvSpPr>
          <p:nvPr>
            <p:ph type="body" sz="quarter" idx="11" hasCustomPrompt="1"/>
          </p:nvPr>
        </p:nvSpPr>
        <p:spPr>
          <a:xfrm>
            <a:off x="431800" y="3147162"/>
            <a:ext cx="1401380" cy="360000"/>
          </a:xfrm>
          <a:prstGeom prst="rect">
            <a:avLst/>
          </a:prstGeom>
          <a:solidFill>
            <a:schemeClr val="bg1"/>
          </a:solidFill>
        </p:spPr>
        <p:txBody>
          <a:bodyPr lIns="72000" tIns="72000" rIns="72000" bIns="72000" anchor="b" anchorCtr="0"/>
          <a:lstStyle>
            <a:lvl1pPr algn="l">
              <a:defRPr sz="1200">
                <a:solidFill>
                  <a:schemeClr val="accent2"/>
                </a:solidFill>
              </a:defRPr>
            </a:lvl1pPr>
          </a:lstStyle>
          <a:p>
            <a:pPr lvl="0"/>
            <a:r>
              <a:rPr lang="en-US" noProof="0"/>
              <a:t>Subtitle</a:t>
            </a:r>
          </a:p>
        </p:txBody>
      </p:sp>
      <p:sp>
        <p:nvSpPr>
          <p:cNvPr id="6" name="Text Placeholder 6">
            <a:extLst>
              <a:ext uri="{FF2B5EF4-FFF2-40B4-BE49-F238E27FC236}">
                <a16:creationId xmlns:a16="http://schemas.microsoft.com/office/drawing/2014/main" id="{709847EC-01D3-F64B-8012-6ACD97E27AB2}"/>
              </a:ext>
            </a:extLst>
          </p:cNvPr>
          <p:cNvSpPr>
            <a:spLocks noGrp="1"/>
          </p:cNvSpPr>
          <p:nvPr>
            <p:ph type="body" sz="quarter" idx="12"/>
          </p:nvPr>
        </p:nvSpPr>
        <p:spPr>
          <a:xfrm>
            <a:off x="431800" y="3507162"/>
            <a:ext cx="1401380" cy="936588"/>
          </a:xfrm>
          <a:prstGeom prst="rect">
            <a:avLst/>
          </a:prstGeom>
          <a:solidFill>
            <a:schemeClr val="bg1"/>
          </a:solidFill>
        </p:spPr>
        <p:txBody>
          <a:bodyPr lIns="72000" tIns="72000" rIns="72000" bIns="72000"/>
          <a:lstStyle>
            <a:lvl1pPr algn="l">
              <a:defRPr sz="1000"/>
            </a:lvl1pPr>
            <a:lvl2pPr>
              <a:defRPr sz="1000"/>
            </a:lvl2pPr>
            <a:lvl3pPr marL="675085" indent="-134541">
              <a:buFont typeface="System Font Regular"/>
              <a:buChar char="–"/>
              <a:defRPr sz="1000"/>
            </a:lvl3pPr>
            <a:lvl4pPr>
              <a:defRPr sz="1000"/>
            </a:lvl4pPr>
            <a:lvl5pPr marL="1215629" indent="-134541">
              <a:buFont typeface="System Font Regular"/>
              <a:buChar char="–"/>
              <a:defRPr sz="1000"/>
            </a:lvl5pPr>
          </a:lstStyle>
          <a:p>
            <a:pPr lvl="0"/>
            <a:r>
              <a:rPr lang="en-US" noProof="0"/>
              <a:t>Edit Master text styles</a:t>
            </a:r>
          </a:p>
        </p:txBody>
      </p:sp>
      <p:sp>
        <p:nvSpPr>
          <p:cNvPr id="23" name="Picture Placeholder 22">
            <a:extLst>
              <a:ext uri="{FF2B5EF4-FFF2-40B4-BE49-F238E27FC236}">
                <a16:creationId xmlns:a16="http://schemas.microsoft.com/office/drawing/2014/main" id="{8BF829C4-9839-BD42-A1EE-37D16B31B5E9}"/>
              </a:ext>
            </a:extLst>
          </p:cNvPr>
          <p:cNvSpPr>
            <a:spLocks noGrp="1"/>
          </p:cNvSpPr>
          <p:nvPr>
            <p:ph type="pic" sz="quarter" idx="21"/>
          </p:nvPr>
        </p:nvSpPr>
        <p:spPr>
          <a:xfrm>
            <a:off x="431800" y="1702137"/>
            <a:ext cx="1404938" cy="1444625"/>
          </a:xfrm>
          <a:prstGeom prst="rect">
            <a:avLst/>
          </a:prstGeom>
        </p:spPr>
        <p:txBody>
          <a:bodyPr lIns="180000" rIns="72000" bIns="0"/>
          <a:lstStyle>
            <a:lvl1pPr>
              <a:defRPr sz="1000">
                <a:solidFill>
                  <a:schemeClr val="accent2"/>
                </a:solidFill>
              </a:defRPr>
            </a:lvl1pPr>
          </a:lstStyle>
          <a:p>
            <a:endParaRPr lang="en-US" noProof="0"/>
          </a:p>
        </p:txBody>
      </p:sp>
      <p:sp>
        <p:nvSpPr>
          <p:cNvPr id="28" name="Title 5">
            <a:extLst>
              <a:ext uri="{FF2B5EF4-FFF2-40B4-BE49-F238E27FC236}">
                <a16:creationId xmlns:a16="http://schemas.microsoft.com/office/drawing/2014/main" id="{5C964129-4499-9842-840D-AE4A3DD62849}"/>
              </a:ext>
            </a:extLst>
          </p:cNvPr>
          <p:cNvSpPr>
            <a:spLocks noGrp="1"/>
          </p:cNvSpPr>
          <p:nvPr>
            <p:ph type="title"/>
          </p:nvPr>
        </p:nvSpPr>
        <p:spPr>
          <a:xfrm>
            <a:off x="9525" y="1"/>
            <a:ext cx="6975475"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
        <p:nvSpPr>
          <p:cNvPr id="60" name="Text Placeholder 3">
            <a:extLst>
              <a:ext uri="{FF2B5EF4-FFF2-40B4-BE49-F238E27FC236}">
                <a16:creationId xmlns:a16="http://schemas.microsoft.com/office/drawing/2014/main" id="{753D35D9-36CF-9A45-9A0C-03CA90B6ACB7}"/>
              </a:ext>
            </a:extLst>
          </p:cNvPr>
          <p:cNvSpPr>
            <a:spLocks noGrp="1"/>
          </p:cNvSpPr>
          <p:nvPr>
            <p:ph type="body" sz="quarter" idx="22" hasCustomPrompt="1"/>
          </p:nvPr>
        </p:nvSpPr>
        <p:spPr>
          <a:xfrm>
            <a:off x="2150666" y="3147162"/>
            <a:ext cx="1401380" cy="360000"/>
          </a:xfrm>
          <a:prstGeom prst="rect">
            <a:avLst/>
          </a:prstGeom>
          <a:solidFill>
            <a:schemeClr val="bg1"/>
          </a:solidFill>
        </p:spPr>
        <p:txBody>
          <a:bodyPr lIns="72000" tIns="72000" rIns="72000" bIns="72000" anchor="b" anchorCtr="0"/>
          <a:lstStyle>
            <a:lvl1pPr algn="l">
              <a:defRPr sz="1200">
                <a:solidFill>
                  <a:schemeClr val="accent2"/>
                </a:solidFill>
              </a:defRPr>
            </a:lvl1pPr>
          </a:lstStyle>
          <a:p>
            <a:pPr lvl="0"/>
            <a:r>
              <a:rPr lang="en-US" noProof="0"/>
              <a:t>Subtitle</a:t>
            </a:r>
          </a:p>
        </p:txBody>
      </p:sp>
      <p:sp>
        <p:nvSpPr>
          <p:cNvPr id="61" name="Text Placeholder 6">
            <a:extLst>
              <a:ext uri="{FF2B5EF4-FFF2-40B4-BE49-F238E27FC236}">
                <a16:creationId xmlns:a16="http://schemas.microsoft.com/office/drawing/2014/main" id="{92A8E735-5B66-8443-8A7C-DEE92176EF94}"/>
              </a:ext>
            </a:extLst>
          </p:cNvPr>
          <p:cNvSpPr>
            <a:spLocks noGrp="1"/>
          </p:cNvSpPr>
          <p:nvPr>
            <p:ph type="body" sz="quarter" idx="23"/>
          </p:nvPr>
        </p:nvSpPr>
        <p:spPr>
          <a:xfrm>
            <a:off x="2150666" y="3507162"/>
            <a:ext cx="1401380" cy="936588"/>
          </a:xfrm>
          <a:prstGeom prst="rect">
            <a:avLst/>
          </a:prstGeom>
          <a:solidFill>
            <a:schemeClr val="bg1"/>
          </a:solidFill>
        </p:spPr>
        <p:txBody>
          <a:bodyPr lIns="72000" tIns="72000" rIns="72000" bIns="72000"/>
          <a:lstStyle>
            <a:lvl1pPr algn="l">
              <a:defRPr sz="1000"/>
            </a:lvl1pPr>
            <a:lvl2pPr>
              <a:defRPr sz="1000"/>
            </a:lvl2pPr>
            <a:lvl3pPr marL="675085" indent="-134541">
              <a:buFont typeface="System Font Regular"/>
              <a:buChar char="–"/>
              <a:defRPr sz="1000"/>
            </a:lvl3pPr>
            <a:lvl4pPr>
              <a:defRPr sz="1000"/>
            </a:lvl4pPr>
            <a:lvl5pPr marL="1215629" indent="-134541">
              <a:buFont typeface="System Font Regular"/>
              <a:buChar char="–"/>
              <a:defRPr sz="1000"/>
            </a:lvl5pPr>
          </a:lstStyle>
          <a:p>
            <a:pPr lvl="0"/>
            <a:r>
              <a:rPr lang="en-US" noProof="0"/>
              <a:t>Edit Master text styles</a:t>
            </a:r>
          </a:p>
        </p:txBody>
      </p:sp>
      <p:sp>
        <p:nvSpPr>
          <p:cNvPr id="62" name="Picture Placeholder 22">
            <a:extLst>
              <a:ext uri="{FF2B5EF4-FFF2-40B4-BE49-F238E27FC236}">
                <a16:creationId xmlns:a16="http://schemas.microsoft.com/office/drawing/2014/main" id="{E2895EDF-1A33-B64B-80C3-9D88784595B0}"/>
              </a:ext>
            </a:extLst>
          </p:cNvPr>
          <p:cNvSpPr>
            <a:spLocks noGrp="1"/>
          </p:cNvSpPr>
          <p:nvPr>
            <p:ph type="pic" sz="quarter" idx="24"/>
          </p:nvPr>
        </p:nvSpPr>
        <p:spPr>
          <a:xfrm>
            <a:off x="2150666" y="1702137"/>
            <a:ext cx="1404938" cy="1444625"/>
          </a:xfrm>
          <a:prstGeom prst="rect">
            <a:avLst/>
          </a:prstGeom>
        </p:spPr>
        <p:txBody>
          <a:bodyPr lIns="180000" rIns="72000" bIns="0"/>
          <a:lstStyle>
            <a:lvl1pPr>
              <a:defRPr sz="1000">
                <a:solidFill>
                  <a:schemeClr val="accent2"/>
                </a:solidFill>
              </a:defRPr>
            </a:lvl1pPr>
          </a:lstStyle>
          <a:p>
            <a:endParaRPr lang="en-US" noProof="0"/>
          </a:p>
        </p:txBody>
      </p:sp>
      <p:sp>
        <p:nvSpPr>
          <p:cNvPr id="63" name="Text Placeholder 3">
            <a:extLst>
              <a:ext uri="{FF2B5EF4-FFF2-40B4-BE49-F238E27FC236}">
                <a16:creationId xmlns:a16="http://schemas.microsoft.com/office/drawing/2014/main" id="{0BAD687D-20BE-D742-B5E0-CA09D556A59A}"/>
              </a:ext>
            </a:extLst>
          </p:cNvPr>
          <p:cNvSpPr>
            <a:spLocks noGrp="1"/>
          </p:cNvSpPr>
          <p:nvPr>
            <p:ph type="body" sz="quarter" idx="25" hasCustomPrompt="1"/>
          </p:nvPr>
        </p:nvSpPr>
        <p:spPr>
          <a:xfrm>
            <a:off x="3869531" y="3147162"/>
            <a:ext cx="1401380" cy="360000"/>
          </a:xfrm>
          <a:prstGeom prst="rect">
            <a:avLst/>
          </a:prstGeom>
          <a:solidFill>
            <a:schemeClr val="bg1"/>
          </a:solidFill>
        </p:spPr>
        <p:txBody>
          <a:bodyPr lIns="72000" tIns="72000" rIns="72000" bIns="72000" anchor="b" anchorCtr="0"/>
          <a:lstStyle>
            <a:lvl1pPr algn="l">
              <a:defRPr sz="1200">
                <a:solidFill>
                  <a:schemeClr val="accent2"/>
                </a:solidFill>
              </a:defRPr>
            </a:lvl1pPr>
          </a:lstStyle>
          <a:p>
            <a:pPr lvl="0"/>
            <a:r>
              <a:rPr lang="en-US" noProof="0"/>
              <a:t>Subtitle</a:t>
            </a:r>
          </a:p>
        </p:txBody>
      </p:sp>
      <p:sp>
        <p:nvSpPr>
          <p:cNvPr id="64" name="Text Placeholder 6">
            <a:extLst>
              <a:ext uri="{FF2B5EF4-FFF2-40B4-BE49-F238E27FC236}">
                <a16:creationId xmlns:a16="http://schemas.microsoft.com/office/drawing/2014/main" id="{6BB683C5-FBDD-C941-8A31-D040DFAFE000}"/>
              </a:ext>
            </a:extLst>
          </p:cNvPr>
          <p:cNvSpPr>
            <a:spLocks noGrp="1"/>
          </p:cNvSpPr>
          <p:nvPr>
            <p:ph type="body" sz="quarter" idx="26"/>
          </p:nvPr>
        </p:nvSpPr>
        <p:spPr>
          <a:xfrm>
            <a:off x="3869531" y="3507162"/>
            <a:ext cx="1401380" cy="936588"/>
          </a:xfrm>
          <a:prstGeom prst="rect">
            <a:avLst/>
          </a:prstGeom>
          <a:solidFill>
            <a:schemeClr val="bg1"/>
          </a:solidFill>
        </p:spPr>
        <p:txBody>
          <a:bodyPr lIns="72000" tIns="72000" rIns="72000" bIns="72000"/>
          <a:lstStyle>
            <a:lvl1pPr algn="l">
              <a:defRPr sz="1000"/>
            </a:lvl1pPr>
            <a:lvl2pPr>
              <a:defRPr sz="1000"/>
            </a:lvl2pPr>
            <a:lvl3pPr marL="675085" indent="-134541">
              <a:buFont typeface="System Font Regular"/>
              <a:buChar char="–"/>
              <a:defRPr sz="1000"/>
            </a:lvl3pPr>
            <a:lvl4pPr>
              <a:defRPr sz="1000"/>
            </a:lvl4pPr>
            <a:lvl5pPr marL="1215629" indent="-134541">
              <a:buFont typeface="System Font Regular"/>
              <a:buChar char="–"/>
              <a:defRPr sz="1000"/>
            </a:lvl5pPr>
          </a:lstStyle>
          <a:p>
            <a:pPr lvl="0"/>
            <a:r>
              <a:rPr lang="en-US" noProof="0"/>
              <a:t>Edit Master text styles</a:t>
            </a:r>
          </a:p>
        </p:txBody>
      </p:sp>
      <p:sp>
        <p:nvSpPr>
          <p:cNvPr id="65" name="Picture Placeholder 22">
            <a:extLst>
              <a:ext uri="{FF2B5EF4-FFF2-40B4-BE49-F238E27FC236}">
                <a16:creationId xmlns:a16="http://schemas.microsoft.com/office/drawing/2014/main" id="{6B1A3E75-29B0-094F-AB49-FF2DA9425B3B}"/>
              </a:ext>
            </a:extLst>
          </p:cNvPr>
          <p:cNvSpPr>
            <a:spLocks noGrp="1"/>
          </p:cNvSpPr>
          <p:nvPr>
            <p:ph type="pic" sz="quarter" idx="27"/>
          </p:nvPr>
        </p:nvSpPr>
        <p:spPr>
          <a:xfrm>
            <a:off x="3869531" y="1702137"/>
            <a:ext cx="1404938" cy="1444625"/>
          </a:xfrm>
          <a:prstGeom prst="rect">
            <a:avLst/>
          </a:prstGeom>
        </p:spPr>
        <p:txBody>
          <a:bodyPr lIns="180000" rIns="72000" bIns="0"/>
          <a:lstStyle>
            <a:lvl1pPr>
              <a:defRPr sz="1000">
                <a:solidFill>
                  <a:schemeClr val="accent2"/>
                </a:solidFill>
              </a:defRPr>
            </a:lvl1pPr>
          </a:lstStyle>
          <a:p>
            <a:endParaRPr lang="en-US" noProof="0"/>
          </a:p>
        </p:txBody>
      </p:sp>
      <p:sp>
        <p:nvSpPr>
          <p:cNvPr id="66" name="Text Placeholder 3">
            <a:extLst>
              <a:ext uri="{FF2B5EF4-FFF2-40B4-BE49-F238E27FC236}">
                <a16:creationId xmlns:a16="http://schemas.microsoft.com/office/drawing/2014/main" id="{4A34E9E4-CFF3-E94D-BB63-E8885B8D34C5}"/>
              </a:ext>
            </a:extLst>
          </p:cNvPr>
          <p:cNvSpPr>
            <a:spLocks noGrp="1"/>
          </p:cNvSpPr>
          <p:nvPr>
            <p:ph type="body" sz="quarter" idx="28" hasCustomPrompt="1"/>
          </p:nvPr>
        </p:nvSpPr>
        <p:spPr>
          <a:xfrm>
            <a:off x="5588397" y="3147162"/>
            <a:ext cx="1401380" cy="360000"/>
          </a:xfrm>
          <a:prstGeom prst="rect">
            <a:avLst/>
          </a:prstGeom>
          <a:solidFill>
            <a:schemeClr val="bg1"/>
          </a:solidFill>
        </p:spPr>
        <p:txBody>
          <a:bodyPr lIns="72000" tIns="72000" rIns="72000" bIns="72000" anchor="b" anchorCtr="0"/>
          <a:lstStyle>
            <a:lvl1pPr algn="l">
              <a:defRPr sz="1200">
                <a:solidFill>
                  <a:schemeClr val="accent2"/>
                </a:solidFill>
              </a:defRPr>
            </a:lvl1pPr>
          </a:lstStyle>
          <a:p>
            <a:pPr lvl="0"/>
            <a:r>
              <a:rPr lang="en-US" noProof="0"/>
              <a:t>Subtitle</a:t>
            </a:r>
          </a:p>
        </p:txBody>
      </p:sp>
      <p:sp>
        <p:nvSpPr>
          <p:cNvPr id="67" name="Text Placeholder 6">
            <a:extLst>
              <a:ext uri="{FF2B5EF4-FFF2-40B4-BE49-F238E27FC236}">
                <a16:creationId xmlns:a16="http://schemas.microsoft.com/office/drawing/2014/main" id="{579FFF7D-5AA1-7749-AFA7-79D497673D0D}"/>
              </a:ext>
            </a:extLst>
          </p:cNvPr>
          <p:cNvSpPr>
            <a:spLocks noGrp="1"/>
          </p:cNvSpPr>
          <p:nvPr>
            <p:ph type="body" sz="quarter" idx="29"/>
          </p:nvPr>
        </p:nvSpPr>
        <p:spPr>
          <a:xfrm>
            <a:off x="5588397" y="3507162"/>
            <a:ext cx="1401380" cy="936588"/>
          </a:xfrm>
          <a:prstGeom prst="rect">
            <a:avLst/>
          </a:prstGeom>
          <a:solidFill>
            <a:schemeClr val="bg1"/>
          </a:solidFill>
        </p:spPr>
        <p:txBody>
          <a:bodyPr lIns="72000" tIns="72000" rIns="72000" bIns="72000"/>
          <a:lstStyle>
            <a:lvl1pPr algn="l">
              <a:defRPr sz="1000"/>
            </a:lvl1pPr>
            <a:lvl2pPr>
              <a:defRPr sz="1000"/>
            </a:lvl2pPr>
            <a:lvl3pPr marL="675085" indent="-134541">
              <a:buFont typeface="System Font Regular"/>
              <a:buChar char="–"/>
              <a:defRPr sz="1000"/>
            </a:lvl3pPr>
            <a:lvl4pPr>
              <a:defRPr sz="1000"/>
            </a:lvl4pPr>
            <a:lvl5pPr marL="1215629" indent="-134541">
              <a:buFont typeface="System Font Regular"/>
              <a:buChar char="–"/>
              <a:defRPr sz="1000"/>
            </a:lvl5pPr>
          </a:lstStyle>
          <a:p>
            <a:pPr lvl="0"/>
            <a:r>
              <a:rPr lang="en-US" noProof="0"/>
              <a:t>Edit Master text styles</a:t>
            </a:r>
          </a:p>
        </p:txBody>
      </p:sp>
      <p:sp>
        <p:nvSpPr>
          <p:cNvPr id="68" name="Picture Placeholder 22">
            <a:extLst>
              <a:ext uri="{FF2B5EF4-FFF2-40B4-BE49-F238E27FC236}">
                <a16:creationId xmlns:a16="http://schemas.microsoft.com/office/drawing/2014/main" id="{123CA07A-5B46-7D49-B5EE-72A82EE0EA24}"/>
              </a:ext>
            </a:extLst>
          </p:cNvPr>
          <p:cNvSpPr>
            <a:spLocks noGrp="1"/>
          </p:cNvSpPr>
          <p:nvPr>
            <p:ph type="pic" sz="quarter" idx="30"/>
          </p:nvPr>
        </p:nvSpPr>
        <p:spPr>
          <a:xfrm>
            <a:off x="5588397" y="1702137"/>
            <a:ext cx="1404938" cy="1444625"/>
          </a:xfrm>
          <a:prstGeom prst="rect">
            <a:avLst/>
          </a:prstGeom>
        </p:spPr>
        <p:txBody>
          <a:bodyPr lIns="180000" rIns="72000" bIns="0"/>
          <a:lstStyle>
            <a:lvl1pPr>
              <a:defRPr sz="1000">
                <a:solidFill>
                  <a:schemeClr val="accent2"/>
                </a:solidFill>
              </a:defRPr>
            </a:lvl1pPr>
          </a:lstStyle>
          <a:p>
            <a:endParaRPr lang="en-US" noProof="0"/>
          </a:p>
        </p:txBody>
      </p:sp>
      <p:sp>
        <p:nvSpPr>
          <p:cNvPr id="69" name="Text Placeholder 3">
            <a:extLst>
              <a:ext uri="{FF2B5EF4-FFF2-40B4-BE49-F238E27FC236}">
                <a16:creationId xmlns:a16="http://schemas.microsoft.com/office/drawing/2014/main" id="{2A8E9EE6-F9F0-3548-A3A1-D8B0210E50E5}"/>
              </a:ext>
            </a:extLst>
          </p:cNvPr>
          <p:cNvSpPr>
            <a:spLocks noGrp="1"/>
          </p:cNvSpPr>
          <p:nvPr>
            <p:ph type="body" sz="quarter" idx="31" hasCustomPrompt="1"/>
          </p:nvPr>
        </p:nvSpPr>
        <p:spPr>
          <a:xfrm>
            <a:off x="7307262" y="3147162"/>
            <a:ext cx="1401380" cy="360000"/>
          </a:xfrm>
          <a:prstGeom prst="rect">
            <a:avLst/>
          </a:prstGeom>
          <a:solidFill>
            <a:schemeClr val="bg1"/>
          </a:solidFill>
        </p:spPr>
        <p:txBody>
          <a:bodyPr lIns="72000" tIns="72000" rIns="72000" bIns="72000" anchor="b" anchorCtr="0"/>
          <a:lstStyle>
            <a:lvl1pPr algn="l">
              <a:defRPr sz="1200">
                <a:solidFill>
                  <a:schemeClr val="accent2"/>
                </a:solidFill>
              </a:defRPr>
            </a:lvl1pPr>
          </a:lstStyle>
          <a:p>
            <a:pPr lvl="0"/>
            <a:r>
              <a:rPr lang="en-US" noProof="0"/>
              <a:t>Subtitle</a:t>
            </a:r>
          </a:p>
        </p:txBody>
      </p:sp>
      <p:sp>
        <p:nvSpPr>
          <p:cNvPr id="70" name="Text Placeholder 6">
            <a:extLst>
              <a:ext uri="{FF2B5EF4-FFF2-40B4-BE49-F238E27FC236}">
                <a16:creationId xmlns:a16="http://schemas.microsoft.com/office/drawing/2014/main" id="{DDE5EC04-561B-F04D-9C4C-583749268952}"/>
              </a:ext>
            </a:extLst>
          </p:cNvPr>
          <p:cNvSpPr>
            <a:spLocks noGrp="1"/>
          </p:cNvSpPr>
          <p:nvPr>
            <p:ph type="body" sz="quarter" idx="32"/>
          </p:nvPr>
        </p:nvSpPr>
        <p:spPr>
          <a:xfrm>
            <a:off x="7307262" y="3507162"/>
            <a:ext cx="1401380" cy="936588"/>
          </a:xfrm>
          <a:prstGeom prst="rect">
            <a:avLst/>
          </a:prstGeom>
          <a:solidFill>
            <a:schemeClr val="bg1"/>
          </a:solidFill>
        </p:spPr>
        <p:txBody>
          <a:bodyPr lIns="72000" tIns="72000" rIns="72000" bIns="72000"/>
          <a:lstStyle>
            <a:lvl1pPr algn="l">
              <a:defRPr sz="1000"/>
            </a:lvl1pPr>
            <a:lvl2pPr>
              <a:defRPr sz="1000"/>
            </a:lvl2pPr>
            <a:lvl3pPr marL="675085" indent="-134541">
              <a:buFont typeface="System Font Regular"/>
              <a:buChar char="–"/>
              <a:defRPr sz="1000"/>
            </a:lvl3pPr>
            <a:lvl4pPr>
              <a:defRPr sz="1000"/>
            </a:lvl4pPr>
            <a:lvl5pPr marL="1215629" indent="-134541">
              <a:buFont typeface="System Font Regular"/>
              <a:buChar char="–"/>
              <a:defRPr sz="1000"/>
            </a:lvl5pPr>
          </a:lstStyle>
          <a:p>
            <a:pPr lvl="0"/>
            <a:r>
              <a:rPr lang="en-US" noProof="0"/>
              <a:t>Edit Master text styles</a:t>
            </a:r>
          </a:p>
        </p:txBody>
      </p:sp>
      <p:sp>
        <p:nvSpPr>
          <p:cNvPr id="71" name="Picture Placeholder 22">
            <a:extLst>
              <a:ext uri="{FF2B5EF4-FFF2-40B4-BE49-F238E27FC236}">
                <a16:creationId xmlns:a16="http://schemas.microsoft.com/office/drawing/2014/main" id="{D64F0F40-A05C-DA4F-9E0D-266302A73C94}"/>
              </a:ext>
            </a:extLst>
          </p:cNvPr>
          <p:cNvSpPr>
            <a:spLocks noGrp="1"/>
          </p:cNvSpPr>
          <p:nvPr>
            <p:ph type="pic" sz="quarter" idx="33"/>
          </p:nvPr>
        </p:nvSpPr>
        <p:spPr>
          <a:xfrm>
            <a:off x="7307262" y="1702137"/>
            <a:ext cx="1404938" cy="1444625"/>
          </a:xfrm>
          <a:prstGeom prst="rect">
            <a:avLst/>
          </a:prstGeom>
        </p:spPr>
        <p:txBody>
          <a:bodyPr lIns="180000" rIns="72000" bIns="0"/>
          <a:lstStyle>
            <a:lvl1pPr>
              <a:defRPr sz="1000">
                <a:solidFill>
                  <a:schemeClr val="accent2"/>
                </a:solidFill>
              </a:defRPr>
            </a:lvl1pPr>
          </a:lstStyle>
          <a:p>
            <a:endParaRPr lang="en-US" noProof="0"/>
          </a:p>
        </p:txBody>
      </p:sp>
    </p:spTree>
    <p:extLst>
      <p:ext uri="{BB962C8B-B14F-4D97-AF65-F5344CB8AC3E}">
        <p14:creationId xmlns:p14="http://schemas.microsoft.com/office/powerpoint/2010/main" val="152929809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Odigo-Content_Team-white">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75A528F-9C6A-E844-81CC-08E50CFEC82C}"/>
              </a:ext>
            </a:extLst>
          </p:cNvPr>
          <p:cNvSpPr>
            <a:spLocks noGrp="1"/>
          </p:cNvSpPr>
          <p:nvPr>
            <p:ph type="body" sz="quarter" idx="11" hasCustomPrompt="1"/>
          </p:nvPr>
        </p:nvSpPr>
        <p:spPr>
          <a:xfrm>
            <a:off x="431800" y="3147162"/>
            <a:ext cx="1401380" cy="360000"/>
          </a:xfrm>
          <a:prstGeom prst="rect">
            <a:avLst/>
          </a:prstGeom>
          <a:solidFill>
            <a:schemeClr val="bg2"/>
          </a:solidFill>
        </p:spPr>
        <p:txBody>
          <a:bodyPr lIns="72000" tIns="72000" rIns="72000" bIns="72000" anchor="b" anchorCtr="0"/>
          <a:lstStyle>
            <a:lvl1pPr algn="l">
              <a:defRPr sz="1200">
                <a:solidFill>
                  <a:schemeClr val="accent2"/>
                </a:solidFill>
              </a:defRPr>
            </a:lvl1pPr>
          </a:lstStyle>
          <a:p>
            <a:pPr lvl="0"/>
            <a:r>
              <a:rPr lang="en-US" noProof="0"/>
              <a:t>Subtitle</a:t>
            </a:r>
          </a:p>
        </p:txBody>
      </p:sp>
      <p:sp>
        <p:nvSpPr>
          <p:cNvPr id="6" name="Text Placeholder 6">
            <a:extLst>
              <a:ext uri="{FF2B5EF4-FFF2-40B4-BE49-F238E27FC236}">
                <a16:creationId xmlns:a16="http://schemas.microsoft.com/office/drawing/2014/main" id="{709847EC-01D3-F64B-8012-6ACD97E27AB2}"/>
              </a:ext>
            </a:extLst>
          </p:cNvPr>
          <p:cNvSpPr>
            <a:spLocks noGrp="1"/>
          </p:cNvSpPr>
          <p:nvPr>
            <p:ph type="body" sz="quarter" idx="12"/>
          </p:nvPr>
        </p:nvSpPr>
        <p:spPr>
          <a:xfrm>
            <a:off x="431800" y="3507162"/>
            <a:ext cx="1401380" cy="936588"/>
          </a:xfrm>
          <a:prstGeom prst="rect">
            <a:avLst/>
          </a:prstGeom>
          <a:solidFill>
            <a:schemeClr val="bg2"/>
          </a:solidFill>
        </p:spPr>
        <p:txBody>
          <a:bodyPr lIns="72000" tIns="72000" rIns="72000" bIns="72000"/>
          <a:lstStyle>
            <a:lvl1pPr algn="l">
              <a:defRPr sz="1000"/>
            </a:lvl1pPr>
            <a:lvl2pPr>
              <a:defRPr sz="1000"/>
            </a:lvl2pPr>
            <a:lvl3pPr marL="675085" indent="-134541">
              <a:buFont typeface="System Font Regular"/>
              <a:buChar char="–"/>
              <a:defRPr sz="1000"/>
            </a:lvl3pPr>
            <a:lvl4pPr>
              <a:defRPr sz="1000"/>
            </a:lvl4pPr>
            <a:lvl5pPr marL="1215629" indent="-134541">
              <a:buFont typeface="System Font Regular"/>
              <a:buChar char="–"/>
              <a:defRPr sz="1000"/>
            </a:lvl5pPr>
          </a:lstStyle>
          <a:p>
            <a:pPr lvl="0"/>
            <a:r>
              <a:rPr lang="en-US" noProof="0"/>
              <a:t>Edit Master text styles</a:t>
            </a:r>
          </a:p>
        </p:txBody>
      </p:sp>
      <p:sp>
        <p:nvSpPr>
          <p:cNvPr id="23" name="Picture Placeholder 22">
            <a:extLst>
              <a:ext uri="{FF2B5EF4-FFF2-40B4-BE49-F238E27FC236}">
                <a16:creationId xmlns:a16="http://schemas.microsoft.com/office/drawing/2014/main" id="{8BF829C4-9839-BD42-A1EE-37D16B31B5E9}"/>
              </a:ext>
            </a:extLst>
          </p:cNvPr>
          <p:cNvSpPr>
            <a:spLocks noGrp="1"/>
          </p:cNvSpPr>
          <p:nvPr>
            <p:ph type="pic" sz="quarter" idx="21"/>
          </p:nvPr>
        </p:nvSpPr>
        <p:spPr>
          <a:xfrm>
            <a:off x="431800" y="1702137"/>
            <a:ext cx="1404938" cy="1444625"/>
          </a:xfrm>
          <a:prstGeom prst="rect">
            <a:avLst/>
          </a:prstGeom>
        </p:spPr>
        <p:txBody>
          <a:bodyPr lIns="180000" rIns="72000" bIns="0"/>
          <a:lstStyle>
            <a:lvl1pPr>
              <a:defRPr sz="1000">
                <a:solidFill>
                  <a:schemeClr val="accent2"/>
                </a:solidFill>
              </a:defRPr>
            </a:lvl1pPr>
          </a:lstStyle>
          <a:p>
            <a:endParaRPr lang="en-US" noProof="0"/>
          </a:p>
        </p:txBody>
      </p:sp>
      <p:sp>
        <p:nvSpPr>
          <p:cNvPr id="28" name="Title 5">
            <a:extLst>
              <a:ext uri="{FF2B5EF4-FFF2-40B4-BE49-F238E27FC236}">
                <a16:creationId xmlns:a16="http://schemas.microsoft.com/office/drawing/2014/main" id="{5C964129-4499-9842-840D-AE4A3DD62849}"/>
              </a:ext>
            </a:extLst>
          </p:cNvPr>
          <p:cNvSpPr>
            <a:spLocks noGrp="1"/>
          </p:cNvSpPr>
          <p:nvPr>
            <p:ph type="title"/>
          </p:nvPr>
        </p:nvSpPr>
        <p:spPr>
          <a:xfrm>
            <a:off x="9525" y="1"/>
            <a:ext cx="6975475"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
        <p:nvSpPr>
          <p:cNvPr id="60" name="Text Placeholder 3">
            <a:extLst>
              <a:ext uri="{FF2B5EF4-FFF2-40B4-BE49-F238E27FC236}">
                <a16:creationId xmlns:a16="http://schemas.microsoft.com/office/drawing/2014/main" id="{753D35D9-36CF-9A45-9A0C-03CA90B6ACB7}"/>
              </a:ext>
            </a:extLst>
          </p:cNvPr>
          <p:cNvSpPr>
            <a:spLocks noGrp="1"/>
          </p:cNvSpPr>
          <p:nvPr>
            <p:ph type="body" sz="quarter" idx="22" hasCustomPrompt="1"/>
          </p:nvPr>
        </p:nvSpPr>
        <p:spPr>
          <a:xfrm>
            <a:off x="2150666" y="3147162"/>
            <a:ext cx="1401380" cy="360000"/>
          </a:xfrm>
          <a:prstGeom prst="rect">
            <a:avLst/>
          </a:prstGeom>
          <a:solidFill>
            <a:schemeClr val="bg2"/>
          </a:solidFill>
        </p:spPr>
        <p:txBody>
          <a:bodyPr lIns="72000" tIns="72000" rIns="72000" bIns="72000" anchor="b" anchorCtr="0"/>
          <a:lstStyle>
            <a:lvl1pPr algn="l">
              <a:defRPr sz="1200">
                <a:solidFill>
                  <a:schemeClr val="accent2"/>
                </a:solidFill>
              </a:defRPr>
            </a:lvl1pPr>
          </a:lstStyle>
          <a:p>
            <a:pPr lvl="0"/>
            <a:r>
              <a:rPr lang="en-US" noProof="0"/>
              <a:t>Subtitle</a:t>
            </a:r>
          </a:p>
        </p:txBody>
      </p:sp>
      <p:sp>
        <p:nvSpPr>
          <p:cNvPr id="61" name="Text Placeholder 6">
            <a:extLst>
              <a:ext uri="{FF2B5EF4-FFF2-40B4-BE49-F238E27FC236}">
                <a16:creationId xmlns:a16="http://schemas.microsoft.com/office/drawing/2014/main" id="{92A8E735-5B66-8443-8A7C-DEE92176EF94}"/>
              </a:ext>
            </a:extLst>
          </p:cNvPr>
          <p:cNvSpPr>
            <a:spLocks noGrp="1"/>
          </p:cNvSpPr>
          <p:nvPr>
            <p:ph type="body" sz="quarter" idx="23"/>
          </p:nvPr>
        </p:nvSpPr>
        <p:spPr>
          <a:xfrm>
            <a:off x="2150666" y="3507162"/>
            <a:ext cx="1401380" cy="936588"/>
          </a:xfrm>
          <a:prstGeom prst="rect">
            <a:avLst/>
          </a:prstGeom>
          <a:solidFill>
            <a:schemeClr val="bg2"/>
          </a:solidFill>
        </p:spPr>
        <p:txBody>
          <a:bodyPr lIns="72000" tIns="72000" rIns="72000" bIns="72000"/>
          <a:lstStyle>
            <a:lvl1pPr algn="l">
              <a:defRPr sz="1000"/>
            </a:lvl1pPr>
            <a:lvl2pPr>
              <a:defRPr sz="1000"/>
            </a:lvl2pPr>
            <a:lvl3pPr marL="675085" indent="-134541">
              <a:buFont typeface="System Font Regular"/>
              <a:buChar char="–"/>
              <a:defRPr sz="1000"/>
            </a:lvl3pPr>
            <a:lvl4pPr>
              <a:defRPr sz="1000"/>
            </a:lvl4pPr>
            <a:lvl5pPr marL="1215629" indent="-134541">
              <a:buFont typeface="System Font Regular"/>
              <a:buChar char="–"/>
              <a:defRPr sz="1000"/>
            </a:lvl5pPr>
          </a:lstStyle>
          <a:p>
            <a:pPr lvl="0"/>
            <a:r>
              <a:rPr lang="en-US" noProof="0"/>
              <a:t>Edit Master text styles</a:t>
            </a:r>
          </a:p>
        </p:txBody>
      </p:sp>
      <p:sp>
        <p:nvSpPr>
          <p:cNvPr id="62" name="Picture Placeholder 22">
            <a:extLst>
              <a:ext uri="{FF2B5EF4-FFF2-40B4-BE49-F238E27FC236}">
                <a16:creationId xmlns:a16="http://schemas.microsoft.com/office/drawing/2014/main" id="{E2895EDF-1A33-B64B-80C3-9D88784595B0}"/>
              </a:ext>
            </a:extLst>
          </p:cNvPr>
          <p:cNvSpPr>
            <a:spLocks noGrp="1"/>
          </p:cNvSpPr>
          <p:nvPr>
            <p:ph type="pic" sz="quarter" idx="24"/>
          </p:nvPr>
        </p:nvSpPr>
        <p:spPr>
          <a:xfrm>
            <a:off x="2150666" y="1702137"/>
            <a:ext cx="1404938" cy="1444625"/>
          </a:xfrm>
          <a:prstGeom prst="rect">
            <a:avLst/>
          </a:prstGeom>
        </p:spPr>
        <p:txBody>
          <a:bodyPr lIns="180000" rIns="72000" bIns="0"/>
          <a:lstStyle>
            <a:lvl1pPr>
              <a:defRPr sz="1000">
                <a:solidFill>
                  <a:schemeClr val="accent2"/>
                </a:solidFill>
              </a:defRPr>
            </a:lvl1pPr>
          </a:lstStyle>
          <a:p>
            <a:endParaRPr lang="en-US" noProof="0"/>
          </a:p>
        </p:txBody>
      </p:sp>
      <p:sp>
        <p:nvSpPr>
          <p:cNvPr id="63" name="Text Placeholder 3">
            <a:extLst>
              <a:ext uri="{FF2B5EF4-FFF2-40B4-BE49-F238E27FC236}">
                <a16:creationId xmlns:a16="http://schemas.microsoft.com/office/drawing/2014/main" id="{0BAD687D-20BE-D742-B5E0-CA09D556A59A}"/>
              </a:ext>
            </a:extLst>
          </p:cNvPr>
          <p:cNvSpPr>
            <a:spLocks noGrp="1"/>
          </p:cNvSpPr>
          <p:nvPr>
            <p:ph type="body" sz="quarter" idx="25" hasCustomPrompt="1"/>
          </p:nvPr>
        </p:nvSpPr>
        <p:spPr>
          <a:xfrm>
            <a:off x="3869531" y="3147162"/>
            <a:ext cx="1401380" cy="360000"/>
          </a:xfrm>
          <a:prstGeom prst="rect">
            <a:avLst/>
          </a:prstGeom>
          <a:solidFill>
            <a:schemeClr val="bg2"/>
          </a:solidFill>
        </p:spPr>
        <p:txBody>
          <a:bodyPr lIns="72000" tIns="72000" rIns="72000" bIns="72000" anchor="b" anchorCtr="0"/>
          <a:lstStyle>
            <a:lvl1pPr algn="l">
              <a:defRPr sz="1200">
                <a:solidFill>
                  <a:schemeClr val="accent2"/>
                </a:solidFill>
              </a:defRPr>
            </a:lvl1pPr>
          </a:lstStyle>
          <a:p>
            <a:pPr lvl="0"/>
            <a:r>
              <a:rPr lang="en-US" noProof="0"/>
              <a:t>Subtitle</a:t>
            </a:r>
          </a:p>
        </p:txBody>
      </p:sp>
      <p:sp>
        <p:nvSpPr>
          <p:cNvPr id="64" name="Text Placeholder 6">
            <a:extLst>
              <a:ext uri="{FF2B5EF4-FFF2-40B4-BE49-F238E27FC236}">
                <a16:creationId xmlns:a16="http://schemas.microsoft.com/office/drawing/2014/main" id="{6BB683C5-FBDD-C941-8A31-D040DFAFE000}"/>
              </a:ext>
            </a:extLst>
          </p:cNvPr>
          <p:cNvSpPr>
            <a:spLocks noGrp="1"/>
          </p:cNvSpPr>
          <p:nvPr>
            <p:ph type="body" sz="quarter" idx="26"/>
          </p:nvPr>
        </p:nvSpPr>
        <p:spPr>
          <a:xfrm>
            <a:off x="3869531" y="3507162"/>
            <a:ext cx="1401380" cy="936588"/>
          </a:xfrm>
          <a:prstGeom prst="rect">
            <a:avLst/>
          </a:prstGeom>
          <a:solidFill>
            <a:schemeClr val="bg2"/>
          </a:solidFill>
        </p:spPr>
        <p:txBody>
          <a:bodyPr lIns="72000" tIns="72000" rIns="72000" bIns="72000"/>
          <a:lstStyle>
            <a:lvl1pPr algn="l">
              <a:defRPr sz="1000"/>
            </a:lvl1pPr>
            <a:lvl2pPr>
              <a:defRPr sz="1000"/>
            </a:lvl2pPr>
            <a:lvl3pPr marL="675085" indent="-134541">
              <a:buFont typeface="System Font Regular"/>
              <a:buChar char="–"/>
              <a:defRPr sz="1000"/>
            </a:lvl3pPr>
            <a:lvl4pPr>
              <a:defRPr sz="1000"/>
            </a:lvl4pPr>
            <a:lvl5pPr marL="1215629" indent="-134541">
              <a:buFont typeface="System Font Regular"/>
              <a:buChar char="–"/>
              <a:defRPr sz="1000"/>
            </a:lvl5pPr>
          </a:lstStyle>
          <a:p>
            <a:pPr lvl="0"/>
            <a:r>
              <a:rPr lang="en-US" noProof="0"/>
              <a:t>Edit Master text styles</a:t>
            </a:r>
          </a:p>
        </p:txBody>
      </p:sp>
      <p:sp>
        <p:nvSpPr>
          <p:cNvPr id="65" name="Picture Placeholder 22">
            <a:extLst>
              <a:ext uri="{FF2B5EF4-FFF2-40B4-BE49-F238E27FC236}">
                <a16:creationId xmlns:a16="http://schemas.microsoft.com/office/drawing/2014/main" id="{6B1A3E75-29B0-094F-AB49-FF2DA9425B3B}"/>
              </a:ext>
            </a:extLst>
          </p:cNvPr>
          <p:cNvSpPr>
            <a:spLocks noGrp="1"/>
          </p:cNvSpPr>
          <p:nvPr>
            <p:ph type="pic" sz="quarter" idx="27"/>
          </p:nvPr>
        </p:nvSpPr>
        <p:spPr>
          <a:xfrm>
            <a:off x="3869531" y="1702137"/>
            <a:ext cx="1404938" cy="1444625"/>
          </a:xfrm>
          <a:prstGeom prst="rect">
            <a:avLst/>
          </a:prstGeom>
        </p:spPr>
        <p:txBody>
          <a:bodyPr lIns="180000" rIns="72000" bIns="0"/>
          <a:lstStyle>
            <a:lvl1pPr>
              <a:defRPr sz="1000">
                <a:solidFill>
                  <a:schemeClr val="accent2"/>
                </a:solidFill>
              </a:defRPr>
            </a:lvl1pPr>
          </a:lstStyle>
          <a:p>
            <a:endParaRPr lang="en-US" noProof="0"/>
          </a:p>
        </p:txBody>
      </p:sp>
      <p:sp>
        <p:nvSpPr>
          <p:cNvPr id="66" name="Text Placeholder 3">
            <a:extLst>
              <a:ext uri="{FF2B5EF4-FFF2-40B4-BE49-F238E27FC236}">
                <a16:creationId xmlns:a16="http://schemas.microsoft.com/office/drawing/2014/main" id="{4A34E9E4-CFF3-E94D-BB63-E8885B8D34C5}"/>
              </a:ext>
            </a:extLst>
          </p:cNvPr>
          <p:cNvSpPr>
            <a:spLocks noGrp="1"/>
          </p:cNvSpPr>
          <p:nvPr>
            <p:ph type="body" sz="quarter" idx="28" hasCustomPrompt="1"/>
          </p:nvPr>
        </p:nvSpPr>
        <p:spPr>
          <a:xfrm>
            <a:off x="5588397" y="3147162"/>
            <a:ext cx="1401380" cy="360000"/>
          </a:xfrm>
          <a:prstGeom prst="rect">
            <a:avLst/>
          </a:prstGeom>
          <a:solidFill>
            <a:schemeClr val="bg2"/>
          </a:solidFill>
        </p:spPr>
        <p:txBody>
          <a:bodyPr lIns="72000" tIns="72000" rIns="72000" bIns="72000" anchor="b" anchorCtr="0"/>
          <a:lstStyle>
            <a:lvl1pPr algn="l">
              <a:defRPr sz="1200">
                <a:solidFill>
                  <a:schemeClr val="accent2"/>
                </a:solidFill>
              </a:defRPr>
            </a:lvl1pPr>
          </a:lstStyle>
          <a:p>
            <a:pPr lvl="0"/>
            <a:r>
              <a:rPr lang="en-US" noProof="0"/>
              <a:t>Subtitle</a:t>
            </a:r>
          </a:p>
        </p:txBody>
      </p:sp>
      <p:sp>
        <p:nvSpPr>
          <p:cNvPr id="67" name="Text Placeholder 6">
            <a:extLst>
              <a:ext uri="{FF2B5EF4-FFF2-40B4-BE49-F238E27FC236}">
                <a16:creationId xmlns:a16="http://schemas.microsoft.com/office/drawing/2014/main" id="{579FFF7D-5AA1-7749-AFA7-79D497673D0D}"/>
              </a:ext>
            </a:extLst>
          </p:cNvPr>
          <p:cNvSpPr>
            <a:spLocks noGrp="1"/>
          </p:cNvSpPr>
          <p:nvPr>
            <p:ph type="body" sz="quarter" idx="29"/>
          </p:nvPr>
        </p:nvSpPr>
        <p:spPr>
          <a:xfrm>
            <a:off x="5588397" y="3507162"/>
            <a:ext cx="1401380" cy="936588"/>
          </a:xfrm>
          <a:prstGeom prst="rect">
            <a:avLst/>
          </a:prstGeom>
          <a:solidFill>
            <a:schemeClr val="bg2"/>
          </a:solidFill>
        </p:spPr>
        <p:txBody>
          <a:bodyPr lIns="72000" tIns="72000" rIns="72000" bIns="72000"/>
          <a:lstStyle>
            <a:lvl1pPr algn="l">
              <a:defRPr sz="1000"/>
            </a:lvl1pPr>
            <a:lvl2pPr>
              <a:defRPr sz="1000"/>
            </a:lvl2pPr>
            <a:lvl3pPr marL="675085" indent="-134541">
              <a:buFont typeface="System Font Regular"/>
              <a:buChar char="–"/>
              <a:defRPr sz="1000"/>
            </a:lvl3pPr>
            <a:lvl4pPr>
              <a:defRPr sz="1000"/>
            </a:lvl4pPr>
            <a:lvl5pPr marL="1215629" indent="-134541">
              <a:buFont typeface="System Font Regular"/>
              <a:buChar char="–"/>
              <a:defRPr sz="1000"/>
            </a:lvl5pPr>
          </a:lstStyle>
          <a:p>
            <a:pPr lvl="0"/>
            <a:r>
              <a:rPr lang="en-US" noProof="0"/>
              <a:t>Edit Master text styles</a:t>
            </a:r>
          </a:p>
        </p:txBody>
      </p:sp>
      <p:sp>
        <p:nvSpPr>
          <p:cNvPr id="68" name="Picture Placeholder 22">
            <a:extLst>
              <a:ext uri="{FF2B5EF4-FFF2-40B4-BE49-F238E27FC236}">
                <a16:creationId xmlns:a16="http://schemas.microsoft.com/office/drawing/2014/main" id="{123CA07A-5B46-7D49-B5EE-72A82EE0EA24}"/>
              </a:ext>
            </a:extLst>
          </p:cNvPr>
          <p:cNvSpPr>
            <a:spLocks noGrp="1"/>
          </p:cNvSpPr>
          <p:nvPr>
            <p:ph type="pic" sz="quarter" idx="30"/>
          </p:nvPr>
        </p:nvSpPr>
        <p:spPr>
          <a:xfrm>
            <a:off x="5588397" y="1702137"/>
            <a:ext cx="1404938" cy="1444625"/>
          </a:xfrm>
          <a:prstGeom prst="rect">
            <a:avLst/>
          </a:prstGeom>
        </p:spPr>
        <p:txBody>
          <a:bodyPr lIns="180000" rIns="72000" bIns="0"/>
          <a:lstStyle>
            <a:lvl1pPr>
              <a:defRPr sz="1000">
                <a:solidFill>
                  <a:schemeClr val="accent2"/>
                </a:solidFill>
              </a:defRPr>
            </a:lvl1pPr>
          </a:lstStyle>
          <a:p>
            <a:endParaRPr lang="en-US" noProof="0"/>
          </a:p>
        </p:txBody>
      </p:sp>
      <p:sp>
        <p:nvSpPr>
          <p:cNvPr id="69" name="Text Placeholder 3">
            <a:extLst>
              <a:ext uri="{FF2B5EF4-FFF2-40B4-BE49-F238E27FC236}">
                <a16:creationId xmlns:a16="http://schemas.microsoft.com/office/drawing/2014/main" id="{2A8E9EE6-F9F0-3548-A3A1-D8B0210E50E5}"/>
              </a:ext>
            </a:extLst>
          </p:cNvPr>
          <p:cNvSpPr>
            <a:spLocks noGrp="1"/>
          </p:cNvSpPr>
          <p:nvPr>
            <p:ph type="body" sz="quarter" idx="31" hasCustomPrompt="1"/>
          </p:nvPr>
        </p:nvSpPr>
        <p:spPr>
          <a:xfrm>
            <a:off x="7307262" y="3147162"/>
            <a:ext cx="1401380" cy="360000"/>
          </a:xfrm>
          <a:prstGeom prst="rect">
            <a:avLst/>
          </a:prstGeom>
          <a:solidFill>
            <a:schemeClr val="bg2"/>
          </a:solidFill>
        </p:spPr>
        <p:txBody>
          <a:bodyPr lIns="72000" tIns="72000" rIns="72000" bIns="72000" anchor="b" anchorCtr="0"/>
          <a:lstStyle>
            <a:lvl1pPr algn="l">
              <a:defRPr sz="1200">
                <a:solidFill>
                  <a:schemeClr val="accent2"/>
                </a:solidFill>
              </a:defRPr>
            </a:lvl1pPr>
          </a:lstStyle>
          <a:p>
            <a:pPr lvl="0"/>
            <a:r>
              <a:rPr lang="en-US" noProof="0"/>
              <a:t>Subtitle</a:t>
            </a:r>
          </a:p>
        </p:txBody>
      </p:sp>
      <p:sp>
        <p:nvSpPr>
          <p:cNvPr id="70" name="Text Placeholder 6">
            <a:extLst>
              <a:ext uri="{FF2B5EF4-FFF2-40B4-BE49-F238E27FC236}">
                <a16:creationId xmlns:a16="http://schemas.microsoft.com/office/drawing/2014/main" id="{DDE5EC04-561B-F04D-9C4C-583749268952}"/>
              </a:ext>
            </a:extLst>
          </p:cNvPr>
          <p:cNvSpPr>
            <a:spLocks noGrp="1"/>
          </p:cNvSpPr>
          <p:nvPr>
            <p:ph type="body" sz="quarter" idx="32"/>
          </p:nvPr>
        </p:nvSpPr>
        <p:spPr>
          <a:xfrm>
            <a:off x="7307262" y="3507162"/>
            <a:ext cx="1401380" cy="936588"/>
          </a:xfrm>
          <a:prstGeom prst="rect">
            <a:avLst/>
          </a:prstGeom>
          <a:solidFill>
            <a:schemeClr val="bg2"/>
          </a:solidFill>
        </p:spPr>
        <p:txBody>
          <a:bodyPr lIns="72000" tIns="72000" rIns="72000" bIns="72000"/>
          <a:lstStyle>
            <a:lvl1pPr algn="l">
              <a:defRPr sz="1000"/>
            </a:lvl1pPr>
            <a:lvl2pPr>
              <a:defRPr sz="1000"/>
            </a:lvl2pPr>
            <a:lvl3pPr marL="675085" indent="-134541">
              <a:buFont typeface="System Font Regular"/>
              <a:buChar char="–"/>
              <a:defRPr sz="1000"/>
            </a:lvl3pPr>
            <a:lvl4pPr>
              <a:defRPr sz="1000"/>
            </a:lvl4pPr>
            <a:lvl5pPr marL="1215629" indent="-134541">
              <a:buFont typeface="System Font Regular"/>
              <a:buChar char="–"/>
              <a:defRPr sz="1000"/>
            </a:lvl5pPr>
          </a:lstStyle>
          <a:p>
            <a:pPr lvl="0"/>
            <a:r>
              <a:rPr lang="en-US" noProof="0"/>
              <a:t>Edit Master text styles</a:t>
            </a:r>
          </a:p>
        </p:txBody>
      </p:sp>
      <p:sp>
        <p:nvSpPr>
          <p:cNvPr id="71" name="Picture Placeholder 22">
            <a:extLst>
              <a:ext uri="{FF2B5EF4-FFF2-40B4-BE49-F238E27FC236}">
                <a16:creationId xmlns:a16="http://schemas.microsoft.com/office/drawing/2014/main" id="{D64F0F40-A05C-DA4F-9E0D-266302A73C94}"/>
              </a:ext>
            </a:extLst>
          </p:cNvPr>
          <p:cNvSpPr>
            <a:spLocks noGrp="1"/>
          </p:cNvSpPr>
          <p:nvPr>
            <p:ph type="pic" sz="quarter" idx="33"/>
          </p:nvPr>
        </p:nvSpPr>
        <p:spPr>
          <a:xfrm>
            <a:off x="7307262" y="1702137"/>
            <a:ext cx="1404938" cy="1444625"/>
          </a:xfrm>
          <a:prstGeom prst="rect">
            <a:avLst/>
          </a:prstGeom>
        </p:spPr>
        <p:txBody>
          <a:bodyPr lIns="180000" rIns="72000" bIns="0"/>
          <a:lstStyle>
            <a:lvl1pPr>
              <a:defRPr sz="1000">
                <a:solidFill>
                  <a:schemeClr val="accent2"/>
                </a:solidFill>
              </a:defRPr>
            </a:lvl1pPr>
          </a:lstStyle>
          <a:p>
            <a:endParaRPr lang="en-US" noProof="0"/>
          </a:p>
        </p:txBody>
      </p:sp>
    </p:spTree>
    <p:extLst>
      <p:ext uri="{BB962C8B-B14F-4D97-AF65-F5344CB8AC3E}">
        <p14:creationId xmlns:p14="http://schemas.microsoft.com/office/powerpoint/2010/main" val="35049817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digo-Content_Table">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BAF0D3D1-ED6E-494E-B95E-940EADD78BDF}"/>
              </a:ext>
            </a:extLst>
          </p:cNvPr>
          <p:cNvSpPr>
            <a:spLocks noGrp="1"/>
          </p:cNvSpPr>
          <p:nvPr>
            <p:ph type="tbl" sz="quarter" idx="10"/>
          </p:nvPr>
        </p:nvSpPr>
        <p:spPr>
          <a:xfrm>
            <a:off x="468000" y="1357598"/>
            <a:ext cx="8208000" cy="3354101"/>
          </a:xfrm>
          <a:prstGeom prst="rect">
            <a:avLst/>
          </a:prstGeom>
        </p:spPr>
        <p:txBody>
          <a:bodyPr/>
          <a:lstStyle>
            <a:lvl1pPr>
              <a:defRPr sz="1000">
                <a:solidFill>
                  <a:schemeClr val="accent2"/>
                </a:solidFill>
              </a:defRPr>
            </a:lvl1pPr>
          </a:lstStyle>
          <a:p>
            <a:endParaRPr lang="en-US" noProof="0"/>
          </a:p>
        </p:txBody>
      </p:sp>
      <p:sp>
        <p:nvSpPr>
          <p:cNvPr id="30" name="Text Placeholder 29">
            <a:extLst>
              <a:ext uri="{FF2B5EF4-FFF2-40B4-BE49-F238E27FC236}">
                <a16:creationId xmlns:a16="http://schemas.microsoft.com/office/drawing/2014/main" id="{638BAB53-9A85-9E47-BF95-09A40CEF697F}"/>
              </a:ext>
            </a:extLst>
          </p:cNvPr>
          <p:cNvSpPr>
            <a:spLocks noGrp="1"/>
          </p:cNvSpPr>
          <p:nvPr>
            <p:ph type="body" sz="quarter" idx="12" hasCustomPrompt="1"/>
          </p:nvPr>
        </p:nvSpPr>
        <p:spPr>
          <a:xfrm>
            <a:off x="634" y="817125"/>
            <a:ext cx="5476875" cy="539921"/>
          </a:xfrm>
          <a:prstGeom prst="rect">
            <a:avLst/>
          </a:prstGeom>
        </p:spPr>
        <p:txBody>
          <a:bodyPr lIns="432000" tIns="72000" rIns="72000" bIns="180000" anchor="b" anchorCtr="0"/>
          <a:lstStyle>
            <a:lvl1pPr>
              <a:defRPr lang="en-US" sz="1600" smtClean="0">
                <a:solidFill>
                  <a:schemeClr val="accent2"/>
                </a:solidFill>
              </a:defRPr>
            </a:lvl1pPr>
            <a:lvl2pPr>
              <a:defRPr lang="en-US" smtClean="0"/>
            </a:lvl2pPr>
            <a:lvl3pPr>
              <a:defRPr lang="en-US" smtClean="0"/>
            </a:lvl3pPr>
            <a:lvl4pPr>
              <a:defRPr lang="en-US" smtClean="0"/>
            </a:lvl4pPr>
            <a:lvl5pPr>
              <a:defRPr lang="pl-PL"/>
            </a:lvl5pPr>
          </a:lstStyle>
          <a:p>
            <a:pPr lvl="0"/>
            <a:r>
              <a:rPr lang="en-US" noProof="0"/>
              <a:t>Subtitle</a:t>
            </a:r>
          </a:p>
        </p:txBody>
      </p:sp>
      <p:sp>
        <p:nvSpPr>
          <p:cNvPr id="6" name="Title 5">
            <a:extLst>
              <a:ext uri="{FF2B5EF4-FFF2-40B4-BE49-F238E27FC236}">
                <a16:creationId xmlns:a16="http://schemas.microsoft.com/office/drawing/2014/main" id="{C5E683CD-04C0-8240-B6DA-B964B987FC93}"/>
              </a:ext>
            </a:extLst>
          </p:cNvPr>
          <p:cNvSpPr>
            <a:spLocks noGrp="1"/>
          </p:cNvSpPr>
          <p:nvPr>
            <p:ph type="title"/>
          </p:nvPr>
        </p:nvSpPr>
        <p:spPr>
          <a:xfrm>
            <a:off x="9525" y="1"/>
            <a:ext cx="6975475"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Tree>
    <p:extLst>
      <p:ext uri="{BB962C8B-B14F-4D97-AF65-F5344CB8AC3E}">
        <p14:creationId xmlns:p14="http://schemas.microsoft.com/office/powerpoint/2010/main" val="184359305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Odigo-Content_Table-white">
    <p:bg>
      <p:bgRef idx="1001">
        <a:schemeClr val="bg1"/>
      </p:bgRef>
    </p:bg>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BAF0D3D1-ED6E-494E-B95E-940EADD78BDF}"/>
              </a:ext>
            </a:extLst>
          </p:cNvPr>
          <p:cNvSpPr>
            <a:spLocks noGrp="1"/>
          </p:cNvSpPr>
          <p:nvPr>
            <p:ph type="tbl" sz="quarter" idx="10"/>
          </p:nvPr>
        </p:nvSpPr>
        <p:spPr>
          <a:xfrm>
            <a:off x="468000" y="1357598"/>
            <a:ext cx="8208000" cy="3354101"/>
          </a:xfrm>
          <a:prstGeom prst="rect">
            <a:avLst/>
          </a:prstGeom>
        </p:spPr>
        <p:txBody>
          <a:bodyPr/>
          <a:lstStyle>
            <a:lvl1pPr>
              <a:defRPr sz="1000">
                <a:solidFill>
                  <a:schemeClr val="accent2"/>
                </a:solidFill>
              </a:defRPr>
            </a:lvl1pPr>
          </a:lstStyle>
          <a:p>
            <a:endParaRPr lang="en-US" noProof="0"/>
          </a:p>
        </p:txBody>
      </p:sp>
      <p:sp>
        <p:nvSpPr>
          <p:cNvPr id="30" name="Text Placeholder 29">
            <a:extLst>
              <a:ext uri="{FF2B5EF4-FFF2-40B4-BE49-F238E27FC236}">
                <a16:creationId xmlns:a16="http://schemas.microsoft.com/office/drawing/2014/main" id="{638BAB53-9A85-9E47-BF95-09A40CEF697F}"/>
              </a:ext>
            </a:extLst>
          </p:cNvPr>
          <p:cNvSpPr>
            <a:spLocks noGrp="1"/>
          </p:cNvSpPr>
          <p:nvPr>
            <p:ph type="body" sz="quarter" idx="12" hasCustomPrompt="1"/>
          </p:nvPr>
        </p:nvSpPr>
        <p:spPr>
          <a:xfrm>
            <a:off x="634" y="817125"/>
            <a:ext cx="5476875" cy="539921"/>
          </a:xfrm>
          <a:prstGeom prst="rect">
            <a:avLst/>
          </a:prstGeom>
        </p:spPr>
        <p:txBody>
          <a:bodyPr lIns="432000" tIns="72000" rIns="72000" bIns="180000" anchor="b" anchorCtr="0"/>
          <a:lstStyle>
            <a:lvl1pPr>
              <a:defRPr lang="en-US" sz="1600" smtClean="0">
                <a:solidFill>
                  <a:schemeClr val="accent2"/>
                </a:solidFill>
              </a:defRPr>
            </a:lvl1pPr>
            <a:lvl2pPr>
              <a:defRPr lang="en-US" smtClean="0"/>
            </a:lvl2pPr>
            <a:lvl3pPr>
              <a:defRPr lang="en-US" smtClean="0"/>
            </a:lvl3pPr>
            <a:lvl4pPr>
              <a:defRPr lang="en-US" smtClean="0"/>
            </a:lvl4pPr>
            <a:lvl5pPr>
              <a:defRPr lang="pl-PL"/>
            </a:lvl5pPr>
          </a:lstStyle>
          <a:p>
            <a:pPr lvl="0"/>
            <a:r>
              <a:rPr lang="en-US" noProof="0"/>
              <a:t>Subtitle</a:t>
            </a:r>
          </a:p>
        </p:txBody>
      </p:sp>
      <p:sp>
        <p:nvSpPr>
          <p:cNvPr id="6" name="Title 5">
            <a:extLst>
              <a:ext uri="{FF2B5EF4-FFF2-40B4-BE49-F238E27FC236}">
                <a16:creationId xmlns:a16="http://schemas.microsoft.com/office/drawing/2014/main" id="{C5E683CD-04C0-8240-B6DA-B964B987FC93}"/>
              </a:ext>
            </a:extLst>
          </p:cNvPr>
          <p:cNvSpPr>
            <a:spLocks noGrp="1"/>
          </p:cNvSpPr>
          <p:nvPr>
            <p:ph type="title"/>
          </p:nvPr>
        </p:nvSpPr>
        <p:spPr>
          <a:xfrm>
            <a:off x="9525" y="1"/>
            <a:ext cx="6975475" cy="808037"/>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Tree>
    <p:extLst>
      <p:ext uri="{BB962C8B-B14F-4D97-AF65-F5344CB8AC3E}">
        <p14:creationId xmlns:p14="http://schemas.microsoft.com/office/powerpoint/2010/main" val="348937990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digo-Cover_Circle-white">
    <p:bg>
      <p:bgRef idx="1001">
        <a:schemeClr val="bg1"/>
      </p:bgRef>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87AECE6-E896-2545-A62F-962C7544C58E}"/>
              </a:ext>
            </a:extLst>
          </p:cNvPr>
          <p:cNvSpPr>
            <a:spLocks noGrp="1"/>
          </p:cNvSpPr>
          <p:nvPr>
            <p:ph type="pic" sz="quarter" idx="11"/>
          </p:nvPr>
        </p:nvSpPr>
        <p:spPr>
          <a:xfrm>
            <a:off x="3395133" y="1016424"/>
            <a:ext cx="5372217" cy="5254433"/>
          </a:xfrm>
          <a:prstGeom prst="ellipse">
            <a:avLst/>
          </a:prstGeom>
          <a:solidFill>
            <a:schemeClr val="accent1"/>
          </a:solidFill>
        </p:spPr>
        <p:txBody>
          <a:bodyPr/>
          <a:lstStyle>
            <a:lvl1pPr>
              <a:defRPr sz="1000">
                <a:solidFill>
                  <a:schemeClr val="accent2"/>
                </a:solidFill>
              </a:defRPr>
            </a:lvl1pPr>
          </a:lstStyle>
          <a:p>
            <a:endParaRPr lang="en-US" noProof="0"/>
          </a:p>
        </p:txBody>
      </p:sp>
      <p:sp>
        <p:nvSpPr>
          <p:cNvPr id="2" name="Title 1">
            <a:extLst>
              <a:ext uri="{FF2B5EF4-FFF2-40B4-BE49-F238E27FC236}">
                <a16:creationId xmlns:a16="http://schemas.microsoft.com/office/drawing/2014/main" id="{0D402FA9-5415-A549-AA59-7A032EE6A06E}"/>
              </a:ext>
            </a:extLst>
          </p:cNvPr>
          <p:cNvSpPr>
            <a:spLocks noGrp="1"/>
          </p:cNvSpPr>
          <p:nvPr>
            <p:ph type="title" hasCustomPrompt="1"/>
          </p:nvPr>
        </p:nvSpPr>
        <p:spPr>
          <a:xfrm>
            <a:off x="1" y="1508558"/>
            <a:ext cx="3455988" cy="1187449"/>
          </a:xfrm>
          <a:prstGeom prst="rect">
            <a:avLst/>
          </a:prstGeom>
        </p:spPr>
        <p:txBody>
          <a:bodyPr lIns="432000" tIns="180000" rIns="72000" bIns="0"/>
          <a:lstStyle>
            <a:lvl1pPr>
              <a:defRPr lang="pl-PL" dirty="0"/>
            </a:lvl1pPr>
          </a:lstStyle>
          <a:p>
            <a:pPr lvl="0"/>
            <a:r>
              <a:rPr lang="en-US" noProof="0"/>
              <a:t>Presentation title</a:t>
            </a:r>
          </a:p>
        </p:txBody>
      </p:sp>
      <p:sp>
        <p:nvSpPr>
          <p:cNvPr id="20" name="Text Placeholder 19">
            <a:extLst>
              <a:ext uri="{FF2B5EF4-FFF2-40B4-BE49-F238E27FC236}">
                <a16:creationId xmlns:a16="http://schemas.microsoft.com/office/drawing/2014/main" id="{E9BFB6C4-08A5-BA43-A8EE-6725DD021A57}"/>
              </a:ext>
            </a:extLst>
          </p:cNvPr>
          <p:cNvSpPr>
            <a:spLocks noGrp="1"/>
          </p:cNvSpPr>
          <p:nvPr>
            <p:ph type="body" sz="quarter" idx="10" hasCustomPrompt="1"/>
          </p:nvPr>
        </p:nvSpPr>
        <p:spPr>
          <a:xfrm>
            <a:off x="1" y="2696007"/>
            <a:ext cx="3455988" cy="455087"/>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sp>
        <p:nvSpPr>
          <p:cNvPr id="4" name="Freeform 1">
            <a:extLst>
              <a:ext uri="{FF2B5EF4-FFF2-40B4-BE49-F238E27FC236}">
                <a16:creationId xmlns:a16="http://schemas.microsoft.com/office/drawing/2014/main" id="{9C35C5D7-0A43-4242-9279-D23DF607C008}"/>
              </a:ext>
            </a:extLst>
          </p:cNvPr>
          <p:cNvSpPr>
            <a:spLocks noChangeArrowheads="1"/>
          </p:cNvSpPr>
          <p:nvPr userDrawn="1"/>
        </p:nvSpPr>
        <p:spPr bwMode="auto">
          <a:xfrm>
            <a:off x="6799803" y="0"/>
            <a:ext cx="2747583" cy="2612551"/>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nvGrpSpPr>
          <p:cNvPr id="16" name="Group 15">
            <a:extLst>
              <a:ext uri="{FF2B5EF4-FFF2-40B4-BE49-F238E27FC236}">
                <a16:creationId xmlns:a16="http://schemas.microsoft.com/office/drawing/2014/main" id="{3D48575B-247C-2E47-8104-C62B28DCA166}"/>
              </a:ext>
            </a:extLst>
          </p:cNvPr>
          <p:cNvGrpSpPr/>
          <p:nvPr userDrawn="1"/>
        </p:nvGrpSpPr>
        <p:grpSpPr>
          <a:xfrm>
            <a:off x="431799" y="416351"/>
            <a:ext cx="1336166" cy="539307"/>
            <a:chOff x="2286000" y="2193925"/>
            <a:chExt cx="6835775" cy="2759075"/>
          </a:xfrm>
        </p:grpSpPr>
        <p:sp>
          <p:nvSpPr>
            <p:cNvPr id="17" name="Freeform 1">
              <a:extLst>
                <a:ext uri="{FF2B5EF4-FFF2-40B4-BE49-F238E27FC236}">
                  <a16:creationId xmlns:a16="http://schemas.microsoft.com/office/drawing/2014/main" id="{8282938B-AFE2-FC4C-96F0-361C3BB71CCD}"/>
                </a:ext>
              </a:extLst>
            </p:cNvPr>
            <p:cNvSpPr>
              <a:spLocks noChangeArrowheads="1"/>
            </p:cNvSpPr>
            <p:nvPr/>
          </p:nvSpPr>
          <p:spPr bwMode="auto">
            <a:xfrm>
              <a:off x="8378825" y="2471738"/>
              <a:ext cx="742950" cy="706437"/>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8" name="Freeform 2">
              <a:extLst>
                <a:ext uri="{FF2B5EF4-FFF2-40B4-BE49-F238E27FC236}">
                  <a16:creationId xmlns:a16="http://schemas.microsoft.com/office/drawing/2014/main" id="{91C8DC84-ACC4-3C4C-AC04-32EF1E7F378F}"/>
                </a:ext>
              </a:extLst>
            </p:cNvPr>
            <p:cNvSpPr>
              <a:spLocks noChangeArrowheads="1"/>
            </p:cNvSpPr>
            <p:nvPr/>
          </p:nvSpPr>
          <p:spPr bwMode="auto">
            <a:xfrm>
              <a:off x="5299075" y="2781300"/>
              <a:ext cx="333375" cy="1349375"/>
            </a:xfrm>
            <a:custGeom>
              <a:avLst/>
              <a:gdLst>
                <a:gd name="T0" fmla="*/ 0 w 927"/>
                <a:gd name="T1" fmla="*/ 3749 h 3750"/>
                <a:gd name="T2" fmla="*/ 926 w 927"/>
                <a:gd name="T3" fmla="*/ 3749 h 3750"/>
                <a:gd name="T4" fmla="*/ 926 w 927"/>
                <a:gd name="T5" fmla="*/ 0 h 3750"/>
                <a:gd name="T6" fmla="*/ 0 w 927"/>
                <a:gd name="T7" fmla="*/ 0 h 3750"/>
                <a:gd name="T8" fmla="*/ 0 w 927"/>
                <a:gd name="T9" fmla="*/ 3749 h 3750"/>
              </a:gdLst>
              <a:ahLst/>
              <a:cxnLst>
                <a:cxn ang="0">
                  <a:pos x="T0" y="T1"/>
                </a:cxn>
                <a:cxn ang="0">
                  <a:pos x="T2" y="T3"/>
                </a:cxn>
                <a:cxn ang="0">
                  <a:pos x="T4" y="T5"/>
                </a:cxn>
                <a:cxn ang="0">
                  <a:pos x="T6" y="T7"/>
                </a:cxn>
                <a:cxn ang="0">
                  <a:pos x="T8" y="T9"/>
                </a:cxn>
              </a:cxnLst>
              <a:rect l="0" t="0" r="r" b="b"/>
              <a:pathLst>
                <a:path w="927" h="3750">
                  <a:moveTo>
                    <a:pt x="0" y="3749"/>
                  </a:moveTo>
                  <a:lnTo>
                    <a:pt x="926" y="3749"/>
                  </a:lnTo>
                  <a:lnTo>
                    <a:pt x="926" y="0"/>
                  </a:lnTo>
                  <a:lnTo>
                    <a:pt x="0" y="0"/>
                  </a:lnTo>
                  <a:lnTo>
                    <a:pt x="0" y="3749"/>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9" name="Freeform 3">
              <a:extLst>
                <a:ext uri="{FF2B5EF4-FFF2-40B4-BE49-F238E27FC236}">
                  <a16:creationId xmlns:a16="http://schemas.microsoft.com/office/drawing/2014/main" id="{B167D7DA-F8BF-6741-89E7-A83D054E93D2}"/>
                </a:ext>
              </a:extLst>
            </p:cNvPr>
            <p:cNvSpPr>
              <a:spLocks noChangeArrowheads="1"/>
            </p:cNvSpPr>
            <p:nvPr/>
          </p:nvSpPr>
          <p:spPr bwMode="auto">
            <a:xfrm>
              <a:off x="3781425" y="2193925"/>
              <a:ext cx="1206500" cy="1973263"/>
            </a:xfrm>
            <a:custGeom>
              <a:avLst/>
              <a:gdLst>
                <a:gd name="T0" fmla="*/ 2426 w 3353"/>
                <a:gd name="T1" fmla="*/ 1631 h 5480"/>
                <a:gd name="T2" fmla="*/ 2426 w 3353"/>
                <a:gd name="T3" fmla="*/ 1631 h 5480"/>
                <a:gd name="T4" fmla="*/ 2459 w 3353"/>
                <a:gd name="T5" fmla="*/ 1940 h 5480"/>
                <a:gd name="T6" fmla="*/ 1290 w 3353"/>
                <a:gd name="T7" fmla="*/ 1532 h 5480"/>
                <a:gd name="T8" fmla="*/ 0 w 3353"/>
                <a:gd name="T9" fmla="*/ 1995 h 5480"/>
                <a:gd name="T10" fmla="*/ 463 w 3353"/>
                <a:gd name="T11" fmla="*/ 2833 h 5480"/>
                <a:gd name="T12" fmla="*/ 1323 w 3353"/>
                <a:gd name="T13" fmla="*/ 2403 h 5480"/>
                <a:gd name="T14" fmla="*/ 2393 w 3353"/>
                <a:gd name="T15" fmla="*/ 3506 h 5480"/>
                <a:gd name="T16" fmla="*/ 1323 w 3353"/>
                <a:gd name="T17" fmla="*/ 4619 h 5480"/>
                <a:gd name="T18" fmla="*/ 485 w 3353"/>
                <a:gd name="T19" fmla="*/ 4178 h 5480"/>
                <a:gd name="T20" fmla="*/ 0 w 3353"/>
                <a:gd name="T21" fmla="*/ 5049 h 5480"/>
                <a:gd name="T22" fmla="*/ 1290 w 3353"/>
                <a:gd name="T23" fmla="*/ 5479 h 5480"/>
                <a:gd name="T24" fmla="*/ 2459 w 3353"/>
                <a:gd name="T25" fmla="*/ 5071 h 5480"/>
                <a:gd name="T26" fmla="*/ 2492 w 3353"/>
                <a:gd name="T27" fmla="*/ 5380 h 5480"/>
                <a:gd name="T28" fmla="*/ 3352 w 3353"/>
                <a:gd name="T29" fmla="*/ 5380 h 5480"/>
                <a:gd name="T30" fmla="*/ 3352 w 3353"/>
                <a:gd name="T31" fmla="*/ 0 h 5480"/>
                <a:gd name="T32" fmla="*/ 2426 w 3353"/>
                <a:gd name="T33" fmla="*/ 0 h 5480"/>
                <a:gd name="T34" fmla="*/ 2426 w 3353"/>
                <a:gd name="T35" fmla="*/ 1631 h 5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53" h="5480">
                  <a:moveTo>
                    <a:pt x="2426" y="1631"/>
                  </a:moveTo>
                  <a:lnTo>
                    <a:pt x="2426" y="1631"/>
                  </a:lnTo>
                  <a:cubicBezTo>
                    <a:pt x="2426" y="1819"/>
                    <a:pt x="2459" y="1940"/>
                    <a:pt x="2459" y="1940"/>
                  </a:cubicBezTo>
                  <a:cubicBezTo>
                    <a:pt x="2150" y="1720"/>
                    <a:pt x="1786" y="1532"/>
                    <a:pt x="1290" y="1532"/>
                  </a:cubicBezTo>
                  <a:cubicBezTo>
                    <a:pt x="794" y="1532"/>
                    <a:pt x="364" y="1720"/>
                    <a:pt x="0" y="1995"/>
                  </a:cubicBezTo>
                  <a:cubicBezTo>
                    <a:pt x="210" y="2249"/>
                    <a:pt x="364" y="2524"/>
                    <a:pt x="463" y="2833"/>
                  </a:cubicBezTo>
                  <a:cubicBezTo>
                    <a:pt x="673" y="2557"/>
                    <a:pt x="948" y="2403"/>
                    <a:pt x="1323" y="2403"/>
                  </a:cubicBezTo>
                  <a:cubicBezTo>
                    <a:pt x="1963" y="2403"/>
                    <a:pt x="2393" y="2833"/>
                    <a:pt x="2393" y="3506"/>
                  </a:cubicBezTo>
                  <a:cubicBezTo>
                    <a:pt x="2393" y="4211"/>
                    <a:pt x="1941" y="4619"/>
                    <a:pt x="1323" y="4619"/>
                  </a:cubicBezTo>
                  <a:cubicBezTo>
                    <a:pt x="982" y="4619"/>
                    <a:pt x="673" y="4465"/>
                    <a:pt x="485" y="4178"/>
                  </a:cubicBezTo>
                  <a:cubicBezTo>
                    <a:pt x="397" y="4520"/>
                    <a:pt x="210" y="4795"/>
                    <a:pt x="0" y="5049"/>
                  </a:cubicBezTo>
                  <a:cubicBezTo>
                    <a:pt x="364" y="5325"/>
                    <a:pt x="794" y="5479"/>
                    <a:pt x="1290" y="5479"/>
                  </a:cubicBezTo>
                  <a:cubicBezTo>
                    <a:pt x="1753" y="5479"/>
                    <a:pt x="2183" y="5292"/>
                    <a:pt x="2459" y="5071"/>
                  </a:cubicBezTo>
                  <a:cubicBezTo>
                    <a:pt x="2492" y="5380"/>
                    <a:pt x="2492" y="5380"/>
                    <a:pt x="2492" y="5380"/>
                  </a:cubicBezTo>
                  <a:cubicBezTo>
                    <a:pt x="3352" y="5380"/>
                    <a:pt x="3352" y="5380"/>
                    <a:pt x="3352" y="5380"/>
                  </a:cubicBezTo>
                  <a:cubicBezTo>
                    <a:pt x="3352" y="0"/>
                    <a:pt x="3352" y="0"/>
                    <a:pt x="3352" y="0"/>
                  </a:cubicBezTo>
                  <a:cubicBezTo>
                    <a:pt x="2426" y="0"/>
                    <a:pt x="2426" y="0"/>
                    <a:pt x="2426" y="0"/>
                  </a:cubicBezTo>
                  <a:lnTo>
                    <a:pt x="2426" y="1631"/>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1" name="Freeform 4">
              <a:extLst>
                <a:ext uri="{FF2B5EF4-FFF2-40B4-BE49-F238E27FC236}">
                  <a16:creationId xmlns:a16="http://schemas.microsoft.com/office/drawing/2014/main" id="{13CF8FAB-1FB0-3145-8422-1988AF781515}"/>
                </a:ext>
              </a:extLst>
            </p:cNvPr>
            <p:cNvSpPr>
              <a:spLocks noChangeArrowheads="1"/>
            </p:cNvSpPr>
            <p:nvPr/>
          </p:nvSpPr>
          <p:spPr bwMode="auto">
            <a:xfrm>
              <a:off x="2286000" y="2746375"/>
              <a:ext cx="1441450" cy="1420813"/>
            </a:xfrm>
            <a:custGeom>
              <a:avLst/>
              <a:gdLst>
                <a:gd name="T0" fmla="*/ 1995 w 4003"/>
                <a:gd name="T1" fmla="*/ 0 h 3948"/>
                <a:gd name="T2" fmla="*/ 1995 w 4003"/>
                <a:gd name="T3" fmla="*/ 0 h 3948"/>
                <a:gd name="T4" fmla="*/ 0 w 4003"/>
                <a:gd name="T5" fmla="*/ 1974 h 3948"/>
                <a:gd name="T6" fmla="*/ 1995 w 4003"/>
                <a:gd name="T7" fmla="*/ 3947 h 3948"/>
                <a:gd name="T8" fmla="*/ 4002 w 4003"/>
                <a:gd name="T9" fmla="*/ 1974 h 3948"/>
                <a:gd name="T10" fmla="*/ 1995 w 4003"/>
                <a:gd name="T11" fmla="*/ 0 h 3948"/>
                <a:gd name="T12" fmla="*/ 1995 w 4003"/>
                <a:gd name="T13" fmla="*/ 3087 h 3948"/>
                <a:gd name="T14" fmla="*/ 1995 w 4003"/>
                <a:gd name="T15" fmla="*/ 3087 h 3948"/>
                <a:gd name="T16" fmla="*/ 926 w 4003"/>
                <a:gd name="T17" fmla="*/ 1974 h 3948"/>
                <a:gd name="T18" fmla="*/ 1995 w 4003"/>
                <a:gd name="T19" fmla="*/ 871 h 3948"/>
                <a:gd name="T20" fmla="*/ 3076 w 4003"/>
                <a:gd name="T21" fmla="*/ 1974 h 3948"/>
                <a:gd name="T22" fmla="*/ 1995 w 4003"/>
                <a:gd name="T23" fmla="*/ 3087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3" h="3948">
                  <a:moveTo>
                    <a:pt x="1995" y="0"/>
                  </a:moveTo>
                  <a:lnTo>
                    <a:pt x="1995" y="0"/>
                  </a:lnTo>
                  <a:cubicBezTo>
                    <a:pt x="860" y="0"/>
                    <a:pt x="0" y="893"/>
                    <a:pt x="0" y="1974"/>
                  </a:cubicBezTo>
                  <a:cubicBezTo>
                    <a:pt x="0" y="3109"/>
                    <a:pt x="860" y="3947"/>
                    <a:pt x="1995" y="3947"/>
                  </a:cubicBezTo>
                  <a:cubicBezTo>
                    <a:pt x="3142" y="3947"/>
                    <a:pt x="4002" y="3109"/>
                    <a:pt x="4002" y="1974"/>
                  </a:cubicBezTo>
                  <a:cubicBezTo>
                    <a:pt x="4002" y="893"/>
                    <a:pt x="3142" y="0"/>
                    <a:pt x="1995" y="0"/>
                  </a:cubicBezTo>
                  <a:close/>
                  <a:moveTo>
                    <a:pt x="1995" y="3087"/>
                  </a:moveTo>
                  <a:lnTo>
                    <a:pt x="1995" y="3087"/>
                  </a:lnTo>
                  <a:cubicBezTo>
                    <a:pt x="1389" y="3087"/>
                    <a:pt x="926" y="2624"/>
                    <a:pt x="926" y="1974"/>
                  </a:cubicBezTo>
                  <a:cubicBezTo>
                    <a:pt x="926" y="1356"/>
                    <a:pt x="1356" y="871"/>
                    <a:pt x="1995" y="871"/>
                  </a:cubicBezTo>
                  <a:cubicBezTo>
                    <a:pt x="2646" y="871"/>
                    <a:pt x="3076" y="1356"/>
                    <a:pt x="3076" y="1974"/>
                  </a:cubicBezTo>
                  <a:cubicBezTo>
                    <a:pt x="3076" y="2624"/>
                    <a:pt x="2613" y="3087"/>
                    <a:pt x="1995" y="3087"/>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2" name="Freeform 5">
              <a:extLst>
                <a:ext uri="{FF2B5EF4-FFF2-40B4-BE49-F238E27FC236}">
                  <a16:creationId xmlns:a16="http://schemas.microsoft.com/office/drawing/2014/main" id="{17AD89BA-251B-DD41-A1DD-7937D0CD4AEF}"/>
                </a:ext>
              </a:extLst>
            </p:cNvPr>
            <p:cNvSpPr>
              <a:spLocks noChangeArrowheads="1"/>
            </p:cNvSpPr>
            <p:nvPr/>
          </p:nvSpPr>
          <p:spPr bwMode="auto">
            <a:xfrm>
              <a:off x="5862638" y="2627313"/>
              <a:ext cx="1420812" cy="2325687"/>
            </a:xfrm>
            <a:custGeom>
              <a:avLst/>
              <a:gdLst>
                <a:gd name="T0" fmla="*/ 3914 w 3948"/>
                <a:gd name="T1" fmla="*/ 2216 h 6462"/>
                <a:gd name="T2" fmla="*/ 3914 w 3948"/>
                <a:gd name="T3" fmla="*/ 2216 h 6462"/>
                <a:gd name="T4" fmla="*/ 3517 w 3948"/>
                <a:gd name="T5" fmla="*/ 1048 h 6462"/>
                <a:gd name="T6" fmla="*/ 3947 w 3948"/>
                <a:gd name="T7" fmla="*/ 519 h 6462"/>
                <a:gd name="T8" fmla="*/ 3263 w 3948"/>
                <a:gd name="T9" fmla="*/ 0 h 6462"/>
                <a:gd name="T10" fmla="*/ 2800 w 3948"/>
                <a:gd name="T11" fmla="*/ 519 h 6462"/>
                <a:gd name="T12" fmla="*/ 1940 w 3948"/>
                <a:gd name="T13" fmla="*/ 331 h 6462"/>
                <a:gd name="T14" fmla="*/ 0 w 3948"/>
                <a:gd name="T15" fmla="*/ 2305 h 6462"/>
                <a:gd name="T16" fmla="*/ 1510 w 3948"/>
                <a:gd name="T17" fmla="*/ 4057 h 6462"/>
                <a:gd name="T18" fmla="*/ 2954 w 3948"/>
                <a:gd name="T19" fmla="*/ 4895 h 6462"/>
                <a:gd name="T20" fmla="*/ 2061 w 3948"/>
                <a:gd name="T21" fmla="*/ 5568 h 6462"/>
                <a:gd name="T22" fmla="*/ 1080 w 3948"/>
                <a:gd name="T23" fmla="*/ 4829 h 6462"/>
                <a:gd name="T24" fmla="*/ 1080 w 3948"/>
                <a:gd name="T25" fmla="*/ 4741 h 6462"/>
                <a:gd name="T26" fmla="*/ 132 w 3948"/>
                <a:gd name="T27" fmla="*/ 4741 h 6462"/>
                <a:gd name="T28" fmla="*/ 132 w 3948"/>
                <a:gd name="T29" fmla="*/ 4829 h 6462"/>
                <a:gd name="T30" fmla="*/ 2039 w 3948"/>
                <a:gd name="T31" fmla="*/ 6461 h 6462"/>
                <a:gd name="T32" fmla="*/ 3914 w 3948"/>
                <a:gd name="T33" fmla="*/ 4951 h 6462"/>
                <a:gd name="T34" fmla="*/ 3021 w 3948"/>
                <a:gd name="T35" fmla="*/ 3694 h 6462"/>
                <a:gd name="T36" fmla="*/ 3914 w 3948"/>
                <a:gd name="T37" fmla="*/ 2216 h 6462"/>
                <a:gd name="T38" fmla="*/ 1940 w 3948"/>
                <a:gd name="T39" fmla="*/ 3286 h 6462"/>
                <a:gd name="T40" fmla="*/ 1940 w 3948"/>
                <a:gd name="T41" fmla="*/ 3286 h 6462"/>
                <a:gd name="T42" fmla="*/ 959 w 3948"/>
                <a:gd name="T43" fmla="*/ 2238 h 6462"/>
                <a:gd name="T44" fmla="*/ 1940 w 3948"/>
                <a:gd name="T45" fmla="*/ 1202 h 6462"/>
                <a:gd name="T46" fmla="*/ 2954 w 3948"/>
                <a:gd name="T47" fmla="*/ 2238 h 6462"/>
                <a:gd name="T48" fmla="*/ 1940 w 3948"/>
                <a:gd name="T49" fmla="*/ 3286 h 6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8" h="6462">
                  <a:moveTo>
                    <a:pt x="3914" y="2216"/>
                  </a:moveTo>
                  <a:lnTo>
                    <a:pt x="3914" y="2216"/>
                  </a:lnTo>
                  <a:cubicBezTo>
                    <a:pt x="3914" y="1786"/>
                    <a:pt x="3759" y="1356"/>
                    <a:pt x="3517" y="1048"/>
                  </a:cubicBezTo>
                  <a:cubicBezTo>
                    <a:pt x="3947" y="519"/>
                    <a:pt x="3947" y="519"/>
                    <a:pt x="3947" y="519"/>
                  </a:cubicBezTo>
                  <a:cubicBezTo>
                    <a:pt x="3263" y="0"/>
                    <a:pt x="3263" y="0"/>
                    <a:pt x="3263" y="0"/>
                  </a:cubicBezTo>
                  <a:cubicBezTo>
                    <a:pt x="2800" y="519"/>
                    <a:pt x="2800" y="519"/>
                    <a:pt x="2800" y="519"/>
                  </a:cubicBezTo>
                  <a:cubicBezTo>
                    <a:pt x="2558" y="397"/>
                    <a:pt x="2282" y="331"/>
                    <a:pt x="1940" y="331"/>
                  </a:cubicBezTo>
                  <a:cubicBezTo>
                    <a:pt x="805" y="331"/>
                    <a:pt x="0" y="1202"/>
                    <a:pt x="0" y="2305"/>
                  </a:cubicBezTo>
                  <a:cubicBezTo>
                    <a:pt x="0" y="3286"/>
                    <a:pt x="595" y="3903"/>
                    <a:pt x="1510" y="4057"/>
                  </a:cubicBezTo>
                  <a:cubicBezTo>
                    <a:pt x="2128" y="4179"/>
                    <a:pt x="2954" y="4157"/>
                    <a:pt x="2954" y="4895"/>
                  </a:cubicBezTo>
                  <a:cubicBezTo>
                    <a:pt x="2954" y="5292"/>
                    <a:pt x="2679" y="5568"/>
                    <a:pt x="2061" y="5568"/>
                  </a:cubicBezTo>
                  <a:cubicBezTo>
                    <a:pt x="1422" y="5568"/>
                    <a:pt x="1080" y="5193"/>
                    <a:pt x="1080" y="4829"/>
                  </a:cubicBezTo>
                  <a:cubicBezTo>
                    <a:pt x="1080" y="4796"/>
                    <a:pt x="1080" y="4763"/>
                    <a:pt x="1080" y="4741"/>
                  </a:cubicBezTo>
                  <a:cubicBezTo>
                    <a:pt x="132" y="4741"/>
                    <a:pt x="132" y="4741"/>
                    <a:pt x="132" y="4741"/>
                  </a:cubicBezTo>
                  <a:cubicBezTo>
                    <a:pt x="132" y="4763"/>
                    <a:pt x="132" y="4796"/>
                    <a:pt x="132" y="4829"/>
                  </a:cubicBezTo>
                  <a:cubicBezTo>
                    <a:pt x="132" y="5689"/>
                    <a:pt x="871" y="6461"/>
                    <a:pt x="2039" y="6461"/>
                  </a:cubicBezTo>
                  <a:cubicBezTo>
                    <a:pt x="3329" y="6461"/>
                    <a:pt x="3914" y="5689"/>
                    <a:pt x="3914" y="4951"/>
                  </a:cubicBezTo>
                  <a:cubicBezTo>
                    <a:pt x="3914" y="4245"/>
                    <a:pt x="3539" y="3870"/>
                    <a:pt x="3021" y="3694"/>
                  </a:cubicBezTo>
                  <a:cubicBezTo>
                    <a:pt x="3539" y="3440"/>
                    <a:pt x="3914" y="2889"/>
                    <a:pt x="3914" y="2216"/>
                  </a:cubicBezTo>
                  <a:close/>
                  <a:moveTo>
                    <a:pt x="1940" y="3286"/>
                  </a:moveTo>
                  <a:lnTo>
                    <a:pt x="1940" y="3286"/>
                  </a:lnTo>
                  <a:cubicBezTo>
                    <a:pt x="1356" y="3286"/>
                    <a:pt x="959" y="2889"/>
                    <a:pt x="959" y="2238"/>
                  </a:cubicBezTo>
                  <a:cubicBezTo>
                    <a:pt x="959" y="1632"/>
                    <a:pt x="1334" y="1202"/>
                    <a:pt x="1940" y="1202"/>
                  </a:cubicBezTo>
                  <a:cubicBezTo>
                    <a:pt x="2591" y="1202"/>
                    <a:pt x="2954" y="1632"/>
                    <a:pt x="2954" y="2238"/>
                  </a:cubicBezTo>
                  <a:cubicBezTo>
                    <a:pt x="2954" y="2889"/>
                    <a:pt x="2624" y="3286"/>
                    <a:pt x="1940" y="3286"/>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3" name="Freeform 6">
              <a:extLst>
                <a:ext uri="{FF2B5EF4-FFF2-40B4-BE49-F238E27FC236}">
                  <a16:creationId xmlns:a16="http://schemas.microsoft.com/office/drawing/2014/main" id="{DC084B0C-F963-5C48-822D-1B8CE308E8BC}"/>
                </a:ext>
              </a:extLst>
            </p:cNvPr>
            <p:cNvSpPr>
              <a:spLocks noChangeArrowheads="1"/>
            </p:cNvSpPr>
            <p:nvPr/>
          </p:nvSpPr>
          <p:spPr bwMode="auto">
            <a:xfrm>
              <a:off x="5299075" y="2193925"/>
              <a:ext cx="333375" cy="322263"/>
            </a:xfrm>
            <a:custGeom>
              <a:avLst/>
              <a:gdLst>
                <a:gd name="T0" fmla="*/ 0 w 927"/>
                <a:gd name="T1" fmla="*/ 893 h 894"/>
                <a:gd name="T2" fmla="*/ 926 w 927"/>
                <a:gd name="T3" fmla="*/ 893 h 894"/>
                <a:gd name="T4" fmla="*/ 926 w 927"/>
                <a:gd name="T5" fmla="*/ 0 h 894"/>
                <a:gd name="T6" fmla="*/ 0 w 927"/>
                <a:gd name="T7" fmla="*/ 0 h 894"/>
                <a:gd name="T8" fmla="*/ 0 w 927"/>
                <a:gd name="T9" fmla="*/ 893 h 894"/>
              </a:gdLst>
              <a:ahLst/>
              <a:cxnLst>
                <a:cxn ang="0">
                  <a:pos x="T0" y="T1"/>
                </a:cxn>
                <a:cxn ang="0">
                  <a:pos x="T2" y="T3"/>
                </a:cxn>
                <a:cxn ang="0">
                  <a:pos x="T4" y="T5"/>
                </a:cxn>
                <a:cxn ang="0">
                  <a:pos x="T6" y="T7"/>
                </a:cxn>
                <a:cxn ang="0">
                  <a:pos x="T8" y="T9"/>
                </a:cxn>
              </a:cxnLst>
              <a:rect l="0" t="0" r="r" b="b"/>
              <a:pathLst>
                <a:path w="927" h="894">
                  <a:moveTo>
                    <a:pt x="0" y="893"/>
                  </a:moveTo>
                  <a:lnTo>
                    <a:pt x="926" y="893"/>
                  </a:lnTo>
                  <a:lnTo>
                    <a:pt x="926" y="0"/>
                  </a:lnTo>
                  <a:lnTo>
                    <a:pt x="0" y="0"/>
                  </a:lnTo>
                  <a:lnTo>
                    <a:pt x="0" y="893"/>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4" name="Freeform 7">
              <a:extLst>
                <a:ext uri="{FF2B5EF4-FFF2-40B4-BE49-F238E27FC236}">
                  <a16:creationId xmlns:a16="http://schemas.microsoft.com/office/drawing/2014/main" id="{B7CD481C-C6B8-1A47-B32D-E42D1E2D490F}"/>
                </a:ext>
              </a:extLst>
            </p:cNvPr>
            <p:cNvSpPr>
              <a:spLocks noChangeArrowheads="1"/>
            </p:cNvSpPr>
            <p:nvPr/>
          </p:nvSpPr>
          <p:spPr bwMode="auto">
            <a:xfrm>
              <a:off x="7458075" y="2746375"/>
              <a:ext cx="1452563" cy="1420813"/>
            </a:xfrm>
            <a:custGeom>
              <a:avLst/>
              <a:gdLst>
                <a:gd name="T0" fmla="*/ 3076 w 4036"/>
                <a:gd name="T1" fmla="*/ 1764 h 3948"/>
                <a:gd name="T2" fmla="*/ 3076 w 4036"/>
                <a:gd name="T3" fmla="*/ 1764 h 3948"/>
                <a:gd name="T4" fmla="*/ 3076 w 4036"/>
                <a:gd name="T5" fmla="*/ 1974 h 3948"/>
                <a:gd name="T6" fmla="*/ 2007 w 4036"/>
                <a:gd name="T7" fmla="*/ 3087 h 3948"/>
                <a:gd name="T8" fmla="*/ 959 w 4036"/>
                <a:gd name="T9" fmla="*/ 1974 h 3948"/>
                <a:gd name="T10" fmla="*/ 2007 w 4036"/>
                <a:gd name="T11" fmla="*/ 871 h 3948"/>
                <a:gd name="T12" fmla="*/ 2062 w 4036"/>
                <a:gd name="T13" fmla="*/ 871 h 3948"/>
                <a:gd name="T14" fmla="*/ 2062 w 4036"/>
                <a:gd name="T15" fmla="*/ 0 h 3948"/>
                <a:gd name="T16" fmla="*/ 2007 w 4036"/>
                <a:gd name="T17" fmla="*/ 0 h 3948"/>
                <a:gd name="T18" fmla="*/ 0 w 4036"/>
                <a:gd name="T19" fmla="*/ 1974 h 3948"/>
                <a:gd name="T20" fmla="*/ 2007 w 4036"/>
                <a:gd name="T21" fmla="*/ 3947 h 3948"/>
                <a:gd name="T22" fmla="*/ 4035 w 4036"/>
                <a:gd name="T23" fmla="*/ 1974 h 3948"/>
                <a:gd name="T24" fmla="*/ 4002 w 4036"/>
                <a:gd name="T25" fmla="*/ 1764 h 3948"/>
                <a:gd name="T26" fmla="*/ 3076 w 4036"/>
                <a:gd name="T27" fmla="*/ 1764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6" h="3948">
                  <a:moveTo>
                    <a:pt x="3076" y="1764"/>
                  </a:moveTo>
                  <a:lnTo>
                    <a:pt x="3076" y="1764"/>
                  </a:lnTo>
                  <a:cubicBezTo>
                    <a:pt x="3076" y="1852"/>
                    <a:pt x="3076" y="1907"/>
                    <a:pt x="3076" y="1974"/>
                  </a:cubicBezTo>
                  <a:cubicBezTo>
                    <a:pt x="3076" y="2624"/>
                    <a:pt x="2624" y="3087"/>
                    <a:pt x="2007" y="3087"/>
                  </a:cubicBezTo>
                  <a:cubicBezTo>
                    <a:pt x="1422" y="3087"/>
                    <a:pt x="959" y="2624"/>
                    <a:pt x="959" y="1974"/>
                  </a:cubicBezTo>
                  <a:cubicBezTo>
                    <a:pt x="959" y="1356"/>
                    <a:pt x="1389" y="871"/>
                    <a:pt x="2007" y="871"/>
                  </a:cubicBezTo>
                  <a:cubicBezTo>
                    <a:pt x="2040" y="871"/>
                    <a:pt x="2040" y="871"/>
                    <a:pt x="2062" y="871"/>
                  </a:cubicBezTo>
                  <a:cubicBezTo>
                    <a:pt x="2062" y="0"/>
                    <a:pt x="2062" y="0"/>
                    <a:pt x="2062" y="0"/>
                  </a:cubicBezTo>
                  <a:cubicBezTo>
                    <a:pt x="2040" y="0"/>
                    <a:pt x="2040" y="0"/>
                    <a:pt x="2007" y="0"/>
                  </a:cubicBezTo>
                  <a:cubicBezTo>
                    <a:pt x="871" y="0"/>
                    <a:pt x="0" y="893"/>
                    <a:pt x="0" y="1974"/>
                  </a:cubicBezTo>
                  <a:cubicBezTo>
                    <a:pt x="0" y="3109"/>
                    <a:pt x="871" y="3947"/>
                    <a:pt x="2007" y="3947"/>
                  </a:cubicBezTo>
                  <a:cubicBezTo>
                    <a:pt x="3175" y="3947"/>
                    <a:pt x="4035" y="3109"/>
                    <a:pt x="4035" y="1974"/>
                  </a:cubicBezTo>
                  <a:cubicBezTo>
                    <a:pt x="4035" y="1907"/>
                    <a:pt x="4035" y="1852"/>
                    <a:pt x="4002" y="1764"/>
                  </a:cubicBezTo>
                  <a:lnTo>
                    <a:pt x="3076" y="176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grpSp>
        <p:nvGrpSpPr>
          <p:cNvPr id="63" name="Group 62">
            <a:extLst>
              <a:ext uri="{FF2B5EF4-FFF2-40B4-BE49-F238E27FC236}">
                <a16:creationId xmlns:a16="http://schemas.microsoft.com/office/drawing/2014/main" id="{249617DF-2CE6-3243-B1B9-08FEB94BEDE9}"/>
              </a:ext>
            </a:extLst>
          </p:cNvPr>
          <p:cNvGrpSpPr/>
          <p:nvPr userDrawn="1"/>
        </p:nvGrpSpPr>
        <p:grpSpPr>
          <a:xfrm>
            <a:off x="434640" y="4447762"/>
            <a:ext cx="1692983" cy="279387"/>
            <a:chOff x="1828800" y="3017838"/>
            <a:chExt cx="6291263" cy="1038225"/>
          </a:xfrm>
        </p:grpSpPr>
        <p:sp>
          <p:nvSpPr>
            <p:cNvPr id="64" name="Freeform 1">
              <a:extLst>
                <a:ext uri="{FF2B5EF4-FFF2-40B4-BE49-F238E27FC236}">
                  <a16:creationId xmlns:a16="http://schemas.microsoft.com/office/drawing/2014/main" id="{08526F5E-52C7-A24D-9B3C-7B37569DB457}"/>
                </a:ext>
              </a:extLst>
            </p:cNvPr>
            <p:cNvSpPr>
              <a:spLocks noChangeArrowheads="1"/>
            </p:cNvSpPr>
            <p:nvPr userDrawn="1"/>
          </p:nvSpPr>
          <p:spPr bwMode="auto">
            <a:xfrm>
              <a:off x="1831975" y="3017838"/>
              <a:ext cx="388938" cy="438150"/>
            </a:xfrm>
            <a:custGeom>
              <a:avLst/>
              <a:gdLst>
                <a:gd name="T0" fmla="*/ 1081 w 1082"/>
                <a:gd name="T1" fmla="*/ 1042 h 1215"/>
                <a:gd name="T2" fmla="*/ 1081 w 1082"/>
                <a:gd name="T3" fmla="*/ 1042 h 1215"/>
                <a:gd name="T4" fmla="*/ 873 w 1082"/>
                <a:gd name="T5" fmla="*/ 1172 h 1215"/>
                <a:gd name="T6" fmla="*/ 631 w 1082"/>
                <a:gd name="T7" fmla="*/ 1214 h 1215"/>
                <a:gd name="T8" fmla="*/ 350 w 1082"/>
                <a:gd name="T9" fmla="*/ 1164 h 1215"/>
                <a:gd name="T10" fmla="*/ 153 w 1082"/>
                <a:gd name="T11" fmla="*/ 1028 h 1215"/>
                <a:gd name="T12" fmla="*/ 39 w 1082"/>
                <a:gd name="T13" fmla="*/ 836 h 1215"/>
                <a:gd name="T14" fmla="*/ 0 w 1082"/>
                <a:gd name="T15" fmla="*/ 614 h 1215"/>
                <a:gd name="T16" fmla="*/ 39 w 1082"/>
                <a:gd name="T17" fmla="*/ 389 h 1215"/>
                <a:gd name="T18" fmla="*/ 156 w 1082"/>
                <a:gd name="T19" fmla="*/ 192 h 1215"/>
                <a:gd name="T20" fmla="*/ 353 w 1082"/>
                <a:gd name="T21" fmla="*/ 53 h 1215"/>
                <a:gd name="T22" fmla="*/ 631 w 1082"/>
                <a:gd name="T23" fmla="*/ 0 h 1215"/>
                <a:gd name="T24" fmla="*/ 864 w 1082"/>
                <a:gd name="T25" fmla="*/ 44 h 1215"/>
                <a:gd name="T26" fmla="*/ 1070 w 1082"/>
                <a:gd name="T27" fmla="*/ 178 h 1215"/>
                <a:gd name="T28" fmla="*/ 942 w 1082"/>
                <a:gd name="T29" fmla="*/ 297 h 1215"/>
                <a:gd name="T30" fmla="*/ 795 w 1082"/>
                <a:gd name="T31" fmla="*/ 206 h 1215"/>
                <a:gd name="T32" fmla="*/ 631 w 1082"/>
                <a:gd name="T33" fmla="*/ 178 h 1215"/>
                <a:gd name="T34" fmla="*/ 434 w 1082"/>
                <a:gd name="T35" fmla="*/ 214 h 1215"/>
                <a:gd name="T36" fmla="*/ 298 w 1082"/>
                <a:gd name="T37" fmla="*/ 314 h 1215"/>
                <a:gd name="T38" fmla="*/ 217 w 1082"/>
                <a:gd name="T39" fmla="*/ 453 h 1215"/>
                <a:gd name="T40" fmla="*/ 192 w 1082"/>
                <a:gd name="T41" fmla="*/ 614 h 1215"/>
                <a:gd name="T42" fmla="*/ 217 w 1082"/>
                <a:gd name="T43" fmla="*/ 769 h 1215"/>
                <a:gd name="T44" fmla="*/ 295 w 1082"/>
                <a:gd name="T45" fmla="*/ 906 h 1215"/>
                <a:gd name="T46" fmla="*/ 434 w 1082"/>
                <a:gd name="T47" fmla="*/ 1003 h 1215"/>
                <a:gd name="T48" fmla="*/ 631 w 1082"/>
                <a:gd name="T49" fmla="*/ 1039 h 1215"/>
                <a:gd name="T50" fmla="*/ 800 w 1082"/>
                <a:gd name="T51" fmla="*/ 1008 h 1215"/>
                <a:gd name="T52" fmla="*/ 950 w 1082"/>
                <a:gd name="T53" fmla="*/ 911 h 1215"/>
                <a:gd name="T54" fmla="*/ 1081 w 1082"/>
                <a:gd name="T55" fmla="*/ 1042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2" h="1215">
                  <a:moveTo>
                    <a:pt x="1081" y="1042"/>
                  </a:moveTo>
                  <a:lnTo>
                    <a:pt x="1081" y="1042"/>
                  </a:lnTo>
                  <a:cubicBezTo>
                    <a:pt x="1020" y="1100"/>
                    <a:pt x="950" y="1144"/>
                    <a:pt x="873" y="1172"/>
                  </a:cubicBezTo>
                  <a:cubicBezTo>
                    <a:pt x="798" y="1200"/>
                    <a:pt x="717" y="1214"/>
                    <a:pt x="631" y="1214"/>
                  </a:cubicBezTo>
                  <a:cubicBezTo>
                    <a:pt x="523" y="1214"/>
                    <a:pt x="431" y="1197"/>
                    <a:pt x="350" y="1164"/>
                  </a:cubicBezTo>
                  <a:cubicBezTo>
                    <a:pt x="273" y="1130"/>
                    <a:pt x="206" y="1086"/>
                    <a:pt x="153" y="1028"/>
                  </a:cubicBezTo>
                  <a:cubicBezTo>
                    <a:pt x="103" y="972"/>
                    <a:pt x="64" y="908"/>
                    <a:pt x="39" y="836"/>
                  </a:cubicBezTo>
                  <a:cubicBezTo>
                    <a:pt x="14" y="764"/>
                    <a:pt x="0" y="692"/>
                    <a:pt x="0" y="614"/>
                  </a:cubicBezTo>
                  <a:cubicBezTo>
                    <a:pt x="0" y="536"/>
                    <a:pt x="14" y="461"/>
                    <a:pt x="39" y="389"/>
                  </a:cubicBezTo>
                  <a:cubicBezTo>
                    <a:pt x="67" y="314"/>
                    <a:pt x="103" y="250"/>
                    <a:pt x="156" y="192"/>
                  </a:cubicBezTo>
                  <a:cubicBezTo>
                    <a:pt x="209" y="133"/>
                    <a:pt x="273" y="89"/>
                    <a:pt x="353" y="53"/>
                  </a:cubicBezTo>
                  <a:cubicBezTo>
                    <a:pt x="431" y="17"/>
                    <a:pt x="525" y="0"/>
                    <a:pt x="631" y="0"/>
                  </a:cubicBezTo>
                  <a:cubicBezTo>
                    <a:pt x="711" y="0"/>
                    <a:pt x="789" y="14"/>
                    <a:pt x="864" y="44"/>
                  </a:cubicBezTo>
                  <a:cubicBezTo>
                    <a:pt x="939" y="72"/>
                    <a:pt x="1009" y="117"/>
                    <a:pt x="1070" y="178"/>
                  </a:cubicBezTo>
                  <a:cubicBezTo>
                    <a:pt x="942" y="297"/>
                    <a:pt x="942" y="297"/>
                    <a:pt x="942" y="297"/>
                  </a:cubicBezTo>
                  <a:cubicBezTo>
                    <a:pt x="898" y="256"/>
                    <a:pt x="850" y="225"/>
                    <a:pt x="795" y="206"/>
                  </a:cubicBezTo>
                  <a:cubicBezTo>
                    <a:pt x="742" y="186"/>
                    <a:pt x="686" y="178"/>
                    <a:pt x="631" y="178"/>
                  </a:cubicBezTo>
                  <a:cubicBezTo>
                    <a:pt x="556" y="178"/>
                    <a:pt x="489" y="189"/>
                    <a:pt x="434" y="214"/>
                  </a:cubicBezTo>
                  <a:cubicBezTo>
                    <a:pt x="378" y="239"/>
                    <a:pt x="334" y="272"/>
                    <a:pt x="298" y="314"/>
                  </a:cubicBezTo>
                  <a:cubicBezTo>
                    <a:pt x="261" y="356"/>
                    <a:pt x="234" y="400"/>
                    <a:pt x="217" y="453"/>
                  </a:cubicBezTo>
                  <a:cubicBezTo>
                    <a:pt x="200" y="506"/>
                    <a:pt x="192" y="558"/>
                    <a:pt x="192" y="614"/>
                  </a:cubicBezTo>
                  <a:cubicBezTo>
                    <a:pt x="192" y="667"/>
                    <a:pt x="200" y="719"/>
                    <a:pt x="217" y="769"/>
                  </a:cubicBezTo>
                  <a:cubicBezTo>
                    <a:pt x="234" y="822"/>
                    <a:pt x="261" y="867"/>
                    <a:pt x="295" y="906"/>
                  </a:cubicBezTo>
                  <a:cubicBezTo>
                    <a:pt x="331" y="947"/>
                    <a:pt x="378" y="978"/>
                    <a:pt x="434" y="1003"/>
                  </a:cubicBezTo>
                  <a:cubicBezTo>
                    <a:pt x="489" y="1028"/>
                    <a:pt x="553" y="1039"/>
                    <a:pt x="631" y="1039"/>
                  </a:cubicBezTo>
                  <a:cubicBezTo>
                    <a:pt x="686" y="1039"/>
                    <a:pt x="745" y="1028"/>
                    <a:pt x="800" y="1008"/>
                  </a:cubicBezTo>
                  <a:cubicBezTo>
                    <a:pt x="859" y="986"/>
                    <a:pt x="906" y="953"/>
                    <a:pt x="950" y="911"/>
                  </a:cubicBezTo>
                  <a:lnTo>
                    <a:pt x="1081" y="104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5" name="Freeform 2">
              <a:extLst>
                <a:ext uri="{FF2B5EF4-FFF2-40B4-BE49-F238E27FC236}">
                  <a16:creationId xmlns:a16="http://schemas.microsoft.com/office/drawing/2014/main" id="{1C1B1D27-0631-1C42-883E-3E78743EE0F0}"/>
                </a:ext>
              </a:extLst>
            </p:cNvPr>
            <p:cNvSpPr>
              <a:spLocks noChangeArrowheads="1"/>
            </p:cNvSpPr>
            <p:nvPr userDrawn="1"/>
          </p:nvSpPr>
          <p:spPr bwMode="auto">
            <a:xfrm>
              <a:off x="2268538" y="3149600"/>
              <a:ext cx="293687" cy="301625"/>
            </a:xfrm>
            <a:custGeom>
              <a:avLst/>
              <a:gdLst>
                <a:gd name="T0" fmla="*/ 175 w 815"/>
                <a:gd name="T1" fmla="*/ 0 h 837"/>
                <a:gd name="T2" fmla="*/ 175 w 815"/>
                <a:gd name="T3" fmla="*/ 0 h 837"/>
                <a:gd name="T4" fmla="*/ 175 w 815"/>
                <a:gd name="T5" fmla="*/ 439 h 837"/>
                <a:gd name="T6" fmla="*/ 233 w 815"/>
                <a:gd name="T7" fmla="*/ 611 h 837"/>
                <a:gd name="T8" fmla="*/ 406 w 815"/>
                <a:gd name="T9" fmla="*/ 675 h 837"/>
                <a:gd name="T10" fmla="*/ 500 w 815"/>
                <a:gd name="T11" fmla="*/ 658 h 837"/>
                <a:gd name="T12" fmla="*/ 572 w 815"/>
                <a:gd name="T13" fmla="*/ 602 h 837"/>
                <a:gd name="T14" fmla="*/ 622 w 815"/>
                <a:gd name="T15" fmla="*/ 525 h 837"/>
                <a:gd name="T16" fmla="*/ 639 w 815"/>
                <a:gd name="T17" fmla="*/ 427 h 837"/>
                <a:gd name="T18" fmla="*/ 639 w 815"/>
                <a:gd name="T19" fmla="*/ 0 h 837"/>
                <a:gd name="T20" fmla="*/ 814 w 815"/>
                <a:gd name="T21" fmla="*/ 0 h 837"/>
                <a:gd name="T22" fmla="*/ 814 w 815"/>
                <a:gd name="T23" fmla="*/ 825 h 837"/>
                <a:gd name="T24" fmla="*/ 656 w 815"/>
                <a:gd name="T25" fmla="*/ 825 h 837"/>
                <a:gd name="T26" fmla="*/ 645 w 815"/>
                <a:gd name="T27" fmla="*/ 702 h 837"/>
                <a:gd name="T28" fmla="*/ 514 w 815"/>
                <a:gd name="T29" fmla="*/ 805 h 837"/>
                <a:gd name="T30" fmla="*/ 356 w 815"/>
                <a:gd name="T31" fmla="*/ 836 h 837"/>
                <a:gd name="T32" fmla="*/ 211 w 815"/>
                <a:gd name="T33" fmla="*/ 811 h 837"/>
                <a:gd name="T34" fmla="*/ 100 w 815"/>
                <a:gd name="T35" fmla="*/ 733 h 837"/>
                <a:gd name="T36" fmla="*/ 25 w 815"/>
                <a:gd name="T37" fmla="*/ 608 h 837"/>
                <a:gd name="T38" fmla="*/ 0 w 815"/>
                <a:gd name="T39" fmla="*/ 441 h 837"/>
                <a:gd name="T40" fmla="*/ 0 w 815"/>
                <a:gd name="T41" fmla="*/ 0 h 837"/>
                <a:gd name="T42" fmla="*/ 175 w 815"/>
                <a:gd name="T43" fmla="*/ 0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5" h="837">
                  <a:moveTo>
                    <a:pt x="175" y="0"/>
                  </a:moveTo>
                  <a:lnTo>
                    <a:pt x="175" y="0"/>
                  </a:lnTo>
                  <a:cubicBezTo>
                    <a:pt x="175" y="439"/>
                    <a:pt x="175" y="439"/>
                    <a:pt x="175" y="439"/>
                  </a:cubicBezTo>
                  <a:cubicBezTo>
                    <a:pt x="175" y="508"/>
                    <a:pt x="195" y="566"/>
                    <a:pt x="233" y="611"/>
                  </a:cubicBezTo>
                  <a:cubicBezTo>
                    <a:pt x="275" y="655"/>
                    <a:pt x="331" y="675"/>
                    <a:pt x="406" y="675"/>
                  </a:cubicBezTo>
                  <a:cubicBezTo>
                    <a:pt x="439" y="675"/>
                    <a:pt x="470" y="669"/>
                    <a:pt x="500" y="658"/>
                  </a:cubicBezTo>
                  <a:cubicBezTo>
                    <a:pt x="528" y="644"/>
                    <a:pt x="553" y="627"/>
                    <a:pt x="572" y="602"/>
                  </a:cubicBezTo>
                  <a:cubicBezTo>
                    <a:pt x="595" y="580"/>
                    <a:pt x="611" y="555"/>
                    <a:pt x="622" y="525"/>
                  </a:cubicBezTo>
                  <a:cubicBezTo>
                    <a:pt x="633" y="494"/>
                    <a:pt x="639" y="461"/>
                    <a:pt x="639" y="427"/>
                  </a:cubicBezTo>
                  <a:cubicBezTo>
                    <a:pt x="639" y="0"/>
                    <a:pt x="639" y="0"/>
                    <a:pt x="639" y="0"/>
                  </a:cubicBezTo>
                  <a:cubicBezTo>
                    <a:pt x="814" y="0"/>
                    <a:pt x="814" y="0"/>
                    <a:pt x="814" y="0"/>
                  </a:cubicBezTo>
                  <a:cubicBezTo>
                    <a:pt x="814" y="825"/>
                    <a:pt x="814" y="825"/>
                    <a:pt x="814" y="825"/>
                  </a:cubicBezTo>
                  <a:cubicBezTo>
                    <a:pt x="656" y="825"/>
                    <a:pt x="656" y="825"/>
                    <a:pt x="656" y="825"/>
                  </a:cubicBezTo>
                  <a:cubicBezTo>
                    <a:pt x="645" y="702"/>
                    <a:pt x="645" y="702"/>
                    <a:pt x="645" y="702"/>
                  </a:cubicBezTo>
                  <a:cubicBezTo>
                    <a:pt x="603" y="750"/>
                    <a:pt x="561" y="783"/>
                    <a:pt x="514" y="805"/>
                  </a:cubicBezTo>
                  <a:cubicBezTo>
                    <a:pt x="467" y="825"/>
                    <a:pt x="414" y="836"/>
                    <a:pt x="356" y="836"/>
                  </a:cubicBezTo>
                  <a:cubicBezTo>
                    <a:pt x="303" y="836"/>
                    <a:pt x="256" y="827"/>
                    <a:pt x="211" y="811"/>
                  </a:cubicBezTo>
                  <a:cubicBezTo>
                    <a:pt x="170" y="791"/>
                    <a:pt x="131" y="766"/>
                    <a:pt x="100" y="733"/>
                  </a:cubicBezTo>
                  <a:cubicBezTo>
                    <a:pt x="70" y="700"/>
                    <a:pt x="45" y="658"/>
                    <a:pt x="25" y="608"/>
                  </a:cubicBezTo>
                  <a:cubicBezTo>
                    <a:pt x="8" y="561"/>
                    <a:pt x="0" y="505"/>
                    <a:pt x="0" y="441"/>
                  </a:cubicBezTo>
                  <a:cubicBezTo>
                    <a:pt x="0" y="0"/>
                    <a:pt x="0" y="0"/>
                    <a:pt x="0" y="0"/>
                  </a:cubicBezTo>
                  <a:lnTo>
                    <a:pt x="175"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6" name="Freeform 3">
              <a:extLst>
                <a:ext uri="{FF2B5EF4-FFF2-40B4-BE49-F238E27FC236}">
                  <a16:creationId xmlns:a16="http://schemas.microsoft.com/office/drawing/2014/main" id="{FBF82886-AE9E-C04F-A294-FF0D38C07FC5}"/>
                </a:ext>
              </a:extLst>
            </p:cNvPr>
            <p:cNvSpPr>
              <a:spLocks noChangeArrowheads="1"/>
            </p:cNvSpPr>
            <p:nvPr userDrawn="1"/>
          </p:nvSpPr>
          <p:spPr bwMode="auto">
            <a:xfrm>
              <a:off x="2624138" y="3141663"/>
              <a:ext cx="268287" cy="314325"/>
            </a:xfrm>
            <a:custGeom>
              <a:avLst/>
              <a:gdLst>
                <a:gd name="T0" fmla="*/ 606 w 746"/>
                <a:gd name="T1" fmla="*/ 225 h 871"/>
                <a:gd name="T2" fmla="*/ 606 w 746"/>
                <a:gd name="T3" fmla="*/ 225 h 871"/>
                <a:gd name="T4" fmla="*/ 500 w 746"/>
                <a:gd name="T5" fmla="*/ 164 h 871"/>
                <a:gd name="T6" fmla="*/ 383 w 746"/>
                <a:gd name="T7" fmla="*/ 148 h 871"/>
                <a:gd name="T8" fmla="*/ 253 w 746"/>
                <a:gd name="T9" fmla="*/ 173 h 871"/>
                <a:gd name="T10" fmla="*/ 203 w 746"/>
                <a:gd name="T11" fmla="*/ 245 h 871"/>
                <a:gd name="T12" fmla="*/ 256 w 746"/>
                <a:gd name="T13" fmla="*/ 320 h 871"/>
                <a:gd name="T14" fmla="*/ 386 w 746"/>
                <a:gd name="T15" fmla="*/ 350 h 871"/>
                <a:gd name="T16" fmla="*/ 508 w 746"/>
                <a:gd name="T17" fmla="*/ 367 h 871"/>
                <a:gd name="T18" fmla="*/ 625 w 746"/>
                <a:gd name="T19" fmla="*/ 406 h 871"/>
                <a:gd name="T20" fmla="*/ 711 w 746"/>
                <a:gd name="T21" fmla="*/ 481 h 871"/>
                <a:gd name="T22" fmla="*/ 745 w 746"/>
                <a:gd name="T23" fmla="*/ 611 h 871"/>
                <a:gd name="T24" fmla="*/ 717 w 746"/>
                <a:gd name="T25" fmla="*/ 717 h 871"/>
                <a:gd name="T26" fmla="*/ 645 w 746"/>
                <a:gd name="T27" fmla="*/ 798 h 871"/>
                <a:gd name="T28" fmla="*/ 533 w 746"/>
                <a:gd name="T29" fmla="*/ 853 h 871"/>
                <a:gd name="T30" fmla="*/ 383 w 746"/>
                <a:gd name="T31" fmla="*/ 870 h 871"/>
                <a:gd name="T32" fmla="*/ 183 w 746"/>
                <a:gd name="T33" fmla="*/ 842 h 871"/>
                <a:gd name="T34" fmla="*/ 0 w 746"/>
                <a:gd name="T35" fmla="*/ 720 h 871"/>
                <a:gd name="T36" fmla="*/ 92 w 746"/>
                <a:gd name="T37" fmla="*/ 598 h 871"/>
                <a:gd name="T38" fmla="*/ 233 w 746"/>
                <a:gd name="T39" fmla="*/ 689 h 871"/>
                <a:gd name="T40" fmla="*/ 389 w 746"/>
                <a:gd name="T41" fmla="*/ 720 h 871"/>
                <a:gd name="T42" fmla="*/ 450 w 746"/>
                <a:gd name="T43" fmla="*/ 714 h 871"/>
                <a:gd name="T44" fmla="*/ 508 w 746"/>
                <a:gd name="T45" fmla="*/ 698 h 871"/>
                <a:gd name="T46" fmla="*/ 550 w 746"/>
                <a:gd name="T47" fmla="*/ 662 h 871"/>
                <a:gd name="T48" fmla="*/ 567 w 746"/>
                <a:gd name="T49" fmla="*/ 614 h 871"/>
                <a:gd name="T50" fmla="*/ 517 w 746"/>
                <a:gd name="T51" fmla="*/ 531 h 871"/>
                <a:gd name="T52" fmla="*/ 372 w 746"/>
                <a:gd name="T53" fmla="*/ 498 h 871"/>
                <a:gd name="T54" fmla="*/ 253 w 746"/>
                <a:gd name="T55" fmla="*/ 478 h 871"/>
                <a:gd name="T56" fmla="*/ 142 w 746"/>
                <a:gd name="T57" fmla="*/ 436 h 871"/>
                <a:gd name="T58" fmla="*/ 61 w 746"/>
                <a:gd name="T59" fmla="*/ 364 h 871"/>
                <a:gd name="T60" fmla="*/ 31 w 746"/>
                <a:gd name="T61" fmla="*/ 250 h 871"/>
                <a:gd name="T62" fmla="*/ 61 w 746"/>
                <a:gd name="T63" fmla="*/ 134 h 871"/>
                <a:gd name="T64" fmla="*/ 145 w 746"/>
                <a:gd name="T65" fmla="*/ 56 h 871"/>
                <a:gd name="T66" fmla="*/ 259 w 746"/>
                <a:gd name="T67" fmla="*/ 14 h 871"/>
                <a:gd name="T68" fmla="*/ 381 w 746"/>
                <a:gd name="T69" fmla="*/ 0 h 871"/>
                <a:gd name="T70" fmla="*/ 556 w 746"/>
                <a:gd name="T71" fmla="*/ 25 h 871"/>
                <a:gd name="T72" fmla="*/ 703 w 746"/>
                <a:gd name="T73" fmla="*/ 112 h 871"/>
                <a:gd name="T74" fmla="*/ 606 w 746"/>
                <a:gd name="T75" fmla="*/ 225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6" h="871">
                  <a:moveTo>
                    <a:pt x="606" y="225"/>
                  </a:moveTo>
                  <a:lnTo>
                    <a:pt x="606" y="225"/>
                  </a:lnTo>
                  <a:cubicBezTo>
                    <a:pt x="572" y="195"/>
                    <a:pt x="536" y="173"/>
                    <a:pt x="500" y="164"/>
                  </a:cubicBezTo>
                  <a:cubicBezTo>
                    <a:pt x="464" y="153"/>
                    <a:pt x="425" y="148"/>
                    <a:pt x="383" y="148"/>
                  </a:cubicBezTo>
                  <a:cubicBezTo>
                    <a:pt x="328" y="148"/>
                    <a:pt x="286" y="153"/>
                    <a:pt x="253" y="173"/>
                  </a:cubicBezTo>
                  <a:cubicBezTo>
                    <a:pt x="220" y="189"/>
                    <a:pt x="203" y="214"/>
                    <a:pt x="203" y="245"/>
                  </a:cubicBezTo>
                  <a:cubicBezTo>
                    <a:pt x="206" y="281"/>
                    <a:pt x="222" y="306"/>
                    <a:pt x="256" y="320"/>
                  </a:cubicBezTo>
                  <a:cubicBezTo>
                    <a:pt x="289" y="336"/>
                    <a:pt x="331" y="345"/>
                    <a:pt x="386" y="350"/>
                  </a:cubicBezTo>
                  <a:cubicBezTo>
                    <a:pt x="425" y="356"/>
                    <a:pt x="467" y="359"/>
                    <a:pt x="508" y="367"/>
                  </a:cubicBezTo>
                  <a:cubicBezTo>
                    <a:pt x="550" y="375"/>
                    <a:pt x="589" y="387"/>
                    <a:pt x="625" y="406"/>
                  </a:cubicBezTo>
                  <a:cubicBezTo>
                    <a:pt x="658" y="425"/>
                    <a:pt x="689" y="450"/>
                    <a:pt x="711" y="481"/>
                  </a:cubicBezTo>
                  <a:cubicBezTo>
                    <a:pt x="733" y="514"/>
                    <a:pt x="745" y="556"/>
                    <a:pt x="745" y="611"/>
                  </a:cubicBezTo>
                  <a:cubicBezTo>
                    <a:pt x="745" y="650"/>
                    <a:pt x="736" y="684"/>
                    <a:pt x="717" y="717"/>
                  </a:cubicBezTo>
                  <a:cubicBezTo>
                    <a:pt x="700" y="748"/>
                    <a:pt x="675" y="775"/>
                    <a:pt x="645" y="798"/>
                  </a:cubicBezTo>
                  <a:cubicBezTo>
                    <a:pt x="614" y="823"/>
                    <a:pt x="575" y="839"/>
                    <a:pt x="533" y="853"/>
                  </a:cubicBezTo>
                  <a:cubicBezTo>
                    <a:pt x="489" y="864"/>
                    <a:pt x="439" y="870"/>
                    <a:pt x="383" y="870"/>
                  </a:cubicBezTo>
                  <a:cubicBezTo>
                    <a:pt x="317" y="870"/>
                    <a:pt x="250" y="862"/>
                    <a:pt x="183" y="842"/>
                  </a:cubicBezTo>
                  <a:cubicBezTo>
                    <a:pt x="117" y="820"/>
                    <a:pt x="56" y="781"/>
                    <a:pt x="0" y="720"/>
                  </a:cubicBezTo>
                  <a:cubicBezTo>
                    <a:pt x="92" y="598"/>
                    <a:pt x="92" y="598"/>
                    <a:pt x="92" y="598"/>
                  </a:cubicBezTo>
                  <a:cubicBezTo>
                    <a:pt x="133" y="639"/>
                    <a:pt x="181" y="673"/>
                    <a:pt x="233" y="689"/>
                  </a:cubicBezTo>
                  <a:cubicBezTo>
                    <a:pt x="286" y="709"/>
                    <a:pt x="339" y="720"/>
                    <a:pt x="389" y="720"/>
                  </a:cubicBezTo>
                  <a:cubicBezTo>
                    <a:pt x="408" y="720"/>
                    <a:pt x="431" y="720"/>
                    <a:pt x="450" y="714"/>
                  </a:cubicBezTo>
                  <a:cubicBezTo>
                    <a:pt x="472" y="711"/>
                    <a:pt x="492" y="706"/>
                    <a:pt x="508" y="698"/>
                  </a:cubicBezTo>
                  <a:cubicBezTo>
                    <a:pt x="525" y="686"/>
                    <a:pt x="539" y="675"/>
                    <a:pt x="550" y="662"/>
                  </a:cubicBezTo>
                  <a:cubicBezTo>
                    <a:pt x="561" y="648"/>
                    <a:pt x="567" y="631"/>
                    <a:pt x="567" y="614"/>
                  </a:cubicBezTo>
                  <a:cubicBezTo>
                    <a:pt x="570" y="575"/>
                    <a:pt x="553" y="548"/>
                    <a:pt x="517" y="531"/>
                  </a:cubicBezTo>
                  <a:cubicBezTo>
                    <a:pt x="483" y="514"/>
                    <a:pt x="436" y="503"/>
                    <a:pt x="372" y="498"/>
                  </a:cubicBezTo>
                  <a:cubicBezTo>
                    <a:pt x="333" y="495"/>
                    <a:pt x="292" y="489"/>
                    <a:pt x="253" y="478"/>
                  </a:cubicBezTo>
                  <a:cubicBezTo>
                    <a:pt x="211" y="470"/>
                    <a:pt x="175" y="456"/>
                    <a:pt x="142" y="436"/>
                  </a:cubicBezTo>
                  <a:cubicBezTo>
                    <a:pt x="108" y="420"/>
                    <a:pt x="84" y="395"/>
                    <a:pt x="61" y="364"/>
                  </a:cubicBezTo>
                  <a:cubicBezTo>
                    <a:pt x="39" y="334"/>
                    <a:pt x="31" y="298"/>
                    <a:pt x="31" y="250"/>
                  </a:cubicBezTo>
                  <a:cubicBezTo>
                    <a:pt x="31" y="206"/>
                    <a:pt x="42" y="167"/>
                    <a:pt x="61" y="134"/>
                  </a:cubicBezTo>
                  <a:cubicBezTo>
                    <a:pt x="84" y="103"/>
                    <a:pt x="111" y="78"/>
                    <a:pt x="145" y="56"/>
                  </a:cubicBezTo>
                  <a:cubicBezTo>
                    <a:pt x="181" y="37"/>
                    <a:pt x="217" y="23"/>
                    <a:pt x="259" y="14"/>
                  </a:cubicBezTo>
                  <a:cubicBezTo>
                    <a:pt x="300" y="6"/>
                    <a:pt x="339" y="0"/>
                    <a:pt x="381" y="0"/>
                  </a:cubicBezTo>
                  <a:cubicBezTo>
                    <a:pt x="445" y="0"/>
                    <a:pt x="503" y="9"/>
                    <a:pt x="556" y="25"/>
                  </a:cubicBezTo>
                  <a:cubicBezTo>
                    <a:pt x="606" y="42"/>
                    <a:pt x="656" y="70"/>
                    <a:pt x="703" y="112"/>
                  </a:cubicBezTo>
                  <a:lnTo>
                    <a:pt x="606" y="2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7" name="Freeform 4">
              <a:extLst>
                <a:ext uri="{FF2B5EF4-FFF2-40B4-BE49-F238E27FC236}">
                  <a16:creationId xmlns:a16="http://schemas.microsoft.com/office/drawing/2014/main" id="{AA00FF42-3F22-C740-8AC3-5086F24542CB}"/>
                </a:ext>
              </a:extLst>
            </p:cNvPr>
            <p:cNvSpPr>
              <a:spLocks noChangeArrowheads="1"/>
            </p:cNvSpPr>
            <p:nvPr userDrawn="1"/>
          </p:nvSpPr>
          <p:spPr bwMode="auto">
            <a:xfrm>
              <a:off x="2928938" y="3063875"/>
              <a:ext cx="223837" cy="387350"/>
            </a:xfrm>
            <a:custGeom>
              <a:avLst/>
              <a:gdLst>
                <a:gd name="T0" fmla="*/ 342 w 621"/>
                <a:gd name="T1" fmla="*/ 0 h 1076"/>
                <a:gd name="T2" fmla="*/ 342 w 621"/>
                <a:gd name="T3" fmla="*/ 0 h 1076"/>
                <a:gd name="T4" fmla="*/ 342 w 621"/>
                <a:gd name="T5" fmla="*/ 239 h 1076"/>
                <a:gd name="T6" fmla="*/ 586 w 621"/>
                <a:gd name="T7" fmla="*/ 239 h 1076"/>
                <a:gd name="T8" fmla="*/ 586 w 621"/>
                <a:gd name="T9" fmla="*/ 391 h 1076"/>
                <a:gd name="T10" fmla="*/ 339 w 621"/>
                <a:gd name="T11" fmla="*/ 391 h 1076"/>
                <a:gd name="T12" fmla="*/ 339 w 621"/>
                <a:gd name="T13" fmla="*/ 780 h 1076"/>
                <a:gd name="T14" fmla="*/ 369 w 621"/>
                <a:gd name="T15" fmla="*/ 880 h 1076"/>
                <a:gd name="T16" fmla="*/ 461 w 621"/>
                <a:gd name="T17" fmla="*/ 916 h 1076"/>
                <a:gd name="T18" fmla="*/ 514 w 621"/>
                <a:gd name="T19" fmla="*/ 908 h 1076"/>
                <a:gd name="T20" fmla="*/ 567 w 621"/>
                <a:gd name="T21" fmla="*/ 889 h 1076"/>
                <a:gd name="T22" fmla="*/ 620 w 621"/>
                <a:gd name="T23" fmla="*/ 1036 h 1076"/>
                <a:gd name="T24" fmla="*/ 533 w 621"/>
                <a:gd name="T25" fmla="*/ 1064 h 1076"/>
                <a:gd name="T26" fmla="*/ 450 w 621"/>
                <a:gd name="T27" fmla="*/ 1072 h 1076"/>
                <a:gd name="T28" fmla="*/ 236 w 621"/>
                <a:gd name="T29" fmla="*/ 1002 h 1076"/>
                <a:gd name="T30" fmla="*/ 164 w 621"/>
                <a:gd name="T31" fmla="*/ 783 h 1076"/>
                <a:gd name="T32" fmla="*/ 164 w 621"/>
                <a:gd name="T33" fmla="*/ 391 h 1076"/>
                <a:gd name="T34" fmla="*/ 0 w 621"/>
                <a:gd name="T35" fmla="*/ 391 h 1076"/>
                <a:gd name="T36" fmla="*/ 0 w 621"/>
                <a:gd name="T37" fmla="*/ 239 h 1076"/>
                <a:gd name="T38" fmla="*/ 164 w 621"/>
                <a:gd name="T39" fmla="*/ 239 h 1076"/>
                <a:gd name="T40" fmla="*/ 164 w 621"/>
                <a:gd name="T41" fmla="*/ 19 h 1076"/>
                <a:gd name="T42" fmla="*/ 342 w 621"/>
                <a:gd name="T43" fmla="*/ 0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1" h="1076">
                  <a:moveTo>
                    <a:pt x="342" y="0"/>
                  </a:moveTo>
                  <a:lnTo>
                    <a:pt x="342" y="0"/>
                  </a:lnTo>
                  <a:cubicBezTo>
                    <a:pt x="342" y="239"/>
                    <a:pt x="342" y="239"/>
                    <a:pt x="342" y="239"/>
                  </a:cubicBezTo>
                  <a:cubicBezTo>
                    <a:pt x="586" y="239"/>
                    <a:pt x="586" y="239"/>
                    <a:pt x="586" y="239"/>
                  </a:cubicBezTo>
                  <a:cubicBezTo>
                    <a:pt x="586" y="391"/>
                    <a:pt x="586" y="391"/>
                    <a:pt x="586" y="391"/>
                  </a:cubicBezTo>
                  <a:cubicBezTo>
                    <a:pt x="339" y="391"/>
                    <a:pt x="339" y="391"/>
                    <a:pt x="339" y="391"/>
                  </a:cubicBezTo>
                  <a:cubicBezTo>
                    <a:pt x="339" y="780"/>
                    <a:pt x="339" y="780"/>
                    <a:pt x="339" y="780"/>
                  </a:cubicBezTo>
                  <a:cubicBezTo>
                    <a:pt x="339" y="825"/>
                    <a:pt x="350" y="858"/>
                    <a:pt x="369" y="880"/>
                  </a:cubicBezTo>
                  <a:cubicBezTo>
                    <a:pt x="389" y="905"/>
                    <a:pt x="420" y="916"/>
                    <a:pt x="461" y="916"/>
                  </a:cubicBezTo>
                  <a:cubicBezTo>
                    <a:pt x="478" y="916"/>
                    <a:pt x="494" y="914"/>
                    <a:pt x="514" y="908"/>
                  </a:cubicBezTo>
                  <a:cubicBezTo>
                    <a:pt x="533" y="905"/>
                    <a:pt x="550" y="897"/>
                    <a:pt x="567" y="889"/>
                  </a:cubicBezTo>
                  <a:cubicBezTo>
                    <a:pt x="620" y="1036"/>
                    <a:pt x="620" y="1036"/>
                    <a:pt x="620" y="1036"/>
                  </a:cubicBezTo>
                  <a:cubicBezTo>
                    <a:pt x="589" y="1047"/>
                    <a:pt x="561" y="1058"/>
                    <a:pt x="533" y="1064"/>
                  </a:cubicBezTo>
                  <a:cubicBezTo>
                    <a:pt x="508" y="1069"/>
                    <a:pt x="481" y="1072"/>
                    <a:pt x="450" y="1072"/>
                  </a:cubicBezTo>
                  <a:cubicBezTo>
                    <a:pt x="358" y="1075"/>
                    <a:pt x="286" y="1050"/>
                    <a:pt x="236" y="1002"/>
                  </a:cubicBezTo>
                  <a:cubicBezTo>
                    <a:pt x="189" y="952"/>
                    <a:pt x="164" y="880"/>
                    <a:pt x="164" y="783"/>
                  </a:cubicBezTo>
                  <a:cubicBezTo>
                    <a:pt x="164" y="391"/>
                    <a:pt x="164" y="391"/>
                    <a:pt x="164" y="391"/>
                  </a:cubicBezTo>
                  <a:cubicBezTo>
                    <a:pt x="0" y="391"/>
                    <a:pt x="0" y="391"/>
                    <a:pt x="0" y="391"/>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8" name="Freeform 5">
              <a:extLst>
                <a:ext uri="{FF2B5EF4-FFF2-40B4-BE49-F238E27FC236}">
                  <a16:creationId xmlns:a16="http://schemas.microsoft.com/office/drawing/2014/main" id="{C4EE45D9-A5B2-3340-A884-8CB6BE0C9CA3}"/>
                </a:ext>
              </a:extLst>
            </p:cNvPr>
            <p:cNvSpPr>
              <a:spLocks noChangeArrowheads="1"/>
            </p:cNvSpPr>
            <p:nvPr userDrawn="1"/>
          </p:nvSpPr>
          <p:spPr bwMode="auto">
            <a:xfrm>
              <a:off x="3186113" y="3143250"/>
              <a:ext cx="314325" cy="307975"/>
            </a:xfrm>
            <a:custGeom>
              <a:avLst/>
              <a:gdLst>
                <a:gd name="T0" fmla="*/ 433 w 873"/>
                <a:gd name="T1" fmla="*/ 0 h 857"/>
                <a:gd name="T2" fmla="*/ 433 w 873"/>
                <a:gd name="T3" fmla="*/ 0 h 857"/>
                <a:gd name="T4" fmla="*/ 611 w 873"/>
                <a:gd name="T5" fmla="*/ 33 h 857"/>
                <a:gd name="T6" fmla="*/ 750 w 873"/>
                <a:gd name="T7" fmla="*/ 125 h 857"/>
                <a:gd name="T8" fmla="*/ 839 w 873"/>
                <a:gd name="T9" fmla="*/ 261 h 857"/>
                <a:gd name="T10" fmla="*/ 872 w 873"/>
                <a:gd name="T11" fmla="*/ 428 h 857"/>
                <a:gd name="T12" fmla="*/ 839 w 873"/>
                <a:gd name="T13" fmla="*/ 597 h 857"/>
                <a:gd name="T14" fmla="*/ 753 w 873"/>
                <a:gd name="T15" fmla="*/ 733 h 857"/>
                <a:gd name="T16" fmla="*/ 614 w 873"/>
                <a:gd name="T17" fmla="*/ 825 h 857"/>
                <a:gd name="T18" fmla="*/ 433 w 873"/>
                <a:gd name="T19" fmla="*/ 856 h 857"/>
                <a:gd name="T20" fmla="*/ 256 w 873"/>
                <a:gd name="T21" fmla="*/ 825 h 857"/>
                <a:gd name="T22" fmla="*/ 117 w 873"/>
                <a:gd name="T23" fmla="*/ 733 h 857"/>
                <a:gd name="T24" fmla="*/ 31 w 873"/>
                <a:gd name="T25" fmla="*/ 597 h 857"/>
                <a:gd name="T26" fmla="*/ 0 w 873"/>
                <a:gd name="T27" fmla="*/ 428 h 857"/>
                <a:gd name="T28" fmla="*/ 31 w 873"/>
                <a:gd name="T29" fmla="*/ 261 h 857"/>
                <a:gd name="T30" fmla="*/ 120 w 873"/>
                <a:gd name="T31" fmla="*/ 125 h 857"/>
                <a:gd name="T32" fmla="*/ 256 w 873"/>
                <a:gd name="T33" fmla="*/ 33 h 857"/>
                <a:gd name="T34" fmla="*/ 433 w 873"/>
                <a:gd name="T35" fmla="*/ 0 h 857"/>
                <a:gd name="T36" fmla="*/ 433 w 873"/>
                <a:gd name="T37" fmla="*/ 161 h 857"/>
                <a:gd name="T38" fmla="*/ 433 w 873"/>
                <a:gd name="T39" fmla="*/ 161 h 857"/>
                <a:gd name="T40" fmla="*/ 325 w 873"/>
                <a:gd name="T41" fmla="*/ 181 h 857"/>
                <a:gd name="T42" fmla="*/ 245 w 873"/>
                <a:gd name="T43" fmla="*/ 242 h 857"/>
                <a:gd name="T44" fmla="*/ 195 w 873"/>
                <a:gd name="T45" fmla="*/ 328 h 857"/>
                <a:gd name="T46" fmla="*/ 175 w 873"/>
                <a:gd name="T47" fmla="*/ 430 h 857"/>
                <a:gd name="T48" fmla="*/ 195 w 873"/>
                <a:gd name="T49" fmla="*/ 533 h 857"/>
                <a:gd name="T50" fmla="*/ 245 w 873"/>
                <a:gd name="T51" fmla="*/ 617 h 857"/>
                <a:gd name="T52" fmla="*/ 325 w 873"/>
                <a:gd name="T53" fmla="*/ 675 h 857"/>
                <a:gd name="T54" fmla="*/ 433 w 873"/>
                <a:gd name="T55" fmla="*/ 697 h 857"/>
                <a:gd name="T56" fmla="*/ 542 w 873"/>
                <a:gd name="T57" fmla="*/ 675 h 857"/>
                <a:gd name="T58" fmla="*/ 625 w 873"/>
                <a:gd name="T59" fmla="*/ 617 h 857"/>
                <a:gd name="T60" fmla="*/ 675 w 873"/>
                <a:gd name="T61" fmla="*/ 533 h 857"/>
                <a:gd name="T62" fmla="*/ 694 w 873"/>
                <a:gd name="T63" fmla="*/ 430 h 857"/>
                <a:gd name="T64" fmla="*/ 675 w 873"/>
                <a:gd name="T65" fmla="*/ 328 h 857"/>
                <a:gd name="T66" fmla="*/ 622 w 873"/>
                <a:gd name="T67" fmla="*/ 242 h 857"/>
                <a:gd name="T68" fmla="*/ 539 w 873"/>
                <a:gd name="T69" fmla="*/ 181 h 857"/>
                <a:gd name="T70" fmla="*/ 433 w 873"/>
                <a:gd name="T71" fmla="*/ 161 h 857"/>
                <a:gd name="T72" fmla="*/ 433 w 873"/>
                <a:gd name="T73"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57">
                  <a:moveTo>
                    <a:pt x="433" y="0"/>
                  </a:moveTo>
                  <a:lnTo>
                    <a:pt x="433" y="0"/>
                  </a:lnTo>
                  <a:cubicBezTo>
                    <a:pt x="500" y="0"/>
                    <a:pt x="558" y="11"/>
                    <a:pt x="611" y="33"/>
                  </a:cubicBezTo>
                  <a:cubicBezTo>
                    <a:pt x="664" y="56"/>
                    <a:pt x="711" y="86"/>
                    <a:pt x="750" y="125"/>
                  </a:cubicBezTo>
                  <a:cubicBezTo>
                    <a:pt x="789" y="161"/>
                    <a:pt x="820" y="208"/>
                    <a:pt x="839" y="261"/>
                  </a:cubicBezTo>
                  <a:cubicBezTo>
                    <a:pt x="861" y="314"/>
                    <a:pt x="872" y="369"/>
                    <a:pt x="872" y="428"/>
                  </a:cubicBezTo>
                  <a:cubicBezTo>
                    <a:pt x="872" y="489"/>
                    <a:pt x="861" y="547"/>
                    <a:pt x="839" y="597"/>
                  </a:cubicBezTo>
                  <a:cubicBezTo>
                    <a:pt x="820" y="650"/>
                    <a:pt x="792" y="694"/>
                    <a:pt x="753" y="733"/>
                  </a:cubicBezTo>
                  <a:cubicBezTo>
                    <a:pt x="714" y="772"/>
                    <a:pt x="667" y="803"/>
                    <a:pt x="614" y="825"/>
                  </a:cubicBezTo>
                  <a:cubicBezTo>
                    <a:pt x="561" y="847"/>
                    <a:pt x="500" y="856"/>
                    <a:pt x="433" y="856"/>
                  </a:cubicBezTo>
                  <a:cubicBezTo>
                    <a:pt x="367" y="856"/>
                    <a:pt x="308" y="847"/>
                    <a:pt x="256" y="825"/>
                  </a:cubicBezTo>
                  <a:cubicBezTo>
                    <a:pt x="200" y="803"/>
                    <a:pt x="156" y="772"/>
                    <a:pt x="117" y="733"/>
                  </a:cubicBezTo>
                  <a:cubicBezTo>
                    <a:pt x="81" y="694"/>
                    <a:pt x="50" y="650"/>
                    <a:pt x="31" y="597"/>
                  </a:cubicBezTo>
                  <a:cubicBezTo>
                    <a:pt x="11" y="547"/>
                    <a:pt x="0" y="489"/>
                    <a:pt x="0" y="428"/>
                  </a:cubicBezTo>
                  <a:cubicBezTo>
                    <a:pt x="0" y="369"/>
                    <a:pt x="11" y="314"/>
                    <a:pt x="31" y="261"/>
                  </a:cubicBezTo>
                  <a:cubicBezTo>
                    <a:pt x="50" y="208"/>
                    <a:pt x="81" y="161"/>
                    <a:pt x="120" y="125"/>
                  </a:cubicBezTo>
                  <a:cubicBezTo>
                    <a:pt x="156" y="86"/>
                    <a:pt x="203" y="56"/>
                    <a:pt x="256" y="33"/>
                  </a:cubicBezTo>
                  <a:cubicBezTo>
                    <a:pt x="308" y="11"/>
                    <a:pt x="370" y="0"/>
                    <a:pt x="433" y="0"/>
                  </a:cubicBezTo>
                  <a:lnTo>
                    <a:pt x="433" y="161"/>
                  </a:lnTo>
                  <a:lnTo>
                    <a:pt x="433" y="161"/>
                  </a:lnTo>
                  <a:cubicBezTo>
                    <a:pt x="394" y="161"/>
                    <a:pt x="358" y="167"/>
                    <a:pt x="325" y="181"/>
                  </a:cubicBezTo>
                  <a:cubicBezTo>
                    <a:pt x="295" y="197"/>
                    <a:pt x="267" y="217"/>
                    <a:pt x="245" y="242"/>
                  </a:cubicBezTo>
                  <a:cubicBezTo>
                    <a:pt x="222" y="267"/>
                    <a:pt x="206" y="294"/>
                    <a:pt x="195" y="328"/>
                  </a:cubicBezTo>
                  <a:cubicBezTo>
                    <a:pt x="181" y="358"/>
                    <a:pt x="175" y="394"/>
                    <a:pt x="175" y="430"/>
                  </a:cubicBezTo>
                  <a:cubicBezTo>
                    <a:pt x="175" y="467"/>
                    <a:pt x="181" y="500"/>
                    <a:pt x="195" y="533"/>
                  </a:cubicBezTo>
                  <a:cubicBezTo>
                    <a:pt x="206" y="567"/>
                    <a:pt x="222" y="594"/>
                    <a:pt x="245" y="617"/>
                  </a:cubicBezTo>
                  <a:cubicBezTo>
                    <a:pt x="267" y="642"/>
                    <a:pt x="295" y="661"/>
                    <a:pt x="325" y="675"/>
                  </a:cubicBezTo>
                  <a:cubicBezTo>
                    <a:pt x="358" y="689"/>
                    <a:pt x="394" y="697"/>
                    <a:pt x="433" y="697"/>
                  </a:cubicBezTo>
                  <a:cubicBezTo>
                    <a:pt x="475" y="697"/>
                    <a:pt x="511" y="689"/>
                    <a:pt x="542" y="675"/>
                  </a:cubicBezTo>
                  <a:cubicBezTo>
                    <a:pt x="575" y="661"/>
                    <a:pt x="603" y="642"/>
                    <a:pt x="625" y="617"/>
                  </a:cubicBezTo>
                  <a:cubicBezTo>
                    <a:pt x="647" y="594"/>
                    <a:pt x="664" y="567"/>
                    <a:pt x="675" y="533"/>
                  </a:cubicBezTo>
                  <a:cubicBezTo>
                    <a:pt x="686" y="500"/>
                    <a:pt x="694" y="467"/>
                    <a:pt x="694" y="430"/>
                  </a:cubicBezTo>
                  <a:cubicBezTo>
                    <a:pt x="694" y="394"/>
                    <a:pt x="686" y="358"/>
                    <a:pt x="675" y="328"/>
                  </a:cubicBezTo>
                  <a:cubicBezTo>
                    <a:pt x="661" y="294"/>
                    <a:pt x="645" y="267"/>
                    <a:pt x="622" y="242"/>
                  </a:cubicBezTo>
                  <a:cubicBezTo>
                    <a:pt x="600" y="217"/>
                    <a:pt x="572" y="197"/>
                    <a:pt x="539" y="181"/>
                  </a:cubicBezTo>
                  <a:cubicBezTo>
                    <a:pt x="508" y="167"/>
                    <a:pt x="472" y="161"/>
                    <a:pt x="433" y="161"/>
                  </a:cubicBezTo>
                  <a:lnTo>
                    <a:pt x="433"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9" name="Freeform 6">
              <a:extLst>
                <a:ext uri="{FF2B5EF4-FFF2-40B4-BE49-F238E27FC236}">
                  <a16:creationId xmlns:a16="http://schemas.microsoft.com/office/drawing/2014/main" id="{B0316715-7EBD-7246-939D-5A483B415505}"/>
                </a:ext>
              </a:extLst>
            </p:cNvPr>
            <p:cNvSpPr>
              <a:spLocks noChangeArrowheads="1"/>
            </p:cNvSpPr>
            <p:nvPr userDrawn="1"/>
          </p:nvSpPr>
          <p:spPr bwMode="auto">
            <a:xfrm>
              <a:off x="3567113" y="3143250"/>
              <a:ext cx="476250" cy="301625"/>
            </a:xfrm>
            <a:custGeom>
              <a:avLst/>
              <a:gdLst>
                <a:gd name="T0" fmla="*/ 575 w 1321"/>
                <a:gd name="T1" fmla="*/ 839 h 840"/>
                <a:gd name="T2" fmla="*/ 575 w 1321"/>
                <a:gd name="T3" fmla="*/ 839 h 840"/>
                <a:gd name="T4" fmla="*/ 575 w 1321"/>
                <a:gd name="T5" fmla="*/ 386 h 840"/>
                <a:gd name="T6" fmla="*/ 561 w 1321"/>
                <a:gd name="T7" fmla="*/ 300 h 840"/>
                <a:gd name="T8" fmla="*/ 523 w 1321"/>
                <a:gd name="T9" fmla="*/ 228 h 840"/>
                <a:gd name="T10" fmla="*/ 461 w 1321"/>
                <a:gd name="T11" fmla="*/ 181 h 840"/>
                <a:gd name="T12" fmla="*/ 378 w 1321"/>
                <a:gd name="T13" fmla="*/ 161 h 840"/>
                <a:gd name="T14" fmla="*/ 295 w 1321"/>
                <a:gd name="T15" fmla="*/ 181 h 840"/>
                <a:gd name="T16" fmla="*/ 231 w 1321"/>
                <a:gd name="T17" fmla="*/ 228 h 840"/>
                <a:gd name="T18" fmla="*/ 189 w 1321"/>
                <a:gd name="T19" fmla="*/ 300 h 840"/>
                <a:gd name="T20" fmla="*/ 175 w 1321"/>
                <a:gd name="T21" fmla="*/ 386 h 840"/>
                <a:gd name="T22" fmla="*/ 175 w 1321"/>
                <a:gd name="T23" fmla="*/ 839 h 840"/>
                <a:gd name="T24" fmla="*/ 0 w 1321"/>
                <a:gd name="T25" fmla="*/ 839 h 840"/>
                <a:gd name="T26" fmla="*/ 0 w 1321"/>
                <a:gd name="T27" fmla="*/ 14 h 840"/>
                <a:gd name="T28" fmla="*/ 164 w 1321"/>
                <a:gd name="T29" fmla="*/ 14 h 840"/>
                <a:gd name="T30" fmla="*/ 175 w 1321"/>
                <a:gd name="T31" fmla="*/ 125 h 840"/>
                <a:gd name="T32" fmla="*/ 278 w 1321"/>
                <a:gd name="T33" fmla="*/ 28 h 840"/>
                <a:gd name="T34" fmla="*/ 411 w 1321"/>
                <a:gd name="T35" fmla="*/ 0 h 840"/>
                <a:gd name="T36" fmla="*/ 492 w 1321"/>
                <a:gd name="T37" fmla="*/ 8 h 840"/>
                <a:gd name="T38" fmla="*/ 564 w 1321"/>
                <a:gd name="T39" fmla="*/ 39 h 840"/>
                <a:gd name="T40" fmla="*/ 628 w 1321"/>
                <a:gd name="T41" fmla="*/ 89 h 840"/>
                <a:gd name="T42" fmla="*/ 675 w 1321"/>
                <a:gd name="T43" fmla="*/ 167 h 840"/>
                <a:gd name="T44" fmla="*/ 800 w 1321"/>
                <a:gd name="T45" fmla="*/ 39 h 840"/>
                <a:gd name="T46" fmla="*/ 964 w 1321"/>
                <a:gd name="T47" fmla="*/ 3 h 840"/>
                <a:gd name="T48" fmla="*/ 1231 w 1321"/>
                <a:gd name="T49" fmla="*/ 103 h 840"/>
                <a:gd name="T50" fmla="*/ 1320 w 1321"/>
                <a:gd name="T51" fmla="*/ 383 h 840"/>
                <a:gd name="T52" fmla="*/ 1320 w 1321"/>
                <a:gd name="T53" fmla="*/ 839 h 840"/>
                <a:gd name="T54" fmla="*/ 1142 w 1321"/>
                <a:gd name="T55" fmla="*/ 839 h 840"/>
                <a:gd name="T56" fmla="*/ 1142 w 1321"/>
                <a:gd name="T57" fmla="*/ 383 h 840"/>
                <a:gd name="T58" fmla="*/ 1131 w 1321"/>
                <a:gd name="T59" fmla="*/ 297 h 840"/>
                <a:gd name="T60" fmla="*/ 1095 w 1321"/>
                <a:gd name="T61" fmla="*/ 228 h 840"/>
                <a:gd name="T62" fmla="*/ 1039 w 1321"/>
                <a:gd name="T63" fmla="*/ 181 h 840"/>
                <a:gd name="T64" fmla="*/ 956 w 1321"/>
                <a:gd name="T65" fmla="*/ 164 h 840"/>
                <a:gd name="T66" fmla="*/ 873 w 1321"/>
                <a:gd name="T67" fmla="*/ 181 h 840"/>
                <a:gd name="T68" fmla="*/ 809 w 1321"/>
                <a:gd name="T69" fmla="*/ 228 h 840"/>
                <a:gd name="T70" fmla="*/ 767 w 1321"/>
                <a:gd name="T71" fmla="*/ 300 h 840"/>
                <a:gd name="T72" fmla="*/ 753 w 1321"/>
                <a:gd name="T73" fmla="*/ 386 h 840"/>
                <a:gd name="T74" fmla="*/ 753 w 1321"/>
                <a:gd name="T75" fmla="*/ 839 h 840"/>
                <a:gd name="T76" fmla="*/ 575 w 1321"/>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1" h="840">
                  <a:moveTo>
                    <a:pt x="575" y="839"/>
                  </a:moveTo>
                  <a:lnTo>
                    <a:pt x="575" y="839"/>
                  </a:lnTo>
                  <a:cubicBezTo>
                    <a:pt x="575" y="386"/>
                    <a:pt x="575" y="386"/>
                    <a:pt x="575" y="386"/>
                  </a:cubicBezTo>
                  <a:cubicBezTo>
                    <a:pt x="575" y="356"/>
                    <a:pt x="570" y="328"/>
                    <a:pt x="561" y="300"/>
                  </a:cubicBezTo>
                  <a:cubicBezTo>
                    <a:pt x="553" y="272"/>
                    <a:pt x="539" y="247"/>
                    <a:pt x="523" y="228"/>
                  </a:cubicBezTo>
                  <a:cubicBezTo>
                    <a:pt x="506" y="208"/>
                    <a:pt x="486" y="192"/>
                    <a:pt x="461" y="181"/>
                  </a:cubicBezTo>
                  <a:cubicBezTo>
                    <a:pt x="436" y="167"/>
                    <a:pt x="409" y="161"/>
                    <a:pt x="378" y="161"/>
                  </a:cubicBezTo>
                  <a:cubicBezTo>
                    <a:pt x="348" y="161"/>
                    <a:pt x="320" y="167"/>
                    <a:pt x="295" y="181"/>
                  </a:cubicBezTo>
                  <a:cubicBezTo>
                    <a:pt x="270" y="192"/>
                    <a:pt x="248" y="208"/>
                    <a:pt x="231" y="228"/>
                  </a:cubicBezTo>
                  <a:cubicBezTo>
                    <a:pt x="211" y="247"/>
                    <a:pt x="200" y="272"/>
                    <a:pt x="189" y="300"/>
                  </a:cubicBezTo>
                  <a:cubicBezTo>
                    <a:pt x="181" y="328"/>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198" y="78"/>
                    <a:pt x="234" y="47"/>
                    <a:pt x="278" y="28"/>
                  </a:cubicBezTo>
                  <a:cubicBezTo>
                    <a:pt x="323" y="11"/>
                    <a:pt x="367" y="0"/>
                    <a:pt x="411" y="0"/>
                  </a:cubicBezTo>
                  <a:cubicBezTo>
                    <a:pt x="439" y="0"/>
                    <a:pt x="464" y="3"/>
                    <a:pt x="492" y="8"/>
                  </a:cubicBezTo>
                  <a:cubicBezTo>
                    <a:pt x="517" y="14"/>
                    <a:pt x="542" y="25"/>
                    <a:pt x="564" y="39"/>
                  </a:cubicBezTo>
                  <a:cubicBezTo>
                    <a:pt x="589" y="50"/>
                    <a:pt x="609" y="69"/>
                    <a:pt x="628" y="89"/>
                  </a:cubicBezTo>
                  <a:cubicBezTo>
                    <a:pt x="647" y="111"/>
                    <a:pt x="661" y="136"/>
                    <a:pt x="675" y="167"/>
                  </a:cubicBezTo>
                  <a:cubicBezTo>
                    <a:pt x="709" y="106"/>
                    <a:pt x="750" y="64"/>
                    <a:pt x="800" y="39"/>
                  </a:cubicBezTo>
                  <a:cubicBezTo>
                    <a:pt x="850" y="14"/>
                    <a:pt x="906" y="3"/>
                    <a:pt x="964" y="3"/>
                  </a:cubicBezTo>
                  <a:cubicBezTo>
                    <a:pt x="1081" y="3"/>
                    <a:pt x="1170" y="36"/>
                    <a:pt x="1231" y="103"/>
                  </a:cubicBezTo>
                  <a:cubicBezTo>
                    <a:pt x="1289" y="172"/>
                    <a:pt x="1320" y="264"/>
                    <a:pt x="1320" y="383"/>
                  </a:cubicBezTo>
                  <a:cubicBezTo>
                    <a:pt x="1320" y="839"/>
                    <a:pt x="1320" y="839"/>
                    <a:pt x="1320" y="839"/>
                  </a:cubicBezTo>
                  <a:cubicBezTo>
                    <a:pt x="1142" y="839"/>
                    <a:pt x="1142" y="839"/>
                    <a:pt x="1142" y="839"/>
                  </a:cubicBezTo>
                  <a:cubicBezTo>
                    <a:pt x="1142" y="383"/>
                    <a:pt x="1142" y="383"/>
                    <a:pt x="1142" y="383"/>
                  </a:cubicBezTo>
                  <a:cubicBezTo>
                    <a:pt x="1142" y="353"/>
                    <a:pt x="1139" y="325"/>
                    <a:pt x="1131" y="297"/>
                  </a:cubicBezTo>
                  <a:cubicBezTo>
                    <a:pt x="1122" y="269"/>
                    <a:pt x="1111" y="247"/>
                    <a:pt x="1095" y="228"/>
                  </a:cubicBezTo>
                  <a:cubicBezTo>
                    <a:pt x="1081" y="206"/>
                    <a:pt x="1061" y="192"/>
                    <a:pt x="1039" y="181"/>
                  </a:cubicBezTo>
                  <a:cubicBezTo>
                    <a:pt x="1014" y="169"/>
                    <a:pt x="986" y="164"/>
                    <a:pt x="956" y="164"/>
                  </a:cubicBezTo>
                  <a:cubicBezTo>
                    <a:pt x="925" y="164"/>
                    <a:pt x="897" y="169"/>
                    <a:pt x="873" y="181"/>
                  </a:cubicBezTo>
                  <a:cubicBezTo>
                    <a:pt x="847" y="192"/>
                    <a:pt x="825" y="208"/>
                    <a:pt x="809" y="228"/>
                  </a:cubicBezTo>
                  <a:cubicBezTo>
                    <a:pt x="789" y="250"/>
                    <a:pt x="775" y="272"/>
                    <a:pt x="767" y="300"/>
                  </a:cubicBezTo>
                  <a:cubicBezTo>
                    <a:pt x="756" y="328"/>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0" name="Freeform 7">
              <a:extLst>
                <a:ext uri="{FF2B5EF4-FFF2-40B4-BE49-F238E27FC236}">
                  <a16:creationId xmlns:a16="http://schemas.microsoft.com/office/drawing/2014/main" id="{A8D1D8A4-8EDC-934F-AABC-1517955DBF6D}"/>
                </a:ext>
              </a:extLst>
            </p:cNvPr>
            <p:cNvSpPr>
              <a:spLocks noChangeArrowheads="1"/>
            </p:cNvSpPr>
            <p:nvPr userDrawn="1"/>
          </p:nvSpPr>
          <p:spPr bwMode="auto">
            <a:xfrm>
              <a:off x="4105275" y="3141663"/>
              <a:ext cx="314325" cy="312737"/>
            </a:xfrm>
            <a:custGeom>
              <a:avLst/>
              <a:gdLst>
                <a:gd name="T0" fmla="*/ 864 w 874"/>
                <a:gd name="T1" fmla="*/ 498 h 868"/>
                <a:gd name="T2" fmla="*/ 864 w 874"/>
                <a:gd name="T3" fmla="*/ 498 h 868"/>
                <a:gd name="T4" fmla="*/ 181 w 874"/>
                <a:gd name="T5" fmla="*/ 498 h 868"/>
                <a:gd name="T6" fmla="*/ 267 w 874"/>
                <a:gd name="T7" fmla="*/ 650 h 868"/>
                <a:gd name="T8" fmla="*/ 456 w 874"/>
                <a:gd name="T9" fmla="*/ 706 h 868"/>
                <a:gd name="T10" fmla="*/ 592 w 874"/>
                <a:gd name="T11" fmla="*/ 684 h 868"/>
                <a:gd name="T12" fmla="*/ 700 w 874"/>
                <a:gd name="T13" fmla="*/ 617 h 868"/>
                <a:gd name="T14" fmla="*/ 814 w 874"/>
                <a:gd name="T15" fmla="*/ 725 h 868"/>
                <a:gd name="T16" fmla="*/ 739 w 874"/>
                <a:gd name="T17" fmla="*/ 786 h 868"/>
                <a:gd name="T18" fmla="*/ 650 w 874"/>
                <a:gd name="T19" fmla="*/ 831 h 868"/>
                <a:gd name="T20" fmla="*/ 553 w 874"/>
                <a:gd name="T21" fmla="*/ 859 h 868"/>
                <a:gd name="T22" fmla="*/ 453 w 874"/>
                <a:gd name="T23" fmla="*/ 867 h 868"/>
                <a:gd name="T24" fmla="*/ 267 w 874"/>
                <a:gd name="T25" fmla="*/ 836 h 868"/>
                <a:gd name="T26" fmla="*/ 123 w 874"/>
                <a:gd name="T27" fmla="*/ 748 h 868"/>
                <a:gd name="T28" fmla="*/ 31 w 874"/>
                <a:gd name="T29" fmla="*/ 609 h 868"/>
                <a:gd name="T30" fmla="*/ 0 w 874"/>
                <a:gd name="T31" fmla="*/ 431 h 868"/>
                <a:gd name="T32" fmla="*/ 31 w 874"/>
                <a:gd name="T33" fmla="*/ 256 h 868"/>
                <a:gd name="T34" fmla="*/ 123 w 874"/>
                <a:gd name="T35" fmla="*/ 120 h 868"/>
                <a:gd name="T36" fmla="*/ 261 w 874"/>
                <a:gd name="T37" fmla="*/ 31 h 868"/>
                <a:gd name="T38" fmla="*/ 442 w 874"/>
                <a:gd name="T39" fmla="*/ 0 h 868"/>
                <a:gd name="T40" fmla="*/ 628 w 874"/>
                <a:gd name="T41" fmla="*/ 31 h 868"/>
                <a:gd name="T42" fmla="*/ 767 w 874"/>
                <a:gd name="T43" fmla="*/ 125 h 868"/>
                <a:gd name="T44" fmla="*/ 850 w 874"/>
                <a:gd name="T45" fmla="*/ 278 h 868"/>
                <a:gd name="T46" fmla="*/ 864 w 874"/>
                <a:gd name="T47" fmla="*/ 498 h 868"/>
                <a:gd name="T48" fmla="*/ 187 w 874"/>
                <a:gd name="T49" fmla="*/ 353 h 868"/>
                <a:gd name="T50" fmla="*/ 187 w 874"/>
                <a:gd name="T51" fmla="*/ 353 h 868"/>
                <a:gd name="T52" fmla="*/ 695 w 874"/>
                <a:gd name="T53" fmla="*/ 353 h 868"/>
                <a:gd name="T54" fmla="*/ 620 w 874"/>
                <a:gd name="T55" fmla="*/ 203 h 868"/>
                <a:gd name="T56" fmla="*/ 448 w 874"/>
                <a:gd name="T57" fmla="*/ 153 h 868"/>
                <a:gd name="T58" fmla="*/ 278 w 874"/>
                <a:gd name="T59" fmla="*/ 203 h 868"/>
                <a:gd name="T60" fmla="*/ 187 w 874"/>
                <a:gd name="T61" fmla="*/ 353 h 868"/>
                <a:gd name="T62" fmla="*/ 864 w 874"/>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4" h="868">
                  <a:moveTo>
                    <a:pt x="864" y="498"/>
                  </a:moveTo>
                  <a:lnTo>
                    <a:pt x="864" y="498"/>
                  </a:lnTo>
                  <a:cubicBezTo>
                    <a:pt x="181" y="498"/>
                    <a:pt x="181" y="498"/>
                    <a:pt x="181" y="498"/>
                  </a:cubicBezTo>
                  <a:cubicBezTo>
                    <a:pt x="189" y="562"/>
                    <a:pt x="217" y="611"/>
                    <a:pt x="267" y="650"/>
                  </a:cubicBezTo>
                  <a:cubicBezTo>
                    <a:pt x="317" y="686"/>
                    <a:pt x="378" y="706"/>
                    <a:pt x="456" y="706"/>
                  </a:cubicBezTo>
                  <a:cubicBezTo>
                    <a:pt x="500" y="706"/>
                    <a:pt x="545" y="698"/>
                    <a:pt x="592" y="684"/>
                  </a:cubicBezTo>
                  <a:cubicBezTo>
                    <a:pt x="639" y="667"/>
                    <a:pt x="675" y="645"/>
                    <a:pt x="700" y="617"/>
                  </a:cubicBezTo>
                  <a:cubicBezTo>
                    <a:pt x="814" y="725"/>
                    <a:pt x="814" y="725"/>
                    <a:pt x="814" y="725"/>
                  </a:cubicBezTo>
                  <a:cubicBezTo>
                    <a:pt x="795" y="750"/>
                    <a:pt x="770" y="770"/>
                    <a:pt x="739" y="786"/>
                  </a:cubicBezTo>
                  <a:cubicBezTo>
                    <a:pt x="711" y="806"/>
                    <a:pt x="681" y="820"/>
                    <a:pt x="650" y="831"/>
                  </a:cubicBezTo>
                  <a:cubicBezTo>
                    <a:pt x="620" y="845"/>
                    <a:pt x="587" y="853"/>
                    <a:pt x="553" y="859"/>
                  </a:cubicBezTo>
                  <a:cubicBezTo>
                    <a:pt x="517" y="864"/>
                    <a:pt x="487" y="867"/>
                    <a:pt x="453" y="867"/>
                  </a:cubicBezTo>
                  <a:cubicBezTo>
                    <a:pt x="384" y="867"/>
                    <a:pt x="323" y="856"/>
                    <a:pt x="267" y="836"/>
                  </a:cubicBezTo>
                  <a:cubicBezTo>
                    <a:pt x="209" y="814"/>
                    <a:pt x="161" y="786"/>
                    <a:pt x="123" y="748"/>
                  </a:cubicBezTo>
                  <a:cubicBezTo>
                    <a:pt x="84" y="709"/>
                    <a:pt x="53" y="664"/>
                    <a:pt x="31" y="609"/>
                  </a:cubicBezTo>
                  <a:cubicBezTo>
                    <a:pt x="12" y="556"/>
                    <a:pt x="0" y="495"/>
                    <a:pt x="0" y="431"/>
                  </a:cubicBezTo>
                  <a:cubicBezTo>
                    <a:pt x="0" y="367"/>
                    <a:pt x="12" y="309"/>
                    <a:pt x="31" y="256"/>
                  </a:cubicBezTo>
                  <a:cubicBezTo>
                    <a:pt x="53" y="203"/>
                    <a:pt x="84" y="159"/>
                    <a:pt x="123" y="120"/>
                  </a:cubicBezTo>
                  <a:cubicBezTo>
                    <a:pt x="161" y="84"/>
                    <a:pt x="209" y="53"/>
                    <a:pt x="261" y="31"/>
                  </a:cubicBezTo>
                  <a:cubicBezTo>
                    <a:pt x="314" y="12"/>
                    <a:pt x="375" y="0"/>
                    <a:pt x="442" y="0"/>
                  </a:cubicBezTo>
                  <a:cubicBezTo>
                    <a:pt x="509" y="0"/>
                    <a:pt x="573" y="12"/>
                    <a:pt x="628" y="31"/>
                  </a:cubicBezTo>
                  <a:cubicBezTo>
                    <a:pt x="681" y="53"/>
                    <a:pt x="728" y="84"/>
                    <a:pt x="767" y="125"/>
                  </a:cubicBezTo>
                  <a:cubicBezTo>
                    <a:pt x="806" y="164"/>
                    <a:pt x="834" y="217"/>
                    <a:pt x="850" y="278"/>
                  </a:cubicBezTo>
                  <a:cubicBezTo>
                    <a:pt x="867" y="342"/>
                    <a:pt x="873" y="414"/>
                    <a:pt x="864" y="498"/>
                  </a:cubicBezTo>
                  <a:lnTo>
                    <a:pt x="187" y="353"/>
                  </a:lnTo>
                  <a:lnTo>
                    <a:pt x="187" y="353"/>
                  </a:lnTo>
                  <a:cubicBezTo>
                    <a:pt x="695" y="353"/>
                    <a:pt x="695" y="353"/>
                    <a:pt x="695" y="353"/>
                  </a:cubicBezTo>
                  <a:cubicBezTo>
                    <a:pt x="689" y="287"/>
                    <a:pt x="664" y="236"/>
                    <a:pt x="620" y="203"/>
                  </a:cubicBezTo>
                  <a:cubicBezTo>
                    <a:pt x="575" y="170"/>
                    <a:pt x="517" y="153"/>
                    <a:pt x="448" y="153"/>
                  </a:cubicBezTo>
                  <a:cubicBezTo>
                    <a:pt x="381" y="153"/>
                    <a:pt x="325" y="170"/>
                    <a:pt x="278" y="203"/>
                  </a:cubicBezTo>
                  <a:cubicBezTo>
                    <a:pt x="231" y="236"/>
                    <a:pt x="200" y="287"/>
                    <a:pt x="187"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1" name="Freeform 8">
              <a:extLst>
                <a:ext uri="{FF2B5EF4-FFF2-40B4-BE49-F238E27FC236}">
                  <a16:creationId xmlns:a16="http://schemas.microsoft.com/office/drawing/2014/main" id="{99C3D801-079F-9C46-BA62-8B82A5C5950C}"/>
                </a:ext>
              </a:extLst>
            </p:cNvPr>
            <p:cNvSpPr>
              <a:spLocks noChangeArrowheads="1"/>
            </p:cNvSpPr>
            <p:nvPr userDrawn="1"/>
          </p:nvSpPr>
          <p:spPr bwMode="auto">
            <a:xfrm>
              <a:off x="4481513" y="3141663"/>
              <a:ext cx="227012" cy="303212"/>
            </a:xfrm>
            <a:custGeom>
              <a:avLst/>
              <a:gdLst>
                <a:gd name="T0" fmla="*/ 164 w 631"/>
                <a:gd name="T1" fmla="*/ 20 h 843"/>
                <a:gd name="T2" fmla="*/ 164 w 631"/>
                <a:gd name="T3" fmla="*/ 20 h 843"/>
                <a:gd name="T4" fmla="*/ 175 w 631"/>
                <a:gd name="T5" fmla="*/ 128 h 843"/>
                <a:gd name="T6" fmla="*/ 289 w 631"/>
                <a:gd name="T7" fmla="*/ 25 h 843"/>
                <a:gd name="T8" fmla="*/ 422 w 631"/>
                <a:gd name="T9" fmla="*/ 0 h 843"/>
                <a:gd name="T10" fmla="*/ 539 w 631"/>
                <a:gd name="T11" fmla="*/ 20 h 843"/>
                <a:gd name="T12" fmla="*/ 630 w 631"/>
                <a:gd name="T13" fmla="*/ 70 h 843"/>
                <a:gd name="T14" fmla="*/ 550 w 631"/>
                <a:gd name="T15" fmla="*/ 222 h 843"/>
                <a:gd name="T16" fmla="*/ 486 w 631"/>
                <a:gd name="T17" fmla="*/ 184 h 843"/>
                <a:gd name="T18" fmla="*/ 402 w 631"/>
                <a:gd name="T19" fmla="*/ 172 h 843"/>
                <a:gd name="T20" fmla="*/ 316 w 631"/>
                <a:gd name="T21" fmla="*/ 186 h 843"/>
                <a:gd name="T22" fmla="*/ 244 w 631"/>
                <a:gd name="T23" fmla="*/ 228 h 843"/>
                <a:gd name="T24" fmla="*/ 194 w 631"/>
                <a:gd name="T25" fmla="*/ 297 h 843"/>
                <a:gd name="T26" fmla="*/ 175 w 631"/>
                <a:gd name="T27" fmla="*/ 397 h 843"/>
                <a:gd name="T28" fmla="*/ 175 w 631"/>
                <a:gd name="T29" fmla="*/ 842 h 843"/>
                <a:gd name="T30" fmla="*/ 0 w 631"/>
                <a:gd name="T31" fmla="*/ 842 h 843"/>
                <a:gd name="T32" fmla="*/ 0 w 631"/>
                <a:gd name="T33" fmla="*/ 20 h 843"/>
                <a:gd name="T34" fmla="*/ 164 w 631"/>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1" h="843">
                  <a:moveTo>
                    <a:pt x="164" y="20"/>
                  </a:moveTo>
                  <a:lnTo>
                    <a:pt x="164" y="20"/>
                  </a:lnTo>
                  <a:cubicBezTo>
                    <a:pt x="175" y="128"/>
                    <a:pt x="175" y="128"/>
                    <a:pt x="175" y="128"/>
                  </a:cubicBezTo>
                  <a:cubicBezTo>
                    <a:pt x="205" y="75"/>
                    <a:pt x="244" y="42"/>
                    <a:pt x="289" y="25"/>
                  </a:cubicBezTo>
                  <a:cubicBezTo>
                    <a:pt x="333" y="9"/>
                    <a:pt x="378" y="0"/>
                    <a:pt x="422" y="0"/>
                  </a:cubicBezTo>
                  <a:cubicBezTo>
                    <a:pt x="464" y="0"/>
                    <a:pt x="502" y="9"/>
                    <a:pt x="539" y="20"/>
                  </a:cubicBezTo>
                  <a:cubicBezTo>
                    <a:pt x="577" y="34"/>
                    <a:pt x="608" y="50"/>
                    <a:pt x="630" y="70"/>
                  </a:cubicBezTo>
                  <a:cubicBezTo>
                    <a:pt x="550" y="222"/>
                    <a:pt x="550" y="222"/>
                    <a:pt x="550" y="222"/>
                  </a:cubicBezTo>
                  <a:cubicBezTo>
                    <a:pt x="530" y="206"/>
                    <a:pt x="508" y="192"/>
                    <a:pt x="486" y="184"/>
                  </a:cubicBezTo>
                  <a:cubicBezTo>
                    <a:pt x="464" y="175"/>
                    <a:pt x="436" y="172"/>
                    <a:pt x="402" y="172"/>
                  </a:cubicBezTo>
                  <a:cubicBezTo>
                    <a:pt x="372" y="172"/>
                    <a:pt x="341" y="175"/>
                    <a:pt x="316" y="186"/>
                  </a:cubicBezTo>
                  <a:cubicBezTo>
                    <a:pt x="289" y="195"/>
                    <a:pt x="264" y="209"/>
                    <a:pt x="244" y="228"/>
                  </a:cubicBezTo>
                  <a:cubicBezTo>
                    <a:pt x="222" y="245"/>
                    <a:pt x="205" y="270"/>
                    <a:pt x="194" y="297"/>
                  </a:cubicBezTo>
                  <a:cubicBezTo>
                    <a:pt x="180" y="325"/>
                    <a:pt x="175" y="359"/>
                    <a:pt x="175" y="397"/>
                  </a:cubicBezTo>
                  <a:cubicBezTo>
                    <a:pt x="175" y="842"/>
                    <a:pt x="175" y="842"/>
                    <a:pt x="175"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2" name="Freeform 9">
              <a:extLst>
                <a:ext uri="{FF2B5EF4-FFF2-40B4-BE49-F238E27FC236}">
                  <a16:creationId xmlns:a16="http://schemas.microsoft.com/office/drawing/2014/main" id="{9ABCFA99-C867-9C49-BA6A-57EB10090B35}"/>
                </a:ext>
              </a:extLst>
            </p:cNvPr>
            <p:cNvSpPr>
              <a:spLocks noChangeArrowheads="1"/>
            </p:cNvSpPr>
            <p:nvPr userDrawn="1"/>
          </p:nvSpPr>
          <p:spPr bwMode="auto">
            <a:xfrm>
              <a:off x="4872038" y="3141663"/>
              <a:ext cx="314325" cy="312737"/>
            </a:xfrm>
            <a:custGeom>
              <a:avLst/>
              <a:gdLst>
                <a:gd name="T0" fmla="*/ 863 w 872"/>
                <a:gd name="T1" fmla="*/ 498 h 868"/>
                <a:gd name="T2" fmla="*/ 863 w 872"/>
                <a:gd name="T3" fmla="*/ 498 h 868"/>
                <a:gd name="T4" fmla="*/ 183 w 872"/>
                <a:gd name="T5" fmla="*/ 498 h 868"/>
                <a:gd name="T6" fmla="*/ 266 w 872"/>
                <a:gd name="T7" fmla="*/ 650 h 868"/>
                <a:gd name="T8" fmla="*/ 458 w 872"/>
                <a:gd name="T9" fmla="*/ 706 h 868"/>
                <a:gd name="T10" fmla="*/ 590 w 872"/>
                <a:gd name="T11" fmla="*/ 684 h 868"/>
                <a:gd name="T12" fmla="*/ 699 w 872"/>
                <a:gd name="T13" fmla="*/ 617 h 868"/>
                <a:gd name="T14" fmla="*/ 815 w 872"/>
                <a:gd name="T15" fmla="*/ 725 h 868"/>
                <a:gd name="T16" fmla="*/ 740 w 872"/>
                <a:gd name="T17" fmla="*/ 786 h 868"/>
                <a:gd name="T18" fmla="*/ 649 w 872"/>
                <a:gd name="T19" fmla="*/ 831 h 868"/>
                <a:gd name="T20" fmla="*/ 551 w 872"/>
                <a:gd name="T21" fmla="*/ 859 h 868"/>
                <a:gd name="T22" fmla="*/ 452 w 872"/>
                <a:gd name="T23" fmla="*/ 867 h 868"/>
                <a:gd name="T24" fmla="*/ 266 w 872"/>
                <a:gd name="T25" fmla="*/ 836 h 868"/>
                <a:gd name="T26" fmla="*/ 122 w 872"/>
                <a:gd name="T27" fmla="*/ 748 h 868"/>
                <a:gd name="T28" fmla="*/ 30 w 872"/>
                <a:gd name="T29" fmla="*/ 609 h 868"/>
                <a:gd name="T30" fmla="*/ 0 w 872"/>
                <a:gd name="T31" fmla="*/ 431 h 868"/>
                <a:gd name="T32" fmla="*/ 30 w 872"/>
                <a:gd name="T33" fmla="*/ 256 h 868"/>
                <a:gd name="T34" fmla="*/ 122 w 872"/>
                <a:gd name="T35" fmla="*/ 120 h 868"/>
                <a:gd name="T36" fmla="*/ 261 w 872"/>
                <a:gd name="T37" fmla="*/ 31 h 868"/>
                <a:gd name="T38" fmla="*/ 441 w 872"/>
                <a:gd name="T39" fmla="*/ 0 h 868"/>
                <a:gd name="T40" fmla="*/ 626 w 872"/>
                <a:gd name="T41" fmla="*/ 31 h 868"/>
                <a:gd name="T42" fmla="*/ 765 w 872"/>
                <a:gd name="T43" fmla="*/ 125 h 868"/>
                <a:gd name="T44" fmla="*/ 849 w 872"/>
                <a:gd name="T45" fmla="*/ 278 h 868"/>
                <a:gd name="T46" fmla="*/ 863 w 872"/>
                <a:gd name="T47" fmla="*/ 498 h 868"/>
                <a:gd name="T48" fmla="*/ 186 w 872"/>
                <a:gd name="T49" fmla="*/ 353 h 868"/>
                <a:gd name="T50" fmla="*/ 186 w 872"/>
                <a:gd name="T51" fmla="*/ 353 h 868"/>
                <a:gd name="T52" fmla="*/ 696 w 872"/>
                <a:gd name="T53" fmla="*/ 353 h 868"/>
                <a:gd name="T54" fmla="*/ 621 w 872"/>
                <a:gd name="T55" fmla="*/ 203 h 868"/>
                <a:gd name="T56" fmla="*/ 447 w 872"/>
                <a:gd name="T57" fmla="*/ 153 h 868"/>
                <a:gd name="T58" fmla="*/ 278 w 872"/>
                <a:gd name="T59" fmla="*/ 203 h 868"/>
                <a:gd name="T60" fmla="*/ 186 w 872"/>
                <a:gd name="T61" fmla="*/ 353 h 868"/>
                <a:gd name="T62" fmla="*/ 863 w 872"/>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2" h="868">
                  <a:moveTo>
                    <a:pt x="863" y="498"/>
                  </a:moveTo>
                  <a:lnTo>
                    <a:pt x="863" y="498"/>
                  </a:lnTo>
                  <a:cubicBezTo>
                    <a:pt x="183" y="498"/>
                    <a:pt x="183" y="498"/>
                    <a:pt x="183" y="498"/>
                  </a:cubicBezTo>
                  <a:cubicBezTo>
                    <a:pt x="189" y="562"/>
                    <a:pt x="219" y="611"/>
                    <a:pt x="266" y="650"/>
                  </a:cubicBezTo>
                  <a:cubicBezTo>
                    <a:pt x="316" y="686"/>
                    <a:pt x="380" y="706"/>
                    <a:pt x="458" y="706"/>
                  </a:cubicBezTo>
                  <a:cubicBezTo>
                    <a:pt x="499" y="706"/>
                    <a:pt x="543" y="698"/>
                    <a:pt x="590" y="684"/>
                  </a:cubicBezTo>
                  <a:cubicBezTo>
                    <a:pt x="638" y="667"/>
                    <a:pt x="674" y="645"/>
                    <a:pt x="699" y="617"/>
                  </a:cubicBezTo>
                  <a:cubicBezTo>
                    <a:pt x="815" y="725"/>
                    <a:pt x="815" y="725"/>
                    <a:pt x="815" y="725"/>
                  </a:cubicBezTo>
                  <a:cubicBezTo>
                    <a:pt x="793" y="750"/>
                    <a:pt x="768" y="770"/>
                    <a:pt x="740" y="786"/>
                  </a:cubicBezTo>
                  <a:cubicBezTo>
                    <a:pt x="710" y="806"/>
                    <a:pt x="682" y="820"/>
                    <a:pt x="649" y="831"/>
                  </a:cubicBezTo>
                  <a:cubicBezTo>
                    <a:pt x="618" y="845"/>
                    <a:pt x="585" y="853"/>
                    <a:pt x="551" y="859"/>
                  </a:cubicBezTo>
                  <a:cubicBezTo>
                    <a:pt x="518" y="864"/>
                    <a:pt x="485" y="867"/>
                    <a:pt x="452" y="867"/>
                  </a:cubicBezTo>
                  <a:cubicBezTo>
                    <a:pt x="383" y="867"/>
                    <a:pt x="322" y="856"/>
                    <a:pt x="266" y="836"/>
                  </a:cubicBezTo>
                  <a:cubicBezTo>
                    <a:pt x="211" y="814"/>
                    <a:pt x="161" y="786"/>
                    <a:pt x="122" y="748"/>
                  </a:cubicBezTo>
                  <a:cubicBezTo>
                    <a:pt x="83" y="709"/>
                    <a:pt x="53" y="664"/>
                    <a:pt x="30" y="609"/>
                  </a:cubicBezTo>
                  <a:cubicBezTo>
                    <a:pt x="11" y="556"/>
                    <a:pt x="0" y="495"/>
                    <a:pt x="0" y="431"/>
                  </a:cubicBezTo>
                  <a:cubicBezTo>
                    <a:pt x="0" y="367"/>
                    <a:pt x="11" y="309"/>
                    <a:pt x="30" y="256"/>
                  </a:cubicBezTo>
                  <a:cubicBezTo>
                    <a:pt x="53" y="203"/>
                    <a:pt x="83" y="159"/>
                    <a:pt x="122" y="120"/>
                  </a:cubicBezTo>
                  <a:cubicBezTo>
                    <a:pt x="161" y="84"/>
                    <a:pt x="208" y="53"/>
                    <a:pt x="261" y="31"/>
                  </a:cubicBezTo>
                  <a:cubicBezTo>
                    <a:pt x="316" y="12"/>
                    <a:pt x="375" y="0"/>
                    <a:pt x="441" y="0"/>
                  </a:cubicBezTo>
                  <a:cubicBezTo>
                    <a:pt x="510" y="0"/>
                    <a:pt x="571" y="12"/>
                    <a:pt x="626" y="31"/>
                  </a:cubicBezTo>
                  <a:cubicBezTo>
                    <a:pt x="682" y="53"/>
                    <a:pt x="726" y="84"/>
                    <a:pt x="765" y="125"/>
                  </a:cubicBezTo>
                  <a:cubicBezTo>
                    <a:pt x="804" y="164"/>
                    <a:pt x="832" y="217"/>
                    <a:pt x="849" y="278"/>
                  </a:cubicBezTo>
                  <a:cubicBezTo>
                    <a:pt x="868" y="342"/>
                    <a:pt x="871" y="414"/>
                    <a:pt x="863" y="498"/>
                  </a:cubicBezTo>
                  <a:lnTo>
                    <a:pt x="186" y="353"/>
                  </a:lnTo>
                  <a:lnTo>
                    <a:pt x="186" y="353"/>
                  </a:lnTo>
                  <a:cubicBezTo>
                    <a:pt x="696" y="353"/>
                    <a:pt x="696" y="353"/>
                    <a:pt x="696" y="353"/>
                  </a:cubicBezTo>
                  <a:cubicBezTo>
                    <a:pt x="690" y="287"/>
                    <a:pt x="663" y="236"/>
                    <a:pt x="621" y="203"/>
                  </a:cubicBezTo>
                  <a:cubicBezTo>
                    <a:pt x="577" y="170"/>
                    <a:pt x="518" y="153"/>
                    <a:pt x="447" y="153"/>
                  </a:cubicBezTo>
                  <a:cubicBezTo>
                    <a:pt x="380" y="153"/>
                    <a:pt x="325" y="170"/>
                    <a:pt x="278" y="203"/>
                  </a:cubicBezTo>
                  <a:cubicBezTo>
                    <a:pt x="230" y="236"/>
                    <a:pt x="200" y="287"/>
                    <a:pt x="186" y="353"/>
                  </a:cubicBezTo>
                  <a:lnTo>
                    <a:pt x="863"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3" name="Freeform 10">
              <a:extLst>
                <a:ext uri="{FF2B5EF4-FFF2-40B4-BE49-F238E27FC236}">
                  <a16:creationId xmlns:a16="http://schemas.microsoft.com/office/drawing/2014/main" id="{D952F8B5-B172-F34E-B79E-B9FAF2C64A35}"/>
                </a:ext>
              </a:extLst>
            </p:cNvPr>
            <p:cNvSpPr>
              <a:spLocks noChangeArrowheads="1"/>
            </p:cNvSpPr>
            <p:nvPr userDrawn="1"/>
          </p:nvSpPr>
          <p:spPr bwMode="auto">
            <a:xfrm>
              <a:off x="5205413" y="3149600"/>
              <a:ext cx="301625" cy="296863"/>
            </a:xfrm>
            <a:custGeom>
              <a:avLst/>
              <a:gdLst>
                <a:gd name="T0" fmla="*/ 606 w 837"/>
                <a:gd name="T1" fmla="*/ 0 h 823"/>
                <a:gd name="T2" fmla="*/ 820 w 837"/>
                <a:gd name="T3" fmla="*/ 0 h 823"/>
                <a:gd name="T4" fmla="*/ 820 w 837"/>
                <a:gd name="T5" fmla="*/ 5 h 823"/>
                <a:gd name="T6" fmla="*/ 536 w 837"/>
                <a:gd name="T7" fmla="*/ 402 h 823"/>
                <a:gd name="T8" fmla="*/ 836 w 837"/>
                <a:gd name="T9" fmla="*/ 819 h 823"/>
                <a:gd name="T10" fmla="*/ 836 w 837"/>
                <a:gd name="T11" fmla="*/ 822 h 823"/>
                <a:gd name="T12" fmla="*/ 625 w 837"/>
                <a:gd name="T13" fmla="*/ 822 h 823"/>
                <a:gd name="T14" fmla="*/ 420 w 837"/>
                <a:gd name="T15" fmla="*/ 525 h 823"/>
                <a:gd name="T16" fmla="*/ 212 w 837"/>
                <a:gd name="T17" fmla="*/ 822 h 823"/>
                <a:gd name="T18" fmla="*/ 0 w 837"/>
                <a:gd name="T19" fmla="*/ 822 h 823"/>
                <a:gd name="T20" fmla="*/ 0 w 837"/>
                <a:gd name="T21" fmla="*/ 819 h 823"/>
                <a:gd name="T22" fmla="*/ 303 w 837"/>
                <a:gd name="T23" fmla="*/ 402 h 823"/>
                <a:gd name="T24" fmla="*/ 20 w 837"/>
                <a:gd name="T25" fmla="*/ 5 h 823"/>
                <a:gd name="T26" fmla="*/ 20 w 837"/>
                <a:gd name="T27" fmla="*/ 0 h 823"/>
                <a:gd name="T28" fmla="*/ 231 w 837"/>
                <a:gd name="T29" fmla="*/ 0 h 823"/>
                <a:gd name="T30" fmla="*/ 420 w 837"/>
                <a:gd name="T31" fmla="*/ 294 h 823"/>
                <a:gd name="T32" fmla="*/ 606 w 837"/>
                <a:gd name="T33"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7" h="823">
                  <a:moveTo>
                    <a:pt x="606" y="0"/>
                  </a:moveTo>
                  <a:lnTo>
                    <a:pt x="820" y="0"/>
                  </a:lnTo>
                  <a:lnTo>
                    <a:pt x="820" y="5"/>
                  </a:lnTo>
                  <a:lnTo>
                    <a:pt x="536" y="402"/>
                  </a:lnTo>
                  <a:lnTo>
                    <a:pt x="836" y="819"/>
                  </a:lnTo>
                  <a:lnTo>
                    <a:pt x="836" y="822"/>
                  </a:lnTo>
                  <a:lnTo>
                    <a:pt x="625" y="822"/>
                  </a:lnTo>
                  <a:lnTo>
                    <a:pt x="420" y="525"/>
                  </a:lnTo>
                  <a:lnTo>
                    <a:pt x="212" y="822"/>
                  </a:lnTo>
                  <a:lnTo>
                    <a:pt x="0" y="822"/>
                  </a:lnTo>
                  <a:lnTo>
                    <a:pt x="0" y="819"/>
                  </a:lnTo>
                  <a:lnTo>
                    <a:pt x="303" y="402"/>
                  </a:lnTo>
                  <a:lnTo>
                    <a:pt x="20" y="5"/>
                  </a:lnTo>
                  <a:lnTo>
                    <a:pt x="20" y="0"/>
                  </a:lnTo>
                  <a:lnTo>
                    <a:pt x="231" y="0"/>
                  </a:lnTo>
                  <a:lnTo>
                    <a:pt x="420" y="294"/>
                  </a:lnTo>
                  <a:lnTo>
                    <a:pt x="60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4" name="Freeform 11">
              <a:extLst>
                <a:ext uri="{FF2B5EF4-FFF2-40B4-BE49-F238E27FC236}">
                  <a16:creationId xmlns:a16="http://schemas.microsoft.com/office/drawing/2014/main" id="{68BD8CEC-2BB3-D540-BDD4-22D01ECC2D8C}"/>
                </a:ext>
              </a:extLst>
            </p:cNvPr>
            <p:cNvSpPr>
              <a:spLocks noChangeArrowheads="1"/>
            </p:cNvSpPr>
            <p:nvPr userDrawn="1"/>
          </p:nvSpPr>
          <p:spPr bwMode="auto">
            <a:xfrm>
              <a:off x="5557838" y="3143250"/>
              <a:ext cx="323850" cy="439738"/>
            </a:xfrm>
            <a:custGeom>
              <a:avLst/>
              <a:gdLst>
                <a:gd name="T0" fmla="*/ 0 w 898"/>
                <a:gd name="T1" fmla="*/ 1221 h 1222"/>
                <a:gd name="T2" fmla="*/ 0 w 898"/>
                <a:gd name="T3" fmla="*/ 1221 h 1222"/>
                <a:gd name="T4" fmla="*/ 0 w 898"/>
                <a:gd name="T5" fmla="*/ 17 h 1222"/>
                <a:gd name="T6" fmla="*/ 164 w 898"/>
                <a:gd name="T7" fmla="*/ 17 h 1222"/>
                <a:gd name="T8" fmla="*/ 175 w 898"/>
                <a:gd name="T9" fmla="*/ 150 h 1222"/>
                <a:gd name="T10" fmla="*/ 306 w 898"/>
                <a:gd name="T11" fmla="*/ 36 h 1222"/>
                <a:gd name="T12" fmla="*/ 472 w 898"/>
                <a:gd name="T13" fmla="*/ 0 h 1222"/>
                <a:gd name="T14" fmla="*/ 645 w 898"/>
                <a:gd name="T15" fmla="*/ 33 h 1222"/>
                <a:gd name="T16" fmla="*/ 781 w 898"/>
                <a:gd name="T17" fmla="*/ 122 h 1222"/>
                <a:gd name="T18" fmla="*/ 867 w 898"/>
                <a:gd name="T19" fmla="*/ 256 h 1222"/>
                <a:gd name="T20" fmla="*/ 897 w 898"/>
                <a:gd name="T21" fmla="*/ 428 h 1222"/>
                <a:gd name="T22" fmla="*/ 867 w 898"/>
                <a:gd name="T23" fmla="*/ 600 h 1222"/>
                <a:gd name="T24" fmla="*/ 783 w 898"/>
                <a:gd name="T25" fmla="*/ 736 h 1222"/>
                <a:gd name="T26" fmla="*/ 650 w 898"/>
                <a:gd name="T27" fmla="*/ 828 h 1222"/>
                <a:gd name="T28" fmla="*/ 472 w 898"/>
                <a:gd name="T29" fmla="*/ 858 h 1222"/>
                <a:gd name="T30" fmla="*/ 392 w 898"/>
                <a:gd name="T31" fmla="*/ 850 h 1222"/>
                <a:gd name="T32" fmla="*/ 308 w 898"/>
                <a:gd name="T33" fmla="*/ 828 h 1222"/>
                <a:gd name="T34" fmla="*/ 233 w 898"/>
                <a:gd name="T35" fmla="*/ 786 h 1222"/>
                <a:gd name="T36" fmla="*/ 175 w 898"/>
                <a:gd name="T37" fmla="*/ 719 h 1222"/>
                <a:gd name="T38" fmla="*/ 175 w 898"/>
                <a:gd name="T39" fmla="*/ 1221 h 1222"/>
                <a:gd name="T40" fmla="*/ 0 w 898"/>
                <a:gd name="T41" fmla="*/ 1221 h 1222"/>
                <a:gd name="T42" fmla="*/ 456 w 898"/>
                <a:gd name="T43" fmla="*/ 692 h 1222"/>
                <a:gd name="T44" fmla="*/ 456 w 898"/>
                <a:gd name="T45" fmla="*/ 692 h 1222"/>
                <a:gd name="T46" fmla="*/ 561 w 898"/>
                <a:gd name="T47" fmla="*/ 672 h 1222"/>
                <a:gd name="T48" fmla="*/ 647 w 898"/>
                <a:gd name="T49" fmla="*/ 617 h 1222"/>
                <a:gd name="T50" fmla="*/ 703 w 898"/>
                <a:gd name="T51" fmla="*/ 536 h 1222"/>
                <a:gd name="T52" fmla="*/ 722 w 898"/>
                <a:gd name="T53" fmla="*/ 428 h 1222"/>
                <a:gd name="T54" fmla="*/ 650 w 898"/>
                <a:gd name="T55" fmla="*/ 239 h 1222"/>
                <a:gd name="T56" fmla="*/ 456 w 898"/>
                <a:gd name="T57" fmla="*/ 167 h 1222"/>
                <a:gd name="T58" fmla="*/ 345 w 898"/>
                <a:gd name="T59" fmla="*/ 186 h 1222"/>
                <a:gd name="T60" fmla="*/ 261 w 898"/>
                <a:gd name="T61" fmla="*/ 242 h 1222"/>
                <a:gd name="T62" fmla="*/ 208 w 898"/>
                <a:gd name="T63" fmla="*/ 325 h 1222"/>
                <a:gd name="T64" fmla="*/ 192 w 898"/>
                <a:gd name="T65" fmla="*/ 428 h 1222"/>
                <a:gd name="T66" fmla="*/ 211 w 898"/>
                <a:gd name="T67" fmla="*/ 530 h 1222"/>
                <a:gd name="T68" fmla="*/ 264 w 898"/>
                <a:gd name="T69" fmla="*/ 617 h 1222"/>
                <a:gd name="T70" fmla="*/ 347 w 898"/>
                <a:gd name="T71" fmla="*/ 672 h 1222"/>
                <a:gd name="T72" fmla="*/ 456 w 898"/>
                <a:gd name="T73" fmla="*/ 69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8" h="1222">
                  <a:moveTo>
                    <a:pt x="0" y="1221"/>
                  </a:moveTo>
                  <a:lnTo>
                    <a:pt x="0" y="1221"/>
                  </a:lnTo>
                  <a:cubicBezTo>
                    <a:pt x="0" y="17"/>
                    <a:pt x="0" y="17"/>
                    <a:pt x="0" y="17"/>
                  </a:cubicBezTo>
                  <a:cubicBezTo>
                    <a:pt x="164" y="17"/>
                    <a:pt x="164" y="17"/>
                    <a:pt x="164" y="17"/>
                  </a:cubicBezTo>
                  <a:cubicBezTo>
                    <a:pt x="175" y="150"/>
                    <a:pt x="175" y="150"/>
                    <a:pt x="175" y="150"/>
                  </a:cubicBezTo>
                  <a:cubicBezTo>
                    <a:pt x="208" y="100"/>
                    <a:pt x="253" y="61"/>
                    <a:pt x="306" y="36"/>
                  </a:cubicBezTo>
                  <a:cubicBezTo>
                    <a:pt x="361" y="11"/>
                    <a:pt x="417" y="0"/>
                    <a:pt x="472" y="0"/>
                  </a:cubicBezTo>
                  <a:cubicBezTo>
                    <a:pt x="536" y="0"/>
                    <a:pt x="592" y="11"/>
                    <a:pt x="645" y="33"/>
                  </a:cubicBezTo>
                  <a:cubicBezTo>
                    <a:pt x="697" y="53"/>
                    <a:pt x="742" y="83"/>
                    <a:pt x="781" y="122"/>
                  </a:cubicBezTo>
                  <a:cubicBezTo>
                    <a:pt x="817" y="158"/>
                    <a:pt x="847" y="206"/>
                    <a:pt x="867" y="256"/>
                  </a:cubicBezTo>
                  <a:cubicBezTo>
                    <a:pt x="886" y="308"/>
                    <a:pt x="897" y="367"/>
                    <a:pt x="897" y="428"/>
                  </a:cubicBezTo>
                  <a:cubicBezTo>
                    <a:pt x="897" y="492"/>
                    <a:pt x="886" y="550"/>
                    <a:pt x="867" y="600"/>
                  </a:cubicBezTo>
                  <a:cubicBezTo>
                    <a:pt x="847" y="653"/>
                    <a:pt x="820" y="700"/>
                    <a:pt x="783" y="736"/>
                  </a:cubicBezTo>
                  <a:cubicBezTo>
                    <a:pt x="747" y="775"/>
                    <a:pt x="703" y="805"/>
                    <a:pt x="650" y="828"/>
                  </a:cubicBezTo>
                  <a:cubicBezTo>
                    <a:pt x="597" y="847"/>
                    <a:pt x="536" y="858"/>
                    <a:pt x="472" y="858"/>
                  </a:cubicBezTo>
                  <a:cubicBezTo>
                    <a:pt x="447" y="858"/>
                    <a:pt x="420" y="856"/>
                    <a:pt x="392" y="850"/>
                  </a:cubicBezTo>
                  <a:cubicBezTo>
                    <a:pt x="364" y="847"/>
                    <a:pt x="336" y="839"/>
                    <a:pt x="308" y="828"/>
                  </a:cubicBezTo>
                  <a:cubicBezTo>
                    <a:pt x="283" y="817"/>
                    <a:pt x="258" y="803"/>
                    <a:pt x="233" y="786"/>
                  </a:cubicBezTo>
                  <a:cubicBezTo>
                    <a:pt x="211" y="767"/>
                    <a:pt x="192" y="744"/>
                    <a:pt x="175" y="719"/>
                  </a:cubicBezTo>
                  <a:cubicBezTo>
                    <a:pt x="175" y="1221"/>
                    <a:pt x="175" y="1221"/>
                    <a:pt x="175" y="1221"/>
                  </a:cubicBezTo>
                  <a:lnTo>
                    <a:pt x="0" y="1221"/>
                  </a:lnTo>
                  <a:close/>
                  <a:moveTo>
                    <a:pt x="456" y="692"/>
                  </a:moveTo>
                  <a:lnTo>
                    <a:pt x="456" y="692"/>
                  </a:lnTo>
                  <a:cubicBezTo>
                    <a:pt x="495" y="692"/>
                    <a:pt x="531" y="686"/>
                    <a:pt x="561" y="672"/>
                  </a:cubicBezTo>
                  <a:cubicBezTo>
                    <a:pt x="595" y="658"/>
                    <a:pt x="622" y="642"/>
                    <a:pt x="647" y="617"/>
                  </a:cubicBezTo>
                  <a:cubicBezTo>
                    <a:pt x="669" y="594"/>
                    <a:pt x="689" y="567"/>
                    <a:pt x="703" y="536"/>
                  </a:cubicBezTo>
                  <a:cubicBezTo>
                    <a:pt x="714" y="503"/>
                    <a:pt x="722" y="467"/>
                    <a:pt x="722" y="428"/>
                  </a:cubicBezTo>
                  <a:cubicBezTo>
                    <a:pt x="722" y="350"/>
                    <a:pt x="697" y="289"/>
                    <a:pt x="650" y="239"/>
                  </a:cubicBezTo>
                  <a:cubicBezTo>
                    <a:pt x="600" y="192"/>
                    <a:pt x="536" y="167"/>
                    <a:pt x="456" y="167"/>
                  </a:cubicBezTo>
                  <a:cubicBezTo>
                    <a:pt x="414" y="167"/>
                    <a:pt x="378" y="172"/>
                    <a:pt x="345" y="186"/>
                  </a:cubicBezTo>
                  <a:cubicBezTo>
                    <a:pt x="314" y="200"/>
                    <a:pt x="286" y="219"/>
                    <a:pt x="261" y="242"/>
                  </a:cubicBezTo>
                  <a:cubicBezTo>
                    <a:pt x="239" y="267"/>
                    <a:pt x="222" y="294"/>
                    <a:pt x="208" y="325"/>
                  </a:cubicBezTo>
                  <a:cubicBezTo>
                    <a:pt x="197" y="358"/>
                    <a:pt x="192" y="392"/>
                    <a:pt x="192" y="428"/>
                  </a:cubicBezTo>
                  <a:cubicBezTo>
                    <a:pt x="192" y="467"/>
                    <a:pt x="197" y="500"/>
                    <a:pt x="211" y="530"/>
                  </a:cubicBezTo>
                  <a:cubicBezTo>
                    <a:pt x="222" y="564"/>
                    <a:pt x="242" y="592"/>
                    <a:pt x="264" y="617"/>
                  </a:cubicBezTo>
                  <a:cubicBezTo>
                    <a:pt x="289" y="639"/>
                    <a:pt x="317" y="658"/>
                    <a:pt x="347" y="672"/>
                  </a:cubicBezTo>
                  <a:cubicBezTo>
                    <a:pt x="381" y="683"/>
                    <a:pt x="417" y="692"/>
                    <a:pt x="456" y="692"/>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5" name="Freeform 12">
              <a:extLst>
                <a:ext uri="{FF2B5EF4-FFF2-40B4-BE49-F238E27FC236}">
                  <a16:creationId xmlns:a16="http://schemas.microsoft.com/office/drawing/2014/main" id="{34C24972-7ECF-434E-A163-8E91BBA1D4A8}"/>
                </a:ext>
              </a:extLst>
            </p:cNvPr>
            <p:cNvSpPr>
              <a:spLocks noChangeArrowheads="1"/>
            </p:cNvSpPr>
            <p:nvPr userDrawn="1"/>
          </p:nvSpPr>
          <p:spPr bwMode="auto">
            <a:xfrm>
              <a:off x="5929313" y="3141663"/>
              <a:ext cx="315912" cy="312737"/>
            </a:xfrm>
            <a:custGeom>
              <a:avLst/>
              <a:gdLst>
                <a:gd name="T0" fmla="*/ 867 w 876"/>
                <a:gd name="T1" fmla="*/ 498 h 868"/>
                <a:gd name="T2" fmla="*/ 867 w 876"/>
                <a:gd name="T3" fmla="*/ 498 h 868"/>
                <a:gd name="T4" fmla="*/ 184 w 876"/>
                <a:gd name="T5" fmla="*/ 498 h 868"/>
                <a:gd name="T6" fmla="*/ 270 w 876"/>
                <a:gd name="T7" fmla="*/ 650 h 868"/>
                <a:gd name="T8" fmla="*/ 459 w 876"/>
                <a:gd name="T9" fmla="*/ 706 h 868"/>
                <a:gd name="T10" fmla="*/ 595 w 876"/>
                <a:gd name="T11" fmla="*/ 684 h 868"/>
                <a:gd name="T12" fmla="*/ 703 w 876"/>
                <a:gd name="T13" fmla="*/ 617 h 868"/>
                <a:gd name="T14" fmla="*/ 817 w 876"/>
                <a:gd name="T15" fmla="*/ 725 h 868"/>
                <a:gd name="T16" fmla="*/ 742 w 876"/>
                <a:gd name="T17" fmla="*/ 786 h 868"/>
                <a:gd name="T18" fmla="*/ 653 w 876"/>
                <a:gd name="T19" fmla="*/ 831 h 868"/>
                <a:gd name="T20" fmla="*/ 553 w 876"/>
                <a:gd name="T21" fmla="*/ 859 h 868"/>
                <a:gd name="T22" fmla="*/ 456 w 876"/>
                <a:gd name="T23" fmla="*/ 867 h 868"/>
                <a:gd name="T24" fmla="*/ 267 w 876"/>
                <a:gd name="T25" fmla="*/ 836 h 868"/>
                <a:gd name="T26" fmla="*/ 125 w 876"/>
                <a:gd name="T27" fmla="*/ 748 h 868"/>
                <a:gd name="T28" fmla="*/ 34 w 876"/>
                <a:gd name="T29" fmla="*/ 609 h 868"/>
                <a:gd name="T30" fmla="*/ 0 w 876"/>
                <a:gd name="T31" fmla="*/ 431 h 868"/>
                <a:gd name="T32" fmla="*/ 34 w 876"/>
                <a:gd name="T33" fmla="*/ 256 h 868"/>
                <a:gd name="T34" fmla="*/ 125 w 876"/>
                <a:gd name="T35" fmla="*/ 120 h 868"/>
                <a:gd name="T36" fmla="*/ 264 w 876"/>
                <a:gd name="T37" fmla="*/ 31 h 868"/>
                <a:gd name="T38" fmla="*/ 442 w 876"/>
                <a:gd name="T39" fmla="*/ 0 h 868"/>
                <a:gd name="T40" fmla="*/ 628 w 876"/>
                <a:gd name="T41" fmla="*/ 31 h 868"/>
                <a:gd name="T42" fmla="*/ 770 w 876"/>
                <a:gd name="T43" fmla="*/ 125 h 868"/>
                <a:gd name="T44" fmla="*/ 853 w 876"/>
                <a:gd name="T45" fmla="*/ 278 h 868"/>
                <a:gd name="T46" fmla="*/ 867 w 876"/>
                <a:gd name="T47" fmla="*/ 498 h 868"/>
                <a:gd name="T48" fmla="*/ 186 w 876"/>
                <a:gd name="T49" fmla="*/ 353 h 868"/>
                <a:gd name="T50" fmla="*/ 186 w 876"/>
                <a:gd name="T51" fmla="*/ 353 h 868"/>
                <a:gd name="T52" fmla="*/ 698 w 876"/>
                <a:gd name="T53" fmla="*/ 353 h 868"/>
                <a:gd name="T54" fmla="*/ 623 w 876"/>
                <a:gd name="T55" fmla="*/ 203 h 868"/>
                <a:gd name="T56" fmla="*/ 448 w 876"/>
                <a:gd name="T57" fmla="*/ 153 h 868"/>
                <a:gd name="T58" fmla="*/ 278 w 876"/>
                <a:gd name="T59" fmla="*/ 203 h 868"/>
                <a:gd name="T60" fmla="*/ 186 w 876"/>
                <a:gd name="T61" fmla="*/ 353 h 868"/>
                <a:gd name="T62" fmla="*/ 867 w 876"/>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8">
                  <a:moveTo>
                    <a:pt x="867" y="498"/>
                  </a:moveTo>
                  <a:lnTo>
                    <a:pt x="867" y="498"/>
                  </a:lnTo>
                  <a:cubicBezTo>
                    <a:pt x="184" y="498"/>
                    <a:pt x="184" y="498"/>
                    <a:pt x="184" y="498"/>
                  </a:cubicBezTo>
                  <a:cubicBezTo>
                    <a:pt x="192" y="562"/>
                    <a:pt x="220" y="611"/>
                    <a:pt x="270" y="650"/>
                  </a:cubicBezTo>
                  <a:cubicBezTo>
                    <a:pt x="317" y="686"/>
                    <a:pt x="381" y="706"/>
                    <a:pt x="459" y="706"/>
                  </a:cubicBezTo>
                  <a:cubicBezTo>
                    <a:pt x="503" y="706"/>
                    <a:pt x="547" y="698"/>
                    <a:pt x="595" y="684"/>
                  </a:cubicBezTo>
                  <a:cubicBezTo>
                    <a:pt x="639" y="667"/>
                    <a:pt x="675" y="645"/>
                    <a:pt x="703" y="617"/>
                  </a:cubicBezTo>
                  <a:cubicBezTo>
                    <a:pt x="817" y="725"/>
                    <a:pt x="817" y="725"/>
                    <a:pt x="817" y="725"/>
                  </a:cubicBezTo>
                  <a:cubicBezTo>
                    <a:pt x="795" y="750"/>
                    <a:pt x="770" y="770"/>
                    <a:pt x="742" y="786"/>
                  </a:cubicBezTo>
                  <a:cubicBezTo>
                    <a:pt x="714" y="806"/>
                    <a:pt x="684" y="820"/>
                    <a:pt x="653" y="831"/>
                  </a:cubicBezTo>
                  <a:cubicBezTo>
                    <a:pt x="620" y="845"/>
                    <a:pt x="589" y="853"/>
                    <a:pt x="553" y="859"/>
                  </a:cubicBezTo>
                  <a:cubicBezTo>
                    <a:pt x="520" y="864"/>
                    <a:pt x="486" y="867"/>
                    <a:pt x="456" y="867"/>
                  </a:cubicBezTo>
                  <a:cubicBezTo>
                    <a:pt x="386" y="867"/>
                    <a:pt x="323" y="856"/>
                    <a:pt x="267" y="836"/>
                  </a:cubicBezTo>
                  <a:cubicBezTo>
                    <a:pt x="211" y="814"/>
                    <a:pt x="164" y="786"/>
                    <a:pt x="125" y="748"/>
                  </a:cubicBezTo>
                  <a:cubicBezTo>
                    <a:pt x="86" y="709"/>
                    <a:pt x="56" y="664"/>
                    <a:pt x="34" y="609"/>
                  </a:cubicBezTo>
                  <a:cubicBezTo>
                    <a:pt x="11" y="556"/>
                    <a:pt x="0" y="495"/>
                    <a:pt x="0" y="431"/>
                  </a:cubicBezTo>
                  <a:cubicBezTo>
                    <a:pt x="0" y="367"/>
                    <a:pt x="11" y="309"/>
                    <a:pt x="34" y="256"/>
                  </a:cubicBezTo>
                  <a:cubicBezTo>
                    <a:pt x="56" y="203"/>
                    <a:pt x="86" y="159"/>
                    <a:pt x="125" y="120"/>
                  </a:cubicBezTo>
                  <a:cubicBezTo>
                    <a:pt x="161" y="84"/>
                    <a:pt x="209" y="53"/>
                    <a:pt x="264" y="31"/>
                  </a:cubicBezTo>
                  <a:cubicBezTo>
                    <a:pt x="317" y="12"/>
                    <a:pt x="378" y="0"/>
                    <a:pt x="442" y="0"/>
                  </a:cubicBezTo>
                  <a:cubicBezTo>
                    <a:pt x="511" y="0"/>
                    <a:pt x="573" y="12"/>
                    <a:pt x="628" y="31"/>
                  </a:cubicBezTo>
                  <a:cubicBezTo>
                    <a:pt x="684" y="53"/>
                    <a:pt x="731" y="84"/>
                    <a:pt x="770" y="125"/>
                  </a:cubicBezTo>
                  <a:cubicBezTo>
                    <a:pt x="806" y="164"/>
                    <a:pt x="834" y="217"/>
                    <a:pt x="853" y="278"/>
                  </a:cubicBezTo>
                  <a:cubicBezTo>
                    <a:pt x="870" y="342"/>
                    <a:pt x="875" y="414"/>
                    <a:pt x="867" y="498"/>
                  </a:cubicBezTo>
                  <a:lnTo>
                    <a:pt x="186" y="353"/>
                  </a:lnTo>
                  <a:lnTo>
                    <a:pt x="186" y="353"/>
                  </a:lnTo>
                  <a:cubicBezTo>
                    <a:pt x="698" y="353"/>
                    <a:pt x="698" y="353"/>
                    <a:pt x="698" y="353"/>
                  </a:cubicBezTo>
                  <a:cubicBezTo>
                    <a:pt x="692" y="287"/>
                    <a:pt x="667" y="236"/>
                    <a:pt x="623" y="203"/>
                  </a:cubicBezTo>
                  <a:cubicBezTo>
                    <a:pt x="578" y="170"/>
                    <a:pt x="520" y="153"/>
                    <a:pt x="448" y="153"/>
                  </a:cubicBezTo>
                  <a:cubicBezTo>
                    <a:pt x="384" y="153"/>
                    <a:pt x="328" y="170"/>
                    <a:pt x="278" y="203"/>
                  </a:cubicBezTo>
                  <a:cubicBezTo>
                    <a:pt x="231" y="236"/>
                    <a:pt x="200" y="287"/>
                    <a:pt x="186" y="353"/>
                  </a:cubicBezTo>
                  <a:lnTo>
                    <a:pt x="867"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6" name="Freeform 13">
              <a:extLst>
                <a:ext uri="{FF2B5EF4-FFF2-40B4-BE49-F238E27FC236}">
                  <a16:creationId xmlns:a16="http://schemas.microsoft.com/office/drawing/2014/main" id="{D808B508-B861-7C47-882C-1E46A3019A68}"/>
                </a:ext>
              </a:extLst>
            </p:cNvPr>
            <p:cNvSpPr>
              <a:spLocks noChangeArrowheads="1"/>
            </p:cNvSpPr>
            <p:nvPr userDrawn="1"/>
          </p:nvSpPr>
          <p:spPr bwMode="auto">
            <a:xfrm>
              <a:off x="6305550" y="3141663"/>
              <a:ext cx="228600" cy="303212"/>
            </a:xfrm>
            <a:custGeom>
              <a:avLst/>
              <a:gdLst>
                <a:gd name="T0" fmla="*/ 164 w 634"/>
                <a:gd name="T1" fmla="*/ 20 h 843"/>
                <a:gd name="T2" fmla="*/ 164 w 634"/>
                <a:gd name="T3" fmla="*/ 20 h 843"/>
                <a:gd name="T4" fmla="*/ 177 w 634"/>
                <a:gd name="T5" fmla="*/ 128 h 843"/>
                <a:gd name="T6" fmla="*/ 289 w 634"/>
                <a:gd name="T7" fmla="*/ 25 h 843"/>
                <a:gd name="T8" fmla="*/ 425 w 634"/>
                <a:gd name="T9" fmla="*/ 0 h 843"/>
                <a:gd name="T10" fmla="*/ 541 w 634"/>
                <a:gd name="T11" fmla="*/ 20 h 843"/>
                <a:gd name="T12" fmla="*/ 633 w 634"/>
                <a:gd name="T13" fmla="*/ 70 h 843"/>
                <a:gd name="T14" fmla="*/ 552 w 634"/>
                <a:gd name="T15" fmla="*/ 222 h 843"/>
                <a:gd name="T16" fmla="*/ 486 w 634"/>
                <a:gd name="T17" fmla="*/ 184 h 843"/>
                <a:gd name="T18" fmla="*/ 405 w 634"/>
                <a:gd name="T19" fmla="*/ 172 h 843"/>
                <a:gd name="T20" fmla="*/ 316 w 634"/>
                <a:gd name="T21" fmla="*/ 186 h 843"/>
                <a:gd name="T22" fmla="*/ 244 w 634"/>
                <a:gd name="T23" fmla="*/ 228 h 843"/>
                <a:gd name="T24" fmla="*/ 197 w 634"/>
                <a:gd name="T25" fmla="*/ 297 h 843"/>
                <a:gd name="T26" fmla="*/ 177 w 634"/>
                <a:gd name="T27" fmla="*/ 397 h 843"/>
                <a:gd name="T28" fmla="*/ 177 w 634"/>
                <a:gd name="T29" fmla="*/ 842 h 843"/>
                <a:gd name="T30" fmla="*/ 0 w 634"/>
                <a:gd name="T31" fmla="*/ 842 h 843"/>
                <a:gd name="T32" fmla="*/ 0 w 634"/>
                <a:gd name="T33" fmla="*/ 20 h 843"/>
                <a:gd name="T34" fmla="*/ 164 w 634"/>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4" h="843">
                  <a:moveTo>
                    <a:pt x="164" y="20"/>
                  </a:moveTo>
                  <a:lnTo>
                    <a:pt x="164" y="20"/>
                  </a:lnTo>
                  <a:cubicBezTo>
                    <a:pt x="177" y="128"/>
                    <a:pt x="177" y="128"/>
                    <a:pt x="177" y="128"/>
                  </a:cubicBezTo>
                  <a:cubicBezTo>
                    <a:pt x="208" y="75"/>
                    <a:pt x="244" y="42"/>
                    <a:pt x="289" y="25"/>
                  </a:cubicBezTo>
                  <a:cubicBezTo>
                    <a:pt x="333" y="9"/>
                    <a:pt x="380" y="0"/>
                    <a:pt x="425" y="0"/>
                  </a:cubicBezTo>
                  <a:cubicBezTo>
                    <a:pt x="466" y="0"/>
                    <a:pt x="505" y="9"/>
                    <a:pt x="541" y="20"/>
                  </a:cubicBezTo>
                  <a:cubicBezTo>
                    <a:pt x="577" y="34"/>
                    <a:pt x="608" y="50"/>
                    <a:pt x="633" y="70"/>
                  </a:cubicBezTo>
                  <a:cubicBezTo>
                    <a:pt x="552" y="222"/>
                    <a:pt x="552" y="222"/>
                    <a:pt x="552" y="222"/>
                  </a:cubicBezTo>
                  <a:cubicBezTo>
                    <a:pt x="530" y="206"/>
                    <a:pt x="508" y="192"/>
                    <a:pt x="486" y="184"/>
                  </a:cubicBezTo>
                  <a:cubicBezTo>
                    <a:pt x="464" y="175"/>
                    <a:pt x="436" y="172"/>
                    <a:pt x="405" y="172"/>
                  </a:cubicBezTo>
                  <a:cubicBezTo>
                    <a:pt x="372" y="172"/>
                    <a:pt x="344" y="175"/>
                    <a:pt x="316" y="186"/>
                  </a:cubicBezTo>
                  <a:cubicBezTo>
                    <a:pt x="289" y="195"/>
                    <a:pt x="266" y="209"/>
                    <a:pt x="244" y="228"/>
                  </a:cubicBezTo>
                  <a:cubicBezTo>
                    <a:pt x="225" y="245"/>
                    <a:pt x="208" y="270"/>
                    <a:pt x="197" y="297"/>
                  </a:cubicBezTo>
                  <a:cubicBezTo>
                    <a:pt x="183" y="325"/>
                    <a:pt x="177" y="359"/>
                    <a:pt x="177" y="397"/>
                  </a:cubicBezTo>
                  <a:cubicBezTo>
                    <a:pt x="177" y="842"/>
                    <a:pt x="177" y="842"/>
                    <a:pt x="177"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7" name="Freeform 14">
              <a:extLst>
                <a:ext uri="{FF2B5EF4-FFF2-40B4-BE49-F238E27FC236}">
                  <a16:creationId xmlns:a16="http://schemas.microsoft.com/office/drawing/2014/main" id="{DA4B5B07-1DD1-444C-9434-A5BD0D4BC375}"/>
                </a:ext>
              </a:extLst>
            </p:cNvPr>
            <p:cNvSpPr>
              <a:spLocks noChangeArrowheads="1"/>
            </p:cNvSpPr>
            <p:nvPr userDrawn="1"/>
          </p:nvSpPr>
          <p:spPr bwMode="auto">
            <a:xfrm>
              <a:off x="6577013" y="3148013"/>
              <a:ext cx="63500" cy="296862"/>
            </a:xfrm>
            <a:custGeom>
              <a:avLst/>
              <a:gdLst>
                <a:gd name="T0" fmla="*/ 175 w 176"/>
                <a:gd name="T1" fmla="*/ 825 h 826"/>
                <a:gd name="T2" fmla="*/ 0 w 176"/>
                <a:gd name="T3" fmla="*/ 825 h 826"/>
                <a:gd name="T4" fmla="*/ 0 w 176"/>
                <a:gd name="T5" fmla="*/ 0 h 826"/>
                <a:gd name="T6" fmla="*/ 175 w 176"/>
                <a:gd name="T7" fmla="*/ 0 h 826"/>
                <a:gd name="T8" fmla="*/ 175 w 176"/>
                <a:gd name="T9" fmla="*/ 825 h 826"/>
              </a:gdLst>
              <a:ahLst/>
              <a:cxnLst>
                <a:cxn ang="0">
                  <a:pos x="T0" y="T1"/>
                </a:cxn>
                <a:cxn ang="0">
                  <a:pos x="T2" y="T3"/>
                </a:cxn>
                <a:cxn ang="0">
                  <a:pos x="T4" y="T5"/>
                </a:cxn>
                <a:cxn ang="0">
                  <a:pos x="T6" y="T7"/>
                </a:cxn>
                <a:cxn ang="0">
                  <a:pos x="T8" y="T9"/>
                </a:cxn>
              </a:cxnLst>
              <a:rect l="0" t="0" r="r" b="b"/>
              <a:pathLst>
                <a:path w="176" h="826">
                  <a:moveTo>
                    <a:pt x="175" y="825"/>
                  </a:moveTo>
                  <a:lnTo>
                    <a:pt x="0" y="825"/>
                  </a:lnTo>
                  <a:lnTo>
                    <a:pt x="0" y="0"/>
                  </a:lnTo>
                  <a:lnTo>
                    <a:pt x="175" y="0"/>
                  </a:lnTo>
                  <a:lnTo>
                    <a:pt x="175" y="8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8" name="Freeform 15">
              <a:extLst>
                <a:ext uri="{FF2B5EF4-FFF2-40B4-BE49-F238E27FC236}">
                  <a16:creationId xmlns:a16="http://schemas.microsoft.com/office/drawing/2014/main" id="{D083457F-493B-9D49-9B53-1046E4A96F81}"/>
                </a:ext>
              </a:extLst>
            </p:cNvPr>
            <p:cNvSpPr>
              <a:spLocks noChangeArrowheads="1"/>
            </p:cNvSpPr>
            <p:nvPr userDrawn="1"/>
          </p:nvSpPr>
          <p:spPr bwMode="auto">
            <a:xfrm>
              <a:off x="6707188" y="3141663"/>
              <a:ext cx="314325" cy="312737"/>
            </a:xfrm>
            <a:custGeom>
              <a:avLst/>
              <a:gdLst>
                <a:gd name="T0" fmla="*/ 864 w 873"/>
                <a:gd name="T1" fmla="*/ 498 h 868"/>
                <a:gd name="T2" fmla="*/ 864 w 873"/>
                <a:gd name="T3" fmla="*/ 498 h 868"/>
                <a:gd name="T4" fmla="*/ 184 w 873"/>
                <a:gd name="T5" fmla="*/ 498 h 868"/>
                <a:gd name="T6" fmla="*/ 267 w 873"/>
                <a:gd name="T7" fmla="*/ 650 h 868"/>
                <a:gd name="T8" fmla="*/ 459 w 873"/>
                <a:gd name="T9" fmla="*/ 706 h 868"/>
                <a:gd name="T10" fmla="*/ 592 w 873"/>
                <a:gd name="T11" fmla="*/ 684 h 868"/>
                <a:gd name="T12" fmla="*/ 700 w 873"/>
                <a:gd name="T13" fmla="*/ 617 h 868"/>
                <a:gd name="T14" fmla="*/ 817 w 873"/>
                <a:gd name="T15" fmla="*/ 725 h 868"/>
                <a:gd name="T16" fmla="*/ 742 w 873"/>
                <a:gd name="T17" fmla="*/ 786 h 868"/>
                <a:gd name="T18" fmla="*/ 650 w 873"/>
                <a:gd name="T19" fmla="*/ 831 h 868"/>
                <a:gd name="T20" fmla="*/ 553 w 873"/>
                <a:gd name="T21" fmla="*/ 859 h 868"/>
                <a:gd name="T22" fmla="*/ 453 w 873"/>
                <a:gd name="T23" fmla="*/ 867 h 868"/>
                <a:gd name="T24" fmla="*/ 267 w 873"/>
                <a:gd name="T25" fmla="*/ 836 h 868"/>
                <a:gd name="T26" fmla="*/ 123 w 873"/>
                <a:gd name="T27" fmla="*/ 748 h 868"/>
                <a:gd name="T28" fmla="*/ 34 w 873"/>
                <a:gd name="T29" fmla="*/ 609 h 868"/>
                <a:gd name="T30" fmla="*/ 0 w 873"/>
                <a:gd name="T31" fmla="*/ 431 h 868"/>
                <a:gd name="T32" fmla="*/ 34 w 873"/>
                <a:gd name="T33" fmla="*/ 256 h 868"/>
                <a:gd name="T34" fmla="*/ 123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7 w 873"/>
                <a:gd name="T53" fmla="*/ 353 h 868"/>
                <a:gd name="T54" fmla="*/ 622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4" y="498"/>
                    <a:pt x="184" y="498"/>
                    <a:pt x="184" y="498"/>
                  </a:cubicBezTo>
                  <a:cubicBezTo>
                    <a:pt x="189" y="562"/>
                    <a:pt x="220" y="611"/>
                    <a:pt x="267" y="650"/>
                  </a:cubicBezTo>
                  <a:cubicBezTo>
                    <a:pt x="317" y="686"/>
                    <a:pt x="381" y="706"/>
                    <a:pt x="459" y="706"/>
                  </a:cubicBezTo>
                  <a:cubicBezTo>
                    <a:pt x="500" y="706"/>
                    <a:pt x="545" y="698"/>
                    <a:pt x="592" y="684"/>
                  </a:cubicBezTo>
                  <a:cubicBezTo>
                    <a:pt x="639" y="667"/>
                    <a:pt x="675" y="645"/>
                    <a:pt x="700" y="617"/>
                  </a:cubicBezTo>
                  <a:cubicBezTo>
                    <a:pt x="817" y="725"/>
                    <a:pt x="817" y="725"/>
                    <a:pt x="817" y="725"/>
                  </a:cubicBezTo>
                  <a:cubicBezTo>
                    <a:pt x="795" y="750"/>
                    <a:pt x="770" y="770"/>
                    <a:pt x="742" y="786"/>
                  </a:cubicBezTo>
                  <a:cubicBezTo>
                    <a:pt x="711" y="806"/>
                    <a:pt x="684" y="820"/>
                    <a:pt x="650" y="831"/>
                  </a:cubicBezTo>
                  <a:cubicBezTo>
                    <a:pt x="620" y="845"/>
                    <a:pt x="586" y="853"/>
                    <a:pt x="553" y="859"/>
                  </a:cubicBezTo>
                  <a:cubicBezTo>
                    <a:pt x="520" y="864"/>
                    <a:pt x="486" y="867"/>
                    <a:pt x="453" y="867"/>
                  </a:cubicBezTo>
                  <a:cubicBezTo>
                    <a:pt x="384" y="867"/>
                    <a:pt x="322" y="856"/>
                    <a:pt x="267" y="836"/>
                  </a:cubicBezTo>
                  <a:cubicBezTo>
                    <a:pt x="211" y="814"/>
                    <a:pt x="164" y="786"/>
                    <a:pt x="123" y="748"/>
                  </a:cubicBezTo>
                  <a:cubicBezTo>
                    <a:pt x="84" y="709"/>
                    <a:pt x="53" y="664"/>
                    <a:pt x="34" y="609"/>
                  </a:cubicBezTo>
                  <a:cubicBezTo>
                    <a:pt x="11" y="556"/>
                    <a:pt x="0" y="495"/>
                    <a:pt x="0" y="431"/>
                  </a:cubicBezTo>
                  <a:cubicBezTo>
                    <a:pt x="0" y="367"/>
                    <a:pt x="11" y="309"/>
                    <a:pt x="34" y="256"/>
                  </a:cubicBezTo>
                  <a:cubicBezTo>
                    <a:pt x="53" y="203"/>
                    <a:pt x="84" y="159"/>
                    <a:pt x="123" y="120"/>
                  </a:cubicBezTo>
                  <a:cubicBezTo>
                    <a:pt x="161" y="84"/>
                    <a:pt x="209" y="53"/>
                    <a:pt x="261" y="31"/>
                  </a:cubicBezTo>
                  <a:cubicBezTo>
                    <a:pt x="317" y="12"/>
                    <a:pt x="375" y="0"/>
                    <a:pt x="442" y="0"/>
                  </a:cubicBezTo>
                  <a:cubicBezTo>
                    <a:pt x="511" y="0"/>
                    <a:pt x="572" y="12"/>
                    <a:pt x="628" y="31"/>
                  </a:cubicBezTo>
                  <a:cubicBezTo>
                    <a:pt x="684" y="53"/>
                    <a:pt x="728" y="84"/>
                    <a:pt x="767" y="125"/>
                  </a:cubicBezTo>
                  <a:cubicBezTo>
                    <a:pt x="806" y="164"/>
                    <a:pt x="834" y="217"/>
                    <a:pt x="850" y="278"/>
                  </a:cubicBezTo>
                  <a:cubicBezTo>
                    <a:pt x="870" y="342"/>
                    <a:pt x="872" y="414"/>
                    <a:pt x="864" y="498"/>
                  </a:cubicBezTo>
                  <a:lnTo>
                    <a:pt x="186" y="353"/>
                  </a:lnTo>
                  <a:lnTo>
                    <a:pt x="186" y="353"/>
                  </a:lnTo>
                  <a:cubicBezTo>
                    <a:pt x="697" y="353"/>
                    <a:pt x="697" y="353"/>
                    <a:pt x="697" y="353"/>
                  </a:cubicBezTo>
                  <a:cubicBezTo>
                    <a:pt x="692" y="287"/>
                    <a:pt x="667" y="236"/>
                    <a:pt x="622" y="203"/>
                  </a:cubicBezTo>
                  <a:cubicBezTo>
                    <a:pt x="578" y="170"/>
                    <a:pt x="520" y="153"/>
                    <a:pt x="447" y="153"/>
                  </a:cubicBezTo>
                  <a:cubicBezTo>
                    <a:pt x="384"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9" name="Freeform 16">
              <a:extLst>
                <a:ext uri="{FF2B5EF4-FFF2-40B4-BE49-F238E27FC236}">
                  <a16:creationId xmlns:a16="http://schemas.microsoft.com/office/drawing/2014/main" id="{DE651136-D223-7E43-A25B-367D3263D05B}"/>
                </a:ext>
              </a:extLst>
            </p:cNvPr>
            <p:cNvSpPr>
              <a:spLocks noChangeArrowheads="1"/>
            </p:cNvSpPr>
            <p:nvPr userDrawn="1"/>
          </p:nvSpPr>
          <p:spPr bwMode="auto">
            <a:xfrm>
              <a:off x="7083425" y="3144838"/>
              <a:ext cx="293688" cy="301625"/>
            </a:xfrm>
            <a:custGeom>
              <a:avLst/>
              <a:gdLst>
                <a:gd name="T0" fmla="*/ 638 w 817"/>
                <a:gd name="T1" fmla="*/ 836 h 837"/>
                <a:gd name="T2" fmla="*/ 638 w 817"/>
                <a:gd name="T3" fmla="*/ 836 h 837"/>
                <a:gd name="T4" fmla="*/ 638 w 817"/>
                <a:gd name="T5" fmla="*/ 397 h 837"/>
                <a:gd name="T6" fmla="*/ 580 w 817"/>
                <a:gd name="T7" fmla="*/ 225 h 837"/>
                <a:gd name="T8" fmla="*/ 411 w 817"/>
                <a:gd name="T9" fmla="*/ 161 h 837"/>
                <a:gd name="T10" fmla="*/ 313 w 817"/>
                <a:gd name="T11" fmla="*/ 180 h 837"/>
                <a:gd name="T12" fmla="*/ 241 w 817"/>
                <a:gd name="T13" fmla="*/ 233 h 837"/>
                <a:gd name="T14" fmla="*/ 194 w 817"/>
                <a:gd name="T15" fmla="*/ 311 h 837"/>
                <a:gd name="T16" fmla="*/ 175 w 817"/>
                <a:gd name="T17" fmla="*/ 408 h 837"/>
                <a:gd name="T18" fmla="*/ 175 w 817"/>
                <a:gd name="T19" fmla="*/ 836 h 837"/>
                <a:gd name="T20" fmla="*/ 0 w 817"/>
                <a:gd name="T21" fmla="*/ 836 h 837"/>
                <a:gd name="T22" fmla="*/ 0 w 817"/>
                <a:gd name="T23" fmla="*/ 11 h 837"/>
                <a:gd name="T24" fmla="*/ 161 w 817"/>
                <a:gd name="T25" fmla="*/ 11 h 837"/>
                <a:gd name="T26" fmla="*/ 172 w 817"/>
                <a:gd name="T27" fmla="*/ 133 h 837"/>
                <a:gd name="T28" fmla="*/ 455 w 817"/>
                <a:gd name="T29" fmla="*/ 0 h 837"/>
                <a:gd name="T30" fmla="*/ 597 w 817"/>
                <a:gd name="T31" fmla="*/ 25 h 837"/>
                <a:gd name="T32" fmla="*/ 711 w 817"/>
                <a:gd name="T33" fmla="*/ 103 h 837"/>
                <a:gd name="T34" fmla="*/ 788 w 817"/>
                <a:gd name="T35" fmla="*/ 225 h 837"/>
                <a:gd name="T36" fmla="*/ 816 w 817"/>
                <a:gd name="T37" fmla="*/ 394 h 837"/>
                <a:gd name="T38" fmla="*/ 816 w 817"/>
                <a:gd name="T39" fmla="*/ 836 h 837"/>
                <a:gd name="T40" fmla="*/ 638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8" y="836"/>
                  </a:moveTo>
                  <a:lnTo>
                    <a:pt x="638" y="836"/>
                  </a:lnTo>
                  <a:cubicBezTo>
                    <a:pt x="638" y="397"/>
                    <a:pt x="638" y="397"/>
                    <a:pt x="638" y="397"/>
                  </a:cubicBezTo>
                  <a:cubicBezTo>
                    <a:pt x="638" y="325"/>
                    <a:pt x="619" y="269"/>
                    <a:pt x="580" y="225"/>
                  </a:cubicBezTo>
                  <a:cubicBezTo>
                    <a:pt x="541" y="183"/>
                    <a:pt x="483" y="161"/>
                    <a:pt x="411" y="161"/>
                  </a:cubicBezTo>
                  <a:cubicBezTo>
                    <a:pt x="375" y="161"/>
                    <a:pt x="344" y="166"/>
                    <a:pt x="313" y="180"/>
                  </a:cubicBezTo>
                  <a:cubicBezTo>
                    <a:pt x="286" y="191"/>
                    <a:pt x="261" y="211"/>
                    <a:pt x="241" y="233"/>
                  </a:cubicBezTo>
                  <a:cubicBezTo>
                    <a:pt x="219" y="255"/>
                    <a:pt x="205" y="283"/>
                    <a:pt x="194" y="311"/>
                  </a:cubicBezTo>
                  <a:cubicBezTo>
                    <a:pt x="180" y="341"/>
                    <a:pt x="175" y="375"/>
                    <a:pt x="175" y="408"/>
                  </a:cubicBezTo>
                  <a:cubicBezTo>
                    <a:pt x="175" y="836"/>
                    <a:pt x="175" y="836"/>
                    <a:pt x="175" y="836"/>
                  </a:cubicBezTo>
                  <a:cubicBezTo>
                    <a:pt x="0" y="836"/>
                    <a:pt x="0" y="836"/>
                    <a:pt x="0" y="836"/>
                  </a:cubicBezTo>
                  <a:cubicBezTo>
                    <a:pt x="0" y="11"/>
                    <a:pt x="0" y="11"/>
                    <a:pt x="0" y="11"/>
                  </a:cubicBezTo>
                  <a:cubicBezTo>
                    <a:pt x="161" y="11"/>
                    <a:pt x="161" y="11"/>
                    <a:pt x="161" y="11"/>
                  </a:cubicBezTo>
                  <a:cubicBezTo>
                    <a:pt x="172" y="133"/>
                    <a:pt x="172" y="133"/>
                    <a:pt x="172" y="133"/>
                  </a:cubicBezTo>
                  <a:cubicBezTo>
                    <a:pt x="250" y="44"/>
                    <a:pt x="344" y="0"/>
                    <a:pt x="455" y="0"/>
                  </a:cubicBezTo>
                  <a:cubicBezTo>
                    <a:pt x="505" y="0"/>
                    <a:pt x="552" y="8"/>
                    <a:pt x="597" y="25"/>
                  </a:cubicBezTo>
                  <a:cubicBezTo>
                    <a:pt x="641" y="44"/>
                    <a:pt x="677" y="69"/>
                    <a:pt x="711" y="103"/>
                  </a:cubicBezTo>
                  <a:cubicBezTo>
                    <a:pt x="744" y="136"/>
                    <a:pt x="769" y="178"/>
                    <a:pt x="788" y="225"/>
                  </a:cubicBezTo>
                  <a:cubicBezTo>
                    <a:pt x="808" y="275"/>
                    <a:pt x="816" y="330"/>
                    <a:pt x="816" y="394"/>
                  </a:cubicBezTo>
                  <a:cubicBezTo>
                    <a:pt x="816" y="836"/>
                    <a:pt x="816" y="836"/>
                    <a:pt x="816" y="836"/>
                  </a:cubicBezTo>
                  <a:lnTo>
                    <a:pt x="638"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0" name="Freeform 17">
              <a:extLst>
                <a:ext uri="{FF2B5EF4-FFF2-40B4-BE49-F238E27FC236}">
                  <a16:creationId xmlns:a16="http://schemas.microsoft.com/office/drawing/2014/main" id="{F66E08D8-03E8-7E47-B511-F56EB14F7451}"/>
                </a:ext>
              </a:extLst>
            </p:cNvPr>
            <p:cNvSpPr>
              <a:spLocks noChangeArrowheads="1"/>
            </p:cNvSpPr>
            <p:nvPr userDrawn="1"/>
          </p:nvSpPr>
          <p:spPr bwMode="auto">
            <a:xfrm>
              <a:off x="7440613" y="3141663"/>
              <a:ext cx="274637" cy="311150"/>
            </a:xfrm>
            <a:custGeom>
              <a:avLst/>
              <a:gdLst>
                <a:gd name="T0" fmla="*/ 761 w 762"/>
                <a:gd name="T1" fmla="*/ 736 h 865"/>
                <a:gd name="T2" fmla="*/ 761 w 762"/>
                <a:gd name="T3" fmla="*/ 736 h 865"/>
                <a:gd name="T4" fmla="*/ 614 w 762"/>
                <a:gd name="T5" fmla="*/ 833 h 865"/>
                <a:gd name="T6" fmla="*/ 442 w 762"/>
                <a:gd name="T7" fmla="*/ 864 h 865"/>
                <a:gd name="T8" fmla="*/ 272 w 762"/>
                <a:gd name="T9" fmla="*/ 836 h 865"/>
                <a:gd name="T10" fmla="*/ 131 w 762"/>
                <a:gd name="T11" fmla="*/ 756 h 865"/>
                <a:gd name="T12" fmla="*/ 34 w 762"/>
                <a:gd name="T13" fmla="*/ 620 h 865"/>
                <a:gd name="T14" fmla="*/ 0 w 762"/>
                <a:gd name="T15" fmla="*/ 431 h 865"/>
                <a:gd name="T16" fmla="*/ 34 w 762"/>
                <a:gd name="T17" fmla="*/ 245 h 865"/>
                <a:gd name="T18" fmla="*/ 131 w 762"/>
                <a:gd name="T19" fmla="*/ 109 h 865"/>
                <a:gd name="T20" fmla="*/ 270 w 762"/>
                <a:gd name="T21" fmla="*/ 28 h 865"/>
                <a:gd name="T22" fmla="*/ 442 w 762"/>
                <a:gd name="T23" fmla="*/ 0 h 865"/>
                <a:gd name="T24" fmla="*/ 603 w 762"/>
                <a:gd name="T25" fmla="*/ 28 h 865"/>
                <a:gd name="T26" fmla="*/ 747 w 762"/>
                <a:gd name="T27" fmla="*/ 122 h 865"/>
                <a:gd name="T28" fmla="*/ 633 w 762"/>
                <a:gd name="T29" fmla="*/ 236 h 865"/>
                <a:gd name="T30" fmla="*/ 545 w 762"/>
                <a:gd name="T31" fmla="*/ 181 h 865"/>
                <a:gd name="T32" fmla="*/ 445 w 762"/>
                <a:gd name="T33" fmla="*/ 164 h 865"/>
                <a:gd name="T34" fmla="*/ 339 w 762"/>
                <a:gd name="T35" fmla="*/ 181 h 865"/>
                <a:gd name="T36" fmla="*/ 253 w 762"/>
                <a:gd name="T37" fmla="*/ 236 h 865"/>
                <a:gd name="T38" fmla="*/ 195 w 762"/>
                <a:gd name="T39" fmla="*/ 320 h 865"/>
                <a:gd name="T40" fmla="*/ 175 w 762"/>
                <a:gd name="T41" fmla="*/ 431 h 865"/>
                <a:gd name="T42" fmla="*/ 197 w 762"/>
                <a:gd name="T43" fmla="*/ 547 h 865"/>
                <a:gd name="T44" fmla="*/ 253 w 762"/>
                <a:gd name="T45" fmla="*/ 631 h 865"/>
                <a:gd name="T46" fmla="*/ 339 w 762"/>
                <a:gd name="T47" fmla="*/ 681 h 865"/>
                <a:gd name="T48" fmla="*/ 442 w 762"/>
                <a:gd name="T49" fmla="*/ 697 h 865"/>
                <a:gd name="T50" fmla="*/ 550 w 762"/>
                <a:gd name="T51" fmla="*/ 681 h 865"/>
                <a:gd name="T52" fmla="*/ 642 w 762"/>
                <a:gd name="T53" fmla="*/ 620 h 865"/>
                <a:gd name="T54" fmla="*/ 761 w 762"/>
                <a:gd name="T55" fmla="*/ 736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62" h="865">
                  <a:moveTo>
                    <a:pt x="761" y="736"/>
                  </a:moveTo>
                  <a:lnTo>
                    <a:pt x="761" y="736"/>
                  </a:lnTo>
                  <a:cubicBezTo>
                    <a:pt x="714" y="781"/>
                    <a:pt x="664" y="814"/>
                    <a:pt x="614" y="833"/>
                  </a:cubicBezTo>
                  <a:cubicBezTo>
                    <a:pt x="561" y="856"/>
                    <a:pt x="503" y="864"/>
                    <a:pt x="442" y="864"/>
                  </a:cubicBezTo>
                  <a:cubicBezTo>
                    <a:pt x="383" y="864"/>
                    <a:pt x="325" y="856"/>
                    <a:pt x="272" y="836"/>
                  </a:cubicBezTo>
                  <a:cubicBezTo>
                    <a:pt x="217" y="820"/>
                    <a:pt x="170" y="792"/>
                    <a:pt x="131" y="756"/>
                  </a:cubicBezTo>
                  <a:cubicBezTo>
                    <a:pt x="89" y="720"/>
                    <a:pt x="58" y="675"/>
                    <a:pt x="34" y="620"/>
                  </a:cubicBezTo>
                  <a:cubicBezTo>
                    <a:pt x="11" y="567"/>
                    <a:pt x="0" y="503"/>
                    <a:pt x="0" y="431"/>
                  </a:cubicBezTo>
                  <a:cubicBezTo>
                    <a:pt x="0" y="361"/>
                    <a:pt x="11" y="297"/>
                    <a:pt x="34" y="245"/>
                  </a:cubicBezTo>
                  <a:cubicBezTo>
                    <a:pt x="58" y="189"/>
                    <a:pt x="89" y="145"/>
                    <a:pt x="131" y="109"/>
                  </a:cubicBezTo>
                  <a:cubicBezTo>
                    <a:pt x="170" y="72"/>
                    <a:pt x="217" y="45"/>
                    <a:pt x="270" y="28"/>
                  </a:cubicBezTo>
                  <a:cubicBezTo>
                    <a:pt x="325" y="9"/>
                    <a:pt x="381" y="0"/>
                    <a:pt x="442" y="0"/>
                  </a:cubicBezTo>
                  <a:cubicBezTo>
                    <a:pt x="500" y="0"/>
                    <a:pt x="556" y="9"/>
                    <a:pt x="603" y="28"/>
                  </a:cubicBezTo>
                  <a:cubicBezTo>
                    <a:pt x="653" y="47"/>
                    <a:pt x="700" y="78"/>
                    <a:pt x="747" y="122"/>
                  </a:cubicBezTo>
                  <a:cubicBezTo>
                    <a:pt x="633" y="236"/>
                    <a:pt x="633" y="236"/>
                    <a:pt x="633" y="236"/>
                  </a:cubicBezTo>
                  <a:cubicBezTo>
                    <a:pt x="608" y="211"/>
                    <a:pt x="578" y="192"/>
                    <a:pt x="545" y="181"/>
                  </a:cubicBezTo>
                  <a:cubicBezTo>
                    <a:pt x="511" y="170"/>
                    <a:pt x="478" y="164"/>
                    <a:pt x="445" y="164"/>
                  </a:cubicBezTo>
                  <a:cubicBezTo>
                    <a:pt x="406" y="164"/>
                    <a:pt x="372" y="170"/>
                    <a:pt x="339" y="181"/>
                  </a:cubicBezTo>
                  <a:cubicBezTo>
                    <a:pt x="306" y="195"/>
                    <a:pt x="278" y="214"/>
                    <a:pt x="253" y="236"/>
                  </a:cubicBezTo>
                  <a:cubicBezTo>
                    <a:pt x="228" y="259"/>
                    <a:pt x="209" y="289"/>
                    <a:pt x="195" y="320"/>
                  </a:cubicBezTo>
                  <a:cubicBezTo>
                    <a:pt x="181" y="353"/>
                    <a:pt x="175" y="392"/>
                    <a:pt x="175" y="431"/>
                  </a:cubicBezTo>
                  <a:cubicBezTo>
                    <a:pt x="175" y="475"/>
                    <a:pt x="181" y="514"/>
                    <a:pt x="197" y="547"/>
                  </a:cubicBezTo>
                  <a:cubicBezTo>
                    <a:pt x="211" y="578"/>
                    <a:pt x="231" y="606"/>
                    <a:pt x="253" y="631"/>
                  </a:cubicBezTo>
                  <a:cubicBezTo>
                    <a:pt x="278" y="653"/>
                    <a:pt x="309" y="670"/>
                    <a:pt x="339" y="681"/>
                  </a:cubicBezTo>
                  <a:cubicBezTo>
                    <a:pt x="372" y="692"/>
                    <a:pt x="406" y="697"/>
                    <a:pt x="442" y="697"/>
                  </a:cubicBezTo>
                  <a:cubicBezTo>
                    <a:pt x="478" y="697"/>
                    <a:pt x="514" y="692"/>
                    <a:pt x="550" y="681"/>
                  </a:cubicBezTo>
                  <a:cubicBezTo>
                    <a:pt x="583" y="670"/>
                    <a:pt x="614" y="647"/>
                    <a:pt x="642" y="620"/>
                  </a:cubicBezTo>
                  <a:lnTo>
                    <a:pt x="761" y="7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1" name="Freeform 18">
              <a:extLst>
                <a:ext uri="{FF2B5EF4-FFF2-40B4-BE49-F238E27FC236}">
                  <a16:creationId xmlns:a16="http://schemas.microsoft.com/office/drawing/2014/main" id="{3566F7C8-94CB-004E-8CF3-366493033F57}"/>
                </a:ext>
              </a:extLst>
            </p:cNvPr>
            <p:cNvSpPr>
              <a:spLocks noChangeArrowheads="1"/>
            </p:cNvSpPr>
            <p:nvPr userDrawn="1"/>
          </p:nvSpPr>
          <p:spPr bwMode="auto">
            <a:xfrm>
              <a:off x="7747000" y="3141663"/>
              <a:ext cx="314325" cy="312737"/>
            </a:xfrm>
            <a:custGeom>
              <a:avLst/>
              <a:gdLst>
                <a:gd name="T0" fmla="*/ 864 w 873"/>
                <a:gd name="T1" fmla="*/ 498 h 868"/>
                <a:gd name="T2" fmla="*/ 864 w 873"/>
                <a:gd name="T3" fmla="*/ 498 h 868"/>
                <a:gd name="T4" fmla="*/ 181 w 873"/>
                <a:gd name="T5" fmla="*/ 498 h 868"/>
                <a:gd name="T6" fmla="*/ 267 w 873"/>
                <a:gd name="T7" fmla="*/ 650 h 868"/>
                <a:gd name="T8" fmla="*/ 456 w 873"/>
                <a:gd name="T9" fmla="*/ 706 h 868"/>
                <a:gd name="T10" fmla="*/ 592 w 873"/>
                <a:gd name="T11" fmla="*/ 684 h 868"/>
                <a:gd name="T12" fmla="*/ 700 w 873"/>
                <a:gd name="T13" fmla="*/ 617 h 868"/>
                <a:gd name="T14" fmla="*/ 817 w 873"/>
                <a:gd name="T15" fmla="*/ 725 h 868"/>
                <a:gd name="T16" fmla="*/ 739 w 873"/>
                <a:gd name="T17" fmla="*/ 786 h 868"/>
                <a:gd name="T18" fmla="*/ 650 w 873"/>
                <a:gd name="T19" fmla="*/ 831 h 868"/>
                <a:gd name="T20" fmla="*/ 553 w 873"/>
                <a:gd name="T21" fmla="*/ 859 h 868"/>
                <a:gd name="T22" fmla="*/ 453 w 873"/>
                <a:gd name="T23" fmla="*/ 867 h 868"/>
                <a:gd name="T24" fmla="*/ 267 w 873"/>
                <a:gd name="T25" fmla="*/ 836 h 868"/>
                <a:gd name="T26" fmla="*/ 122 w 873"/>
                <a:gd name="T27" fmla="*/ 748 h 868"/>
                <a:gd name="T28" fmla="*/ 31 w 873"/>
                <a:gd name="T29" fmla="*/ 609 h 868"/>
                <a:gd name="T30" fmla="*/ 0 w 873"/>
                <a:gd name="T31" fmla="*/ 431 h 868"/>
                <a:gd name="T32" fmla="*/ 31 w 873"/>
                <a:gd name="T33" fmla="*/ 256 h 868"/>
                <a:gd name="T34" fmla="*/ 122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4 w 873"/>
                <a:gd name="T53" fmla="*/ 353 h 868"/>
                <a:gd name="T54" fmla="*/ 619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1" y="498"/>
                    <a:pt x="181" y="498"/>
                    <a:pt x="181" y="498"/>
                  </a:cubicBezTo>
                  <a:cubicBezTo>
                    <a:pt x="189" y="562"/>
                    <a:pt x="219" y="611"/>
                    <a:pt x="267" y="650"/>
                  </a:cubicBezTo>
                  <a:cubicBezTo>
                    <a:pt x="317" y="686"/>
                    <a:pt x="381" y="706"/>
                    <a:pt x="456" y="706"/>
                  </a:cubicBezTo>
                  <a:cubicBezTo>
                    <a:pt x="500" y="706"/>
                    <a:pt x="544" y="698"/>
                    <a:pt x="592" y="684"/>
                  </a:cubicBezTo>
                  <a:cubicBezTo>
                    <a:pt x="639" y="667"/>
                    <a:pt x="675" y="645"/>
                    <a:pt x="700" y="617"/>
                  </a:cubicBezTo>
                  <a:cubicBezTo>
                    <a:pt x="817" y="725"/>
                    <a:pt x="817" y="725"/>
                    <a:pt x="817" y="725"/>
                  </a:cubicBezTo>
                  <a:cubicBezTo>
                    <a:pt x="794" y="750"/>
                    <a:pt x="769" y="770"/>
                    <a:pt x="739" y="786"/>
                  </a:cubicBezTo>
                  <a:cubicBezTo>
                    <a:pt x="711" y="806"/>
                    <a:pt x="681" y="820"/>
                    <a:pt x="650" y="831"/>
                  </a:cubicBezTo>
                  <a:cubicBezTo>
                    <a:pt x="619" y="845"/>
                    <a:pt x="586" y="853"/>
                    <a:pt x="553" y="859"/>
                  </a:cubicBezTo>
                  <a:cubicBezTo>
                    <a:pt x="519" y="864"/>
                    <a:pt x="486" y="867"/>
                    <a:pt x="453" y="867"/>
                  </a:cubicBezTo>
                  <a:cubicBezTo>
                    <a:pt x="383" y="867"/>
                    <a:pt x="322" y="856"/>
                    <a:pt x="267" y="836"/>
                  </a:cubicBezTo>
                  <a:cubicBezTo>
                    <a:pt x="208" y="814"/>
                    <a:pt x="161" y="786"/>
                    <a:pt x="122" y="748"/>
                  </a:cubicBezTo>
                  <a:cubicBezTo>
                    <a:pt x="83" y="709"/>
                    <a:pt x="53" y="664"/>
                    <a:pt x="31" y="609"/>
                  </a:cubicBezTo>
                  <a:cubicBezTo>
                    <a:pt x="11" y="556"/>
                    <a:pt x="0" y="495"/>
                    <a:pt x="0" y="431"/>
                  </a:cubicBezTo>
                  <a:cubicBezTo>
                    <a:pt x="0" y="367"/>
                    <a:pt x="11" y="309"/>
                    <a:pt x="31" y="256"/>
                  </a:cubicBezTo>
                  <a:cubicBezTo>
                    <a:pt x="53" y="203"/>
                    <a:pt x="83" y="159"/>
                    <a:pt x="122" y="120"/>
                  </a:cubicBezTo>
                  <a:cubicBezTo>
                    <a:pt x="161" y="84"/>
                    <a:pt x="208" y="53"/>
                    <a:pt x="261" y="31"/>
                  </a:cubicBezTo>
                  <a:cubicBezTo>
                    <a:pt x="314" y="12"/>
                    <a:pt x="375" y="0"/>
                    <a:pt x="442" y="0"/>
                  </a:cubicBezTo>
                  <a:cubicBezTo>
                    <a:pt x="508" y="0"/>
                    <a:pt x="572" y="12"/>
                    <a:pt x="628" y="31"/>
                  </a:cubicBezTo>
                  <a:cubicBezTo>
                    <a:pt x="681" y="53"/>
                    <a:pt x="728" y="84"/>
                    <a:pt x="767" y="125"/>
                  </a:cubicBezTo>
                  <a:cubicBezTo>
                    <a:pt x="806" y="164"/>
                    <a:pt x="833" y="217"/>
                    <a:pt x="850" y="278"/>
                  </a:cubicBezTo>
                  <a:cubicBezTo>
                    <a:pt x="867" y="342"/>
                    <a:pt x="872" y="414"/>
                    <a:pt x="864" y="498"/>
                  </a:cubicBezTo>
                  <a:lnTo>
                    <a:pt x="186" y="353"/>
                  </a:lnTo>
                  <a:lnTo>
                    <a:pt x="186" y="353"/>
                  </a:lnTo>
                  <a:cubicBezTo>
                    <a:pt x="694" y="353"/>
                    <a:pt x="694" y="353"/>
                    <a:pt x="694" y="353"/>
                  </a:cubicBezTo>
                  <a:cubicBezTo>
                    <a:pt x="689" y="287"/>
                    <a:pt x="664" y="236"/>
                    <a:pt x="619" y="203"/>
                  </a:cubicBezTo>
                  <a:cubicBezTo>
                    <a:pt x="575" y="170"/>
                    <a:pt x="519" y="153"/>
                    <a:pt x="447" y="153"/>
                  </a:cubicBezTo>
                  <a:cubicBezTo>
                    <a:pt x="381"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2" name="Freeform 19">
              <a:extLst>
                <a:ext uri="{FF2B5EF4-FFF2-40B4-BE49-F238E27FC236}">
                  <a16:creationId xmlns:a16="http://schemas.microsoft.com/office/drawing/2014/main" id="{DC3296C0-00C5-BF4D-A6F6-652287B3002A}"/>
                </a:ext>
              </a:extLst>
            </p:cNvPr>
            <p:cNvSpPr>
              <a:spLocks noChangeArrowheads="1"/>
            </p:cNvSpPr>
            <p:nvPr userDrawn="1"/>
          </p:nvSpPr>
          <p:spPr bwMode="auto">
            <a:xfrm>
              <a:off x="1828800" y="3743325"/>
              <a:ext cx="323850" cy="311150"/>
            </a:xfrm>
            <a:custGeom>
              <a:avLst/>
              <a:gdLst>
                <a:gd name="T0" fmla="*/ 722 w 901"/>
                <a:gd name="T1" fmla="*/ 147 h 865"/>
                <a:gd name="T2" fmla="*/ 722 w 901"/>
                <a:gd name="T3" fmla="*/ 147 h 865"/>
                <a:gd name="T4" fmla="*/ 728 w 901"/>
                <a:gd name="T5" fmla="*/ 17 h 865"/>
                <a:gd name="T6" fmla="*/ 900 w 901"/>
                <a:gd name="T7" fmla="*/ 17 h 865"/>
                <a:gd name="T8" fmla="*/ 900 w 901"/>
                <a:gd name="T9" fmla="*/ 842 h 865"/>
                <a:gd name="T10" fmla="*/ 731 w 901"/>
                <a:gd name="T11" fmla="*/ 842 h 865"/>
                <a:gd name="T12" fmla="*/ 722 w 901"/>
                <a:gd name="T13" fmla="*/ 709 h 865"/>
                <a:gd name="T14" fmla="*/ 669 w 901"/>
                <a:gd name="T15" fmla="*/ 778 h 865"/>
                <a:gd name="T16" fmla="*/ 597 w 901"/>
                <a:gd name="T17" fmla="*/ 825 h 865"/>
                <a:gd name="T18" fmla="*/ 514 w 901"/>
                <a:gd name="T19" fmla="*/ 856 h 865"/>
                <a:gd name="T20" fmla="*/ 433 w 901"/>
                <a:gd name="T21" fmla="*/ 864 h 865"/>
                <a:gd name="T22" fmla="*/ 261 w 901"/>
                <a:gd name="T23" fmla="*/ 836 h 865"/>
                <a:gd name="T24" fmla="*/ 125 w 901"/>
                <a:gd name="T25" fmla="*/ 753 h 865"/>
                <a:gd name="T26" fmla="*/ 33 w 901"/>
                <a:gd name="T27" fmla="*/ 617 h 865"/>
                <a:gd name="T28" fmla="*/ 0 w 901"/>
                <a:gd name="T29" fmla="*/ 428 h 865"/>
                <a:gd name="T30" fmla="*/ 36 w 901"/>
                <a:gd name="T31" fmla="*/ 245 h 865"/>
                <a:gd name="T32" fmla="*/ 128 w 901"/>
                <a:gd name="T33" fmla="*/ 111 h 865"/>
                <a:gd name="T34" fmla="*/ 267 w 901"/>
                <a:gd name="T35" fmla="*/ 28 h 865"/>
                <a:gd name="T36" fmla="*/ 436 w 901"/>
                <a:gd name="T37" fmla="*/ 0 h 865"/>
                <a:gd name="T38" fmla="*/ 606 w 901"/>
                <a:gd name="T39" fmla="*/ 39 h 865"/>
                <a:gd name="T40" fmla="*/ 722 w 901"/>
                <a:gd name="T41" fmla="*/ 147 h 865"/>
                <a:gd name="T42" fmla="*/ 450 w 901"/>
                <a:gd name="T43" fmla="*/ 156 h 865"/>
                <a:gd name="T44" fmla="*/ 450 w 901"/>
                <a:gd name="T45" fmla="*/ 156 h 865"/>
                <a:gd name="T46" fmla="*/ 344 w 901"/>
                <a:gd name="T47" fmla="*/ 175 h 865"/>
                <a:gd name="T48" fmla="*/ 258 w 901"/>
                <a:gd name="T49" fmla="*/ 231 h 865"/>
                <a:gd name="T50" fmla="*/ 197 w 901"/>
                <a:gd name="T51" fmla="*/ 317 h 865"/>
                <a:gd name="T52" fmla="*/ 178 w 901"/>
                <a:gd name="T53" fmla="*/ 428 h 865"/>
                <a:gd name="T54" fmla="*/ 197 w 901"/>
                <a:gd name="T55" fmla="*/ 545 h 865"/>
                <a:gd name="T56" fmla="*/ 258 w 901"/>
                <a:gd name="T57" fmla="*/ 631 h 865"/>
                <a:gd name="T58" fmla="*/ 344 w 901"/>
                <a:gd name="T59" fmla="*/ 684 h 865"/>
                <a:gd name="T60" fmla="*/ 450 w 901"/>
                <a:gd name="T61" fmla="*/ 703 h 865"/>
                <a:gd name="T62" fmla="*/ 600 w 901"/>
                <a:gd name="T63" fmla="*/ 664 h 865"/>
                <a:gd name="T64" fmla="*/ 692 w 901"/>
                <a:gd name="T65" fmla="*/ 561 h 865"/>
                <a:gd name="T66" fmla="*/ 722 w 901"/>
                <a:gd name="T67" fmla="*/ 431 h 865"/>
                <a:gd name="T68" fmla="*/ 692 w 901"/>
                <a:gd name="T69" fmla="*/ 298 h 865"/>
                <a:gd name="T70" fmla="*/ 600 w 901"/>
                <a:gd name="T71" fmla="*/ 198 h 865"/>
                <a:gd name="T72" fmla="*/ 450 w 901"/>
                <a:gd name="T73" fmla="*/ 156 h 865"/>
                <a:gd name="T74" fmla="*/ 722 w 901"/>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1" h="865">
                  <a:moveTo>
                    <a:pt x="722" y="147"/>
                  </a:moveTo>
                  <a:lnTo>
                    <a:pt x="722" y="147"/>
                  </a:lnTo>
                  <a:cubicBezTo>
                    <a:pt x="728" y="17"/>
                    <a:pt x="728" y="17"/>
                    <a:pt x="728" y="17"/>
                  </a:cubicBezTo>
                  <a:cubicBezTo>
                    <a:pt x="900" y="17"/>
                    <a:pt x="900" y="17"/>
                    <a:pt x="900" y="17"/>
                  </a:cubicBezTo>
                  <a:cubicBezTo>
                    <a:pt x="900" y="842"/>
                    <a:pt x="900" y="842"/>
                    <a:pt x="900" y="842"/>
                  </a:cubicBezTo>
                  <a:cubicBezTo>
                    <a:pt x="731" y="842"/>
                    <a:pt x="731" y="842"/>
                    <a:pt x="731" y="842"/>
                  </a:cubicBezTo>
                  <a:cubicBezTo>
                    <a:pt x="722" y="709"/>
                    <a:pt x="722" y="709"/>
                    <a:pt x="722" y="709"/>
                  </a:cubicBezTo>
                  <a:cubicBezTo>
                    <a:pt x="708" y="736"/>
                    <a:pt x="692" y="759"/>
                    <a:pt x="669" y="778"/>
                  </a:cubicBezTo>
                  <a:cubicBezTo>
                    <a:pt x="647" y="797"/>
                    <a:pt x="622" y="814"/>
                    <a:pt x="597" y="825"/>
                  </a:cubicBezTo>
                  <a:cubicBezTo>
                    <a:pt x="569" y="839"/>
                    <a:pt x="542" y="847"/>
                    <a:pt x="514" y="856"/>
                  </a:cubicBezTo>
                  <a:cubicBezTo>
                    <a:pt x="486" y="861"/>
                    <a:pt x="458" y="864"/>
                    <a:pt x="433" y="864"/>
                  </a:cubicBezTo>
                  <a:cubicBezTo>
                    <a:pt x="372" y="864"/>
                    <a:pt x="314" y="853"/>
                    <a:pt x="261" y="836"/>
                  </a:cubicBezTo>
                  <a:cubicBezTo>
                    <a:pt x="208" y="817"/>
                    <a:pt x="164" y="789"/>
                    <a:pt x="125" y="753"/>
                  </a:cubicBezTo>
                  <a:cubicBezTo>
                    <a:pt x="86" y="714"/>
                    <a:pt x="56" y="670"/>
                    <a:pt x="33" y="617"/>
                  </a:cubicBezTo>
                  <a:cubicBezTo>
                    <a:pt x="11" y="561"/>
                    <a:pt x="0" y="500"/>
                    <a:pt x="0" y="428"/>
                  </a:cubicBezTo>
                  <a:cubicBezTo>
                    <a:pt x="0" y="361"/>
                    <a:pt x="11" y="300"/>
                    <a:pt x="36" y="245"/>
                  </a:cubicBezTo>
                  <a:cubicBezTo>
                    <a:pt x="58" y="192"/>
                    <a:pt x="89" y="147"/>
                    <a:pt x="128" y="111"/>
                  </a:cubicBezTo>
                  <a:cubicBezTo>
                    <a:pt x="167" y="75"/>
                    <a:pt x="214" y="48"/>
                    <a:pt x="267" y="28"/>
                  </a:cubicBezTo>
                  <a:cubicBezTo>
                    <a:pt x="319" y="9"/>
                    <a:pt x="375" y="0"/>
                    <a:pt x="436" y="0"/>
                  </a:cubicBezTo>
                  <a:cubicBezTo>
                    <a:pt x="497" y="0"/>
                    <a:pt x="553" y="14"/>
                    <a:pt x="606" y="39"/>
                  </a:cubicBezTo>
                  <a:cubicBezTo>
                    <a:pt x="658" y="64"/>
                    <a:pt x="697" y="103"/>
                    <a:pt x="722" y="147"/>
                  </a:cubicBezTo>
                  <a:lnTo>
                    <a:pt x="450" y="156"/>
                  </a:lnTo>
                  <a:lnTo>
                    <a:pt x="450" y="156"/>
                  </a:lnTo>
                  <a:cubicBezTo>
                    <a:pt x="414" y="156"/>
                    <a:pt x="378" y="164"/>
                    <a:pt x="344" y="175"/>
                  </a:cubicBezTo>
                  <a:cubicBezTo>
                    <a:pt x="311" y="189"/>
                    <a:pt x="283" y="206"/>
                    <a:pt x="258" y="231"/>
                  </a:cubicBezTo>
                  <a:cubicBezTo>
                    <a:pt x="233" y="253"/>
                    <a:pt x="211" y="284"/>
                    <a:pt x="197" y="317"/>
                  </a:cubicBezTo>
                  <a:cubicBezTo>
                    <a:pt x="183" y="350"/>
                    <a:pt x="178" y="386"/>
                    <a:pt x="178" y="428"/>
                  </a:cubicBezTo>
                  <a:cubicBezTo>
                    <a:pt x="178" y="472"/>
                    <a:pt x="183" y="509"/>
                    <a:pt x="197" y="545"/>
                  </a:cubicBezTo>
                  <a:cubicBezTo>
                    <a:pt x="211" y="578"/>
                    <a:pt x="233" y="606"/>
                    <a:pt x="258" y="631"/>
                  </a:cubicBezTo>
                  <a:cubicBezTo>
                    <a:pt x="283" y="653"/>
                    <a:pt x="311" y="672"/>
                    <a:pt x="344" y="684"/>
                  </a:cubicBezTo>
                  <a:cubicBezTo>
                    <a:pt x="378" y="698"/>
                    <a:pt x="414" y="703"/>
                    <a:pt x="450" y="703"/>
                  </a:cubicBezTo>
                  <a:cubicBezTo>
                    <a:pt x="511" y="703"/>
                    <a:pt x="561" y="689"/>
                    <a:pt x="600" y="664"/>
                  </a:cubicBezTo>
                  <a:cubicBezTo>
                    <a:pt x="642" y="636"/>
                    <a:pt x="672" y="603"/>
                    <a:pt x="692" y="561"/>
                  </a:cubicBezTo>
                  <a:cubicBezTo>
                    <a:pt x="714" y="522"/>
                    <a:pt x="722" y="478"/>
                    <a:pt x="722" y="431"/>
                  </a:cubicBezTo>
                  <a:cubicBezTo>
                    <a:pt x="722" y="384"/>
                    <a:pt x="714" y="339"/>
                    <a:pt x="692" y="298"/>
                  </a:cubicBezTo>
                  <a:cubicBezTo>
                    <a:pt x="672" y="259"/>
                    <a:pt x="642" y="223"/>
                    <a:pt x="600" y="198"/>
                  </a:cubicBezTo>
                  <a:cubicBezTo>
                    <a:pt x="561" y="170"/>
                    <a:pt x="511"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3" name="Freeform 20">
              <a:extLst>
                <a:ext uri="{FF2B5EF4-FFF2-40B4-BE49-F238E27FC236}">
                  <a16:creationId xmlns:a16="http://schemas.microsoft.com/office/drawing/2014/main" id="{E82F8AD2-BFCD-CE41-BBB0-1559F4962DCA}"/>
                </a:ext>
              </a:extLst>
            </p:cNvPr>
            <p:cNvSpPr>
              <a:spLocks noChangeArrowheads="1"/>
            </p:cNvSpPr>
            <p:nvPr userDrawn="1"/>
          </p:nvSpPr>
          <p:spPr bwMode="auto">
            <a:xfrm>
              <a:off x="2214563" y="3743325"/>
              <a:ext cx="266700" cy="312738"/>
            </a:xfrm>
            <a:custGeom>
              <a:avLst/>
              <a:gdLst>
                <a:gd name="T0" fmla="*/ 603 w 743"/>
                <a:gd name="T1" fmla="*/ 222 h 870"/>
                <a:gd name="T2" fmla="*/ 603 w 743"/>
                <a:gd name="T3" fmla="*/ 222 h 870"/>
                <a:gd name="T4" fmla="*/ 500 w 743"/>
                <a:gd name="T5" fmla="*/ 161 h 870"/>
                <a:gd name="T6" fmla="*/ 381 w 743"/>
                <a:gd name="T7" fmla="*/ 147 h 870"/>
                <a:gd name="T8" fmla="*/ 250 w 743"/>
                <a:gd name="T9" fmla="*/ 169 h 870"/>
                <a:gd name="T10" fmla="*/ 203 w 743"/>
                <a:gd name="T11" fmla="*/ 244 h 870"/>
                <a:gd name="T12" fmla="*/ 253 w 743"/>
                <a:gd name="T13" fmla="*/ 319 h 870"/>
                <a:gd name="T14" fmla="*/ 386 w 743"/>
                <a:gd name="T15" fmla="*/ 349 h 870"/>
                <a:gd name="T16" fmla="*/ 506 w 743"/>
                <a:gd name="T17" fmla="*/ 366 h 870"/>
                <a:gd name="T18" fmla="*/ 622 w 743"/>
                <a:gd name="T19" fmla="*/ 405 h 870"/>
                <a:gd name="T20" fmla="*/ 708 w 743"/>
                <a:gd name="T21" fmla="*/ 480 h 870"/>
                <a:gd name="T22" fmla="*/ 742 w 743"/>
                <a:gd name="T23" fmla="*/ 608 h 870"/>
                <a:gd name="T24" fmla="*/ 717 w 743"/>
                <a:gd name="T25" fmla="*/ 713 h 870"/>
                <a:gd name="T26" fmla="*/ 645 w 743"/>
                <a:gd name="T27" fmla="*/ 797 h 870"/>
                <a:gd name="T28" fmla="*/ 531 w 743"/>
                <a:gd name="T29" fmla="*/ 849 h 870"/>
                <a:gd name="T30" fmla="*/ 383 w 743"/>
                <a:gd name="T31" fmla="*/ 869 h 870"/>
                <a:gd name="T32" fmla="*/ 184 w 743"/>
                <a:gd name="T33" fmla="*/ 838 h 870"/>
                <a:gd name="T34" fmla="*/ 0 w 743"/>
                <a:gd name="T35" fmla="*/ 716 h 870"/>
                <a:gd name="T36" fmla="*/ 92 w 743"/>
                <a:gd name="T37" fmla="*/ 597 h 870"/>
                <a:gd name="T38" fmla="*/ 231 w 743"/>
                <a:gd name="T39" fmla="*/ 688 h 870"/>
                <a:gd name="T40" fmla="*/ 386 w 743"/>
                <a:gd name="T41" fmla="*/ 719 h 870"/>
                <a:gd name="T42" fmla="*/ 450 w 743"/>
                <a:gd name="T43" fmla="*/ 713 h 870"/>
                <a:gd name="T44" fmla="*/ 506 w 743"/>
                <a:gd name="T45" fmla="*/ 694 h 870"/>
                <a:gd name="T46" fmla="*/ 550 w 743"/>
                <a:gd name="T47" fmla="*/ 661 h 870"/>
                <a:gd name="T48" fmla="*/ 567 w 743"/>
                <a:gd name="T49" fmla="*/ 611 h 870"/>
                <a:gd name="T50" fmla="*/ 517 w 743"/>
                <a:gd name="T51" fmla="*/ 530 h 870"/>
                <a:gd name="T52" fmla="*/ 372 w 743"/>
                <a:gd name="T53" fmla="*/ 497 h 870"/>
                <a:gd name="T54" fmla="*/ 250 w 743"/>
                <a:gd name="T55" fmla="*/ 477 h 870"/>
                <a:gd name="T56" fmla="*/ 142 w 743"/>
                <a:gd name="T57" fmla="*/ 436 h 870"/>
                <a:gd name="T58" fmla="*/ 61 w 743"/>
                <a:gd name="T59" fmla="*/ 363 h 870"/>
                <a:gd name="T60" fmla="*/ 28 w 743"/>
                <a:gd name="T61" fmla="*/ 249 h 870"/>
                <a:gd name="T62" fmla="*/ 61 w 743"/>
                <a:gd name="T63" fmla="*/ 133 h 870"/>
                <a:gd name="T64" fmla="*/ 145 w 743"/>
                <a:gd name="T65" fmla="*/ 55 h 870"/>
                <a:gd name="T66" fmla="*/ 258 w 743"/>
                <a:gd name="T67" fmla="*/ 11 h 870"/>
                <a:gd name="T68" fmla="*/ 378 w 743"/>
                <a:gd name="T69" fmla="*/ 0 h 870"/>
                <a:gd name="T70" fmla="*/ 553 w 743"/>
                <a:gd name="T71" fmla="*/ 22 h 870"/>
                <a:gd name="T72" fmla="*/ 703 w 743"/>
                <a:gd name="T73" fmla="*/ 108 h 870"/>
                <a:gd name="T74" fmla="*/ 603 w 743"/>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3" h="870">
                  <a:moveTo>
                    <a:pt x="603" y="222"/>
                  </a:moveTo>
                  <a:lnTo>
                    <a:pt x="603" y="222"/>
                  </a:lnTo>
                  <a:cubicBezTo>
                    <a:pt x="572" y="191"/>
                    <a:pt x="536" y="172"/>
                    <a:pt x="500" y="161"/>
                  </a:cubicBezTo>
                  <a:cubicBezTo>
                    <a:pt x="464" y="149"/>
                    <a:pt x="425" y="147"/>
                    <a:pt x="381" y="147"/>
                  </a:cubicBezTo>
                  <a:cubicBezTo>
                    <a:pt x="328" y="144"/>
                    <a:pt x="284" y="152"/>
                    <a:pt x="250" y="169"/>
                  </a:cubicBezTo>
                  <a:cubicBezTo>
                    <a:pt x="220" y="188"/>
                    <a:pt x="203" y="211"/>
                    <a:pt x="203" y="244"/>
                  </a:cubicBezTo>
                  <a:cubicBezTo>
                    <a:pt x="203" y="280"/>
                    <a:pt x="220" y="302"/>
                    <a:pt x="253" y="319"/>
                  </a:cubicBezTo>
                  <a:cubicBezTo>
                    <a:pt x="286" y="333"/>
                    <a:pt x="331" y="344"/>
                    <a:pt x="386" y="349"/>
                  </a:cubicBezTo>
                  <a:cubicBezTo>
                    <a:pt x="425" y="352"/>
                    <a:pt x="464" y="358"/>
                    <a:pt x="506" y="366"/>
                  </a:cubicBezTo>
                  <a:cubicBezTo>
                    <a:pt x="550" y="372"/>
                    <a:pt x="586" y="386"/>
                    <a:pt x="622" y="405"/>
                  </a:cubicBezTo>
                  <a:cubicBezTo>
                    <a:pt x="658" y="422"/>
                    <a:pt x="686" y="447"/>
                    <a:pt x="708" y="480"/>
                  </a:cubicBezTo>
                  <a:cubicBezTo>
                    <a:pt x="731" y="513"/>
                    <a:pt x="742" y="555"/>
                    <a:pt x="742" y="608"/>
                  </a:cubicBezTo>
                  <a:cubicBezTo>
                    <a:pt x="742" y="647"/>
                    <a:pt x="733" y="683"/>
                    <a:pt x="717" y="713"/>
                  </a:cubicBezTo>
                  <a:cubicBezTo>
                    <a:pt x="700" y="747"/>
                    <a:pt x="675" y="774"/>
                    <a:pt x="645" y="797"/>
                  </a:cubicBezTo>
                  <a:cubicBezTo>
                    <a:pt x="614" y="819"/>
                    <a:pt x="575" y="838"/>
                    <a:pt x="531" y="849"/>
                  </a:cubicBezTo>
                  <a:cubicBezTo>
                    <a:pt x="486" y="863"/>
                    <a:pt x="439" y="869"/>
                    <a:pt x="383" y="869"/>
                  </a:cubicBezTo>
                  <a:cubicBezTo>
                    <a:pt x="317" y="869"/>
                    <a:pt x="247" y="858"/>
                    <a:pt x="184" y="838"/>
                  </a:cubicBezTo>
                  <a:cubicBezTo>
                    <a:pt x="117" y="819"/>
                    <a:pt x="56" y="777"/>
                    <a:pt x="0" y="716"/>
                  </a:cubicBezTo>
                  <a:cubicBezTo>
                    <a:pt x="92" y="597"/>
                    <a:pt x="92" y="597"/>
                    <a:pt x="92" y="597"/>
                  </a:cubicBezTo>
                  <a:cubicBezTo>
                    <a:pt x="131" y="638"/>
                    <a:pt x="178" y="669"/>
                    <a:pt x="231" y="688"/>
                  </a:cubicBezTo>
                  <a:cubicBezTo>
                    <a:pt x="286" y="708"/>
                    <a:pt x="336" y="719"/>
                    <a:pt x="386" y="719"/>
                  </a:cubicBezTo>
                  <a:cubicBezTo>
                    <a:pt x="408" y="719"/>
                    <a:pt x="428" y="716"/>
                    <a:pt x="450" y="713"/>
                  </a:cubicBezTo>
                  <a:cubicBezTo>
                    <a:pt x="470" y="708"/>
                    <a:pt x="489" y="702"/>
                    <a:pt x="506" y="694"/>
                  </a:cubicBezTo>
                  <a:cubicBezTo>
                    <a:pt x="522" y="686"/>
                    <a:pt x="539" y="674"/>
                    <a:pt x="550" y="661"/>
                  </a:cubicBezTo>
                  <a:cubicBezTo>
                    <a:pt x="561" y="647"/>
                    <a:pt x="567" y="630"/>
                    <a:pt x="567" y="611"/>
                  </a:cubicBezTo>
                  <a:cubicBezTo>
                    <a:pt x="567" y="574"/>
                    <a:pt x="550" y="547"/>
                    <a:pt x="517" y="530"/>
                  </a:cubicBezTo>
                  <a:cubicBezTo>
                    <a:pt x="483" y="513"/>
                    <a:pt x="433" y="502"/>
                    <a:pt x="372" y="497"/>
                  </a:cubicBezTo>
                  <a:cubicBezTo>
                    <a:pt x="331" y="494"/>
                    <a:pt x="292" y="486"/>
                    <a:pt x="250" y="477"/>
                  </a:cubicBezTo>
                  <a:cubicBezTo>
                    <a:pt x="211" y="469"/>
                    <a:pt x="175" y="455"/>
                    <a:pt x="142" y="436"/>
                  </a:cubicBezTo>
                  <a:cubicBezTo>
                    <a:pt x="109" y="416"/>
                    <a:pt x="81" y="394"/>
                    <a:pt x="61" y="363"/>
                  </a:cubicBezTo>
                  <a:cubicBezTo>
                    <a:pt x="39" y="333"/>
                    <a:pt x="28" y="294"/>
                    <a:pt x="28" y="249"/>
                  </a:cubicBezTo>
                  <a:cubicBezTo>
                    <a:pt x="28" y="202"/>
                    <a:pt x="39" y="166"/>
                    <a:pt x="61" y="133"/>
                  </a:cubicBezTo>
                  <a:cubicBezTo>
                    <a:pt x="84" y="102"/>
                    <a:pt x="111" y="74"/>
                    <a:pt x="145" y="55"/>
                  </a:cubicBezTo>
                  <a:cubicBezTo>
                    <a:pt x="178" y="36"/>
                    <a:pt x="217" y="22"/>
                    <a:pt x="258" y="11"/>
                  </a:cubicBezTo>
                  <a:cubicBezTo>
                    <a:pt x="297" y="2"/>
                    <a:pt x="339" y="0"/>
                    <a:pt x="378" y="0"/>
                  </a:cubicBezTo>
                  <a:cubicBezTo>
                    <a:pt x="445" y="0"/>
                    <a:pt x="503" y="8"/>
                    <a:pt x="553" y="22"/>
                  </a:cubicBezTo>
                  <a:cubicBezTo>
                    <a:pt x="606" y="38"/>
                    <a:pt x="656" y="66"/>
                    <a:pt x="703" y="108"/>
                  </a:cubicBezTo>
                  <a:lnTo>
                    <a:pt x="603"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4" name="Freeform 21">
              <a:extLst>
                <a:ext uri="{FF2B5EF4-FFF2-40B4-BE49-F238E27FC236}">
                  <a16:creationId xmlns:a16="http://schemas.microsoft.com/office/drawing/2014/main" id="{61AB1DB2-E43E-514B-92CA-CEB287F6494F}"/>
                </a:ext>
              </a:extLst>
            </p:cNvPr>
            <p:cNvSpPr>
              <a:spLocks noChangeArrowheads="1"/>
            </p:cNvSpPr>
            <p:nvPr userDrawn="1"/>
          </p:nvSpPr>
          <p:spPr bwMode="auto">
            <a:xfrm>
              <a:off x="2698750" y="3749675"/>
              <a:ext cx="63500" cy="298450"/>
            </a:xfrm>
            <a:custGeom>
              <a:avLst/>
              <a:gdLst>
                <a:gd name="T0" fmla="*/ 175 w 176"/>
                <a:gd name="T1" fmla="*/ 828 h 829"/>
                <a:gd name="T2" fmla="*/ 0 w 176"/>
                <a:gd name="T3" fmla="*/ 828 h 829"/>
                <a:gd name="T4" fmla="*/ 0 w 176"/>
                <a:gd name="T5" fmla="*/ 0 h 829"/>
                <a:gd name="T6" fmla="*/ 175 w 176"/>
                <a:gd name="T7" fmla="*/ 0 h 829"/>
                <a:gd name="T8" fmla="*/ 175 w 176"/>
                <a:gd name="T9" fmla="*/ 828 h 829"/>
              </a:gdLst>
              <a:ahLst/>
              <a:cxnLst>
                <a:cxn ang="0">
                  <a:pos x="T0" y="T1"/>
                </a:cxn>
                <a:cxn ang="0">
                  <a:pos x="T2" y="T3"/>
                </a:cxn>
                <a:cxn ang="0">
                  <a:pos x="T4" y="T5"/>
                </a:cxn>
                <a:cxn ang="0">
                  <a:pos x="T6" y="T7"/>
                </a:cxn>
                <a:cxn ang="0">
                  <a:pos x="T8" y="T9"/>
                </a:cxn>
              </a:cxnLst>
              <a:rect l="0" t="0" r="r" b="b"/>
              <a:pathLst>
                <a:path w="176" h="829">
                  <a:moveTo>
                    <a:pt x="175" y="828"/>
                  </a:moveTo>
                  <a:lnTo>
                    <a:pt x="0" y="828"/>
                  </a:lnTo>
                  <a:lnTo>
                    <a:pt x="0" y="0"/>
                  </a:lnTo>
                  <a:lnTo>
                    <a:pt x="175" y="0"/>
                  </a:lnTo>
                  <a:lnTo>
                    <a:pt x="175" y="82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5" name="Freeform 22">
              <a:extLst>
                <a:ext uri="{FF2B5EF4-FFF2-40B4-BE49-F238E27FC236}">
                  <a16:creationId xmlns:a16="http://schemas.microsoft.com/office/drawing/2014/main" id="{CFCAC116-9040-2F48-B9AB-C7BCC5BA35A9}"/>
                </a:ext>
              </a:extLst>
            </p:cNvPr>
            <p:cNvSpPr>
              <a:spLocks noChangeArrowheads="1"/>
            </p:cNvSpPr>
            <p:nvPr userDrawn="1"/>
          </p:nvSpPr>
          <p:spPr bwMode="auto">
            <a:xfrm>
              <a:off x="2822575" y="3665538"/>
              <a:ext cx="223838" cy="385762"/>
            </a:xfrm>
            <a:custGeom>
              <a:avLst/>
              <a:gdLst>
                <a:gd name="T0" fmla="*/ 342 w 620"/>
                <a:gd name="T1" fmla="*/ 0 h 1073"/>
                <a:gd name="T2" fmla="*/ 342 w 620"/>
                <a:gd name="T3" fmla="*/ 0 h 1073"/>
                <a:gd name="T4" fmla="*/ 342 w 620"/>
                <a:gd name="T5" fmla="*/ 239 h 1073"/>
                <a:gd name="T6" fmla="*/ 586 w 620"/>
                <a:gd name="T7" fmla="*/ 239 h 1073"/>
                <a:gd name="T8" fmla="*/ 586 w 620"/>
                <a:gd name="T9" fmla="*/ 389 h 1073"/>
                <a:gd name="T10" fmla="*/ 339 w 620"/>
                <a:gd name="T11" fmla="*/ 389 h 1073"/>
                <a:gd name="T12" fmla="*/ 339 w 620"/>
                <a:gd name="T13" fmla="*/ 780 h 1073"/>
                <a:gd name="T14" fmla="*/ 369 w 620"/>
                <a:gd name="T15" fmla="*/ 880 h 1073"/>
                <a:gd name="T16" fmla="*/ 461 w 620"/>
                <a:gd name="T17" fmla="*/ 917 h 1073"/>
                <a:gd name="T18" fmla="*/ 514 w 620"/>
                <a:gd name="T19" fmla="*/ 908 h 1073"/>
                <a:gd name="T20" fmla="*/ 566 w 620"/>
                <a:gd name="T21" fmla="*/ 886 h 1073"/>
                <a:gd name="T22" fmla="*/ 619 w 620"/>
                <a:gd name="T23" fmla="*/ 1033 h 1073"/>
                <a:gd name="T24" fmla="*/ 533 w 620"/>
                <a:gd name="T25" fmla="*/ 1061 h 1073"/>
                <a:gd name="T26" fmla="*/ 450 w 620"/>
                <a:gd name="T27" fmla="*/ 1072 h 1073"/>
                <a:gd name="T28" fmla="*/ 236 w 620"/>
                <a:gd name="T29" fmla="*/ 1000 h 1073"/>
                <a:gd name="T30" fmla="*/ 164 w 620"/>
                <a:gd name="T31" fmla="*/ 780 h 1073"/>
                <a:gd name="T32" fmla="*/ 164 w 620"/>
                <a:gd name="T33" fmla="*/ 389 h 1073"/>
                <a:gd name="T34" fmla="*/ 0 w 620"/>
                <a:gd name="T35" fmla="*/ 389 h 1073"/>
                <a:gd name="T36" fmla="*/ 0 w 620"/>
                <a:gd name="T37" fmla="*/ 239 h 1073"/>
                <a:gd name="T38" fmla="*/ 164 w 620"/>
                <a:gd name="T39" fmla="*/ 239 h 1073"/>
                <a:gd name="T40" fmla="*/ 164 w 620"/>
                <a:gd name="T41" fmla="*/ 19 h 1073"/>
                <a:gd name="T42" fmla="*/ 342 w 620"/>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0" h="1073">
                  <a:moveTo>
                    <a:pt x="342" y="0"/>
                  </a:moveTo>
                  <a:lnTo>
                    <a:pt x="342" y="0"/>
                  </a:lnTo>
                  <a:cubicBezTo>
                    <a:pt x="342" y="239"/>
                    <a:pt x="342" y="239"/>
                    <a:pt x="342" y="239"/>
                  </a:cubicBezTo>
                  <a:cubicBezTo>
                    <a:pt x="586" y="239"/>
                    <a:pt x="586" y="239"/>
                    <a:pt x="586" y="239"/>
                  </a:cubicBezTo>
                  <a:cubicBezTo>
                    <a:pt x="586" y="389"/>
                    <a:pt x="586" y="389"/>
                    <a:pt x="586" y="389"/>
                  </a:cubicBezTo>
                  <a:cubicBezTo>
                    <a:pt x="339" y="389"/>
                    <a:pt x="339" y="389"/>
                    <a:pt x="339" y="389"/>
                  </a:cubicBezTo>
                  <a:cubicBezTo>
                    <a:pt x="339" y="780"/>
                    <a:pt x="339" y="780"/>
                    <a:pt x="339" y="780"/>
                  </a:cubicBezTo>
                  <a:cubicBezTo>
                    <a:pt x="339" y="825"/>
                    <a:pt x="350" y="858"/>
                    <a:pt x="369" y="880"/>
                  </a:cubicBezTo>
                  <a:cubicBezTo>
                    <a:pt x="389" y="905"/>
                    <a:pt x="419" y="917"/>
                    <a:pt x="461" y="917"/>
                  </a:cubicBezTo>
                  <a:cubicBezTo>
                    <a:pt x="478" y="917"/>
                    <a:pt x="494" y="914"/>
                    <a:pt x="514" y="908"/>
                  </a:cubicBezTo>
                  <a:cubicBezTo>
                    <a:pt x="533" y="903"/>
                    <a:pt x="550" y="897"/>
                    <a:pt x="566" y="886"/>
                  </a:cubicBezTo>
                  <a:cubicBezTo>
                    <a:pt x="619" y="1033"/>
                    <a:pt x="619" y="1033"/>
                    <a:pt x="619" y="1033"/>
                  </a:cubicBezTo>
                  <a:cubicBezTo>
                    <a:pt x="589" y="1047"/>
                    <a:pt x="561" y="1055"/>
                    <a:pt x="533" y="1061"/>
                  </a:cubicBezTo>
                  <a:cubicBezTo>
                    <a:pt x="508" y="1069"/>
                    <a:pt x="480" y="1072"/>
                    <a:pt x="450" y="1072"/>
                  </a:cubicBezTo>
                  <a:cubicBezTo>
                    <a:pt x="358" y="1072"/>
                    <a:pt x="286" y="1050"/>
                    <a:pt x="236" y="1000"/>
                  </a:cubicBezTo>
                  <a:cubicBezTo>
                    <a:pt x="189" y="953"/>
                    <a:pt x="164" y="878"/>
                    <a:pt x="164" y="780"/>
                  </a:cubicBezTo>
                  <a:cubicBezTo>
                    <a:pt x="164" y="389"/>
                    <a:pt x="164" y="389"/>
                    <a:pt x="164" y="389"/>
                  </a:cubicBezTo>
                  <a:cubicBezTo>
                    <a:pt x="0" y="389"/>
                    <a:pt x="0" y="389"/>
                    <a:pt x="0" y="389"/>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6" name="Freeform 23">
              <a:extLst>
                <a:ext uri="{FF2B5EF4-FFF2-40B4-BE49-F238E27FC236}">
                  <a16:creationId xmlns:a16="http://schemas.microsoft.com/office/drawing/2014/main" id="{61F6BBC5-E2A1-1344-BAA4-D2A101D1E8E2}"/>
                </a:ext>
              </a:extLst>
            </p:cNvPr>
            <p:cNvSpPr>
              <a:spLocks noChangeArrowheads="1"/>
            </p:cNvSpPr>
            <p:nvPr userDrawn="1"/>
          </p:nvSpPr>
          <p:spPr bwMode="auto">
            <a:xfrm>
              <a:off x="3208338" y="3749675"/>
              <a:ext cx="492125" cy="298450"/>
            </a:xfrm>
            <a:custGeom>
              <a:avLst/>
              <a:gdLst>
                <a:gd name="T0" fmla="*/ 761 w 1368"/>
                <a:gd name="T1" fmla="*/ 0 h 829"/>
                <a:gd name="T2" fmla="*/ 961 w 1368"/>
                <a:gd name="T3" fmla="*/ 647 h 829"/>
                <a:gd name="T4" fmla="*/ 1169 w 1368"/>
                <a:gd name="T5" fmla="*/ 0 h 829"/>
                <a:gd name="T6" fmla="*/ 1367 w 1368"/>
                <a:gd name="T7" fmla="*/ 0 h 829"/>
                <a:gd name="T8" fmla="*/ 1072 w 1368"/>
                <a:gd name="T9" fmla="*/ 828 h 829"/>
                <a:gd name="T10" fmla="*/ 867 w 1368"/>
                <a:gd name="T11" fmla="*/ 828 h 829"/>
                <a:gd name="T12" fmla="*/ 767 w 1368"/>
                <a:gd name="T13" fmla="*/ 555 h 829"/>
                <a:gd name="T14" fmla="*/ 686 w 1368"/>
                <a:gd name="T15" fmla="*/ 267 h 829"/>
                <a:gd name="T16" fmla="*/ 603 w 1368"/>
                <a:gd name="T17" fmla="*/ 555 h 829"/>
                <a:gd name="T18" fmla="*/ 503 w 1368"/>
                <a:gd name="T19" fmla="*/ 828 h 829"/>
                <a:gd name="T20" fmla="*/ 297 w 1368"/>
                <a:gd name="T21" fmla="*/ 828 h 829"/>
                <a:gd name="T22" fmla="*/ 0 w 1368"/>
                <a:gd name="T23" fmla="*/ 0 h 829"/>
                <a:gd name="T24" fmla="*/ 200 w 1368"/>
                <a:gd name="T25" fmla="*/ 0 h 829"/>
                <a:gd name="T26" fmla="*/ 408 w 1368"/>
                <a:gd name="T27" fmla="*/ 647 h 829"/>
                <a:gd name="T28" fmla="*/ 608 w 1368"/>
                <a:gd name="T29" fmla="*/ 0 h 829"/>
                <a:gd name="T30" fmla="*/ 761 w 1368"/>
                <a:gd name="T31" fmla="*/ 0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8" h="829">
                  <a:moveTo>
                    <a:pt x="761" y="0"/>
                  </a:moveTo>
                  <a:lnTo>
                    <a:pt x="961" y="647"/>
                  </a:lnTo>
                  <a:lnTo>
                    <a:pt x="1169" y="0"/>
                  </a:lnTo>
                  <a:lnTo>
                    <a:pt x="1367" y="0"/>
                  </a:lnTo>
                  <a:lnTo>
                    <a:pt x="1072" y="828"/>
                  </a:lnTo>
                  <a:lnTo>
                    <a:pt x="867" y="828"/>
                  </a:lnTo>
                  <a:lnTo>
                    <a:pt x="767" y="555"/>
                  </a:lnTo>
                  <a:lnTo>
                    <a:pt x="686" y="267"/>
                  </a:lnTo>
                  <a:lnTo>
                    <a:pt x="603" y="555"/>
                  </a:lnTo>
                  <a:lnTo>
                    <a:pt x="503" y="828"/>
                  </a:lnTo>
                  <a:lnTo>
                    <a:pt x="297" y="828"/>
                  </a:lnTo>
                  <a:lnTo>
                    <a:pt x="0" y="0"/>
                  </a:lnTo>
                  <a:lnTo>
                    <a:pt x="200" y="0"/>
                  </a:lnTo>
                  <a:lnTo>
                    <a:pt x="408" y="647"/>
                  </a:lnTo>
                  <a:lnTo>
                    <a:pt x="608" y="0"/>
                  </a:lnTo>
                  <a:lnTo>
                    <a:pt x="761"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7" name="Freeform 24">
              <a:extLst>
                <a:ext uri="{FF2B5EF4-FFF2-40B4-BE49-F238E27FC236}">
                  <a16:creationId xmlns:a16="http://schemas.microsoft.com/office/drawing/2014/main" id="{9D996C5A-C3DD-2E4B-8AA7-D5749EE2521F}"/>
                </a:ext>
              </a:extLst>
            </p:cNvPr>
            <p:cNvSpPr>
              <a:spLocks noChangeArrowheads="1"/>
            </p:cNvSpPr>
            <p:nvPr userDrawn="1"/>
          </p:nvSpPr>
          <p:spPr bwMode="auto">
            <a:xfrm>
              <a:off x="37322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3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8" y="147"/>
                    <a:pt x="127" y="111"/>
                  </a:cubicBezTo>
                  <a:cubicBezTo>
                    <a:pt x="166" y="75"/>
                    <a:pt x="211" y="48"/>
                    <a:pt x="263"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38" y="636"/>
                    <a:pt x="669" y="603"/>
                    <a:pt x="691" y="561"/>
                  </a:cubicBezTo>
                  <a:cubicBezTo>
                    <a:pt x="711" y="522"/>
                    <a:pt x="722" y="478"/>
                    <a:pt x="722" y="431"/>
                  </a:cubicBezTo>
                  <a:cubicBezTo>
                    <a:pt x="722" y="384"/>
                    <a:pt x="711" y="339"/>
                    <a:pt x="691" y="298"/>
                  </a:cubicBezTo>
                  <a:cubicBezTo>
                    <a:pt x="669" y="259"/>
                    <a:pt x="638"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8" name="Freeform 25">
              <a:extLst>
                <a:ext uri="{FF2B5EF4-FFF2-40B4-BE49-F238E27FC236}">
                  <a16:creationId xmlns:a16="http://schemas.microsoft.com/office/drawing/2014/main" id="{FA0F66E9-1CA9-BB45-BCA8-FB287A85103C}"/>
                </a:ext>
              </a:extLst>
            </p:cNvPr>
            <p:cNvSpPr>
              <a:spLocks noChangeArrowheads="1"/>
            </p:cNvSpPr>
            <p:nvPr userDrawn="1"/>
          </p:nvSpPr>
          <p:spPr bwMode="auto">
            <a:xfrm>
              <a:off x="4116388" y="3743325"/>
              <a:ext cx="268287" cy="312738"/>
            </a:xfrm>
            <a:custGeom>
              <a:avLst/>
              <a:gdLst>
                <a:gd name="T0" fmla="*/ 605 w 745"/>
                <a:gd name="T1" fmla="*/ 222 h 870"/>
                <a:gd name="T2" fmla="*/ 605 w 745"/>
                <a:gd name="T3" fmla="*/ 222 h 870"/>
                <a:gd name="T4" fmla="*/ 500 w 745"/>
                <a:gd name="T5" fmla="*/ 161 h 870"/>
                <a:gd name="T6" fmla="*/ 383 w 745"/>
                <a:gd name="T7" fmla="*/ 147 h 870"/>
                <a:gd name="T8" fmla="*/ 253 w 745"/>
                <a:gd name="T9" fmla="*/ 169 h 870"/>
                <a:gd name="T10" fmla="*/ 203 w 745"/>
                <a:gd name="T11" fmla="*/ 244 h 870"/>
                <a:gd name="T12" fmla="*/ 256 w 745"/>
                <a:gd name="T13" fmla="*/ 319 h 870"/>
                <a:gd name="T14" fmla="*/ 386 w 745"/>
                <a:gd name="T15" fmla="*/ 349 h 870"/>
                <a:gd name="T16" fmla="*/ 508 w 745"/>
                <a:gd name="T17" fmla="*/ 366 h 870"/>
                <a:gd name="T18" fmla="*/ 625 w 745"/>
                <a:gd name="T19" fmla="*/ 405 h 870"/>
                <a:gd name="T20" fmla="*/ 711 w 745"/>
                <a:gd name="T21" fmla="*/ 480 h 870"/>
                <a:gd name="T22" fmla="*/ 744 w 745"/>
                <a:gd name="T23" fmla="*/ 608 h 870"/>
                <a:gd name="T24" fmla="*/ 717 w 745"/>
                <a:gd name="T25" fmla="*/ 713 h 870"/>
                <a:gd name="T26" fmla="*/ 644 w 745"/>
                <a:gd name="T27" fmla="*/ 797 h 870"/>
                <a:gd name="T28" fmla="*/ 533 w 745"/>
                <a:gd name="T29" fmla="*/ 849 h 870"/>
                <a:gd name="T30" fmla="*/ 386 w 745"/>
                <a:gd name="T31" fmla="*/ 869 h 870"/>
                <a:gd name="T32" fmla="*/ 183 w 745"/>
                <a:gd name="T33" fmla="*/ 838 h 870"/>
                <a:gd name="T34" fmla="*/ 0 w 745"/>
                <a:gd name="T35" fmla="*/ 716 h 870"/>
                <a:gd name="T36" fmla="*/ 92 w 745"/>
                <a:gd name="T37" fmla="*/ 597 h 870"/>
                <a:gd name="T38" fmla="*/ 233 w 745"/>
                <a:gd name="T39" fmla="*/ 688 h 870"/>
                <a:gd name="T40" fmla="*/ 389 w 745"/>
                <a:gd name="T41" fmla="*/ 719 h 870"/>
                <a:gd name="T42" fmla="*/ 450 w 745"/>
                <a:gd name="T43" fmla="*/ 713 h 870"/>
                <a:gd name="T44" fmla="*/ 508 w 745"/>
                <a:gd name="T45" fmla="*/ 694 h 870"/>
                <a:gd name="T46" fmla="*/ 550 w 745"/>
                <a:gd name="T47" fmla="*/ 661 h 870"/>
                <a:gd name="T48" fmla="*/ 567 w 745"/>
                <a:gd name="T49" fmla="*/ 611 h 870"/>
                <a:gd name="T50" fmla="*/ 519 w 745"/>
                <a:gd name="T51" fmla="*/ 530 h 870"/>
                <a:gd name="T52" fmla="*/ 372 w 745"/>
                <a:gd name="T53" fmla="*/ 497 h 870"/>
                <a:gd name="T54" fmla="*/ 253 w 745"/>
                <a:gd name="T55" fmla="*/ 477 h 870"/>
                <a:gd name="T56" fmla="*/ 142 w 745"/>
                <a:gd name="T57" fmla="*/ 436 h 870"/>
                <a:gd name="T58" fmla="*/ 61 w 745"/>
                <a:gd name="T59" fmla="*/ 363 h 870"/>
                <a:gd name="T60" fmla="*/ 30 w 745"/>
                <a:gd name="T61" fmla="*/ 249 h 870"/>
                <a:gd name="T62" fmla="*/ 61 w 745"/>
                <a:gd name="T63" fmla="*/ 133 h 870"/>
                <a:gd name="T64" fmla="*/ 147 w 745"/>
                <a:gd name="T65" fmla="*/ 55 h 870"/>
                <a:gd name="T66" fmla="*/ 258 w 745"/>
                <a:gd name="T67" fmla="*/ 11 h 870"/>
                <a:gd name="T68" fmla="*/ 381 w 745"/>
                <a:gd name="T69" fmla="*/ 0 h 870"/>
                <a:gd name="T70" fmla="*/ 556 w 745"/>
                <a:gd name="T71" fmla="*/ 22 h 870"/>
                <a:gd name="T72" fmla="*/ 705 w 745"/>
                <a:gd name="T73" fmla="*/ 108 h 870"/>
                <a:gd name="T74" fmla="*/ 605 w 745"/>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5" h="870">
                  <a:moveTo>
                    <a:pt x="605" y="222"/>
                  </a:moveTo>
                  <a:lnTo>
                    <a:pt x="605" y="222"/>
                  </a:lnTo>
                  <a:cubicBezTo>
                    <a:pt x="572" y="191"/>
                    <a:pt x="536" y="172"/>
                    <a:pt x="500" y="161"/>
                  </a:cubicBezTo>
                  <a:cubicBezTo>
                    <a:pt x="464" y="149"/>
                    <a:pt x="425" y="147"/>
                    <a:pt x="383" y="147"/>
                  </a:cubicBezTo>
                  <a:cubicBezTo>
                    <a:pt x="328" y="144"/>
                    <a:pt x="286" y="152"/>
                    <a:pt x="253" y="169"/>
                  </a:cubicBezTo>
                  <a:cubicBezTo>
                    <a:pt x="219" y="188"/>
                    <a:pt x="203" y="211"/>
                    <a:pt x="203" y="244"/>
                  </a:cubicBezTo>
                  <a:cubicBezTo>
                    <a:pt x="206" y="280"/>
                    <a:pt x="222" y="302"/>
                    <a:pt x="256" y="319"/>
                  </a:cubicBezTo>
                  <a:cubicBezTo>
                    <a:pt x="289" y="333"/>
                    <a:pt x="333" y="344"/>
                    <a:pt x="386" y="349"/>
                  </a:cubicBezTo>
                  <a:cubicBezTo>
                    <a:pt x="425" y="352"/>
                    <a:pt x="467" y="358"/>
                    <a:pt x="508" y="366"/>
                  </a:cubicBezTo>
                  <a:cubicBezTo>
                    <a:pt x="550" y="372"/>
                    <a:pt x="589" y="386"/>
                    <a:pt x="625" y="405"/>
                  </a:cubicBezTo>
                  <a:cubicBezTo>
                    <a:pt x="658" y="422"/>
                    <a:pt x="689" y="447"/>
                    <a:pt x="711" y="480"/>
                  </a:cubicBezTo>
                  <a:cubicBezTo>
                    <a:pt x="733" y="513"/>
                    <a:pt x="744" y="555"/>
                    <a:pt x="744" y="608"/>
                  </a:cubicBezTo>
                  <a:cubicBezTo>
                    <a:pt x="744" y="647"/>
                    <a:pt x="736" y="683"/>
                    <a:pt x="717" y="713"/>
                  </a:cubicBezTo>
                  <a:cubicBezTo>
                    <a:pt x="700" y="747"/>
                    <a:pt x="678" y="774"/>
                    <a:pt x="644" y="797"/>
                  </a:cubicBezTo>
                  <a:cubicBezTo>
                    <a:pt x="614" y="819"/>
                    <a:pt x="578" y="838"/>
                    <a:pt x="533" y="849"/>
                  </a:cubicBezTo>
                  <a:cubicBezTo>
                    <a:pt x="489" y="863"/>
                    <a:pt x="439" y="869"/>
                    <a:pt x="386" y="869"/>
                  </a:cubicBezTo>
                  <a:cubicBezTo>
                    <a:pt x="317" y="869"/>
                    <a:pt x="250" y="858"/>
                    <a:pt x="183" y="838"/>
                  </a:cubicBezTo>
                  <a:cubicBezTo>
                    <a:pt x="117" y="819"/>
                    <a:pt x="56" y="777"/>
                    <a:pt x="0" y="716"/>
                  </a:cubicBezTo>
                  <a:cubicBezTo>
                    <a:pt x="92" y="597"/>
                    <a:pt x="92" y="597"/>
                    <a:pt x="92" y="597"/>
                  </a:cubicBezTo>
                  <a:cubicBezTo>
                    <a:pt x="133" y="638"/>
                    <a:pt x="181" y="669"/>
                    <a:pt x="233" y="688"/>
                  </a:cubicBezTo>
                  <a:cubicBezTo>
                    <a:pt x="286" y="708"/>
                    <a:pt x="339" y="719"/>
                    <a:pt x="389" y="719"/>
                  </a:cubicBezTo>
                  <a:cubicBezTo>
                    <a:pt x="408" y="719"/>
                    <a:pt x="430" y="716"/>
                    <a:pt x="450" y="713"/>
                  </a:cubicBezTo>
                  <a:cubicBezTo>
                    <a:pt x="472" y="708"/>
                    <a:pt x="492" y="702"/>
                    <a:pt x="508" y="694"/>
                  </a:cubicBezTo>
                  <a:cubicBezTo>
                    <a:pt x="525" y="686"/>
                    <a:pt x="539" y="674"/>
                    <a:pt x="550" y="661"/>
                  </a:cubicBezTo>
                  <a:cubicBezTo>
                    <a:pt x="561" y="647"/>
                    <a:pt x="567" y="630"/>
                    <a:pt x="567" y="611"/>
                  </a:cubicBezTo>
                  <a:cubicBezTo>
                    <a:pt x="569" y="574"/>
                    <a:pt x="553" y="547"/>
                    <a:pt x="519" y="530"/>
                  </a:cubicBezTo>
                  <a:cubicBezTo>
                    <a:pt x="483" y="513"/>
                    <a:pt x="436" y="502"/>
                    <a:pt x="372" y="497"/>
                  </a:cubicBezTo>
                  <a:cubicBezTo>
                    <a:pt x="333" y="494"/>
                    <a:pt x="292" y="486"/>
                    <a:pt x="253" y="477"/>
                  </a:cubicBezTo>
                  <a:cubicBezTo>
                    <a:pt x="211" y="469"/>
                    <a:pt x="175" y="455"/>
                    <a:pt x="142" y="436"/>
                  </a:cubicBezTo>
                  <a:cubicBezTo>
                    <a:pt x="108" y="416"/>
                    <a:pt x="83" y="394"/>
                    <a:pt x="61" y="363"/>
                  </a:cubicBezTo>
                  <a:cubicBezTo>
                    <a:pt x="42" y="333"/>
                    <a:pt x="30" y="294"/>
                    <a:pt x="30" y="249"/>
                  </a:cubicBezTo>
                  <a:cubicBezTo>
                    <a:pt x="30" y="202"/>
                    <a:pt x="42" y="166"/>
                    <a:pt x="61" y="133"/>
                  </a:cubicBezTo>
                  <a:cubicBezTo>
                    <a:pt x="83" y="102"/>
                    <a:pt x="111" y="74"/>
                    <a:pt x="147" y="55"/>
                  </a:cubicBezTo>
                  <a:cubicBezTo>
                    <a:pt x="181" y="36"/>
                    <a:pt x="217" y="22"/>
                    <a:pt x="258" y="11"/>
                  </a:cubicBezTo>
                  <a:cubicBezTo>
                    <a:pt x="300" y="2"/>
                    <a:pt x="339" y="0"/>
                    <a:pt x="381" y="0"/>
                  </a:cubicBezTo>
                  <a:cubicBezTo>
                    <a:pt x="444" y="0"/>
                    <a:pt x="503" y="8"/>
                    <a:pt x="556" y="22"/>
                  </a:cubicBezTo>
                  <a:cubicBezTo>
                    <a:pt x="605" y="38"/>
                    <a:pt x="656" y="66"/>
                    <a:pt x="705" y="108"/>
                  </a:cubicBezTo>
                  <a:lnTo>
                    <a:pt x="605"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9" name="Freeform 26">
              <a:extLst>
                <a:ext uri="{FF2B5EF4-FFF2-40B4-BE49-F238E27FC236}">
                  <a16:creationId xmlns:a16="http://schemas.microsoft.com/office/drawing/2014/main" id="{A07ADD3F-5315-224B-972A-2FB32B6B6B0E}"/>
                </a:ext>
              </a:extLst>
            </p:cNvPr>
            <p:cNvSpPr>
              <a:spLocks noChangeArrowheads="1"/>
            </p:cNvSpPr>
            <p:nvPr userDrawn="1"/>
          </p:nvSpPr>
          <p:spPr bwMode="auto">
            <a:xfrm>
              <a:off x="4600575" y="3744913"/>
              <a:ext cx="476250" cy="301625"/>
            </a:xfrm>
            <a:custGeom>
              <a:avLst/>
              <a:gdLst>
                <a:gd name="T0" fmla="*/ 575 w 1322"/>
                <a:gd name="T1" fmla="*/ 839 h 840"/>
                <a:gd name="T2" fmla="*/ 575 w 1322"/>
                <a:gd name="T3" fmla="*/ 839 h 840"/>
                <a:gd name="T4" fmla="*/ 575 w 1322"/>
                <a:gd name="T5" fmla="*/ 386 h 840"/>
                <a:gd name="T6" fmla="*/ 564 w 1322"/>
                <a:gd name="T7" fmla="*/ 300 h 840"/>
                <a:gd name="T8" fmla="*/ 525 w 1322"/>
                <a:gd name="T9" fmla="*/ 228 h 840"/>
                <a:gd name="T10" fmla="*/ 461 w 1322"/>
                <a:gd name="T11" fmla="*/ 178 h 840"/>
                <a:gd name="T12" fmla="*/ 381 w 1322"/>
                <a:gd name="T13" fmla="*/ 161 h 840"/>
                <a:gd name="T14" fmla="*/ 295 w 1322"/>
                <a:gd name="T15" fmla="*/ 178 h 840"/>
                <a:gd name="T16" fmla="*/ 231 w 1322"/>
                <a:gd name="T17" fmla="*/ 228 h 840"/>
                <a:gd name="T18" fmla="*/ 192 w 1322"/>
                <a:gd name="T19" fmla="*/ 300 h 840"/>
                <a:gd name="T20" fmla="*/ 175 w 1322"/>
                <a:gd name="T21" fmla="*/ 386 h 840"/>
                <a:gd name="T22" fmla="*/ 175 w 1322"/>
                <a:gd name="T23" fmla="*/ 839 h 840"/>
                <a:gd name="T24" fmla="*/ 0 w 1322"/>
                <a:gd name="T25" fmla="*/ 839 h 840"/>
                <a:gd name="T26" fmla="*/ 0 w 1322"/>
                <a:gd name="T27" fmla="*/ 14 h 840"/>
                <a:gd name="T28" fmla="*/ 164 w 1322"/>
                <a:gd name="T29" fmla="*/ 14 h 840"/>
                <a:gd name="T30" fmla="*/ 175 w 1322"/>
                <a:gd name="T31" fmla="*/ 125 h 840"/>
                <a:gd name="T32" fmla="*/ 278 w 1322"/>
                <a:gd name="T33" fmla="*/ 28 h 840"/>
                <a:gd name="T34" fmla="*/ 411 w 1322"/>
                <a:gd name="T35" fmla="*/ 0 h 840"/>
                <a:gd name="T36" fmla="*/ 492 w 1322"/>
                <a:gd name="T37" fmla="*/ 8 h 840"/>
                <a:gd name="T38" fmla="*/ 567 w 1322"/>
                <a:gd name="T39" fmla="*/ 36 h 840"/>
                <a:gd name="T40" fmla="*/ 631 w 1322"/>
                <a:gd name="T41" fmla="*/ 89 h 840"/>
                <a:gd name="T42" fmla="*/ 675 w 1322"/>
                <a:gd name="T43" fmla="*/ 167 h 840"/>
                <a:gd name="T44" fmla="*/ 803 w 1322"/>
                <a:gd name="T45" fmla="*/ 39 h 840"/>
                <a:gd name="T46" fmla="*/ 964 w 1322"/>
                <a:gd name="T47" fmla="*/ 3 h 840"/>
                <a:gd name="T48" fmla="*/ 1230 w 1322"/>
                <a:gd name="T49" fmla="*/ 103 h 840"/>
                <a:gd name="T50" fmla="*/ 1321 w 1322"/>
                <a:gd name="T51" fmla="*/ 383 h 840"/>
                <a:gd name="T52" fmla="*/ 1321 w 1322"/>
                <a:gd name="T53" fmla="*/ 839 h 840"/>
                <a:gd name="T54" fmla="*/ 1145 w 1322"/>
                <a:gd name="T55" fmla="*/ 839 h 840"/>
                <a:gd name="T56" fmla="*/ 1145 w 1322"/>
                <a:gd name="T57" fmla="*/ 381 h 840"/>
                <a:gd name="T58" fmla="*/ 1134 w 1322"/>
                <a:gd name="T59" fmla="*/ 297 h 840"/>
                <a:gd name="T60" fmla="*/ 1097 w 1322"/>
                <a:gd name="T61" fmla="*/ 225 h 840"/>
                <a:gd name="T62" fmla="*/ 1039 w 1322"/>
                <a:gd name="T63" fmla="*/ 178 h 840"/>
                <a:gd name="T64" fmla="*/ 959 w 1322"/>
                <a:gd name="T65" fmla="*/ 161 h 840"/>
                <a:gd name="T66" fmla="*/ 872 w 1322"/>
                <a:gd name="T67" fmla="*/ 181 h 840"/>
                <a:gd name="T68" fmla="*/ 809 w 1322"/>
                <a:gd name="T69" fmla="*/ 228 h 840"/>
                <a:gd name="T70" fmla="*/ 767 w 1322"/>
                <a:gd name="T71" fmla="*/ 300 h 840"/>
                <a:gd name="T72" fmla="*/ 753 w 1322"/>
                <a:gd name="T73" fmla="*/ 386 h 840"/>
                <a:gd name="T74" fmla="*/ 753 w 1322"/>
                <a:gd name="T75" fmla="*/ 839 h 840"/>
                <a:gd name="T76" fmla="*/ 575 w 1322"/>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2" h="840">
                  <a:moveTo>
                    <a:pt x="575" y="839"/>
                  </a:moveTo>
                  <a:lnTo>
                    <a:pt x="575" y="839"/>
                  </a:lnTo>
                  <a:cubicBezTo>
                    <a:pt x="575" y="386"/>
                    <a:pt x="575" y="386"/>
                    <a:pt x="575" y="386"/>
                  </a:cubicBezTo>
                  <a:cubicBezTo>
                    <a:pt x="575" y="356"/>
                    <a:pt x="572" y="325"/>
                    <a:pt x="564" y="300"/>
                  </a:cubicBezTo>
                  <a:cubicBezTo>
                    <a:pt x="556" y="272"/>
                    <a:pt x="542" y="247"/>
                    <a:pt x="525" y="228"/>
                  </a:cubicBezTo>
                  <a:cubicBezTo>
                    <a:pt x="509" y="206"/>
                    <a:pt x="486" y="189"/>
                    <a:pt x="461" y="178"/>
                  </a:cubicBezTo>
                  <a:cubicBezTo>
                    <a:pt x="436" y="167"/>
                    <a:pt x="411" y="161"/>
                    <a:pt x="381" y="161"/>
                  </a:cubicBezTo>
                  <a:cubicBezTo>
                    <a:pt x="347" y="161"/>
                    <a:pt x="320" y="167"/>
                    <a:pt x="295" y="178"/>
                  </a:cubicBezTo>
                  <a:cubicBezTo>
                    <a:pt x="270" y="189"/>
                    <a:pt x="250" y="206"/>
                    <a:pt x="231" y="228"/>
                  </a:cubicBezTo>
                  <a:cubicBezTo>
                    <a:pt x="214" y="247"/>
                    <a:pt x="200" y="272"/>
                    <a:pt x="192" y="300"/>
                  </a:cubicBezTo>
                  <a:cubicBezTo>
                    <a:pt x="181" y="325"/>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200" y="78"/>
                    <a:pt x="234" y="47"/>
                    <a:pt x="278" y="28"/>
                  </a:cubicBezTo>
                  <a:cubicBezTo>
                    <a:pt x="323" y="8"/>
                    <a:pt x="367" y="0"/>
                    <a:pt x="411" y="0"/>
                  </a:cubicBezTo>
                  <a:cubicBezTo>
                    <a:pt x="439" y="0"/>
                    <a:pt x="467" y="3"/>
                    <a:pt x="492" y="8"/>
                  </a:cubicBezTo>
                  <a:cubicBezTo>
                    <a:pt x="520" y="14"/>
                    <a:pt x="542" y="22"/>
                    <a:pt x="567" y="36"/>
                  </a:cubicBezTo>
                  <a:cubicBezTo>
                    <a:pt x="589" y="50"/>
                    <a:pt x="611" y="67"/>
                    <a:pt x="631" y="89"/>
                  </a:cubicBezTo>
                  <a:cubicBezTo>
                    <a:pt x="647" y="111"/>
                    <a:pt x="664" y="136"/>
                    <a:pt x="675" y="167"/>
                  </a:cubicBezTo>
                  <a:cubicBezTo>
                    <a:pt x="711" y="106"/>
                    <a:pt x="753" y="61"/>
                    <a:pt x="803" y="39"/>
                  </a:cubicBezTo>
                  <a:cubicBezTo>
                    <a:pt x="853" y="14"/>
                    <a:pt x="906" y="3"/>
                    <a:pt x="964" y="3"/>
                  </a:cubicBezTo>
                  <a:cubicBezTo>
                    <a:pt x="1084" y="3"/>
                    <a:pt x="1172" y="36"/>
                    <a:pt x="1230" y="103"/>
                  </a:cubicBezTo>
                  <a:cubicBezTo>
                    <a:pt x="1291" y="169"/>
                    <a:pt x="1321" y="264"/>
                    <a:pt x="1321" y="383"/>
                  </a:cubicBezTo>
                  <a:cubicBezTo>
                    <a:pt x="1321" y="839"/>
                    <a:pt x="1321" y="839"/>
                    <a:pt x="1321" y="839"/>
                  </a:cubicBezTo>
                  <a:cubicBezTo>
                    <a:pt x="1145" y="839"/>
                    <a:pt x="1145" y="839"/>
                    <a:pt x="1145" y="839"/>
                  </a:cubicBezTo>
                  <a:cubicBezTo>
                    <a:pt x="1145" y="381"/>
                    <a:pt x="1145" y="381"/>
                    <a:pt x="1145" y="381"/>
                  </a:cubicBezTo>
                  <a:cubicBezTo>
                    <a:pt x="1145" y="353"/>
                    <a:pt x="1139" y="322"/>
                    <a:pt x="1134" y="297"/>
                  </a:cubicBezTo>
                  <a:cubicBezTo>
                    <a:pt x="1125" y="269"/>
                    <a:pt x="1114" y="247"/>
                    <a:pt x="1097" y="225"/>
                  </a:cubicBezTo>
                  <a:cubicBezTo>
                    <a:pt x="1081" y="206"/>
                    <a:pt x="1061" y="189"/>
                    <a:pt x="1039" y="178"/>
                  </a:cubicBezTo>
                  <a:cubicBezTo>
                    <a:pt x="1017" y="167"/>
                    <a:pt x="989" y="161"/>
                    <a:pt x="959" y="161"/>
                  </a:cubicBezTo>
                  <a:cubicBezTo>
                    <a:pt x="928" y="161"/>
                    <a:pt x="900" y="169"/>
                    <a:pt x="872" y="181"/>
                  </a:cubicBezTo>
                  <a:cubicBezTo>
                    <a:pt x="847" y="192"/>
                    <a:pt x="825" y="208"/>
                    <a:pt x="809" y="228"/>
                  </a:cubicBezTo>
                  <a:cubicBezTo>
                    <a:pt x="792" y="247"/>
                    <a:pt x="778" y="272"/>
                    <a:pt x="767" y="300"/>
                  </a:cubicBezTo>
                  <a:cubicBezTo>
                    <a:pt x="759" y="325"/>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0" name="Freeform 27">
              <a:extLst>
                <a:ext uri="{FF2B5EF4-FFF2-40B4-BE49-F238E27FC236}">
                  <a16:creationId xmlns:a16="http://schemas.microsoft.com/office/drawing/2014/main" id="{1B6B39AC-8529-C84D-9CD3-6DD82AF32DF8}"/>
                </a:ext>
              </a:extLst>
            </p:cNvPr>
            <p:cNvSpPr>
              <a:spLocks noChangeArrowheads="1"/>
            </p:cNvSpPr>
            <p:nvPr userDrawn="1"/>
          </p:nvSpPr>
          <p:spPr bwMode="auto">
            <a:xfrm>
              <a:off x="5138738" y="3743325"/>
              <a:ext cx="315912"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2 w 876"/>
                <a:gd name="T11" fmla="*/ 680 h 864"/>
                <a:gd name="T12" fmla="*/ 703 w 876"/>
                <a:gd name="T13" fmla="*/ 616 h 864"/>
                <a:gd name="T14" fmla="*/ 817 w 876"/>
                <a:gd name="T15" fmla="*/ 724 h 864"/>
                <a:gd name="T16" fmla="*/ 742 w 876"/>
                <a:gd name="T17" fmla="*/ 786 h 864"/>
                <a:gd name="T18" fmla="*/ 653 w 876"/>
                <a:gd name="T19" fmla="*/ 830 h 864"/>
                <a:gd name="T20" fmla="*/ 553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3 w 876"/>
                <a:gd name="T35" fmla="*/ 119 h 864"/>
                <a:gd name="T36" fmla="*/ 261 w 876"/>
                <a:gd name="T37" fmla="*/ 30 h 864"/>
                <a:gd name="T38" fmla="*/ 442 w 876"/>
                <a:gd name="T39" fmla="*/ 0 h 864"/>
                <a:gd name="T40" fmla="*/ 628 w 876"/>
                <a:gd name="T41" fmla="*/ 30 h 864"/>
                <a:gd name="T42" fmla="*/ 767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2 w 876"/>
                <a:gd name="T55" fmla="*/ 202 h 864"/>
                <a:gd name="T56" fmla="*/ 448 w 876"/>
                <a:gd name="T57" fmla="*/ 152 h 864"/>
                <a:gd name="T58" fmla="*/ 278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17" y="686"/>
                    <a:pt x="381" y="705"/>
                    <a:pt x="459" y="705"/>
                  </a:cubicBezTo>
                  <a:cubicBezTo>
                    <a:pt x="500" y="705"/>
                    <a:pt x="548" y="697"/>
                    <a:pt x="592" y="680"/>
                  </a:cubicBezTo>
                  <a:cubicBezTo>
                    <a:pt x="639" y="666"/>
                    <a:pt x="675" y="644"/>
                    <a:pt x="703" y="616"/>
                  </a:cubicBezTo>
                  <a:cubicBezTo>
                    <a:pt x="817" y="724"/>
                    <a:pt x="817" y="724"/>
                    <a:pt x="817" y="724"/>
                  </a:cubicBezTo>
                  <a:cubicBezTo>
                    <a:pt x="795" y="747"/>
                    <a:pt x="770" y="769"/>
                    <a:pt x="742" y="786"/>
                  </a:cubicBezTo>
                  <a:cubicBezTo>
                    <a:pt x="714" y="802"/>
                    <a:pt x="684" y="819"/>
                    <a:pt x="653" y="830"/>
                  </a:cubicBezTo>
                  <a:cubicBezTo>
                    <a:pt x="620" y="841"/>
                    <a:pt x="589" y="849"/>
                    <a:pt x="553" y="855"/>
                  </a:cubicBezTo>
                  <a:cubicBezTo>
                    <a:pt x="520" y="861"/>
                    <a:pt x="486" y="863"/>
                    <a:pt x="456" y="863"/>
                  </a:cubicBezTo>
                  <a:cubicBezTo>
                    <a:pt x="386" y="863"/>
                    <a:pt x="323" y="855"/>
                    <a:pt x="267" y="833"/>
                  </a:cubicBezTo>
                  <a:cubicBezTo>
                    <a:pt x="211" y="813"/>
                    <a:pt x="164" y="783"/>
                    <a:pt x="125" y="747"/>
                  </a:cubicBezTo>
                  <a:cubicBezTo>
                    <a:pt x="86" y="708"/>
                    <a:pt x="56" y="661"/>
                    <a:pt x="34" y="608"/>
                  </a:cubicBezTo>
                  <a:cubicBezTo>
                    <a:pt x="11" y="552"/>
                    <a:pt x="0" y="494"/>
                    <a:pt x="0" y="427"/>
                  </a:cubicBezTo>
                  <a:cubicBezTo>
                    <a:pt x="0" y="366"/>
                    <a:pt x="11" y="308"/>
                    <a:pt x="34" y="255"/>
                  </a:cubicBezTo>
                  <a:cubicBezTo>
                    <a:pt x="56" y="202"/>
                    <a:pt x="84" y="158"/>
                    <a:pt x="123" y="119"/>
                  </a:cubicBezTo>
                  <a:cubicBezTo>
                    <a:pt x="161" y="80"/>
                    <a:pt x="209" y="52"/>
                    <a:pt x="261" y="30"/>
                  </a:cubicBezTo>
                  <a:cubicBezTo>
                    <a:pt x="317" y="8"/>
                    <a:pt x="378" y="0"/>
                    <a:pt x="442" y="0"/>
                  </a:cubicBezTo>
                  <a:cubicBezTo>
                    <a:pt x="511" y="0"/>
                    <a:pt x="573" y="8"/>
                    <a:pt x="628" y="30"/>
                  </a:cubicBezTo>
                  <a:cubicBezTo>
                    <a:pt x="684" y="50"/>
                    <a:pt x="731" y="80"/>
                    <a:pt x="767" y="122"/>
                  </a:cubicBezTo>
                  <a:cubicBezTo>
                    <a:pt x="806" y="163"/>
                    <a:pt x="834" y="216"/>
                    <a:pt x="853" y="277"/>
                  </a:cubicBezTo>
                  <a:cubicBezTo>
                    <a:pt x="870" y="341"/>
                    <a:pt x="875" y="413"/>
                    <a:pt x="867" y="497"/>
                  </a:cubicBezTo>
                  <a:lnTo>
                    <a:pt x="186" y="352"/>
                  </a:lnTo>
                  <a:lnTo>
                    <a:pt x="186" y="352"/>
                  </a:lnTo>
                  <a:cubicBezTo>
                    <a:pt x="698" y="352"/>
                    <a:pt x="698" y="352"/>
                    <a:pt x="698" y="352"/>
                  </a:cubicBezTo>
                  <a:cubicBezTo>
                    <a:pt x="692" y="286"/>
                    <a:pt x="667" y="236"/>
                    <a:pt x="622" y="202"/>
                  </a:cubicBezTo>
                  <a:cubicBezTo>
                    <a:pt x="578" y="169"/>
                    <a:pt x="520" y="152"/>
                    <a:pt x="448" y="152"/>
                  </a:cubicBezTo>
                  <a:cubicBezTo>
                    <a:pt x="384" y="152"/>
                    <a:pt x="328" y="169"/>
                    <a:pt x="278"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1" name="Freeform 28">
              <a:extLst>
                <a:ext uri="{FF2B5EF4-FFF2-40B4-BE49-F238E27FC236}">
                  <a16:creationId xmlns:a16="http://schemas.microsoft.com/office/drawing/2014/main" id="{A0B688E5-E880-494C-A7E2-965EBD02B269}"/>
                </a:ext>
              </a:extLst>
            </p:cNvPr>
            <p:cNvSpPr>
              <a:spLocks noChangeArrowheads="1"/>
            </p:cNvSpPr>
            <p:nvPr userDrawn="1"/>
          </p:nvSpPr>
          <p:spPr bwMode="auto">
            <a:xfrm>
              <a:off x="54975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4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9" y="147"/>
                    <a:pt x="127" y="111"/>
                  </a:cubicBezTo>
                  <a:cubicBezTo>
                    <a:pt x="166" y="75"/>
                    <a:pt x="211" y="48"/>
                    <a:pt x="264"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41" y="636"/>
                    <a:pt x="669" y="603"/>
                    <a:pt x="691" y="561"/>
                  </a:cubicBezTo>
                  <a:cubicBezTo>
                    <a:pt x="711" y="522"/>
                    <a:pt x="722" y="478"/>
                    <a:pt x="722" y="431"/>
                  </a:cubicBezTo>
                  <a:cubicBezTo>
                    <a:pt x="722" y="384"/>
                    <a:pt x="711" y="339"/>
                    <a:pt x="691" y="298"/>
                  </a:cubicBezTo>
                  <a:cubicBezTo>
                    <a:pt x="669" y="259"/>
                    <a:pt x="641"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2" name="Freeform 29">
              <a:extLst>
                <a:ext uri="{FF2B5EF4-FFF2-40B4-BE49-F238E27FC236}">
                  <a16:creationId xmlns:a16="http://schemas.microsoft.com/office/drawing/2014/main" id="{39472782-B9C9-C849-8527-BCD0B682C440}"/>
                </a:ext>
              </a:extLst>
            </p:cNvPr>
            <p:cNvSpPr>
              <a:spLocks noChangeArrowheads="1"/>
            </p:cNvSpPr>
            <p:nvPr userDrawn="1"/>
          </p:nvSpPr>
          <p:spPr bwMode="auto">
            <a:xfrm>
              <a:off x="5905500" y="3746500"/>
              <a:ext cx="293688" cy="301625"/>
            </a:xfrm>
            <a:custGeom>
              <a:avLst/>
              <a:gdLst>
                <a:gd name="T0" fmla="*/ 639 w 817"/>
                <a:gd name="T1" fmla="*/ 836 h 837"/>
                <a:gd name="T2" fmla="*/ 639 w 817"/>
                <a:gd name="T3" fmla="*/ 836 h 837"/>
                <a:gd name="T4" fmla="*/ 639 w 817"/>
                <a:gd name="T5" fmla="*/ 397 h 837"/>
                <a:gd name="T6" fmla="*/ 580 w 817"/>
                <a:gd name="T7" fmla="*/ 225 h 837"/>
                <a:gd name="T8" fmla="*/ 411 w 817"/>
                <a:gd name="T9" fmla="*/ 158 h 837"/>
                <a:gd name="T10" fmla="*/ 316 w 817"/>
                <a:gd name="T11" fmla="*/ 178 h 837"/>
                <a:gd name="T12" fmla="*/ 241 w 817"/>
                <a:gd name="T13" fmla="*/ 230 h 837"/>
                <a:gd name="T14" fmla="*/ 194 w 817"/>
                <a:gd name="T15" fmla="*/ 311 h 837"/>
                <a:gd name="T16" fmla="*/ 177 w 817"/>
                <a:gd name="T17" fmla="*/ 405 h 837"/>
                <a:gd name="T18" fmla="*/ 177 w 817"/>
                <a:gd name="T19" fmla="*/ 836 h 837"/>
                <a:gd name="T20" fmla="*/ 0 w 817"/>
                <a:gd name="T21" fmla="*/ 836 h 837"/>
                <a:gd name="T22" fmla="*/ 0 w 817"/>
                <a:gd name="T23" fmla="*/ 11 h 837"/>
                <a:gd name="T24" fmla="*/ 161 w 817"/>
                <a:gd name="T25" fmla="*/ 11 h 837"/>
                <a:gd name="T26" fmla="*/ 172 w 817"/>
                <a:gd name="T27" fmla="*/ 130 h 837"/>
                <a:gd name="T28" fmla="*/ 455 w 817"/>
                <a:gd name="T29" fmla="*/ 0 h 837"/>
                <a:gd name="T30" fmla="*/ 597 w 817"/>
                <a:gd name="T31" fmla="*/ 25 h 837"/>
                <a:gd name="T32" fmla="*/ 711 w 817"/>
                <a:gd name="T33" fmla="*/ 100 h 837"/>
                <a:gd name="T34" fmla="*/ 789 w 817"/>
                <a:gd name="T35" fmla="*/ 225 h 837"/>
                <a:gd name="T36" fmla="*/ 816 w 817"/>
                <a:gd name="T37" fmla="*/ 394 h 837"/>
                <a:gd name="T38" fmla="*/ 816 w 817"/>
                <a:gd name="T39" fmla="*/ 836 h 837"/>
                <a:gd name="T40" fmla="*/ 639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9" y="836"/>
                  </a:moveTo>
                  <a:lnTo>
                    <a:pt x="639" y="836"/>
                  </a:lnTo>
                  <a:cubicBezTo>
                    <a:pt x="639" y="397"/>
                    <a:pt x="639" y="397"/>
                    <a:pt x="639" y="397"/>
                  </a:cubicBezTo>
                  <a:cubicBezTo>
                    <a:pt x="639" y="325"/>
                    <a:pt x="619" y="266"/>
                    <a:pt x="580" y="225"/>
                  </a:cubicBezTo>
                  <a:cubicBezTo>
                    <a:pt x="541" y="180"/>
                    <a:pt x="486" y="158"/>
                    <a:pt x="411" y="158"/>
                  </a:cubicBezTo>
                  <a:cubicBezTo>
                    <a:pt x="377" y="158"/>
                    <a:pt x="344" y="166"/>
                    <a:pt x="316" y="178"/>
                  </a:cubicBezTo>
                  <a:cubicBezTo>
                    <a:pt x="286" y="192"/>
                    <a:pt x="261" y="208"/>
                    <a:pt x="241" y="230"/>
                  </a:cubicBezTo>
                  <a:cubicBezTo>
                    <a:pt x="222" y="255"/>
                    <a:pt x="205" y="280"/>
                    <a:pt x="194" y="311"/>
                  </a:cubicBezTo>
                  <a:cubicBezTo>
                    <a:pt x="183" y="341"/>
                    <a:pt x="177" y="372"/>
                    <a:pt x="177" y="405"/>
                  </a:cubicBezTo>
                  <a:cubicBezTo>
                    <a:pt x="177" y="836"/>
                    <a:pt x="177" y="836"/>
                    <a:pt x="177" y="836"/>
                  </a:cubicBezTo>
                  <a:cubicBezTo>
                    <a:pt x="0" y="836"/>
                    <a:pt x="0" y="836"/>
                    <a:pt x="0" y="836"/>
                  </a:cubicBezTo>
                  <a:cubicBezTo>
                    <a:pt x="0" y="11"/>
                    <a:pt x="0" y="11"/>
                    <a:pt x="0" y="11"/>
                  </a:cubicBezTo>
                  <a:cubicBezTo>
                    <a:pt x="161" y="11"/>
                    <a:pt x="161" y="11"/>
                    <a:pt x="161" y="11"/>
                  </a:cubicBezTo>
                  <a:cubicBezTo>
                    <a:pt x="172" y="130"/>
                    <a:pt x="172" y="130"/>
                    <a:pt x="172" y="130"/>
                  </a:cubicBezTo>
                  <a:cubicBezTo>
                    <a:pt x="250" y="42"/>
                    <a:pt x="344" y="0"/>
                    <a:pt x="455" y="0"/>
                  </a:cubicBezTo>
                  <a:cubicBezTo>
                    <a:pt x="505" y="0"/>
                    <a:pt x="552" y="8"/>
                    <a:pt x="597" y="25"/>
                  </a:cubicBezTo>
                  <a:cubicBezTo>
                    <a:pt x="641" y="42"/>
                    <a:pt x="680" y="66"/>
                    <a:pt x="711" y="100"/>
                  </a:cubicBezTo>
                  <a:cubicBezTo>
                    <a:pt x="744" y="133"/>
                    <a:pt x="769" y="175"/>
                    <a:pt x="789" y="225"/>
                  </a:cubicBezTo>
                  <a:cubicBezTo>
                    <a:pt x="808" y="275"/>
                    <a:pt x="816" y="330"/>
                    <a:pt x="816" y="394"/>
                  </a:cubicBezTo>
                  <a:cubicBezTo>
                    <a:pt x="816" y="836"/>
                    <a:pt x="816" y="836"/>
                    <a:pt x="816" y="836"/>
                  </a:cubicBezTo>
                  <a:lnTo>
                    <a:pt x="639"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3" name="Freeform 30">
              <a:extLst>
                <a:ext uri="{FF2B5EF4-FFF2-40B4-BE49-F238E27FC236}">
                  <a16:creationId xmlns:a16="http://schemas.microsoft.com/office/drawing/2014/main" id="{8F11BFC9-4076-B740-8CE4-34A4B1E5C4AA}"/>
                </a:ext>
              </a:extLst>
            </p:cNvPr>
            <p:cNvSpPr>
              <a:spLocks noChangeArrowheads="1"/>
            </p:cNvSpPr>
            <p:nvPr userDrawn="1"/>
          </p:nvSpPr>
          <p:spPr bwMode="auto">
            <a:xfrm>
              <a:off x="6251575"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4" name="Freeform 31">
              <a:extLst>
                <a:ext uri="{FF2B5EF4-FFF2-40B4-BE49-F238E27FC236}">
                  <a16:creationId xmlns:a16="http://schemas.microsoft.com/office/drawing/2014/main" id="{24B40F44-AAD1-F643-9711-673A0A45D8F3}"/>
                </a:ext>
              </a:extLst>
            </p:cNvPr>
            <p:cNvSpPr>
              <a:spLocks noChangeArrowheads="1"/>
            </p:cNvSpPr>
            <p:nvPr userDrawn="1"/>
          </p:nvSpPr>
          <p:spPr bwMode="auto">
            <a:xfrm>
              <a:off x="6643688"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5" name="Freeform 32">
              <a:extLst>
                <a:ext uri="{FF2B5EF4-FFF2-40B4-BE49-F238E27FC236}">
                  <a16:creationId xmlns:a16="http://schemas.microsoft.com/office/drawing/2014/main" id="{8E0C36A3-BC82-984B-A39A-002214E497EA}"/>
                </a:ext>
              </a:extLst>
            </p:cNvPr>
            <p:cNvSpPr>
              <a:spLocks noChangeArrowheads="1"/>
            </p:cNvSpPr>
            <p:nvPr userDrawn="1"/>
          </p:nvSpPr>
          <p:spPr bwMode="auto">
            <a:xfrm>
              <a:off x="6897688" y="3743325"/>
              <a:ext cx="314325" cy="309563"/>
            </a:xfrm>
            <a:custGeom>
              <a:avLst/>
              <a:gdLst>
                <a:gd name="T0" fmla="*/ 436 w 873"/>
                <a:gd name="T1" fmla="*/ 0 h 860"/>
                <a:gd name="T2" fmla="*/ 436 w 873"/>
                <a:gd name="T3" fmla="*/ 0 h 860"/>
                <a:gd name="T4" fmla="*/ 611 w 873"/>
                <a:gd name="T5" fmla="*/ 34 h 860"/>
                <a:gd name="T6" fmla="*/ 750 w 873"/>
                <a:gd name="T7" fmla="*/ 125 h 860"/>
                <a:gd name="T8" fmla="*/ 842 w 873"/>
                <a:gd name="T9" fmla="*/ 261 h 860"/>
                <a:gd name="T10" fmla="*/ 872 w 873"/>
                <a:gd name="T11" fmla="*/ 431 h 860"/>
                <a:gd name="T12" fmla="*/ 842 w 873"/>
                <a:gd name="T13" fmla="*/ 600 h 860"/>
                <a:gd name="T14" fmla="*/ 753 w 873"/>
                <a:gd name="T15" fmla="*/ 736 h 860"/>
                <a:gd name="T16" fmla="*/ 614 w 873"/>
                <a:gd name="T17" fmla="*/ 825 h 860"/>
                <a:gd name="T18" fmla="*/ 436 w 873"/>
                <a:gd name="T19" fmla="*/ 859 h 860"/>
                <a:gd name="T20" fmla="*/ 256 w 873"/>
                <a:gd name="T21" fmla="*/ 825 h 860"/>
                <a:gd name="T22" fmla="*/ 119 w 873"/>
                <a:gd name="T23" fmla="*/ 736 h 860"/>
                <a:gd name="T24" fmla="*/ 31 w 873"/>
                <a:gd name="T25" fmla="*/ 600 h 860"/>
                <a:gd name="T26" fmla="*/ 0 w 873"/>
                <a:gd name="T27" fmla="*/ 431 h 860"/>
                <a:gd name="T28" fmla="*/ 31 w 873"/>
                <a:gd name="T29" fmla="*/ 261 h 860"/>
                <a:gd name="T30" fmla="*/ 119 w 873"/>
                <a:gd name="T31" fmla="*/ 125 h 860"/>
                <a:gd name="T32" fmla="*/ 258 w 873"/>
                <a:gd name="T33" fmla="*/ 34 h 860"/>
                <a:gd name="T34" fmla="*/ 436 w 873"/>
                <a:gd name="T35" fmla="*/ 0 h 860"/>
                <a:gd name="T36" fmla="*/ 436 w 873"/>
                <a:gd name="T37" fmla="*/ 161 h 860"/>
                <a:gd name="T38" fmla="*/ 436 w 873"/>
                <a:gd name="T39" fmla="*/ 161 h 860"/>
                <a:gd name="T40" fmla="*/ 328 w 873"/>
                <a:gd name="T41" fmla="*/ 184 h 860"/>
                <a:gd name="T42" fmla="*/ 247 w 873"/>
                <a:gd name="T43" fmla="*/ 242 h 860"/>
                <a:gd name="T44" fmla="*/ 194 w 873"/>
                <a:gd name="T45" fmla="*/ 328 h 860"/>
                <a:gd name="T46" fmla="*/ 178 w 873"/>
                <a:gd name="T47" fmla="*/ 431 h 860"/>
                <a:gd name="T48" fmla="*/ 194 w 873"/>
                <a:gd name="T49" fmla="*/ 536 h 860"/>
                <a:gd name="T50" fmla="*/ 247 w 873"/>
                <a:gd name="T51" fmla="*/ 620 h 860"/>
                <a:gd name="T52" fmla="*/ 328 w 873"/>
                <a:gd name="T53" fmla="*/ 678 h 860"/>
                <a:gd name="T54" fmla="*/ 436 w 873"/>
                <a:gd name="T55" fmla="*/ 698 h 860"/>
                <a:gd name="T56" fmla="*/ 544 w 873"/>
                <a:gd name="T57" fmla="*/ 678 h 860"/>
                <a:gd name="T58" fmla="*/ 625 w 873"/>
                <a:gd name="T59" fmla="*/ 620 h 860"/>
                <a:gd name="T60" fmla="*/ 678 w 873"/>
                <a:gd name="T61" fmla="*/ 536 h 860"/>
                <a:gd name="T62" fmla="*/ 694 w 873"/>
                <a:gd name="T63" fmla="*/ 431 h 860"/>
                <a:gd name="T64" fmla="*/ 675 w 873"/>
                <a:gd name="T65" fmla="*/ 328 h 860"/>
                <a:gd name="T66" fmla="*/ 622 w 873"/>
                <a:gd name="T67" fmla="*/ 242 h 860"/>
                <a:gd name="T68" fmla="*/ 542 w 873"/>
                <a:gd name="T69" fmla="*/ 184 h 860"/>
                <a:gd name="T70" fmla="*/ 436 w 873"/>
                <a:gd name="T71" fmla="*/ 161 h 860"/>
                <a:gd name="T72" fmla="*/ 436 w 873"/>
                <a:gd name="T73"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60">
                  <a:moveTo>
                    <a:pt x="436" y="0"/>
                  </a:moveTo>
                  <a:lnTo>
                    <a:pt x="436" y="0"/>
                  </a:lnTo>
                  <a:cubicBezTo>
                    <a:pt x="500" y="0"/>
                    <a:pt x="558" y="11"/>
                    <a:pt x="611" y="34"/>
                  </a:cubicBezTo>
                  <a:cubicBezTo>
                    <a:pt x="667" y="59"/>
                    <a:pt x="711" y="86"/>
                    <a:pt x="750" y="125"/>
                  </a:cubicBezTo>
                  <a:cubicBezTo>
                    <a:pt x="789" y="164"/>
                    <a:pt x="819" y="209"/>
                    <a:pt x="842" y="261"/>
                  </a:cubicBezTo>
                  <a:cubicBezTo>
                    <a:pt x="861" y="314"/>
                    <a:pt x="872" y="370"/>
                    <a:pt x="872" y="431"/>
                  </a:cubicBezTo>
                  <a:cubicBezTo>
                    <a:pt x="872" y="492"/>
                    <a:pt x="861" y="547"/>
                    <a:pt x="842" y="600"/>
                  </a:cubicBezTo>
                  <a:cubicBezTo>
                    <a:pt x="819" y="653"/>
                    <a:pt x="792" y="698"/>
                    <a:pt x="753" y="736"/>
                  </a:cubicBezTo>
                  <a:cubicBezTo>
                    <a:pt x="714" y="775"/>
                    <a:pt x="669" y="806"/>
                    <a:pt x="614" y="825"/>
                  </a:cubicBezTo>
                  <a:cubicBezTo>
                    <a:pt x="561" y="847"/>
                    <a:pt x="500" y="859"/>
                    <a:pt x="436" y="859"/>
                  </a:cubicBezTo>
                  <a:cubicBezTo>
                    <a:pt x="369" y="859"/>
                    <a:pt x="308" y="847"/>
                    <a:pt x="256" y="825"/>
                  </a:cubicBezTo>
                  <a:cubicBezTo>
                    <a:pt x="203" y="806"/>
                    <a:pt x="156" y="775"/>
                    <a:pt x="119" y="736"/>
                  </a:cubicBezTo>
                  <a:cubicBezTo>
                    <a:pt x="80" y="698"/>
                    <a:pt x="53" y="653"/>
                    <a:pt x="31" y="600"/>
                  </a:cubicBezTo>
                  <a:cubicBezTo>
                    <a:pt x="11" y="547"/>
                    <a:pt x="0" y="492"/>
                    <a:pt x="0" y="431"/>
                  </a:cubicBezTo>
                  <a:cubicBezTo>
                    <a:pt x="0" y="370"/>
                    <a:pt x="11" y="314"/>
                    <a:pt x="31" y="261"/>
                  </a:cubicBezTo>
                  <a:cubicBezTo>
                    <a:pt x="53" y="209"/>
                    <a:pt x="80" y="164"/>
                    <a:pt x="119" y="125"/>
                  </a:cubicBezTo>
                  <a:cubicBezTo>
                    <a:pt x="158" y="86"/>
                    <a:pt x="203" y="59"/>
                    <a:pt x="258" y="34"/>
                  </a:cubicBezTo>
                  <a:cubicBezTo>
                    <a:pt x="311" y="11"/>
                    <a:pt x="369" y="0"/>
                    <a:pt x="436" y="0"/>
                  </a:cubicBezTo>
                  <a:lnTo>
                    <a:pt x="436" y="161"/>
                  </a:lnTo>
                  <a:lnTo>
                    <a:pt x="436" y="161"/>
                  </a:lnTo>
                  <a:cubicBezTo>
                    <a:pt x="394" y="161"/>
                    <a:pt x="358" y="170"/>
                    <a:pt x="328" y="184"/>
                  </a:cubicBezTo>
                  <a:cubicBezTo>
                    <a:pt x="294" y="198"/>
                    <a:pt x="269" y="217"/>
                    <a:pt x="247" y="242"/>
                  </a:cubicBezTo>
                  <a:cubicBezTo>
                    <a:pt x="225" y="267"/>
                    <a:pt x="206" y="298"/>
                    <a:pt x="194" y="328"/>
                  </a:cubicBezTo>
                  <a:cubicBezTo>
                    <a:pt x="183" y="361"/>
                    <a:pt x="178" y="395"/>
                    <a:pt x="178" y="431"/>
                  </a:cubicBezTo>
                  <a:cubicBezTo>
                    <a:pt x="178" y="470"/>
                    <a:pt x="183" y="503"/>
                    <a:pt x="194" y="536"/>
                  </a:cubicBezTo>
                  <a:cubicBezTo>
                    <a:pt x="206" y="567"/>
                    <a:pt x="225" y="595"/>
                    <a:pt x="247" y="620"/>
                  </a:cubicBezTo>
                  <a:cubicBezTo>
                    <a:pt x="269" y="645"/>
                    <a:pt x="294" y="664"/>
                    <a:pt x="328" y="678"/>
                  </a:cubicBezTo>
                  <a:cubicBezTo>
                    <a:pt x="358" y="692"/>
                    <a:pt x="394" y="698"/>
                    <a:pt x="436" y="698"/>
                  </a:cubicBezTo>
                  <a:cubicBezTo>
                    <a:pt x="475" y="698"/>
                    <a:pt x="511" y="692"/>
                    <a:pt x="544" y="678"/>
                  </a:cubicBezTo>
                  <a:cubicBezTo>
                    <a:pt x="575" y="664"/>
                    <a:pt x="603" y="645"/>
                    <a:pt x="625" y="620"/>
                  </a:cubicBezTo>
                  <a:cubicBezTo>
                    <a:pt x="647" y="595"/>
                    <a:pt x="664" y="567"/>
                    <a:pt x="678" y="536"/>
                  </a:cubicBezTo>
                  <a:cubicBezTo>
                    <a:pt x="689" y="503"/>
                    <a:pt x="694" y="470"/>
                    <a:pt x="694" y="431"/>
                  </a:cubicBezTo>
                  <a:cubicBezTo>
                    <a:pt x="694" y="395"/>
                    <a:pt x="689" y="361"/>
                    <a:pt x="675" y="328"/>
                  </a:cubicBezTo>
                  <a:cubicBezTo>
                    <a:pt x="664" y="298"/>
                    <a:pt x="644" y="267"/>
                    <a:pt x="622" y="242"/>
                  </a:cubicBezTo>
                  <a:cubicBezTo>
                    <a:pt x="600" y="217"/>
                    <a:pt x="572" y="198"/>
                    <a:pt x="542" y="184"/>
                  </a:cubicBezTo>
                  <a:cubicBezTo>
                    <a:pt x="508" y="170"/>
                    <a:pt x="472" y="161"/>
                    <a:pt x="436" y="161"/>
                  </a:cubicBezTo>
                  <a:lnTo>
                    <a:pt x="43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6" name="Freeform 33">
              <a:extLst>
                <a:ext uri="{FF2B5EF4-FFF2-40B4-BE49-F238E27FC236}">
                  <a16:creationId xmlns:a16="http://schemas.microsoft.com/office/drawing/2014/main" id="{5CF4A206-F53D-1944-A7FE-2F43061F8665}"/>
                </a:ext>
              </a:extLst>
            </p:cNvPr>
            <p:cNvSpPr>
              <a:spLocks noChangeArrowheads="1"/>
            </p:cNvSpPr>
            <p:nvPr userDrawn="1"/>
          </p:nvSpPr>
          <p:spPr bwMode="auto">
            <a:xfrm>
              <a:off x="7431088" y="3627438"/>
              <a:ext cx="323850" cy="427037"/>
            </a:xfrm>
            <a:custGeom>
              <a:avLst/>
              <a:gdLst>
                <a:gd name="T0" fmla="*/ 175 w 898"/>
                <a:gd name="T1" fmla="*/ 0 h 1185"/>
                <a:gd name="T2" fmla="*/ 175 w 898"/>
                <a:gd name="T3" fmla="*/ 0 h 1185"/>
                <a:gd name="T4" fmla="*/ 175 w 898"/>
                <a:gd name="T5" fmla="*/ 472 h 1185"/>
                <a:gd name="T6" fmla="*/ 231 w 898"/>
                <a:gd name="T7" fmla="*/ 409 h 1185"/>
                <a:gd name="T8" fmla="*/ 306 w 898"/>
                <a:gd name="T9" fmla="*/ 361 h 1185"/>
                <a:gd name="T10" fmla="*/ 389 w 898"/>
                <a:gd name="T11" fmla="*/ 334 h 1185"/>
                <a:gd name="T12" fmla="*/ 472 w 898"/>
                <a:gd name="T13" fmla="*/ 325 h 1185"/>
                <a:gd name="T14" fmla="*/ 639 w 898"/>
                <a:gd name="T15" fmla="*/ 353 h 1185"/>
                <a:gd name="T16" fmla="*/ 775 w 898"/>
                <a:gd name="T17" fmla="*/ 434 h 1185"/>
                <a:gd name="T18" fmla="*/ 867 w 898"/>
                <a:gd name="T19" fmla="*/ 570 h 1185"/>
                <a:gd name="T20" fmla="*/ 897 w 898"/>
                <a:gd name="T21" fmla="*/ 753 h 1185"/>
                <a:gd name="T22" fmla="*/ 864 w 898"/>
                <a:gd name="T23" fmla="*/ 936 h 1185"/>
                <a:gd name="T24" fmla="*/ 775 w 898"/>
                <a:gd name="T25" fmla="*/ 1072 h 1185"/>
                <a:gd name="T26" fmla="*/ 639 w 898"/>
                <a:gd name="T27" fmla="*/ 1156 h 1185"/>
                <a:gd name="T28" fmla="*/ 467 w 898"/>
                <a:gd name="T29" fmla="*/ 1184 h 1185"/>
                <a:gd name="T30" fmla="*/ 303 w 898"/>
                <a:gd name="T31" fmla="*/ 1150 h 1185"/>
                <a:gd name="T32" fmla="*/ 175 w 898"/>
                <a:gd name="T33" fmla="*/ 1036 h 1185"/>
                <a:gd name="T34" fmla="*/ 167 w 898"/>
                <a:gd name="T35" fmla="*/ 1167 h 1185"/>
                <a:gd name="T36" fmla="*/ 0 w 898"/>
                <a:gd name="T37" fmla="*/ 1167 h 1185"/>
                <a:gd name="T38" fmla="*/ 0 w 898"/>
                <a:gd name="T39" fmla="*/ 0 h 1185"/>
                <a:gd name="T40" fmla="*/ 175 w 898"/>
                <a:gd name="T41" fmla="*/ 0 h 1185"/>
                <a:gd name="T42" fmla="*/ 456 w 898"/>
                <a:gd name="T43" fmla="*/ 486 h 1185"/>
                <a:gd name="T44" fmla="*/ 456 w 898"/>
                <a:gd name="T45" fmla="*/ 486 h 1185"/>
                <a:gd name="T46" fmla="*/ 353 w 898"/>
                <a:gd name="T47" fmla="*/ 506 h 1185"/>
                <a:gd name="T48" fmla="*/ 267 w 898"/>
                <a:gd name="T49" fmla="*/ 559 h 1185"/>
                <a:gd name="T50" fmla="*/ 208 w 898"/>
                <a:gd name="T51" fmla="*/ 645 h 1185"/>
                <a:gd name="T52" fmla="*/ 186 w 898"/>
                <a:gd name="T53" fmla="*/ 753 h 1185"/>
                <a:gd name="T54" fmla="*/ 208 w 898"/>
                <a:gd name="T55" fmla="*/ 864 h 1185"/>
                <a:gd name="T56" fmla="*/ 267 w 898"/>
                <a:gd name="T57" fmla="*/ 950 h 1185"/>
                <a:gd name="T58" fmla="*/ 350 w 898"/>
                <a:gd name="T59" fmla="*/ 1003 h 1185"/>
                <a:gd name="T60" fmla="*/ 456 w 898"/>
                <a:gd name="T61" fmla="*/ 1023 h 1185"/>
                <a:gd name="T62" fmla="*/ 558 w 898"/>
                <a:gd name="T63" fmla="*/ 1006 h 1185"/>
                <a:gd name="T64" fmla="*/ 645 w 898"/>
                <a:gd name="T65" fmla="*/ 950 h 1185"/>
                <a:gd name="T66" fmla="*/ 700 w 898"/>
                <a:gd name="T67" fmla="*/ 867 h 1185"/>
                <a:gd name="T68" fmla="*/ 722 w 898"/>
                <a:gd name="T69" fmla="*/ 753 h 1185"/>
                <a:gd name="T70" fmla="*/ 700 w 898"/>
                <a:gd name="T71" fmla="*/ 639 h 1185"/>
                <a:gd name="T72" fmla="*/ 645 w 898"/>
                <a:gd name="T73" fmla="*/ 556 h 1185"/>
                <a:gd name="T74" fmla="*/ 558 w 898"/>
                <a:gd name="T75" fmla="*/ 503 h 1185"/>
                <a:gd name="T76" fmla="*/ 456 w 898"/>
                <a:gd name="T77" fmla="*/ 48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8" h="1185">
                  <a:moveTo>
                    <a:pt x="175" y="0"/>
                  </a:moveTo>
                  <a:lnTo>
                    <a:pt x="175" y="0"/>
                  </a:lnTo>
                  <a:cubicBezTo>
                    <a:pt x="175" y="472"/>
                    <a:pt x="175" y="472"/>
                    <a:pt x="175" y="472"/>
                  </a:cubicBezTo>
                  <a:cubicBezTo>
                    <a:pt x="189" y="448"/>
                    <a:pt x="208" y="425"/>
                    <a:pt x="231" y="409"/>
                  </a:cubicBezTo>
                  <a:cubicBezTo>
                    <a:pt x="253" y="389"/>
                    <a:pt x="278" y="373"/>
                    <a:pt x="306" y="361"/>
                  </a:cubicBezTo>
                  <a:cubicBezTo>
                    <a:pt x="334" y="350"/>
                    <a:pt x="361" y="339"/>
                    <a:pt x="389" y="334"/>
                  </a:cubicBezTo>
                  <a:cubicBezTo>
                    <a:pt x="417" y="328"/>
                    <a:pt x="445" y="325"/>
                    <a:pt x="472" y="325"/>
                  </a:cubicBezTo>
                  <a:cubicBezTo>
                    <a:pt x="531" y="325"/>
                    <a:pt x="589" y="334"/>
                    <a:pt x="639" y="353"/>
                  </a:cubicBezTo>
                  <a:cubicBezTo>
                    <a:pt x="692" y="370"/>
                    <a:pt x="739" y="397"/>
                    <a:pt x="775" y="434"/>
                  </a:cubicBezTo>
                  <a:cubicBezTo>
                    <a:pt x="814" y="470"/>
                    <a:pt x="845" y="514"/>
                    <a:pt x="867" y="570"/>
                  </a:cubicBezTo>
                  <a:cubicBezTo>
                    <a:pt x="886" y="623"/>
                    <a:pt x="897" y="684"/>
                    <a:pt x="897" y="753"/>
                  </a:cubicBezTo>
                  <a:cubicBezTo>
                    <a:pt x="897" y="823"/>
                    <a:pt x="886" y="884"/>
                    <a:pt x="864" y="936"/>
                  </a:cubicBezTo>
                  <a:cubicBezTo>
                    <a:pt x="842" y="989"/>
                    <a:pt x="811" y="1036"/>
                    <a:pt x="775" y="1072"/>
                  </a:cubicBezTo>
                  <a:cubicBezTo>
                    <a:pt x="736" y="1109"/>
                    <a:pt x="692" y="1136"/>
                    <a:pt x="639" y="1156"/>
                  </a:cubicBezTo>
                  <a:cubicBezTo>
                    <a:pt x="586" y="1175"/>
                    <a:pt x="531" y="1184"/>
                    <a:pt x="467" y="1184"/>
                  </a:cubicBezTo>
                  <a:cubicBezTo>
                    <a:pt x="411" y="1184"/>
                    <a:pt x="356" y="1172"/>
                    <a:pt x="303" y="1150"/>
                  </a:cubicBezTo>
                  <a:cubicBezTo>
                    <a:pt x="253" y="1128"/>
                    <a:pt x="208" y="1089"/>
                    <a:pt x="175" y="1036"/>
                  </a:cubicBezTo>
                  <a:cubicBezTo>
                    <a:pt x="167" y="1167"/>
                    <a:pt x="167" y="1167"/>
                    <a:pt x="167" y="1167"/>
                  </a:cubicBezTo>
                  <a:cubicBezTo>
                    <a:pt x="0" y="1167"/>
                    <a:pt x="0" y="1167"/>
                    <a:pt x="0" y="1167"/>
                  </a:cubicBezTo>
                  <a:cubicBezTo>
                    <a:pt x="0" y="0"/>
                    <a:pt x="0" y="0"/>
                    <a:pt x="0" y="0"/>
                  </a:cubicBezTo>
                  <a:lnTo>
                    <a:pt x="175" y="0"/>
                  </a:lnTo>
                  <a:close/>
                  <a:moveTo>
                    <a:pt x="456" y="486"/>
                  </a:moveTo>
                  <a:lnTo>
                    <a:pt x="456" y="486"/>
                  </a:lnTo>
                  <a:cubicBezTo>
                    <a:pt x="420" y="486"/>
                    <a:pt x="383" y="492"/>
                    <a:pt x="353" y="506"/>
                  </a:cubicBezTo>
                  <a:cubicBezTo>
                    <a:pt x="320" y="517"/>
                    <a:pt x="289" y="536"/>
                    <a:pt x="267" y="559"/>
                  </a:cubicBezTo>
                  <a:cubicBezTo>
                    <a:pt x="242" y="584"/>
                    <a:pt x="222" y="611"/>
                    <a:pt x="208" y="645"/>
                  </a:cubicBezTo>
                  <a:cubicBezTo>
                    <a:pt x="195" y="678"/>
                    <a:pt x="186" y="714"/>
                    <a:pt x="186" y="753"/>
                  </a:cubicBezTo>
                  <a:cubicBezTo>
                    <a:pt x="186" y="795"/>
                    <a:pt x="195" y="831"/>
                    <a:pt x="208" y="864"/>
                  </a:cubicBezTo>
                  <a:cubicBezTo>
                    <a:pt x="222" y="897"/>
                    <a:pt x="242" y="925"/>
                    <a:pt x="267" y="950"/>
                  </a:cubicBezTo>
                  <a:cubicBezTo>
                    <a:pt x="289" y="972"/>
                    <a:pt x="320" y="992"/>
                    <a:pt x="350" y="1003"/>
                  </a:cubicBezTo>
                  <a:cubicBezTo>
                    <a:pt x="383" y="1017"/>
                    <a:pt x="420" y="1023"/>
                    <a:pt x="456" y="1023"/>
                  </a:cubicBezTo>
                  <a:cubicBezTo>
                    <a:pt x="492" y="1023"/>
                    <a:pt x="528" y="1017"/>
                    <a:pt x="558" y="1006"/>
                  </a:cubicBezTo>
                  <a:cubicBezTo>
                    <a:pt x="592" y="992"/>
                    <a:pt x="620" y="975"/>
                    <a:pt x="645" y="950"/>
                  </a:cubicBezTo>
                  <a:cubicBezTo>
                    <a:pt x="667" y="928"/>
                    <a:pt x="686" y="900"/>
                    <a:pt x="700" y="867"/>
                  </a:cubicBezTo>
                  <a:cubicBezTo>
                    <a:pt x="714" y="834"/>
                    <a:pt x="722" y="795"/>
                    <a:pt x="722" y="753"/>
                  </a:cubicBezTo>
                  <a:cubicBezTo>
                    <a:pt x="722" y="711"/>
                    <a:pt x="714" y="672"/>
                    <a:pt x="700" y="639"/>
                  </a:cubicBezTo>
                  <a:cubicBezTo>
                    <a:pt x="686" y="609"/>
                    <a:pt x="667" y="581"/>
                    <a:pt x="645" y="556"/>
                  </a:cubicBezTo>
                  <a:cubicBezTo>
                    <a:pt x="620" y="534"/>
                    <a:pt x="592" y="517"/>
                    <a:pt x="558" y="503"/>
                  </a:cubicBezTo>
                  <a:cubicBezTo>
                    <a:pt x="528" y="492"/>
                    <a:pt x="492" y="486"/>
                    <a:pt x="456" y="486"/>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7" name="Freeform 34">
              <a:extLst>
                <a:ext uri="{FF2B5EF4-FFF2-40B4-BE49-F238E27FC236}">
                  <a16:creationId xmlns:a16="http://schemas.microsoft.com/office/drawing/2014/main" id="{721AEE28-67D2-9249-97C2-EEF0842E5ECE}"/>
                </a:ext>
              </a:extLst>
            </p:cNvPr>
            <p:cNvSpPr>
              <a:spLocks noChangeArrowheads="1"/>
            </p:cNvSpPr>
            <p:nvPr userDrawn="1"/>
          </p:nvSpPr>
          <p:spPr bwMode="auto">
            <a:xfrm>
              <a:off x="7804150" y="3743325"/>
              <a:ext cx="315913"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5 w 876"/>
                <a:gd name="T11" fmla="*/ 680 h 864"/>
                <a:gd name="T12" fmla="*/ 703 w 876"/>
                <a:gd name="T13" fmla="*/ 616 h 864"/>
                <a:gd name="T14" fmla="*/ 817 w 876"/>
                <a:gd name="T15" fmla="*/ 724 h 864"/>
                <a:gd name="T16" fmla="*/ 742 w 876"/>
                <a:gd name="T17" fmla="*/ 786 h 864"/>
                <a:gd name="T18" fmla="*/ 653 w 876"/>
                <a:gd name="T19" fmla="*/ 830 h 864"/>
                <a:gd name="T20" fmla="*/ 556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5 w 876"/>
                <a:gd name="T35" fmla="*/ 119 h 864"/>
                <a:gd name="T36" fmla="*/ 264 w 876"/>
                <a:gd name="T37" fmla="*/ 30 h 864"/>
                <a:gd name="T38" fmla="*/ 445 w 876"/>
                <a:gd name="T39" fmla="*/ 0 h 864"/>
                <a:gd name="T40" fmla="*/ 628 w 876"/>
                <a:gd name="T41" fmla="*/ 30 h 864"/>
                <a:gd name="T42" fmla="*/ 770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3 w 876"/>
                <a:gd name="T55" fmla="*/ 202 h 864"/>
                <a:gd name="T56" fmla="*/ 450 w 876"/>
                <a:gd name="T57" fmla="*/ 152 h 864"/>
                <a:gd name="T58" fmla="*/ 281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20" y="686"/>
                    <a:pt x="381" y="705"/>
                    <a:pt x="459" y="705"/>
                  </a:cubicBezTo>
                  <a:cubicBezTo>
                    <a:pt x="503" y="705"/>
                    <a:pt x="548" y="697"/>
                    <a:pt x="595" y="680"/>
                  </a:cubicBezTo>
                  <a:cubicBezTo>
                    <a:pt x="642" y="666"/>
                    <a:pt x="678" y="644"/>
                    <a:pt x="703" y="616"/>
                  </a:cubicBezTo>
                  <a:cubicBezTo>
                    <a:pt x="817" y="724"/>
                    <a:pt x="817" y="724"/>
                    <a:pt x="817" y="724"/>
                  </a:cubicBezTo>
                  <a:cubicBezTo>
                    <a:pt x="798" y="747"/>
                    <a:pt x="770" y="769"/>
                    <a:pt x="742" y="786"/>
                  </a:cubicBezTo>
                  <a:cubicBezTo>
                    <a:pt x="714" y="802"/>
                    <a:pt x="684" y="819"/>
                    <a:pt x="653" y="830"/>
                  </a:cubicBezTo>
                  <a:cubicBezTo>
                    <a:pt x="623" y="841"/>
                    <a:pt x="589" y="849"/>
                    <a:pt x="556" y="855"/>
                  </a:cubicBezTo>
                  <a:cubicBezTo>
                    <a:pt x="520" y="861"/>
                    <a:pt x="486" y="863"/>
                    <a:pt x="456" y="863"/>
                  </a:cubicBezTo>
                  <a:cubicBezTo>
                    <a:pt x="386" y="863"/>
                    <a:pt x="323" y="855"/>
                    <a:pt x="267" y="833"/>
                  </a:cubicBezTo>
                  <a:cubicBezTo>
                    <a:pt x="212" y="813"/>
                    <a:pt x="164" y="783"/>
                    <a:pt x="125" y="747"/>
                  </a:cubicBezTo>
                  <a:cubicBezTo>
                    <a:pt x="86" y="708"/>
                    <a:pt x="56" y="661"/>
                    <a:pt x="34" y="608"/>
                  </a:cubicBezTo>
                  <a:cubicBezTo>
                    <a:pt x="12" y="552"/>
                    <a:pt x="0" y="494"/>
                    <a:pt x="0" y="427"/>
                  </a:cubicBezTo>
                  <a:cubicBezTo>
                    <a:pt x="0" y="366"/>
                    <a:pt x="12" y="308"/>
                    <a:pt x="34" y="255"/>
                  </a:cubicBezTo>
                  <a:cubicBezTo>
                    <a:pt x="56" y="202"/>
                    <a:pt x="86" y="158"/>
                    <a:pt x="125" y="119"/>
                  </a:cubicBezTo>
                  <a:cubicBezTo>
                    <a:pt x="164" y="80"/>
                    <a:pt x="209" y="52"/>
                    <a:pt x="264" y="30"/>
                  </a:cubicBezTo>
                  <a:cubicBezTo>
                    <a:pt x="317" y="8"/>
                    <a:pt x="378" y="0"/>
                    <a:pt x="445" y="0"/>
                  </a:cubicBezTo>
                  <a:cubicBezTo>
                    <a:pt x="511" y="0"/>
                    <a:pt x="573" y="8"/>
                    <a:pt x="628" y="30"/>
                  </a:cubicBezTo>
                  <a:cubicBezTo>
                    <a:pt x="684" y="50"/>
                    <a:pt x="731" y="80"/>
                    <a:pt x="770" y="122"/>
                  </a:cubicBezTo>
                  <a:cubicBezTo>
                    <a:pt x="809" y="163"/>
                    <a:pt x="836" y="216"/>
                    <a:pt x="853" y="277"/>
                  </a:cubicBezTo>
                  <a:cubicBezTo>
                    <a:pt x="870" y="341"/>
                    <a:pt x="875" y="413"/>
                    <a:pt x="867" y="497"/>
                  </a:cubicBezTo>
                  <a:lnTo>
                    <a:pt x="186" y="352"/>
                  </a:lnTo>
                  <a:lnTo>
                    <a:pt x="186" y="352"/>
                  </a:lnTo>
                  <a:cubicBezTo>
                    <a:pt x="698" y="352"/>
                    <a:pt x="698" y="352"/>
                    <a:pt x="698" y="352"/>
                  </a:cubicBezTo>
                  <a:cubicBezTo>
                    <a:pt x="692" y="286"/>
                    <a:pt x="667" y="236"/>
                    <a:pt x="623" y="202"/>
                  </a:cubicBezTo>
                  <a:cubicBezTo>
                    <a:pt x="578" y="169"/>
                    <a:pt x="520" y="152"/>
                    <a:pt x="450" y="152"/>
                  </a:cubicBezTo>
                  <a:cubicBezTo>
                    <a:pt x="384" y="152"/>
                    <a:pt x="328" y="169"/>
                    <a:pt x="281"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9" name="Freeform 36">
              <a:extLst>
                <a:ext uri="{FF2B5EF4-FFF2-40B4-BE49-F238E27FC236}">
                  <a16:creationId xmlns:a16="http://schemas.microsoft.com/office/drawing/2014/main" id="{94F82546-F7D5-734A-8AE0-05FA12E572B7}"/>
                </a:ext>
              </a:extLst>
            </p:cNvPr>
            <p:cNvSpPr>
              <a:spLocks noChangeArrowheads="1"/>
            </p:cNvSpPr>
            <p:nvPr userDrawn="1"/>
          </p:nvSpPr>
          <p:spPr bwMode="auto">
            <a:xfrm>
              <a:off x="6570663" y="3024188"/>
              <a:ext cx="77787" cy="76200"/>
            </a:xfrm>
            <a:custGeom>
              <a:avLst/>
              <a:gdLst>
                <a:gd name="T0" fmla="*/ 0 w 218"/>
                <a:gd name="T1" fmla="*/ 106 h 213"/>
                <a:gd name="T2" fmla="*/ 0 w 218"/>
                <a:gd name="T3" fmla="*/ 106 h 213"/>
                <a:gd name="T4" fmla="*/ 33 w 218"/>
                <a:gd name="T5" fmla="*/ 25 h 213"/>
                <a:gd name="T6" fmla="*/ 108 w 218"/>
                <a:gd name="T7" fmla="*/ 0 h 213"/>
                <a:gd name="T8" fmla="*/ 183 w 218"/>
                <a:gd name="T9" fmla="*/ 25 h 213"/>
                <a:gd name="T10" fmla="*/ 217 w 218"/>
                <a:gd name="T11" fmla="*/ 106 h 213"/>
                <a:gd name="T12" fmla="*/ 183 w 218"/>
                <a:gd name="T13" fmla="*/ 184 h 213"/>
                <a:gd name="T14" fmla="*/ 108 w 218"/>
                <a:gd name="T15" fmla="*/ 212 h 213"/>
                <a:gd name="T16" fmla="*/ 33 w 218"/>
                <a:gd name="T17" fmla="*/ 184 h 213"/>
                <a:gd name="T18" fmla="*/ 0 w 218"/>
                <a:gd name="T19" fmla="*/ 10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3">
                  <a:moveTo>
                    <a:pt x="0" y="106"/>
                  </a:moveTo>
                  <a:lnTo>
                    <a:pt x="0" y="106"/>
                  </a:lnTo>
                  <a:cubicBezTo>
                    <a:pt x="0" y="70"/>
                    <a:pt x="11" y="42"/>
                    <a:pt x="33" y="25"/>
                  </a:cubicBezTo>
                  <a:cubicBezTo>
                    <a:pt x="56" y="9"/>
                    <a:pt x="80" y="0"/>
                    <a:pt x="108" y="0"/>
                  </a:cubicBezTo>
                  <a:cubicBezTo>
                    <a:pt x="136" y="0"/>
                    <a:pt x="161" y="9"/>
                    <a:pt x="183" y="25"/>
                  </a:cubicBezTo>
                  <a:cubicBezTo>
                    <a:pt x="206" y="42"/>
                    <a:pt x="217" y="70"/>
                    <a:pt x="217" y="106"/>
                  </a:cubicBezTo>
                  <a:cubicBezTo>
                    <a:pt x="217" y="139"/>
                    <a:pt x="206" y="167"/>
                    <a:pt x="183" y="184"/>
                  </a:cubicBezTo>
                  <a:cubicBezTo>
                    <a:pt x="161" y="203"/>
                    <a:pt x="136" y="212"/>
                    <a:pt x="108" y="212"/>
                  </a:cubicBezTo>
                  <a:cubicBezTo>
                    <a:pt x="80" y="212"/>
                    <a:pt x="56" y="203"/>
                    <a:pt x="33" y="184"/>
                  </a:cubicBezTo>
                  <a:cubicBezTo>
                    <a:pt x="11" y="167"/>
                    <a:pt x="0" y="139"/>
                    <a:pt x="0" y="106"/>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0" name="Freeform 37">
              <a:extLst>
                <a:ext uri="{FF2B5EF4-FFF2-40B4-BE49-F238E27FC236}">
                  <a16:creationId xmlns:a16="http://schemas.microsoft.com/office/drawing/2014/main" id="{F32F4CFE-B218-A640-BC61-78FC631429B0}"/>
                </a:ext>
              </a:extLst>
            </p:cNvPr>
            <p:cNvSpPr>
              <a:spLocks noChangeArrowheads="1"/>
            </p:cNvSpPr>
            <p:nvPr userDrawn="1"/>
          </p:nvSpPr>
          <p:spPr bwMode="auto">
            <a:xfrm>
              <a:off x="2690813" y="3625850"/>
              <a:ext cx="79375" cy="77788"/>
            </a:xfrm>
            <a:custGeom>
              <a:avLst/>
              <a:gdLst>
                <a:gd name="T0" fmla="*/ 0 w 221"/>
                <a:gd name="T1" fmla="*/ 105 h 215"/>
                <a:gd name="T2" fmla="*/ 0 w 221"/>
                <a:gd name="T3" fmla="*/ 105 h 215"/>
                <a:gd name="T4" fmla="*/ 34 w 221"/>
                <a:gd name="T5" fmla="*/ 28 h 215"/>
                <a:gd name="T6" fmla="*/ 111 w 221"/>
                <a:gd name="T7" fmla="*/ 0 h 215"/>
                <a:gd name="T8" fmla="*/ 186 w 221"/>
                <a:gd name="T9" fmla="*/ 28 h 215"/>
                <a:gd name="T10" fmla="*/ 220 w 221"/>
                <a:gd name="T11" fmla="*/ 105 h 215"/>
                <a:gd name="T12" fmla="*/ 186 w 221"/>
                <a:gd name="T13" fmla="*/ 186 h 215"/>
                <a:gd name="T14" fmla="*/ 111 w 221"/>
                <a:gd name="T15" fmla="*/ 214 h 215"/>
                <a:gd name="T16" fmla="*/ 34 w 221"/>
                <a:gd name="T17" fmla="*/ 186 h 215"/>
                <a:gd name="T18" fmla="*/ 0 w 221"/>
                <a:gd name="T19" fmla="*/ 10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215">
                  <a:moveTo>
                    <a:pt x="0" y="105"/>
                  </a:moveTo>
                  <a:lnTo>
                    <a:pt x="0" y="105"/>
                  </a:lnTo>
                  <a:cubicBezTo>
                    <a:pt x="0" y="69"/>
                    <a:pt x="11" y="44"/>
                    <a:pt x="34" y="28"/>
                  </a:cubicBezTo>
                  <a:cubicBezTo>
                    <a:pt x="59" y="8"/>
                    <a:pt x="84" y="0"/>
                    <a:pt x="111" y="0"/>
                  </a:cubicBezTo>
                  <a:cubicBezTo>
                    <a:pt x="136" y="0"/>
                    <a:pt x="161" y="8"/>
                    <a:pt x="186" y="28"/>
                  </a:cubicBezTo>
                  <a:cubicBezTo>
                    <a:pt x="209" y="44"/>
                    <a:pt x="220" y="69"/>
                    <a:pt x="220" y="105"/>
                  </a:cubicBezTo>
                  <a:cubicBezTo>
                    <a:pt x="220" y="141"/>
                    <a:pt x="209" y="169"/>
                    <a:pt x="186" y="186"/>
                  </a:cubicBezTo>
                  <a:cubicBezTo>
                    <a:pt x="161" y="202"/>
                    <a:pt x="136" y="214"/>
                    <a:pt x="111" y="214"/>
                  </a:cubicBezTo>
                  <a:cubicBezTo>
                    <a:pt x="84" y="214"/>
                    <a:pt x="59" y="202"/>
                    <a:pt x="34" y="186"/>
                  </a:cubicBezTo>
                  <a:cubicBezTo>
                    <a:pt x="11" y="169"/>
                    <a:pt x="0" y="141"/>
                    <a:pt x="0" y="105"/>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Tree>
    <p:extLst>
      <p:ext uri="{BB962C8B-B14F-4D97-AF65-F5344CB8AC3E}">
        <p14:creationId xmlns:p14="http://schemas.microsoft.com/office/powerpoint/2010/main" val="30746393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Odigo-Content_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940C9135-6637-AF45-84D7-EB9299190038}"/>
              </a:ext>
            </a:extLst>
          </p:cNvPr>
          <p:cNvGrpSpPr/>
          <p:nvPr userDrawn="1"/>
        </p:nvGrpSpPr>
        <p:grpSpPr>
          <a:xfrm>
            <a:off x="431799" y="428048"/>
            <a:ext cx="1336166" cy="539307"/>
            <a:chOff x="2286000" y="2193925"/>
            <a:chExt cx="6835775" cy="2759075"/>
          </a:xfrm>
        </p:grpSpPr>
        <p:sp>
          <p:nvSpPr>
            <p:cNvPr id="6" name="Freeform 1">
              <a:extLst>
                <a:ext uri="{FF2B5EF4-FFF2-40B4-BE49-F238E27FC236}">
                  <a16:creationId xmlns:a16="http://schemas.microsoft.com/office/drawing/2014/main" id="{FDABF372-4BE0-594C-9605-B7712E61CA54}"/>
                </a:ext>
              </a:extLst>
            </p:cNvPr>
            <p:cNvSpPr>
              <a:spLocks noChangeArrowheads="1"/>
            </p:cNvSpPr>
            <p:nvPr/>
          </p:nvSpPr>
          <p:spPr bwMode="auto">
            <a:xfrm>
              <a:off x="8378825" y="2471738"/>
              <a:ext cx="742950" cy="706437"/>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 name="Freeform 2">
              <a:extLst>
                <a:ext uri="{FF2B5EF4-FFF2-40B4-BE49-F238E27FC236}">
                  <a16:creationId xmlns:a16="http://schemas.microsoft.com/office/drawing/2014/main" id="{8DD4678A-2B46-2245-B2BC-F7BA7A8F3ACB}"/>
                </a:ext>
              </a:extLst>
            </p:cNvPr>
            <p:cNvSpPr>
              <a:spLocks noChangeArrowheads="1"/>
            </p:cNvSpPr>
            <p:nvPr/>
          </p:nvSpPr>
          <p:spPr bwMode="auto">
            <a:xfrm>
              <a:off x="5299075" y="2781300"/>
              <a:ext cx="333375" cy="1349375"/>
            </a:xfrm>
            <a:custGeom>
              <a:avLst/>
              <a:gdLst>
                <a:gd name="T0" fmla="*/ 0 w 927"/>
                <a:gd name="T1" fmla="*/ 3749 h 3750"/>
                <a:gd name="T2" fmla="*/ 926 w 927"/>
                <a:gd name="T3" fmla="*/ 3749 h 3750"/>
                <a:gd name="T4" fmla="*/ 926 w 927"/>
                <a:gd name="T5" fmla="*/ 0 h 3750"/>
                <a:gd name="T6" fmla="*/ 0 w 927"/>
                <a:gd name="T7" fmla="*/ 0 h 3750"/>
                <a:gd name="T8" fmla="*/ 0 w 927"/>
                <a:gd name="T9" fmla="*/ 3749 h 3750"/>
              </a:gdLst>
              <a:ahLst/>
              <a:cxnLst>
                <a:cxn ang="0">
                  <a:pos x="T0" y="T1"/>
                </a:cxn>
                <a:cxn ang="0">
                  <a:pos x="T2" y="T3"/>
                </a:cxn>
                <a:cxn ang="0">
                  <a:pos x="T4" y="T5"/>
                </a:cxn>
                <a:cxn ang="0">
                  <a:pos x="T6" y="T7"/>
                </a:cxn>
                <a:cxn ang="0">
                  <a:pos x="T8" y="T9"/>
                </a:cxn>
              </a:cxnLst>
              <a:rect l="0" t="0" r="r" b="b"/>
              <a:pathLst>
                <a:path w="927" h="3750">
                  <a:moveTo>
                    <a:pt x="0" y="3749"/>
                  </a:moveTo>
                  <a:lnTo>
                    <a:pt x="926" y="3749"/>
                  </a:lnTo>
                  <a:lnTo>
                    <a:pt x="926" y="0"/>
                  </a:lnTo>
                  <a:lnTo>
                    <a:pt x="0" y="0"/>
                  </a:lnTo>
                  <a:lnTo>
                    <a:pt x="0" y="3749"/>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 name="Freeform 3">
              <a:extLst>
                <a:ext uri="{FF2B5EF4-FFF2-40B4-BE49-F238E27FC236}">
                  <a16:creationId xmlns:a16="http://schemas.microsoft.com/office/drawing/2014/main" id="{43044BC9-00D8-9E44-8BD5-D59C1568C88F}"/>
                </a:ext>
              </a:extLst>
            </p:cNvPr>
            <p:cNvSpPr>
              <a:spLocks noChangeArrowheads="1"/>
            </p:cNvSpPr>
            <p:nvPr/>
          </p:nvSpPr>
          <p:spPr bwMode="auto">
            <a:xfrm>
              <a:off x="3781425" y="2193925"/>
              <a:ext cx="1206500" cy="1973263"/>
            </a:xfrm>
            <a:custGeom>
              <a:avLst/>
              <a:gdLst>
                <a:gd name="T0" fmla="*/ 2426 w 3353"/>
                <a:gd name="T1" fmla="*/ 1631 h 5480"/>
                <a:gd name="T2" fmla="*/ 2426 w 3353"/>
                <a:gd name="T3" fmla="*/ 1631 h 5480"/>
                <a:gd name="T4" fmla="*/ 2459 w 3353"/>
                <a:gd name="T5" fmla="*/ 1940 h 5480"/>
                <a:gd name="T6" fmla="*/ 1290 w 3353"/>
                <a:gd name="T7" fmla="*/ 1532 h 5480"/>
                <a:gd name="T8" fmla="*/ 0 w 3353"/>
                <a:gd name="T9" fmla="*/ 1995 h 5480"/>
                <a:gd name="T10" fmla="*/ 463 w 3353"/>
                <a:gd name="T11" fmla="*/ 2833 h 5480"/>
                <a:gd name="T12" fmla="*/ 1323 w 3353"/>
                <a:gd name="T13" fmla="*/ 2403 h 5480"/>
                <a:gd name="T14" fmla="*/ 2393 w 3353"/>
                <a:gd name="T15" fmla="*/ 3506 h 5480"/>
                <a:gd name="T16" fmla="*/ 1323 w 3353"/>
                <a:gd name="T17" fmla="*/ 4619 h 5480"/>
                <a:gd name="T18" fmla="*/ 485 w 3353"/>
                <a:gd name="T19" fmla="*/ 4178 h 5480"/>
                <a:gd name="T20" fmla="*/ 0 w 3353"/>
                <a:gd name="T21" fmla="*/ 5049 h 5480"/>
                <a:gd name="T22" fmla="*/ 1290 w 3353"/>
                <a:gd name="T23" fmla="*/ 5479 h 5480"/>
                <a:gd name="T24" fmla="*/ 2459 w 3353"/>
                <a:gd name="T25" fmla="*/ 5071 h 5480"/>
                <a:gd name="T26" fmla="*/ 2492 w 3353"/>
                <a:gd name="T27" fmla="*/ 5380 h 5480"/>
                <a:gd name="T28" fmla="*/ 3352 w 3353"/>
                <a:gd name="T29" fmla="*/ 5380 h 5480"/>
                <a:gd name="T30" fmla="*/ 3352 w 3353"/>
                <a:gd name="T31" fmla="*/ 0 h 5480"/>
                <a:gd name="T32" fmla="*/ 2426 w 3353"/>
                <a:gd name="T33" fmla="*/ 0 h 5480"/>
                <a:gd name="T34" fmla="*/ 2426 w 3353"/>
                <a:gd name="T35" fmla="*/ 1631 h 5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53" h="5480">
                  <a:moveTo>
                    <a:pt x="2426" y="1631"/>
                  </a:moveTo>
                  <a:lnTo>
                    <a:pt x="2426" y="1631"/>
                  </a:lnTo>
                  <a:cubicBezTo>
                    <a:pt x="2426" y="1819"/>
                    <a:pt x="2459" y="1940"/>
                    <a:pt x="2459" y="1940"/>
                  </a:cubicBezTo>
                  <a:cubicBezTo>
                    <a:pt x="2150" y="1720"/>
                    <a:pt x="1786" y="1532"/>
                    <a:pt x="1290" y="1532"/>
                  </a:cubicBezTo>
                  <a:cubicBezTo>
                    <a:pt x="794" y="1532"/>
                    <a:pt x="364" y="1720"/>
                    <a:pt x="0" y="1995"/>
                  </a:cubicBezTo>
                  <a:cubicBezTo>
                    <a:pt x="210" y="2249"/>
                    <a:pt x="364" y="2524"/>
                    <a:pt x="463" y="2833"/>
                  </a:cubicBezTo>
                  <a:cubicBezTo>
                    <a:pt x="673" y="2557"/>
                    <a:pt x="948" y="2403"/>
                    <a:pt x="1323" y="2403"/>
                  </a:cubicBezTo>
                  <a:cubicBezTo>
                    <a:pt x="1963" y="2403"/>
                    <a:pt x="2393" y="2833"/>
                    <a:pt x="2393" y="3506"/>
                  </a:cubicBezTo>
                  <a:cubicBezTo>
                    <a:pt x="2393" y="4211"/>
                    <a:pt x="1941" y="4619"/>
                    <a:pt x="1323" y="4619"/>
                  </a:cubicBezTo>
                  <a:cubicBezTo>
                    <a:pt x="982" y="4619"/>
                    <a:pt x="673" y="4465"/>
                    <a:pt x="485" y="4178"/>
                  </a:cubicBezTo>
                  <a:cubicBezTo>
                    <a:pt x="397" y="4520"/>
                    <a:pt x="210" y="4795"/>
                    <a:pt x="0" y="5049"/>
                  </a:cubicBezTo>
                  <a:cubicBezTo>
                    <a:pt x="364" y="5325"/>
                    <a:pt x="794" y="5479"/>
                    <a:pt x="1290" y="5479"/>
                  </a:cubicBezTo>
                  <a:cubicBezTo>
                    <a:pt x="1753" y="5479"/>
                    <a:pt x="2183" y="5292"/>
                    <a:pt x="2459" y="5071"/>
                  </a:cubicBezTo>
                  <a:cubicBezTo>
                    <a:pt x="2492" y="5380"/>
                    <a:pt x="2492" y="5380"/>
                    <a:pt x="2492" y="5380"/>
                  </a:cubicBezTo>
                  <a:cubicBezTo>
                    <a:pt x="3352" y="5380"/>
                    <a:pt x="3352" y="5380"/>
                    <a:pt x="3352" y="5380"/>
                  </a:cubicBezTo>
                  <a:cubicBezTo>
                    <a:pt x="3352" y="0"/>
                    <a:pt x="3352" y="0"/>
                    <a:pt x="3352" y="0"/>
                  </a:cubicBezTo>
                  <a:cubicBezTo>
                    <a:pt x="2426" y="0"/>
                    <a:pt x="2426" y="0"/>
                    <a:pt x="2426" y="0"/>
                  </a:cubicBezTo>
                  <a:lnTo>
                    <a:pt x="2426" y="1631"/>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 name="Freeform 4">
              <a:extLst>
                <a:ext uri="{FF2B5EF4-FFF2-40B4-BE49-F238E27FC236}">
                  <a16:creationId xmlns:a16="http://schemas.microsoft.com/office/drawing/2014/main" id="{BF4E43AD-2C21-9944-994A-CAAF6C963CCC}"/>
                </a:ext>
              </a:extLst>
            </p:cNvPr>
            <p:cNvSpPr>
              <a:spLocks noChangeArrowheads="1"/>
            </p:cNvSpPr>
            <p:nvPr/>
          </p:nvSpPr>
          <p:spPr bwMode="auto">
            <a:xfrm>
              <a:off x="2286000" y="2746375"/>
              <a:ext cx="1441450" cy="1420813"/>
            </a:xfrm>
            <a:custGeom>
              <a:avLst/>
              <a:gdLst>
                <a:gd name="T0" fmla="*/ 1995 w 4003"/>
                <a:gd name="T1" fmla="*/ 0 h 3948"/>
                <a:gd name="T2" fmla="*/ 1995 w 4003"/>
                <a:gd name="T3" fmla="*/ 0 h 3948"/>
                <a:gd name="T4" fmla="*/ 0 w 4003"/>
                <a:gd name="T5" fmla="*/ 1974 h 3948"/>
                <a:gd name="T6" fmla="*/ 1995 w 4003"/>
                <a:gd name="T7" fmla="*/ 3947 h 3948"/>
                <a:gd name="T8" fmla="*/ 4002 w 4003"/>
                <a:gd name="T9" fmla="*/ 1974 h 3948"/>
                <a:gd name="T10" fmla="*/ 1995 w 4003"/>
                <a:gd name="T11" fmla="*/ 0 h 3948"/>
                <a:gd name="T12" fmla="*/ 1995 w 4003"/>
                <a:gd name="T13" fmla="*/ 3087 h 3948"/>
                <a:gd name="T14" fmla="*/ 1995 w 4003"/>
                <a:gd name="T15" fmla="*/ 3087 h 3948"/>
                <a:gd name="T16" fmla="*/ 926 w 4003"/>
                <a:gd name="T17" fmla="*/ 1974 h 3948"/>
                <a:gd name="T18" fmla="*/ 1995 w 4003"/>
                <a:gd name="T19" fmla="*/ 871 h 3948"/>
                <a:gd name="T20" fmla="*/ 3076 w 4003"/>
                <a:gd name="T21" fmla="*/ 1974 h 3948"/>
                <a:gd name="T22" fmla="*/ 1995 w 4003"/>
                <a:gd name="T23" fmla="*/ 3087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3" h="3948">
                  <a:moveTo>
                    <a:pt x="1995" y="0"/>
                  </a:moveTo>
                  <a:lnTo>
                    <a:pt x="1995" y="0"/>
                  </a:lnTo>
                  <a:cubicBezTo>
                    <a:pt x="860" y="0"/>
                    <a:pt x="0" y="893"/>
                    <a:pt x="0" y="1974"/>
                  </a:cubicBezTo>
                  <a:cubicBezTo>
                    <a:pt x="0" y="3109"/>
                    <a:pt x="860" y="3947"/>
                    <a:pt x="1995" y="3947"/>
                  </a:cubicBezTo>
                  <a:cubicBezTo>
                    <a:pt x="3142" y="3947"/>
                    <a:pt x="4002" y="3109"/>
                    <a:pt x="4002" y="1974"/>
                  </a:cubicBezTo>
                  <a:cubicBezTo>
                    <a:pt x="4002" y="893"/>
                    <a:pt x="3142" y="0"/>
                    <a:pt x="1995" y="0"/>
                  </a:cubicBezTo>
                  <a:close/>
                  <a:moveTo>
                    <a:pt x="1995" y="3087"/>
                  </a:moveTo>
                  <a:lnTo>
                    <a:pt x="1995" y="3087"/>
                  </a:lnTo>
                  <a:cubicBezTo>
                    <a:pt x="1389" y="3087"/>
                    <a:pt x="926" y="2624"/>
                    <a:pt x="926" y="1974"/>
                  </a:cubicBezTo>
                  <a:cubicBezTo>
                    <a:pt x="926" y="1356"/>
                    <a:pt x="1356" y="871"/>
                    <a:pt x="1995" y="871"/>
                  </a:cubicBezTo>
                  <a:cubicBezTo>
                    <a:pt x="2646" y="871"/>
                    <a:pt x="3076" y="1356"/>
                    <a:pt x="3076" y="1974"/>
                  </a:cubicBezTo>
                  <a:cubicBezTo>
                    <a:pt x="3076" y="2624"/>
                    <a:pt x="2613" y="3087"/>
                    <a:pt x="1995" y="3087"/>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 name="Freeform 5">
              <a:extLst>
                <a:ext uri="{FF2B5EF4-FFF2-40B4-BE49-F238E27FC236}">
                  <a16:creationId xmlns:a16="http://schemas.microsoft.com/office/drawing/2014/main" id="{246FDFCD-AB8B-B542-BCB9-2A7604ACA518}"/>
                </a:ext>
              </a:extLst>
            </p:cNvPr>
            <p:cNvSpPr>
              <a:spLocks noChangeArrowheads="1"/>
            </p:cNvSpPr>
            <p:nvPr/>
          </p:nvSpPr>
          <p:spPr bwMode="auto">
            <a:xfrm>
              <a:off x="5862638" y="2627313"/>
              <a:ext cx="1420812" cy="2325687"/>
            </a:xfrm>
            <a:custGeom>
              <a:avLst/>
              <a:gdLst>
                <a:gd name="T0" fmla="*/ 3914 w 3948"/>
                <a:gd name="T1" fmla="*/ 2216 h 6462"/>
                <a:gd name="T2" fmla="*/ 3914 w 3948"/>
                <a:gd name="T3" fmla="*/ 2216 h 6462"/>
                <a:gd name="T4" fmla="*/ 3517 w 3948"/>
                <a:gd name="T5" fmla="*/ 1048 h 6462"/>
                <a:gd name="T6" fmla="*/ 3947 w 3948"/>
                <a:gd name="T7" fmla="*/ 519 h 6462"/>
                <a:gd name="T8" fmla="*/ 3263 w 3948"/>
                <a:gd name="T9" fmla="*/ 0 h 6462"/>
                <a:gd name="T10" fmla="*/ 2800 w 3948"/>
                <a:gd name="T11" fmla="*/ 519 h 6462"/>
                <a:gd name="T12" fmla="*/ 1940 w 3948"/>
                <a:gd name="T13" fmla="*/ 331 h 6462"/>
                <a:gd name="T14" fmla="*/ 0 w 3948"/>
                <a:gd name="T15" fmla="*/ 2305 h 6462"/>
                <a:gd name="T16" fmla="*/ 1510 w 3948"/>
                <a:gd name="T17" fmla="*/ 4057 h 6462"/>
                <a:gd name="T18" fmla="*/ 2954 w 3948"/>
                <a:gd name="T19" fmla="*/ 4895 h 6462"/>
                <a:gd name="T20" fmla="*/ 2061 w 3948"/>
                <a:gd name="T21" fmla="*/ 5568 h 6462"/>
                <a:gd name="T22" fmla="*/ 1080 w 3948"/>
                <a:gd name="T23" fmla="*/ 4829 h 6462"/>
                <a:gd name="T24" fmla="*/ 1080 w 3948"/>
                <a:gd name="T25" fmla="*/ 4741 h 6462"/>
                <a:gd name="T26" fmla="*/ 132 w 3948"/>
                <a:gd name="T27" fmla="*/ 4741 h 6462"/>
                <a:gd name="T28" fmla="*/ 132 w 3948"/>
                <a:gd name="T29" fmla="*/ 4829 h 6462"/>
                <a:gd name="T30" fmla="*/ 2039 w 3948"/>
                <a:gd name="T31" fmla="*/ 6461 h 6462"/>
                <a:gd name="T32" fmla="*/ 3914 w 3948"/>
                <a:gd name="T33" fmla="*/ 4951 h 6462"/>
                <a:gd name="T34" fmla="*/ 3021 w 3948"/>
                <a:gd name="T35" fmla="*/ 3694 h 6462"/>
                <a:gd name="T36" fmla="*/ 3914 w 3948"/>
                <a:gd name="T37" fmla="*/ 2216 h 6462"/>
                <a:gd name="T38" fmla="*/ 1940 w 3948"/>
                <a:gd name="T39" fmla="*/ 3286 h 6462"/>
                <a:gd name="T40" fmla="*/ 1940 w 3948"/>
                <a:gd name="T41" fmla="*/ 3286 h 6462"/>
                <a:gd name="T42" fmla="*/ 959 w 3948"/>
                <a:gd name="T43" fmla="*/ 2238 h 6462"/>
                <a:gd name="T44" fmla="*/ 1940 w 3948"/>
                <a:gd name="T45" fmla="*/ 1202 h 6462"/>
                <a:gd name="T46" fmla="*/ 2954 w 3948"/>
                <a:gd name="T47" fmla="*/ 2238 h 6462"/>
                <a:gd name="T48" fmla="*/ 1940 w 3948"/>
                <a:gd name="T49" fmla="*/ 3286 h 6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8" h="6462">
                  <a:moveTo>
                    <a:pt x="3914" y="2216"/>
                  </a:moveTo>
                  <a:lnTo>
                    <a:pt x="3914" y="2216"/>
                  </a:lnTo>
                  <a:cubicBezTo>
                    <a:pt x="3914" y="1786"/>
                    <a:pt x="3759" y="1356"/>
                    <a:pt x="3517" y="1048"/>
                  </a:cubicBezTo>
                  <a:cubicBezTo>
                    <a:pt x="3947" y="519"/>
                    <a:pt x="3947" y="519"/>
                    <a:pt x="3947" y="519"/>
                  </a:cubicBezTo>
                  <a:cubicBezTo>
                    <a:pt x="3263" y="0"/>
                    <a:pt x="3263" y="0"/>
                    <a:pt x="3263" y="0"/>
                  </a:cubicBezTo>
                  <a:cubicBezTo>
                    <a:pt x="2800" y="519"/>
                    <a:pt x="2800" y="519"/>
                    <a:pt x="2800" y="519"/>
                  </a:cubicBezTo>
                  <a:cubicBezTo>
                    <a:pt x="2558" y="397"/>
                    <a:pt x="2282" y="331"/>
                    <a:pt x="1940" y="331"/>
                  </a:cubicBezTo>
                  <a:cubicBezTo>
                    <a:pt x="805" y="331"/>
                    <a:pt x="0" y="1202"/>
                    <a:pt x="0" y="2305"/>
                  </a:cubicBezTo>
                  <a:cubicBezTo>
                    <a:pt x="0" y="3286"/>
                    <a:pt x="595" y="3903"/>
                    <a:pt x="1510" y="4057"/>
                  </a:cubicBezTo>
                  <a:cubicBezTo>
                    <a:pt x="2128" y="4179"/>
                    <a:pt x="2954" y="4157"/>
                    <a:pt x="2954" y="4895"/>
                  </a:cubicBezTo>
                  <a:cubicBezTo>
                    <a:pt x="2954" y="5292"/>
                    <a:pt x="2679" y="5568"/>
                    <a:pt x="2061" y="5568"/>
                  </a:cubicBezTo>
                  <a:cubicBezTo>
                    <a:pt x="1422" y="5568"/>
                    <a:pt x="1080" y="5193"/>
                    <a:pt x="1080" y="4829"/>
                  </a:cubicBezTo>
                  <a:cubicBezTo>
                    <a:pt x="1080" y="4796"/>
                    <a:pt x="1080" y="4763"/>
                    <a:pt x="1080" y="4741"/>
                  </a:cubicBezTo>
                  <a:cubicBezTo>
                    <a:pt x="132" y="4741"/>
                    <a:pt x="132" y="4741"/>
                    <a:pt x="132" y="4741"/>
                  </a:cubicBezTo>
                  <a:cubicBezTo>
                    <a:pt x="132" y="4763"/>
                    <a:pt x="132" y="4796"/>
                    <a:pt x="132" y="4829"/>
                  </a:cubicBezTo>
                  <a:cubicBezTo>
                    <a:pt x="132" y="5689"/>
                    <a:pt x="871" y="6461"/>
                    <a:pt x="2039" y="6461"/>
                  </a:cubicBezTo>
                  <a:cubicBezTo>
                    <a:pt x="3329" y="6461"/>
                    <a:pt x="3914" y="5689"/>
                    <a:pt x="3914" y="4951"/>
                  </a:cubicBezTo>
                  <a:cubicBezTo>
                    <a:pt x="3914" y="4245"/>
                    <a:pt x="3539" y="3870"/>
                    <a:pt x="3021" y="3694"/>
                  </a:cubicBezTo>
                  <a:cubicBezTo>
                    <a:pt x="3539" y="3440"/>
                    <a:pt x="3914" y="2889"/>
                    <a:pt x="3914" y="2216"/>
                  </a:cubicBezTo>
                  <a:close/>
                  <a:moveTo>
                    <a:pt x="1940" y="3286"/>
                  </a:moveTo>
                  <a:lnTo>
                    <a:pt x="1940" y="3286"/>
                  </a:lnTo>
                  <a:cubicBezTo>
                    <a:pt x="1356" y="3286"/>
                    <a:pt x="959" y="2889"/>
                    <a:pt x="959" y="2238"/>
                  </a:cubicBezTo>
                  <a:cubicBezTo>
                    <a:pt x="959" y="1632"/>
                    <a:pt x="1334" y="1202"/>
                    <a:pt x="1940" y="1202"/>
                  </a:cubicBezTo>
                  <a:cubicBezTo>
                    <a:pt x="2591" y="1202"/>
                    <a:pt x="2954" y="1632"/>
                    <a:pt x="2954" y="2238"/>
                  </a:cubicBezTo>
                  <a:cubicBezTo>
                    <a:pt x="2954" y="2889"/>
                    <a:pt x="2624" y="3286"/>
                    <a:pt x="1940" y="3286"/>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1" name="Freeform 6">
              <a:extLst>
                <a:ext uri="{FF2B5EF4-FFF2-40B4-BE49-F238E27FC236}">
                  <a16:creationId xmlns:a16="http://schemas.microsoft.com/office/drawing/2014/main" id="{3EBF9576-59CF-6449-8E8E-2BD94A5AB5CF}"/>
                </a:ext>
              </a:extLst>
            </p:cNvPr>
            <p:cNvSpPr>
              <a:spLocks noChangeArrowheads="1"/>
            </p:cNvSpPr>
            <p:nvPr/>
          </p:nvSpPr>
          <p:spPr bwMode="auto">
            <a:xfrm>
              <a:off x="5299075" y="2193925"/>
              <a:ext cx="333375" cy="322263"/>
            </a:xfrm>
            <a:custGeom>
              <a:avLst/>
              <a:gdLst>
                <a:gd name="T0" fmla="*/ 0 w 927"/>
                <a:gd name="T1" fmla="*/ 893 h 894"/>
                <a:gd name="T2" fmla="*/ 926 w 927"/>
                <a:gd name="T3" fmla="*/ 893 h 894"/>
                <a:gd name="T4" fmla="*/ 926 w 927"/>
                <a:gd name="T5" fmla="*/ 0 h 894"/>
                <a:gd name="T6" fmla="*/ 0 w 927"/>
                <a:gd name="T7" fmla="*/ 0 h 894"/>
                <a:gd name="T8" fmla="*/ 0 w 927"/>
                <a:gd name="T9" fmla="*/ 893 h 894"/>
              </a:gdLst>
              <a:ahLst/>
              <a:cxnLst>
                <a:cxn ang="0">
                  <a:pos x="T0" y="T1"/>
                </a:cxn>
                <a:cxn ang="0">
                  <a:pos x="T2" y="T3"/>
                </a:cxn>
                <a:cxn ang="0">
                  <a:pos x="T4" y="T5"/>
                </a:cxn>
                <a:cxn ang="0">
                  <a:pos x="T6" y="T7"/>
                </a:cxn>
                <a:cxn ang="0">
                  <a:pos x="T8" y="T9"/>
                </a:cxn>
              </a:cxnLst>
              <a:rect l="0" t="0" r="r" b="b"/>
              <a:pathLst>
                <a:path w="927" h="894">
                  <a:moveTo>
                    <a:pt x="0" y="893"/>
                  </a:moveTo>
                  <a:lnTo>
                    <a:pt x="926" y="893"/>
                  </a:lnTo>
                  <a:lnTo>
                    <a:pt x="926" y="0"/>
                  </a:lnTo>
                  <a:lnTo>
                    <a:pt x="0" y="0"/>
                  </a:lnTo>
                  <a:lnTo>
                    <a:pt x="0" y="893"/>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2" name="Freeform 7">
              <a:extLst>
                <a:ext uri="{FF2B5EF4-FFF2-40B4-BE49-F238E27FC236}">
                  <a16:creationId xmlns:a16="http://schemas.microsoft.com/office/drawing/2014/main" id="{6FE554D2-37E1-9D4D-9147-123F350E1FBD}"/>
                </a:ext>
              </a:extLst>
            </p:cNvPr>
            <p:cNvSpPr>
              <a:spLocks noChangeArrowheads="1"/>
            </p:cNvSpPr>
            <p:nvPr/>
          </p:nvSpPr>
          <p:spPr bwMode="auto">
            <a:xfrm>
              <a:off x="7458075" y="2746375"/>
              <a:ext cx="1452563" cy="1420813"/>
            </a:xfrm>
            <a:custGeom>
              <a:avLst/>
              <a:gdLst>
                <a:gd name="T0" fmla="*/ 3076 w 4036"/>
                <a:gd name="T1" fmla="*/ 1764 h 3948"/>
                <a:gd name="T2" fmla="*/ 3076 w 4036"/>
                <a:gd name="T3" fmla="*/ 1764 h 3948"/>
                <a:gd name="T4" fmla="*/ 3076 w 4036"/>
                <a:gd name="T5" fmla="*/ 1974 h 3948"/>
                <a:gd name="T6" fmla="*/ 2007 w 4036"/>
                <a:gd name="T7" fmla="*/ 3087 h 3948"/>
                <a:gd name="T8" fmla="*/ 959 w 4036"/>
                <a:gd name="T9" fmla="*/ 1974 h 3948"/>
                <a:gd name="T10" fmla="*/ 2007 w 4036"/>
                <a:gd name="T11" fmla="*/ 871 h 3948"/>
                <a:gd name="T12" fmla="*/ 2062 w 4036"/>
                <a:gd name="T13" fmla="*/ 871 h 3948"/>
                <a:gd name="T14" fmla="*/ 2062 w 4036"/>
                <a:gd name="T15" fmla="*/ 0 h 3948"/>
                <a:gd name="T16" fmla="*/ 2007 w 4036"/>
                <a:gd name="T17" fmla="*/ 0 h 3948"/>
                <a:gd name="T18" fmla="*/ 0 w 4036"/>
                <a:gd name="T19" fmla="*/ 1974 h 3948"/>
                <a:gd name="T20" fmla="*/ 2007 w 4036"/>
                <a:gd name="T21" fmla="*/ 3947 h 3948"/>
                <a:gd name="T22" fmla="*/ 4035 w 4036"/>
                <a:gd name="T23" fmla="*/ 1974 h 3948"/>
                <a:gd name="T24" fmla="*/ 4002 w 4036"/>
                <a:gd name="T25" fmla="*/ 1764 h 3948"/>
                <a:gd name="T26" fmla="*/ 3076 w 4036"/>
                <a:gd name="T27" fmla="*/ 1764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6" h="3948">
                  <a:moveTo>
                    <a:pt x="3076" y="1764"/>
                  </a:moveTo>
                  <a:lnTo>
                    <a:pt x="3076" y="1764"/>
                  </a:lnTo>
                  <a:cubicBezTo>
                    <a:pt x="3076" y="1852"/>
                    <a:pt x="3076" y="1907"/>
                    <a:pt x="3076" y="1974"/>
                  </a:cubicBezTo>
                  <a:cubicBezTo>
                    <a:pt x="3076" y="2624"/>
                    <a:pt x="2624" y="3087"/>
                    <a:pt x="2007" y="3087"/>
                  </a:cubicBezTo>
                  <a:cubicBezTo>
                    <a:pt x="1422" y="3087"/>
                    <a:pt x="959" y="2624"/>
                    <a:pt x="959" y="1974"/>
                  </a:cubicBezTo>
                  <a:cubicBezTo>
                    <a:pt x="959" y="1356"/>
                    <a:pt x="1389" y="871"/>
                    <a:pt x="2007" y="871"/>
                  </a:cubicBezTo>
                  <a:cubicBezTo>
                    <a:pt x="2040" y="871"/>
                    <a:pt x="2040" y="871"/>
                    <a:pt x="2062" y="871"/>
                  </a:cubicBezTo>
                  <a:cubicBezTo>
                    <a:pt x="2062" y="0"/>
                    <a:pt x="2062" y="0"/>
                    <a:pt x="2062" y="0"/>
                  </a:cubicBezTo>
                  <a:cubicBezTo>
                    <a:pt x="2040" y="0"/>
                    <a:pt x="2040" y="0"/>
                    <a:pt x="2007" y="0"/>
                  </a:cubicBezTo>
                  <a:cubicBezTo>
                    <a:pt x="871" y="0"/>
                    <a:pt x="0" y="893"/>
                    <a:pt x="0" y="1974"/>
                  </a:cubicBezTo>
                  <a:cubicBezTo>
                    <a:pt x="0" y="3109"/>
                    <a:pt x="871" y="3947"/>
                    <a:pt x="2007" y="3947"/>
                  </a:cubicBezTo>
                  <a:cubicBezTo>
                    <a:pt x="3175" y="3947"/>
                    <a:pt x="4035" y="3109"/>
                    <a:pt x="4035" y="1974"/>
                  </a:cubicBezTo>
                  <a:cubicBezTo>
                    <a:pt x="4035" y="1907"/>
                    <a:pt x="4035" y="1852"/>
                    <a:pt x="4002" y="1764"/>
                  </a:cubicBezTo>
                  <a:lnTo>
                    <a:pt x="3076" y="176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grpSp>
        <p:nvGrpSpPr>
          <p:cNvPr id="13" name="Group 12">
            <a:extLst>
              <a:ext uri="{FF2B5EF4-FFF2-40B4-BE49-F238E27FC236}">
                <a16:creationId xmlns:a16="http://schemas.microsoft.com/office/drawing/2014/main" id="{759B5EDD-76D3-A549-906E-E6933C3C22E8}"/>
              </a:ext>
            </a:extLst>
          </p:cNvPr>
          <p:cNvGrpSpPr/>
          <p:nvPr userDrawn="1"/>
        </p:nvGrpSpPr>
        <p:grpSpPr>
          <a:xfrm>
            <a:off x="7019217" y="4429239"/>
            <a:ext cx="1692983" cy="279387"/>
            <a:chOff x="1828800" y="3017838"/>
            <a:chExt cx="6291263" cy="1038225"/>
          </a:xfrm>
        </p:grpSpPr>
        <p:sp>
          <p:nvSpPr>
            <p:cNvPr id="14" name="Freeform 1">
              <a:extLst>
                <a:ext uri="{FF2B5EF4-FFF2-40B4-BE49-F238E27FC236}">
                  <a16:creationId xmlns:a16="http://schemas.microsoft.com/office/drawing/2014/main" id="{BBA856B6-29AA-BE46-8F07-234314CD8909}"/>
                </a:ext>
              </a:extLst>
            </p:cNvPr>
            <p:cNvSpPr>
              <a:spLocks noChangeArrowheads="1"/>
            </p:cNvSpPr>
            <p:nvPr userDrawn="1"/>
          </p:nvSpPr>
          <p:spPr bwMode="auto">
            <a:xfrm>
              <a:off x="1831975" y="3017838"/>
              <a:ext cx="388938" cy="438150"/>
            </a:xfrm>
            <a:custGeom>
              <a:avLst/>
              <a:gdLst>
                <a:gd name="T0" fmla="*/ 1081 w 1082"/>
                <a:gd name="T1" fmla="*/ 1042 h 1215"/>
                <a:gd name="T2" fmla="*/ 1081 w 1082"/>
                <a:gd name="T3" fmla="*/ 1042 h 1215"/>
                <a:gd name="T4" fmla="*/ 873 w 1082"/>
                <a:gd name="T5" fmla="*/ 1172 h 1215"/>
                <a:gd name="T6" fmla="*/ 631 w 1082"/>
                <a:gd name="T7" fmla="*/ 1214 h 1215"/>
                <a:gd name="T8" fmla="*/ 350 w 1082"/>
                <a:gd name="T9" fmla="*/ 1164 h 1215"/>
                <a:gd name="T10" fmla="*/ 153 w 1082"/>
                <a:gd name="T11" fmla="*/ 1028 h 1215"/>
                <a:gd name="T12" fmla="*/ 39 w 1082"/>
                <a:gd name="T13" fmla="*/ 836 h 1215"/>
                <a:gd name="T14" fmla="*/ 0 w 1082"/>
                <a:gd name="T15" fmla="*/ 614 h 1215"/>
                <a:gd name="T16" fmla="*/ 39 w 1082"/>
                <a:gd name="T17" fmla="*/ 389 h 1215"/>
                <a:gd name="T18" fmla="*/ 156 w 1082"/>
                <a:gd name="T19" fmla="*/ 192 h 1215"/>
                <a:gd name="T20" fmla="*/ 353 w 1082"/>
                <a:gd name="T21" fmla="*/ 53 h 1215"/>
                <a:gd name="T22" fmla="*/ 631 w 1082"/>
                <a:gd name="T23" fmla="*/ 0 h 1215"/>
                <a:gd name="T24" fmla="*/ 864 w 1082"/>
                <a:gd name="T25" fmla="*/ 44 h 1215"/>
                <a:gd name="T26" fmla="*/ 1070 w 1082"/>
                <a:gd name="T27" fmla="*/ 178 h 1215"/>
                <a:gd name="T28" fmla="*/ 942 w 1082"/>
                <a:gd name="T29" fmla="*/ 297 h 1215"/>
                <a:gd name="T30" fmla="*/ 795 w 1082"/>
                <a:gd name="T31" fmla="*/ 206 h 1215"/>
                <a:gd name="T32" fmla="*/ 631 w 1082"/>
                <a:gd name="T33" fmla="*/ 178 h 1215"/>
                <a:gd name="T34" fmla="*/ 434 w 1082"/>
                <a:gd name="T35" fmla="*/ 214 h 1215"/>
                <a:gd name="T36" fmla="*/ 298 w 1082"/>
                <a:gd name="T37" fmla="*/ 314 h 1215"/>
                <a:gd name="T38" fmla="*/ 217 w 1082"/>
                <a:gd name="T39" fmla="*/ 453 h 1215"/>
                <a:gd name="T40" fmla="*/ 192 w 1082"/>
                <a:gd name="T41" fmla="*/ 614 h 1215"/>
                <a:gd name="T42" fmla="*/ 217 w 1082"/>
                <a:gd name="T43" fmla="*/ 769 h 1215"/>
                <a:gd name="T44" fmla="*/ 295 w 1082"/>
                <a:gd name="T45" fmla="*/ 906 h 1215"/>
                <a:gd name="T46" fmla="*/ 434 w 1082"/>
                <a:gd name="T47" fmla="*/ 1003 h 1215"/>
                <a:gd name="T48" fmla="*/ 631 w 1082"/>
                <a:gd name="T49" fmla="*/ 1039 h 1215"/>
                <a:gd name="T50" fmla="*/ 800 w 1082"/>
                <a:gd name="T51" fmla="*/ 1008 h 1215"/>
                <a:gd name="T52" fmla="*/ 950 w 1082"/>
                <a:gd name="T53" fmla="*/ 911 h 1215"/>
                <a:gd name="T54" fmla="*/ 1081 w 1082"/>
                <a:gd name="T55" fmla="*/ 1042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2" h="1215">
                  <a:moveTo>
                    <a:pt x="1081" y="1042"/>
                  </a:moveTo>
                  <a:lnTo>
                    <a:pt x="1081" y="1042"/>
                  </a:lnTo>
                  <a:cubicBezTo>
                    <a:pt x="1020" y="1100"/>
                    <a:pt x="950" y="1144"/>
                    <a:pt x="873" y="1172"/>
                  </a:cubicBezTo>
                  <a:cubicBezTo>
                    <a:pt x="798" y="1200"/>
                    <a:pt x="717" y="1214"/>
                    <a:pt x="631" y="1214"/>
                  </a:cubicBezTo>
                  <a:cubicBezTo>
                    <a:pt x="523" y="1214"/>
                    <a:pt x="431" y="1197"/>
                    <a:pt x="350" y="1164"/>
                  </a:cubicBezTo>
                  <a:cubicBezTo>
                    <a:pt x="273" y="1130"/>
                    <a:pt x="206" y="1086"/>
                    <a:pt x="153" y="1028"/>
                  </a:cubicBezTo>
                  <a:cubicBezTo>
                    <a:pt x="103" y="972"/>
                    <a:pt x="64" y="908"/>
                    <a:pt x="39" y="836"/>
                  </a:cubicBezTo>
                  <a:cubicBezTo>
                    <a:pt x="14" y="764"/>
                    <a:pt x="0" y="692"/>
                    <a:pt x="0" y="614"/>
                  </a:cubicBezTo>
                  <a:cubicBezTo>
                    <a:pt x="0" y="536"/>
                    <a:pt x="14" y="461"/>
                    <a:pt x="39" y="389"/>
                  </a:cubicBezTo>
                  <a:cubicBezTo>
                    <a:pt x="67" y="314"/>
                    <a:pt x="103" y="250"/>
                    <a:pt x="156" y="192"/>
                  </a:cubicBezTo>
                  <a:cubicBezTo>
                    <a:pt x="209" y="133"/>
                    <a:pt x="273" y="89"/>
                    <a:pt x="353" y="53"/>
                  </a:cubicBezTo>
                  <a:cubicBezTo>
                    <a:pt x="431" y="17"/>
                    <a:pt x="525" y="0"/>
                    <a:pt x="631" y="0"/>
                  </a:cubicBezTo>
                  <a:cubicBezTo>
                    <a:pt x="711" y="0"/>
                    <a:pt x="789" y="14"/>
                    <a:pt x="864" y="44"/>
                  </a:cubicBezTo>
                  <a:cubicBezTo>
                    <a:pt x="939" y="72"/>
                    <a:pt x="1009" y="117"/>
                    <a:pt x="1070" y="178"/>
                  </a:cubicBezTo>
                  <a:cubicBezTo>
                    <a:pt x="942" y="297"/>
                    <a:pt x="942" y="297"/>
                    <a:pt x="942" y="297"/>
                  </a:cubicBezTo>
                  <a:cubicBezTo>
                    <a:pt x="898" y="256"/>
                    <a:pt x="850" y="225"/>
                    <a:pt x="795" y="206"/>
                  </a:cubicBezTo>
                  <a:cubicBezTo>
                    <a:pt x="742" y="186"/>
                    <a:pt x="686" y="178"/>
                    <a:pt x="631" y="178"/>
                  </a:cubicBezTo>
                  <a:cubicBezTo>
                    <a:pt x="556" y="178"/>
                    <a:pt x="489" y="189"/>
                    <a:pt x="434" y="214"/>
                  </a:cubicBezTo>
                  <a:cubicBezTo>
                    <a:pt x="378" y="239"/>
                    <a:pt x="334" y="272"/>
                    <a:pt x="298" y="314"/>
                  </a:cubicBezTo>
                  <a:cubicBezTo>
                    <a:pt x="261" y="356"/>
                    <a:pt x="234" y="400"/>
                    <a:pt x="217" y="453"/>
                  </a:cubicBezTo>
                  <a:cubicBezTo>
                    <a:pt x="200" y="506"/>
                    <a:pt x="192" y="558"/>
                    <a:pt x="192" y="614"/>
                  </a:cubicBezTo>
                  <a:cubicBezTo>
                    <a:pt x="192" y="667"/>
                    <a:pt x="200" y="719"/>
                    <a:pt x="217" y="769"/>
                  </a:cubicBezTo>
                  <a:cubicBezTo>
                    <a:pt x="234" y="822"/>
                    <a:pt x="261" y="867"/>
                    <a:pt x="295" y="906"/>
                  </a:cubicBezTo>
                  <a:cubicBezTo>
                    <a:pt x="331" y="947"/>
                    <a:pt x="378" y="978"/>
                    <a:pt x="434" y="1003"/>
                  </a:cubicBezTo>
                  <a:cubicBezTo>
                    <a:pt x="489" y="1028"/>
                    <a:pt x="553" y="1039"/>
                    <a:pt x="631" y="1039"/>
                  </a:cubicBezTo>
                  <a:cubicBezTo>
                    <a:pt x="686" y="1039"/>
                    <a:pt x="745" y="1028"/>
                    <a:pt x="800" y="1008"/>
                  </a:cubicBezTo>
                  <a:cubicBezTo>
                    <a:pt x="859" y="986"/>
                    <a:pt x="906" y="953"/>
                    <a:pt x="950" y="911"/>
                  </a:cubicBezTo>
                  <a:lnTo>
                    <a:pt x="1081" y="104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5" name="Freeform 2">
              <a:extLst>
                <a:ext uri="{FF2B5EF4-FFF2-40B4-BE49-F238E27FC236}">
                  <a16:creationId xmlns:a16="http://schemas.microsoft.com/office/drawing/2014/main" id="{73389FFB-63E9-3D46-A6C7-B696EDC8C0C3}"/>
                </a:ext>
              </a:extLst>
            </p:cNvPr>
            <p:cNvSpPr>
              <a:spLocks noChangeArrowheads="1"/>
            </p:cNvSpPr>
            <p:nvPr userDrawn="1"/>
          </p:nvSpPr>
          <p:spPr bwMode="auto">
            <a:xfrm>
              <a:off x="2268538" y="3149600"/>
              <a:ext cx="293687" cy="301625"/>
            </a:xfrm>
            <a:custGeom>
              <a:avLst/>
              <a:gdLst>
                <a:gd name="T0" fmla="*/ 175 w 815"/>
                <a:gd name="T1" fmla="*/ 0 h 837"/>
                <a:gd name="T2" fmla="*/ 175 w 815"/>
                <a:gd name="T3" fmla="*/ 0 h 837"/>
                <a:gd name="T4" fmla="*/ 175 w 815"/>
                <a:gd name="T5" fmla="*/ 439 h 837"/>
                <a:gd name="T6" fmla="*/ 233 w 815"/>
                <a:gd name="T7" fmla="*/ 611 h 837"/>
                <a:gd name="T8" fmla="*/ 406 w 815"/>
                <a:gd name="T9" fmla="*/ 675 h 837"/>
                <a:gd name="T10" fmla="*/ 500 w 815"/>
                <a:gd name="T11" fmla="*/ 658 h 837"/>
                <a:gd name="T12" fmla="*/ 572 w 815"/>
                <a:gd name="T13" fmla="*/ 602 h 837"/>
                <a:gd name="T14" fmla="*/ 622 w 815"/>
                <a:gd name="T15" fmla="*/ 525 h 837"/>
                <a:gd name="T16" fmla="*/ 639 w 815"/>
                <a:gd name="T17" fmla="*/ 427 h 837"/>
                <a:gd name="T18" fmla="*/ 639 w 815"/>
                <a:gd name="T19" fmla="*/ 0 h 837"/>
                <a:gd name="T20" fmla="*/ 814 w 815"/>
                <a:gd name="T21" fmla="*/ 0 h 837"/>
                <a:gd name="T22" fmla="*/ 814 w 815"/>
                <a:gd name="T23" fmla="*/ 825 h 837"/>
                <a:gd name="T24" fmla="*/ 656 w 815"/>
                <a:gd name="T25" fmla="*/ 825 h 837"/>
                <a:gd name="T26" fmla="*/ 645 w 815"/>
                <a:gd name="T27" fmla="*/ 702 h 837"/>
                <a:gd name="T28" fmla="*/ 514 w 815"/>
                <a:gd name="T29" fmla="*/ 805 h 837"/>
                <a:gd name="T30" fmla="*/ 356 w 815"/>
                <a:gd name="T31" fmla="*/ 836 h 837"/>
                <a:gd name="T32" fmla="*/ 211 w 815"/>
                <a:gd name="T33" fmla="*/ 811 h 837"/>
                <a:gd name="T34" fmla="*/ 100 w 815"/>
                <a:gd name="T35" fmla="*/ 733 h 837"/>
                <a:gd name="T36" fmla="*/ 25 w 815"/>
                <a:gd name="T37" fmla="*/ 608 h 837"/>
                <a:gd name="T38" fmla="*/ 0 w 815"/>
                <a:gd name="T39" fmla="*/ 441 h 837"/>
                <a:gd name="T40" fmla="*/ 0 w 815"/>
                <a:gd name="T41" fmla="*/ 0 h 837"/>
                <a:gd name="T42" fmla="*/ 175 w 815"/>
                <a:gd name="T43" fmla="*/ 0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5" h="837">
                  <a:moveTo>
                    <a:pt x="175" y="0"/>
                  </a:moveTo>
                  <a:lnTo>
                    <a:pt x="175" y="0"/>
                  </a:lnTo>
                  <a:cubicBezTo>
                    <a:pt x="175" y="439"/>
                    <a:pt x="175" y="439"/>
                    <a:pt x="175" y="439"/>
                  </a:cubicBezTo>
                  <a:cubicBezTo>
                    <a:pt x="175" y="508"/>
                    <a:pt x="195" y="566"/>
                    <a:pt x="233" y="611"/>
                  </a:cubicBezTo>
                  <a:cubicBezTo>
                    <a:pt x="275" y="655"/>
                    <a:pt x="331" y="675"/>
                    <a:pt x="406" y="675"/>
                  </a:cubicBezTo>
                  <a:cubicBezTo>
                    <a:pt x="439" y="675"/>
                    <a:pt x="470" y="669"/>
                    <a:pt x="500" y="658"/>
                  </a:cubicBezTo>
                  <a:cubicBezTo>
                    <a:pt x="528" y="644"/>
                    <a:pt x="553" y="627"/>
                    <a:pt x="572" y="602"/>
                  </a:cubicBezTo>
                  <a:cubicBezTo>
                    <a:pt x="595" y="580"/>
                    <a:pt x="611" y="555"/>
                    <a:pt x="622" y="525"/>
                  </a:cubicBezTo>
                  <a:cubicBezTo>
                    <a:pt x="633" y="494"/>
                    <a:pt x="639" y="461"/>
                    <a:pt x="639" y="427"/>
                  </a:cubicBezTo>
                  <a:cubicBezTo>
                    <a:pt x="639" y="0"/>
                    <a:pt x="639" y="0"/>
                    <a:pt x="639" y="0"/>
                  </a:cubicBezTo>
                  <a:cubicBezTo>
                    <a:pt x="814" y="0"/>
                    <a:pt x="814" y="0"/>
                    <a:pt x="814" y="0"/>
                  </a:cubicBezTo>
                  <a:cubicBezTo>
                    <a:pt x="814" y="825"/>
                    <a:pt x="814" y="825"/>
                    <a:pt x="814" y="825"/>
                  </a:cubicBezTo>
                  <a:cubicBezTo>
                    <a:pt x="656" y="825"/>
                    <a:pt x="656" y="825"/>
                    <a:pt x="656" y="825"/>
                  </a:cubicBezTo>
                  <a:cubicBezTo>
                    <a:pt x="645" y="702"/>
                    <a:pt x="645" y="702"/>
                    <a:pt x="645" y="702"/>
                  </a:cubicBezTo>
                  <a:cubicBezTo>
                    <a:pt x="603" y="750"/>
                    <a:pt x="561" y="783"/>
                    <a:pt x="514" y="805"/>
                  </a:cubicBezTo>
                  <a:cubicBezTo>
                    <a:pt x="467" y="825"/>
                    <a:pt x="414" y="836"/>
                    <a:pt x="356" y="836"/>
                  </a:cubicBezTo>
                  <a:cubicBezTo>
                    <a:pt x="303" y="836"/>
                    <a:pt x="256" y="827"/>
                    <a:pt x="211" y="811"/>
                  </a:cubicBezTo>
                  <a:cubicBezTo>
                    <a:pt x="170" y="791"/>
                    <a:pt x="131" y="766"/>
                    <a:pt x="100" y="733"/>
                  </a:cubicBezTo>
                  <a:cubicBezTo>
                    <a:pt x="70" y="700"/>
                    <a:pt x="45" y="658"/>
                    <a:pt x="25" y="608"/>
                  </a:cubicBezTo>
                  <a:cubicBezTo>
                    <a:pt x="8" y="561"/>
                    <a:pt x="0" y="505"/>
                    <a:pt x="0" y="441"/>
                  </a:cubicBezTo>
                  <a:cubicBezTo>
                    <a:pt x="0" y="0"/>
                    <a:pt x="0" y="0"/>
                    <a:pt x="0" y="0"/>
                  </a:cubicBezTo>
                  <a:lnTo>
                    <a:pt x="175"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6" name="Freeform 3">
              <a:extLst>
                <a:ext uri="{FF2B5EF4-FFF2-40B4-BE49-F238E27FC236}">
                  <a16:creationId xmlns:a16="http://schemas.microsoft.com/office/drawing/2014/main" id="{D9CFF887-01DB-6D43-A093-593C6A40C9BB}"/>
                </a:ext>
              </a:extLst>
            </p:cNvPr>
            <p:cNvSpPr>
              <a:spLocks noChangeArrowheads="1"/>
            </p:cNvSpPr>
            <p:nvPr userDrawn="1"/>
          </p:nvSpPr>
          <p:spPr bwMode="auto">
            <a:xfrm>
              <a:off x="2624138" y="3141663"/>
              <a:ext cx="268287" cy="314325"/>
            </a:xfrm>
            <a:custGeom>
              <a:avLst/>
              <a:gdLst>
                <a:gd name="T0" fmla="*/ 606 w 746"/>
                <a:gd name="T1" fmla="*/ 225 h 871"/>
                <a:gd name="T2" fmla="*/ 606 w 746"/>
                <a:gd name="T3" fmla="*/ 225 h 871"/>
                <a:gd name="T4" fmla="*/ 500 w 746"/>
                <a:gd name="T5" fmla="*/ 164 h 871"/>
                <a:gd name="T6" fmla="*/ 383 w 746"/>
                <a:gd name="T7" fmla="*/ 148 h 871"/>
                <a:gd name="T8" fmla="*/ 253 w 746"/>
                <a:gd name="T9" fmla="*/ 173 h 871"/>
                <a:gd name="T10" fmla="*/ 203 w 746"/>
                <a:gd name="T11" fmla="*/ 245 h 871"/>
                <a:gd name="T12" fmla="*/ 256 w 746"/>
                <a:gd name="T13" fmla="*/ 320 h 871"/>
                <a:gd name="T14" fmla="*/ 386 w 746"/>
                <a:gd name="T15" fmla="*/ 350 h 871"/>
                <a:gd name="T16" fmla="*/ 508 w 746"/>
                <a:gd name="T17" fmla="*/ 367 h 871"/>
                <a:gd name="T18" fmla="*/ 625 w 746"/>
                <a:gd name="T19" fmla="*/ 406 h 871"/>
                <a:gd name="T20" fmla="*/ 711 w 746"/>
                <a:gd name="T21" fmla="*/ 481 h 871"/>
                <a:gd name="T22" fmla="*/ 745 w 746"/>
                <a:gd name="T23" fmla="*/ 611 h 871"/>
                <a:gd name="T24" fmla="*/ 717 w 746"/>
                <a:gd name="T25" fmla="*/ 717 h 871"/>
                <a:gd name="T26" fmla="*/ 645 w 746"/>
                <a:gd name="T27" fmla="*/ 798 h 871"/>
                <a:gd name="T28" fmla="*/ 533 w 746"/>
                <a:gd name="T29" fmla="*/ 853 h 871"/>
                <a:gd name="T30" fmla="*/ 383 w 746"/>
                <a:gd name="T31" fmla="*/ 870 h 871"/>
                <a:gd name="T32" fmla="*/ 183 w 746"/>
                <a:gd name="T33" fmla="*/ 842 h 871"/>
                <a:gd name="T34" fmla="*/ 0 w 746"/>
                <a:gd name="T35" fmla="*/ 720 h 871"/>
                <a:gd name="T36" fmla="*/ 92 w 746"/>
                <a:gd name="T37" fmla="*/ 598 h 871"/>
                <a:gd name="T38" fmla="*/ 233 w 746"/>
                <a:gd name="T39" fmla="*/ 689 h 871"/>
                <a:gd name="T40" fmla="*/ 389 w 746"/>
                <a:gd name="T41" fmla="*/ 720 h 871"/>
                <a:gd name="T42" fmla="*/ 450 w 746"/>
                <a:gd name="T43" fmla="*/ 714 h 871"/>
                <a:gd name="T44" fmla="*/ 508 w 746"/>
                <a:gd name="T45" fmla="*/ 698 h 871"/>
                <a:gd name="T46" fmla="*/ 550 w 746"/>
                <a:gd name="T47" fmla="*/ 662 h 871"/>
                <a:gd name="T48" fmla="*/ 567 w 746"/>
                <a:gd name="T49" fmla="*/ 614 h 871"/>
                <a:gd name="T50" fmla="*/ 517 w 746"/>
                <a:gd name="T51" fmla="*/ 531 h 871"/>
                <a:gd name="T52" fmla="*/ 372 w 746"/>
                <a:gd name="T53" fmla="*/ 498 h 871"/>
                <a:gd name="T54" fmla="*/ 253 w 746"/>
                <a:gd name="T55" fmla="*/ 478 h 871"/>
                <a:gd name="T56" fmla="*/ 142 w 746"/>
                <a:gd name="T57" fmla="*/ 436 h 871"/>
                <a:gd name="T58" fmla="*/ 61 w 746"/>
                <a:gd name="T59" fmla="*/ 364 h 871"/>
                <a:gd name="T60" fmla="*/ 31 w 746"/>
                <a:gd name="T61" fmla="*/ 250 h 871"/>
                <a:gd name="T62" fmla="*/ 61 w 746"/>
                <a:gd name="T63" fmla="*/ 134 h 871"/>
                <a:gd name="T64" fmla="*/ 145 w 746"/>
                <a:gd name="T65" fmla="*/ 56 h 871"/>
                <a:gd name="T66" fmla="*/ 259 w 746"/>
                <a:gd name="T67" fmla="*/ 14 h 871"/>
                <a:gd name="T68" fmla="*/ 381 w 746"/>
                <a:gd name="T69" fmla="*/ 0 h 871"/>
                <a:gd name="T70" fmla="*/ 556 w 746"/>
                <a:gd name="T71" fmla="*/ 25 h 871"/>
                <a:gd name="T72" fmla="*/ 703 w 746"/>
                <a:gd name="T73" fmla="*/ 112 h 871"/>
                <a:gd name="T74" fmla="*/ 606 w 746"/>
                <a:gd name="T75" fmla="*/ 225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6" h="871">
                  <a:moveTo>
                    <a:pt x="606" y="225"/>
                  </a:moveTo>
                  <a:lnTo>
                    <a:pt x="606" y="225"/>
                  </a:lnTo>
                  <a:cubicBezTo>
                    <a:pt x="572" y="195"/>
                    <a:pt x="536" y="173"/>
                    <a:pt x="500" y="164"/>
                  </a:cubicBezTo>
                  <a:cubicBezTo>
                    <a:pt x="464" y="153"/>
                    <a:pt x="425" y="148"/>
                    <a:pt x="383" y="148"/>
                  </a:cubicBezTo>
                  <a:cubicBezTo>
                    <a:pt x="328" y="148"/>
                    <a:pt x="286" y="153"/>
                    <a:pt x="253" y="173"/>
                  </a:cubicBezTo>
                  <a:cubicBezTo>
                    <a:pt x="220" y="189"/>
                    <a:pt x="203" y="214"/>
                    <a:pt x="203" y="245"/>
                  </a:cubicBezTo>
                  <a:cubicBezTo>
                    <a:pt x="206" y="281"/>
                    <a:pt x="222" y="306"/>
                    <a:pt x="256" y="320"/>
                  </a:cubicBezTo>
                  <a:cubicBezTo>
                    <a:pt x="289" y="336"/>
                    <a:pt x="331" y="345"/>
                    <a:pt x="386" y="350"/>
                  </a:cubicBezTo>
                  <a:cubicBezTo>
                    <a:pt x="425" y="356"/>
                    <a:pt x="467" y="359"/>
                    <a:pt x="508" y="367"/>
                  </a:cubicBezTo>
                  <a:cubicBezTo>
                    <a:pt x="550" y="375"/>
                    <a:pt x="589" y="387"/>
                    <a:pt x="625" y="406"/>
                  </a:cubicBezTo>
                  <a:cubicBezTo>
                    <a:pt x="658" y="425"/>
                    <a:pt x="689" y="450"/>
                    <a:pt x="711" y="481"/>
                  </a:cubicBezTo>
                  <a:cubicBezTo>
                    <a:pt x="733" y="514"/>
                    <a:pt x="745" y="556"/>
                    <a:pt x="745" y="611"/>
                  </a:cubicBezTo>
                  <a:cubicBezTo>
                    <a:pt x="745" y="650"/>
                    <a:pt x="736" y="684"/>
                    <a:pt x="717" y="717"/>
                  </a:cubicBezTo>
                  <a:cubicBezTo>
                    <a:pt x="700" y="748"/>
                    <a:pt x="675" y="775"/>
                    <a:pt x="645" y="798"/>
                  </a:cubicBezTo>
                  <a:cubicBezTo>
                    <a:pt x="614" y="823"/>
                    <a:pt x="575" y="839"/>
                    <a:pt x="533" y="853"/>
                  </a:cubicBezTo>
                  <a:cubicBezTo>
                    <a:pt x="489" y="864"/>
                    <a:pt x="439" y="870"/>
                    <a:pt x="383" y="870"/>
                  </a:cubicBezTo>
                  <a:cubicBezTo>
                    <a:pt x="317" y="870"/>
                    <a:pt x="250" y="862"/>
                    <a:pt x="183" y="842"/>
                  </a:cubicBezTo>
                  <a:cubicBezTo>
                    <a:pt x="117" y="820"/>
                    <a:pt x="56" y="781"/>
                    <a:pt x="0" y="720"/>
                  </a:cubicBezTo>
                  <a:cubicBezTo>
                    <a:pt x="92" y="598"/>
                    <a:pt x="92" y="598"/>
                    <a:pt x="92" y="598"/>
                  </a:cubicBezTo>
                  <a:cubicBezTo>
                    <a:pt x="133" y="639"/>
                    <a:pt x="181" y="673"/>
                    <a:pt x="233" y="689"/>
                  </a:cubicBezTo>
                  <a:cubicBezTo>
                    <a:pt x="286" y="709"/>
                    <a:pt x="339" y="720"/>
                    <a:pt x="389" y="720"/>
                  </a:cubicBezTo>
                  <a:cubicBezTo>
                    <a:pt x="408" y="720"/>
                    <a:pt x="431" y="720"/>
                    <a:pt x="450" y="714"/>
                  </a:cubicBezTo>
                  <a:cubicBezTo>
                    <a:pt x="472" y="711"/>
                    <a:pt x="492" y="706"/>
                    <a:pt x="508" y="698"/>
                  </a:cubicBezTo>
                  <a:cubicBezTo>
                    <a:pt x="525" y="686"/>
                    <a:pt x="539" y="675"/>
                    <a:pt x="550" y="662"/>
                  </a:cubicBezTo>
                  <a:cubicBezTo>
                    <a:pt x="561" y="648"/>
                    <a:pt x="567" y="631"/>
                    <a:pt x="567" y="614"/>
                  </a:cubicBezTo>
                  <a:cubicBezTo>
                    <a:pt x="570" y="575"/>
                    <a:pt x="553" y="548"/>
                    <a:pt x="517" y="531"/>
                  </a:cubicBezTo>
                  <a:cubicBezTo>
                    <a:pt x="483" y="514"/>
                    <a:pt x="436" y="503"/>
                    <a:pt x="372" y="498"/>
                  </a:cubicBezTo>
                  <a:cubicBezTo>
                    <a:pt x="333" y="495"/>
                    <a:pt x="292" y="489"/>
                    <a:pt x="253" y="478"/>
                  </a:cubicBezTo>
                  <a:cubicBezTo>
                    <a:pt x="211" y="470"/>
                    <a:pt x="175" y="456"/>
                    <a:pt x="142" y="436"/>
                  </a:cubicBezTo>
                  <a:cubicBezTo>
                    <a:pt x="108" y="420"/>
                    <a:pt x="84" y="395"/>
                    <a:pt x="61" y="364"/>
                  </a:cubicBezTo>
                  <a:cubicBezTo>
                    <a:pt x="39" y="334"/>
                    <a:pt x="31" y="298"/>
                    <a:pt x="31" y="250"/>
                  </a:cubicBezTo>
                  <a:cubicBezTo>
                    <a:pt x="31" y="206"/>
                    <a:pt x="42" y="167"/>
                    <a:pt x="61" y="134"/>
                  </a:cubicBezTo>
                  <a:cubicBezTo>
                    <a:pt x="84" y="103"/>
                    <a:pt x="111" y="78"/>
                    <a:pt x="145" y="56"/>
                  </a:cubicBezTo>
                  <a:cubicBezTo>
                    <a:pt x="181" y="37"/>
                    <a:pt x="217" y="23"/>
                    <a:pt x="259" y="14"/>
                  </a:cubicBezTo>
                  <a:cubicBezTo>
                    <a:pt x="300" y="6"/>
                    <a:pt x="339" y="0"/>
                    <a:pt x="381" y="0"/>
                  </a:cubicBezTo>
                  <a:cubicBezTo>
                    <a:pt x="445" y="0"/>
                    <a:pt x="503" y="9"/>
                    <a:pt x="556" y="25"/>
                  </a:cubicBezTo>
                  <a:cubicBezTo>
                    <a:pt x="606" y="42"/>
                    <a:pt x="656" y="70"/>
                    <a:pt x="703" y="112"/>
                  </a:cubicBezTo>
                  <a:lnTo>
                    <a:pt x="606" y="2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7" name="Freeform 4">
              <a:extLst>
                <a:ext uri="{FF2B5EF4-FFF2-40B4-BE49-F238E27FC236}">
                  <a16:creationId xmlns:a16="http://schemas.microsoft.com/office/drawing/2014/main" id="{907AFE39-9233-9B44-912D-8D30BEAF8F0D}"/>
                </a:ext>
              </a:extLst>
            </p:cNvPr>
            <p:cNvSpPr>
              <a:spLocks noChangeArrowheads="1"/>
            </p:cNvSpPr>
            <p:nvPr userDrawn="1"/>
          </p:nvSpPr>
          <p:spPr bwMode="auto">
            <a:xfrm>
              <a:off x="2928938" y="3063875"/>
              <a:ext cx="223837" cy="387350"/>
            </a:xfrm>
            <a:custGeom>
              <a:avLst/>
              <a:gdLst>
                <a:gd name="T0" fmla="*/ 342 w 621"/>
                <a:gd name="T1" fmla="*/ 0 h 1076"/>
                <a:gd name="T2" fmla="*/ 342 w 621"/>
                <a:gd name="T3" fmla="*/ 0 h 1076"/>
                <a:gd name="T4" fmla="*/ 342 w 621"/>
                <a:gd name="T5" fmla="*/ 239 h 1076"/>
                <a:gd name="T6" fmla="*/ 586 w 621"/>
                <a:gd name="T7" fmla="*/ 239 h 1076"/>
                <a:gd name="T8" fmla="*/ 586 w 621"/>
                <a:gd name="T9" fmla="*/ 391 h 1076"/>
                <a:gd name="T10" fmla="*/ 339 w 621"/>
                <a:gd name="T11" fmla="*/ 391 h 1076"/>
                <a:gd name="T12" fmla="*/ 339 w 621"/>
                <a:gd name="T13" fmla="*/ 780 h 1076"/>
                <a:gd name="T14" fmla="*/ 369 w 621"/>
                <a:gd name="T15" fmla="*/ 880 h 1076"/>
                <a:gd name="T16" fmla="*/ 461 w 621"/>
                <a:gd name="T17" fmla="*/ 916 h 1076"/>
                <a:gd name="T18" fmla="*/ 514 w 621"/>
                <a:gd name="T19" fmla="*/ 908 h 1076"/>
                <a:gd name="T20" fmla="*/ 567 w 621"/>
                <a:gd name="T21" fmla="*/ 889 h 1076"/>
                <a:gd name="T22" fmla="*/ 620 w 621"/>
                <a:gd name="T23" fmla="*/ 1036 h 1076"/>
                <a:gd name="T24" fmla="*/ 533 w 621"/>
                <a:gd name="T25" fmla="*/ 1064 h 1076"/>
                <a:gd name="T26" fmla="*/ 450 w 621"/>
                <a:gd name="T27" fmla="*/ 1072 h 1076"/>
                <a:gd name="T28" fmla="*/ 236 w 621"/>
                <a:gd name="T29" fmla="*/ 1002 h 1076"/>
                <a:gd name="T30" fmla="*/ 164 w 621"/>
                <a:gd name="T31" fmla="*/ 783 h 1076"/>
                <a:gd name="T32" fmla="*/ 164 w 621"/>
                <a:gd name="T33" fmla="*/ 391 h 1076"/>
                <a:gd name="T34" fmla="*/ 0 w 621"/>
                <a:gd name="T35" fmla="*/ 391 h 1076"/>
                <a:gd name="T36" fmla="*/ 0 w 621"/>
                <a:gd name="T37" fmla="*/ 239 h 1076"/>
                <a:gd name="T38" fmla="*/ 164 w 621"/>
                <a:gd name="T39" fmla="*/ 239 h 1076"/>
                <a:gd name="T40" fmla="*/ 164 w 621"/>
                <a:gd name="T41" fmla="*/ 19 h 1076"/>
                <a:gd name="T42" fmla="*/ 342 w 621"/>
                <a:gd name="T43" fmla="*/ 0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1" h="1076">
                  <a:moveTo>
                    <a:pt x="342" y="0"/>
                  </a:moveTo>
                  <a:lnTo>
                    <a:pt x="342" y="0"/>
                  </a:lnTo>
                  <a:cubicBezTo>
                    <a:pt x="342" y="239"/>
                    <a:pt x="342" y="239"/>
                    <a:pt x="342" y="239"/>
                  </a:cubicBezTo>
                  <a:cubicBezTo>
                    <a:pt x="586" y="239"/>
                    <a:pt x="586" y="239"/>
                    <a:pt x="586" y="239"/>
                  </a:cubicBezTo>
                  <a:cubicBezTo>
                    <a:pt x="586" y="391"/>
                    <a:pt x="586" y="391"/>
                    <a:pt x="586" y="391"/>
                  </a:cubicBezTo>
                  <a:cubicBezTo>
                    <a:pt x="339" y="391"/>
                    <a:pt x="339" y="391"/>
                    <a:pt x="339" y="391"/>
                  </a:cubicBezTo>
                  <a:cubicBezTo>
                    <a:pt x="339" y="780"/>
                    <a:pt x="339" y="780"/>
                    <a:pt x="339" y="780"/>
                  </a:cubicBezTo>
                  <a:cubicBezTo>
                    <a:pt x="339" y="825"/>
                    <a:pt x="350" y="858"/>
                    <a:pt x="369" y="880"/>
                  </a:cubicBezTo>
                  <a:cubicBezTo>
                    <a:pt x="389" y="905"/>
                    <a:pt x="420" y="916"/>
                    <a:pt x="461" y="916"/>
                  </a:cubicBezTo>
                  <a:cubicBezTo>
                    <a:pt x="478" y="916"/>
                    <a:pt x="494" y="914"/>
                    <a:pt x="514" y="908"/>
                  </a:cubicBezTo>
                  <a:cubicBezTo>
                    <a:pt x="533" y="905"/>
                    <a:pt x="550" y="897"/>
                    <a:pt x="567" y="889"/>
                  </a:cubicBezTo>
                  <a:cubicBezTo>
                    <a:pt x="620" y="1036"/>
                    <a:pt x="620" y="1036"/>
                    <a:pt x="620" y="1036"/>
                  </a:cubicBezTo>
                  <a:cubicBezTo>
                    <a:pt x="589" y="1047"/>
                    <a:pt x="561" y="1058"/>
                    <a:pt x="533" y="1064"/>
                  </a:cubicBezTo>
                  <a:cubicBezTo>
                    <a:pt x="508" y="1069"/>
                    <a:pt x="481" y="1072"/>
                    <a:pt x="450" y="1072"/>
                  </a:cubicBezTo>
                  <a:cubicBezTo>
                    <a:pt x="358" y="1075"/>
                    <a:pt x="286" y="1050"/>
                    <a:pt x="236" y="1002"/>
                  </a:cubicBezTo>
                  <a:cubicBezTo>
                    <a:pt x="189" y="952"/>
                    <a:pt x="164" y="880"/>
                    <a:pt x="164" y="783"/>
                  </a:cubicBezTo>
                  <a:cubicBezTo>
                    <a:pt x="164" y="391"/>
                    <a:pt x="164" y="391"/>
                    <a:pt x="164" y="391"/>
                  </a:cubicBezTo>
                  <a:cubicBezTo>
                    <a:pt x="0" y="391"/>
                    <a:pt x="0" y="391"/>
                    <a:pt x="0" y="391"/>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8" name="Freeform 5">
              <a:extLst>
                <a:ext uri="{FF2B5EF4-FFF2-40B4-BE49-F238E27FC236}">
                  <a16:creationId xmlns:a16="http://schemas.microsoft.com/office/drawing/2014/main" id="{B05D13A4-466C-914B-BC0F-022412116FF4}"/>
                </a:ext>
              </a:extLst>
            </p:cNvPr>
            <p:cNvSpPr>
              <a:spLocks noChangeArrowheads="1"/>
            </p:cNvSpPr>
            <p:nvPr userDrawn="1"/>
          </p:nvSpPr>
          <p:spPr bwMode="auto">
            <a:xfrm>
              <a:off x="3186113" y="3143250"/>
              <a:ext cx="314325" cy="307975"/>
            </a:xfrm>
            <a:custGeom>
              <a:avLst/>
              <a:gdLst>
                <a:gd name="T0" fmla="*/ 433 w 873"/>
                <a:gd name="T1" fmla="*/ 0 h 857"/>
                <a:gd name="T2" fmla="*/ 433 w 873"/>
                <a:gd name="T3" fmla="*/ 0 h 857"/>
                <a:gd name="T4" fmla="*/ 611 w 873"/>
                <a:gd name="T5" fmla="*/ 33 h 857"/>
                <a:gd name="T6" fmla="*/ 750 w 873"/>
                <a:gd name="T7" fmla="*/ 125 h 857"/>
                <a:gd name="T8" fmla="*/ 839 w 873"/>
                <a:gd name="T9" fmla="*/ 261 h 857"/>
                <a:gd name="T10" fmla="*/ 872 w 873"/>
                <a:gd name="T11" fmla="*/ 428 h 857"/>
                <a:gd name="T12" fmla="*/ 839 w 873"/>
                <a:gd name="T13" fmla="*/ 597 h 857"/>
                <a:gd name="T14" fmla="*/ 753 w 873"/>
                <a:gd name="T15" fmla="*/ 733 h 857"/>
                <a:gd name="T16" fmla="*/ 614 w 873"/>
                <a:gd name="T17" fmla="*/ 825 h 857"/>
                <a:gd name="T18" fmla="*/ 433 w 873"/>
                <a:gd name="T19" fmla="*/ 856 h 857"/>
                <a:gd name="T20" fmla="*/ 256 w 873"/>
                <a:gd name="T21" fmla="*/ 825 h 857"/>
                <a:gd name="T22" fmla="*/ 117 w 873"/>
                <a:gd name="T23" fmla="*/ 733 h 857"/>
                <a:gd name="T24" fmla="*/ 31 w 873"/>
                <a:gd name="T25" fmla="*/ 597 h 857"/>
                <a:gd name="T26" fmla="*/ 0 w 873"/>
                <a:gd name="T27" fmla="*/ 428 h 857"/>
                <a:gd name="T28" fmla="*/ 31 w 873"/>
                <a:gd name="T29" fmla="*/ 261 h 857"/>
                <a:gd name="T30" fmla="*/ 120 w 873"/>
                <a:gd name="T31" fmla="*/ 125 h 857"/>
                <a:gd name="T32" fmla="*/ 256 w 873"/>
                <a:gd name="T33" fmla="*/ 33 h 857"/>
                <a:gd name="T34" fmla="*/ 433 w 873"/>
                <a:gd name="T35" fmla="*/ 0 h 857"/>
                <a:gd name="T36" fmla="*/ 433 w 873"/>
                <a:gd name="T37" fmla="*/ 161 h 857"/>
                <a:gd name="T38" fmla="*/ 433 w 873"/>
                <a:gd name="T39" fmla="*/ 161 h 857"/>
                <a:gd name="T40" fmla="*/ 325 w 873"/>
                <a:gd name="T41" fmla="*/ 181 h 857"/>
                <a:gd name="T42" fmla="*/ 245 w 873"/>
                <a:gd name="T43" fmla="*/ 242 h 857"/>
                <a:gd name="T44" fmla="*/ 195 w 873"/>
                <a:gd name="T45" fmla="*/ 328 h 857"/>
                <a:gd name="T46" fmla="*/ 175 w 873"/>
                <a:gd name="T47" fmla="*/ 430 h 857"/>
                <a:gd name="T48" fmla="*/ 195 w 873"/>
                <a:gd name="T49" fmla="*/ 533 h 857"/>
                <a:gd name="T50" fmla="*/ 245 w 873"/>
                <a:gd name="T51" fmla="*/ 617 h 857"/>
                <a:gd name="T52" fmla="*/ 325 w 873"/>
                <a:gd name="T53" fmla="*/ 675 h 857"/>
                <a:gd name="T54" fmla="*/ 433 w 873"/>
                <a:gd name="T55" fmla="*/ 697 h 857"/>
                <a:gd name="T56" fmla="*/ 542 w 873"/>
                <a:gd name="T57" fmla="*/ 675 h 857"/>
                <a:gd name="T58" fmla="*/ 625 w 873"/>
                <a:gd name="T59" fmla="*/ 617 h 857"/>
                <a:gd name="T60" fmla="*/ 675 w 873"/>
                <a:gd name="T61" fmla="*/ 533 h 857"/>
                <a:gd name="T62" fmla="*/ 694 w 873"/>
                <a:gd name="T63" fmla="*/ 430 h 857"/>
                <a:gd name="T64" fmla="*/ 675 w 873"/>
                <a:gd name="T65" fmla="*/ 328 h 857"/>
                <a:gd name="T66" fmla="*/ 622 w 873"/>
                <a:gd name="T67" fmla="*/ 242 h 857"/>
                <a:gd name="T68" fmla="*/ 539 w 873"/>
                <a:gd name="T69" fmla="*/ 181 h 857"/>
                <a:gd name="T70" fmla="*/ 433 w 873"/>
                <a:gd name="T71" fmla="*/ 161 h 857"/>
                <a:gd name="T72" fmla="*/ 433 w 873"/>
                <a:gd name="T73"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57">
                  <a:moveTo>
                    <a:pt x="433" y="0"/>
                  </a:moveTo>
                  <a:lnTo>
                    <a:pt x="433" y="0"/>
                  </a:lnTo>
                  <a:cubicBezTo>
                    <a:pt x="500" y="0"/>
                    <a:pt x="558" y="11"/>
                    <a:pt x="611" y="33"/>
                  </a:cubicBezTo>
                  <a:cubicBezTo>
                    <a:pt x="664" y="56"/>
                    <a:pt x="711" y="86"/>
                    <a:pt x="750" y="125"/>
                  </a:cubicBezTo>
                  <a:cubicBezTo>
                    <a:pt x="789" y="161"/>
                    <a:pt x="820" y="208"/>
                    <a:pt x="839" y="261"/>
                  </a:cubicBezTo>
                  <a:cubicBezTo>
                    <a:pt x="861" y="314"/>
                    <a:pt x="872" y="369"/>
                    <a:pt x="872" y="428"/>
                  </a:cubicBezTo>
                  <a:cubicBezTo>
                    <a:pt x="872" y="489"/>
                    <a:pt x="861" y="547"/>
                    <a:pt x="839" y="597"/>
                  </a:cubicBezTo>
                  <a:cubicBezTo>
                    <a:pt x="820" y="650"/>
                    <a:pt x="792" y="694"/>
                    <a:pt x="753" y="733"/>
                  </a:cubicBezTo>
                  <a:cubicBezTo>
                    <a:pt x="714" y="772"/>
                    <a:pt x="667" y="803"/>
                    <a:pt x="614" y="825"/>
                  </a:cubicBezTo>
                  <a:cubicBezTo>
                    <a:pt x="561" y="847"/>
                    <a:pt x="500" y="856"/>
                    <a:pt x="433" y="856"/>
                  </a:cubicBezTo>
                  <a:cubicBezTo>
                    <a:pt x="367" y="856"/>
                    <a:pt x="308" y="847"/>
                    <a:pt x="256" y="825"/>
                  </a:cubicBezTo>
                  <a:cubicBezTo>
                    <a:pt x="200" y="803"/>
                    <a:pt x="156" y="772"/>
                    <a:pt x="117" y="733"/>
                  </a:cubicBezTo>
                  <a:cubicBezTo>
                    <a:pt x="81" y="694"/>
                    <a:pt x="50" y="650"/>
                    <a:pt x="31" y="597"/>
                  </a:cubicBezTo>
                  <a:cubicBezTo>
                    <a:pt x="11" y="547"/>
                    <a:pt x="0" y="489"/>
                    <a:pt x="0" y="428"/>
                  </a:cubicBezTo>
                  <a:cubicBezTo>
                    <a:pt x="0" y="369"/>
                    <a:pt x="11" y="314"/>
                    <a:pt x="31" y="261"/>
                  </a:cubicBezTo>
                  <a:cubicBezTo>
                    <a:pt x="50" y="208"/>
                    <a:pt x="81" y="161"/>
                    <a:pt x="120" y="125"/>
                  </a:cubicBezTo>
                  <a:cubicBezTo>
                    <a:pt x="156" y="86"/>
                    <a:pt x="203" y="56"/>
                    <a:pt x="256" y="33"/>
                  </a:cubicBezTo>
                  <a:cubicBezTo>
                    <a:pt x="308" y="11"/>
                    <a:pt x="370" y="0"/>
                    <a:pt x="433" y="0"/>
                  </a:cubicBezTo>
                  <a:lnTo>
                    <a:pt x="433" y="161"/>
                  </a:lnTo>
                  <a:lnTo>
                    <a:pt x="433" y="161"/>
                  </a:lnTo>
                  <a:cubicBezTo>
                    <a:pt x="394" y="161"/>
                    <a:pt x="358" y="167"/>
                    <a:pt x="325" y="181"/>
                  </a:cubicBezTo>
                  <a:cubicBezTo>
                    <a:pt x="295" y="197"/>
                    <a:pt x="267" y="217"/>
                    <a:pt x="245" y="242"/>
                  </a:cubicBezTo>
                  <a:cubicBezTo>
                    <a:pt x="222" y="267"/>
                    <a:pt x="206" y="294"/>
                    <a:pt x="195" y="328"/>
                  </a:cubicBezTo>
                  <a:cubicBezTo>
                    <a:pt x="181" y="358"/>
                    <a:pt x="175" y="394"/>
                    <a:pt x="175" y="430"/>
                  </a:cubicBezTo>
                  <a:cubicBezTo>
                    <a:pt x="175" y="467"/>
                    <a:pt x="181" y="500"/>
                    <a:pt x="195" y="533"/>
                  </a:cubicBezTo>
                  <a:cubicBezTo>
                    <a:pt x="206" y="567"/>
                    <a:pt x="222" y="594"/>
                    <a:pt x="245" y="617"/>
                  </a:cubicBezTo>
                  <a:cubicBezTo>
                    <a:pt x="267" y="642"/>
                    <a:pt x="295" y="661"/>
                    <a:pt x="325" y="675"/>
                  </a:cubicBezTo>
                  <a:cubicBezTo>
                    <a:pt x="358" y="689"/>
                    <a:pt x="394" y="697"/>
                    <a:pt x="433" y="697"/>
                  </a:cubicBezTo>
                  <a:cubicBezTo>
                    <a:pt x="475" y="697"/>
                    <a:pt x="511" y="689"/>
                    <a:pt x="542" y="675"/>
                  </a:cubicBezTo>
                  <a:cubicBezTo>
                    <a:pt x="575" y="661"/>
                    <a:pt x="603" y="642"/>
                    <a:pt x="625" y="617"/>
                  </a:cubicBezTo>
                  <a:cubicBezTo>
                    <a:pt x="647" y="594"/>
                    <a:pt x="664" y="567"/>
                    <a:pt x="675" y="533"/>
                  </a:cubicBezTo>
                  <a:cubicBezTo>
                    <a:pt x="686" y="500"/>
                    <a:pt x="694" y="467"/>
                    <a:pt x="694" y="430"/>
                  </a:cubicBezTo>
                  <a:cubicBezTo>
                    <a:pt x="694" y="394"/>
                    <a:pt x="686" y="358"/>
                    <a:pt x="675" y="328"/>
                  </a:cubicBezTo>
                  <a:cubicBezTo>
                    <a:pt x="661" y="294"/>
                    <a:pt x="645" y="267"/>
                    <a:pt x="622" y="242"/>
                  </a:cubicBezTo>
                  <a:cubicBezTo>
                    <a:pt x="600" y="217"/>
                    <a:pt x="572" y="197"/>
                    <a:pt x="539" y="181"/>
                  </a:cubicBezTo>
                  <a:cubicBezTo>
                    <a:pt x="508" y="167"/>
                    <a:pt x="472" y="161"/>
                    <a:pt x="433" y="161"/>
                  </a:cubicBezTo>
                  <a:lnTo>
                    <a:pt x="433"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9" name="Freeform 6">
              <a:extLst>
                <a:ext uri="{FF2B5EF4-FFF2-40B4-BE49-F238E27FC236}">
                  <a16:creationId xmlns:a16="http://schemas.microsoft.com/office/drawing/2014/main" id="{0B563914-E8F2-A847-B0A9-747920D4C398}"/>
                </a:ext>
              </a:extLst>
            </p:cNvPr>
            <p:cNvSpPr>
              <a:spLocks noChangeArrowheads="1"/>
            </p:cNvSpPr>
            <p:nvPr userDrawn="1"/>
          </p:nvSpPr>
          <p:spPr bwMode="auto">
            <a:xfrm>
              <a:off x="3567113" y="3143250"/>
              <a:ext cx="476250" cy="301625"/>
            </a:xfrm>
            <a:custGeom>
              <a:avLst/>
              <a:gdLst>
                <a:gd name="T0" fmla="*/ 575 w 1321"/>
                <a:gd name="T1" fmla="*/ 839 h 840"/>
                <a:gd name="T2" fmla="*/ 575 w 1321"/>
                <a:gd name="T3" fmla="*/ 839 h 840"/>
                <a:gd name="T4" fmla="*/ 575 w 1321"/>
                <a:gd name="T5" fmla="*/ 386 h 840"/>
                <a:gd name="T6" fmla="*/ 561 w 1321"/>
                <a:gd name="T7" fmla="*/ 300 h 840"/>
                <a:gd name="T8" fmla="*/ 523 w 1321"/>
                <a:gd name="T9" fmla="*/ 228 h 840"/>
                <a:gd name="T10" fmla="*/ 461 w 1321"/>
                <a:gd name="T11" fmla="*/ 181 h 840"/>
                <a:gd name="T12" fmla="*/ 378 w 1321"/>
                <a:gd name="T13" fmla="*/ 161 h 840"/>
                <a:gd name="T14" fmla="*/ 295 w 1321"/>
                <a:gd name="T15" fmla="*/ 181 h 840"/>
                <a:gd name="T16" fmla="*/ 231 w 1321"/>
                <a:gd name="T17" fmla="*/ 228 h 840"/>
                <a:gd name="T18" fmla="*/ 189 w 1321"/>
                <a:gd name="T19" fmla="*/ 300 h 840"/>
                <a:gd name="T20" fmla="*/ 175 w 1321"/>
                <a:gd name="T21" fmla="*/ 386 h 840"/>
                <a:gd name="T22" fmla="*/ 175 w 1321"/>
                <a:gd name="T23" fmla="*/ 839 h 840"/>
                <a:gd name="T24" fmla="*/ 0 w 1321"/>
                <a:gd name="T25" fmla="*/ 839 h 840"/>
                <a:gd name="T26" fmla="*/ 0 w 1321"/>
                <a:gd name="T27" fmla="*/ 14 h 840"/>
                <a:gd name="T28" fmla="*/ 164 w 1321"/>
                <a:gd name="T29" fmla="*/ 14 h 840"/>
                <a:gd name="T30" fmla="*/ 175 w 1321"/>
                <a:gd name="T31" fmla="*/ 125 h 840"/>
                <a:gd name="T32" fmla="*/ 278 w 1321"/>
                <a:gd name="T33" fmla="*/ 28 h 840"/>
                <a:gd name="T34" fmla="*/ 411 w 1321"/>
                <a:gd name="T35" fmla="*/ 0 h 840"/>
                <a:gd name="T36" fmla="*/ 492 w 1321"/>
                <a:gd name="T37" fmla="*/ 8 h 840"/>
                <a:gd name="T38" fmla="*/ 564 w 1321"/>
                <a:gd name="T39" fmla="*/ 39 h 840"/>
                <a:gd name="T40" fmla="*/ 628 w 1321"/>
                <a:gd name="T41" fmla="*/ 89 h 840"/>
                <a:gd name="T42" fmla="*/ 675 w 1321"/>
                <a:gd name="T43" fmla="*/ 167 h 840"/>
                <a:gd name="T44" fmla="*/ 800 w 1321"/>
                <a:gd name="T45" fmla="*/ 39 h 840"/>
                <a:gd name="T46" fmla="*/ 964 w 1321"/>
                <a:gd name="T47" fmla="*/ 3 h 840"/>
                <a:gd name="T48" fmla="*/ 1231 w 1321"/>
                <a:gd name="T49" fmla="*/ 103 h 840"/>
                <a:gd name="T50" fmla="*/ 1320 w 1321"/>
                <a:gd name="T51" fmla="*/ 383 h 840"/>
                <a:gd name="T52" fmla="*/ 1320 w 1321"/>
                <a:gd name="T53" fmla="*/ 839 h 840"/>
                <a:gd name="T54" fmla="*/ 1142 w 1321"/>
                <a:gd name="T55" fmla="*/ 839 h 840"/>
                <a:gd name="T56" fmla="*/ 1142 w 1321"/>
                <a:gd name="T57" fmla="*/ 383 h 840"/>
                <a:gd name="T58" fmla="*/ 1131 w 1321"/>
                <a:gd name="T59" fmla="*/ 297 h 840"/>
                <a:gd name="T60" fmla="*/ 1095 w 1321"/>
                <a:gd name="T61" fmla="*/ 228 h 840"/>
                <a:gd name="T62" fmla="*/ 1039 w 1321"/>
                <a:gd name="T63" fmla="*/ 181 h 840"/>
                <a:gd name="T64" fmla="*/ 956 w 1321"/>
                <a:gd name="T65" fmla="*/ 164 h 840"/>
                <a:gd name="T66" fmla="*/ 873 w 1321"/>
                <a:gd name="T67" fmla="*/ 181 h 840"/>
                <a:gd name="T68" fmla="*/ 809 w 1321"/>
                <a:gd name="T69" fmla="*/ 228 h 840"/>
                <a:gd name="T70" fmla="*/ 767 w 1321"/>
                <a:gd name="T71" fmla="*/ 300 h 840"/>
                <a:gd name="T72" fmla="*/ 753 w 1321"/>
                <a:gd name="T73" fmla="*/ 386 h 840"/>
                <a:gd name="T74" fmla="*/ 753 w 1321"/>
                <a:gd name="T75" fmla="*/ 839 h 840"/>
                <a:gd name="T76" fmla="*/ 575 w 1321"/>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1" h="840">
                  <a:moveTo>
                    <a:pt x="575" y="839"/>
                  </a:moveTo>
                  <a:lnTo>
                    <a:pt x="575" y="839"/>
                  </a:lnTo>
                  <a:cubicBezTo>
                    <a:pt x="575" y="386"/>
                    <a:pt x="575" y="386"/>
                    <a:pt x="575" y="386"/>
                  </a:cubicBezTo>
                  <a:cubicBezTo>
                    <a:pt x="575" y="356"/>
                    <a:pt x="570" y="328"/>
                    <a:pt x="561" y="300"/>
                  </a:cubicBezTo>
                  <a:cubicBezTo>
                    <a:pt x="553" y="272"/>
                    <a:pt x="539" y="247"/>
                    <a:pt x="523" y="228"/>
                  </a:cubicBezTo>
                  <a:cubicBezTo>
                    <a:pt x="506" y="208"/>
                    <a:pt x="486" y="192"/>
                    <a:pt x="461" y="181"/>
                  </a:cubicBezTo>
                  <a:cubicBezTo>
                    <a:pt x="436" y="167"/>
                    <a:pt x="409" y="161"/>
                    <a:pt x="378" y="161"/>
                  </a:cubicBezTo>
                  <a:cubicBezTo>
                    <a:pt x="348" y="161"/>
                    <a:pt x="320" y="167"/>
                    <a:pt x="295" y="181"/>
                  </a:cubicBezTo>
                  <a:cubicBezTo>
                    <a:pt x="270" y="192"/>
                    <a:pt x="248" y="208"/>
                    <a:pt x="231" y="228"/>
                  </a:cubicBezTo>
                  <a:cubicBezTo>
                    <a:pt x="211" y="247"/>
                    <a:pt x="200" y="272"/>
                    <a:pt x="189" y="300"/>
                  </a:cubicBezTo>
                  <a:cubicBezTo>
                    <a:pt x="181" y="328"/>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198" y="78"/>
                    <a:pt x="234" y="47"/>
                    <a:pt x="278" y="28"/>
                  </a:cubicBezTo>
                  <a:cubicBezTo>
                    <a:pt x="323" y="11"/>
                    <a:pt x="367" y="0"/>
                    <a:pt x="411" y="0"/>
                  </a:cubicBezTo>
                  <a:cubicBezTo>
                    <a:pt x="439" y="0"/>
                    <a:pt x="464" y="3"/>
                    <a:pt x="492" y="8"/>
                  </a:cubicBezTo>
                  <a:cubicBezTo>
                    <a:pt x="517" y="14"/>
                    <a:pt x="542" y="25"/>
                    <a:pt x="564" y="39"/>
                  </a:cubicBezTo>
                  <a:cubicBezTo>
                    <a:pt x="589" y="50"/>
                    <a:pt x="609" y="69"/>
                    <a:pt x="628" y="89"/>
                  </a:cubicBezTo>
                  <a:cubicBezTo>
                    <a:pt x="647" y="111"/>
                    <a:pt x="661" y="136"/>
                    <a:pt x="675" y="167"/>
                  </a:cubicBezTo>
                  <a:cubicBezTo>
                    <a:pt x="709" y="106"/>
                    <a:pt x="750" y="64"/>
                    <a:pt x="800" y="39"/>
                  </a:cubicBezTo>
                  <a:cubicBezTo>
                    <a:pt x="850" y="14"/>
                    <a:pt x="906" y="3"/>
                    <a:pt x="964" y="3"/>
                  </a:cubicBezTo>
                  <a:cubicBezTo>
                    <a:pt x="1081" y="3"/>
                    <a:pt x="1170" y="36"/>
                    <a:pt x="1231" y="103"/>
                  </a:cubicBezTo>
                  <a:cubicBezTo>
                    <a:pt x="1289" y="172"/>
                    <a:pt x="1320" y="264"/>
                    <a:pt x="1320" y="383"/>
                  </a:cubicBezTo>
                  <a:cubicBezTo>
                    <a:pt x="1320" y="839"/>
                    <a:pt x="1320" y="839"/>
                    <a:pt x="1320" y="839"/>
                  </a:cubicBezTo>
                  <a:cubicBezTo>
                    <a:pt x="1142" y="839"/>
                    <a:pt x="1142" y="839"/>
                    <a:pt x="1142" y="839"/>
                  </a:cubicBezTo>
                  <a:cubicBezTo>
                    <a:pt x="1142" y="383"/>
                    <a:pt x="1142" y="383"/>
                    <a:pt x="1142" y="383"/>
                  </a:cubicBezTo>
                  <a:cubicBezTo>
                    <a:pt x="1142" y="353"/>
                    <a:pt x="1139" y="325"/>
                    <a:pt x="1131" y="297"/>
                  </a:cubicBezTo>
                  <a:cubicBezTo>
                    <a:pt x="1122" y="269"/>
                    <a:pt x="1111" y="247"/>
                    <a:pt x="1095" y="228"/>
                  </a:cubicBezTo>
                  <a:cubicBezTo>
                    <a:pt x="1081" y="206"/>
                    <a:pt x="1061" y="192"/>
                    <a:pt x="1039" y="181"/>
                  </a:cubicBezTo>
                  <a:cubicBezTo>
                    <a:pt x="1014" y="169"/>
                    <a:pt x="986" y="164"/>
                    <a:pt x="956" y="164"/>
                  </a:cubicBezTo>
                  <a:cubicBezTo>
                    <a:pt x="925" y="164"/>
                    <a:pt x="897" y="169"/>
                    <a:pt x="873" y="181"/>
                  </a:cubicBezTo>
                  <a:cubicBezTo>
                    <a:pt x="847" y="192"/>
                    <a:pt x="825" y="208"/>
                    <a:pt x="809" y="228"/>
                  </a:cubicBezTo>
                  <a:cubicBezTo>
                    <a:pt x="789" y="250"/>
                    <a:pt x="775" y="272"/>
                    <a:pt x="767" y="300"/>
                  </a:cubicBezTo>
                  <a:cubicBezTo>
                    <a:pt x="756" y="328"/>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0" name="Freeform 7">
              <a:extLst>
                <a:ext uri="{FF2B5EF4-FFF2-40B4-BE49-F238E27FC236}">
                  <a16:creationId xmlns:a16="http://schemas.microsoft.com/office/drawing/2014/main" id="{7CB4C28E-C58B-1448-B8CA-047CA764A162}"/>
                </a:ext>
              </a:extLst>
            </p:cNvPr>
            <p:cNvSpPr>
              <a:spLocks noChangeArrowheads="1"/>
            </p:cNvSpPr>
            <p:nvPr userDrawn="1"/>
          </p:nvSpPr>
          <p:spPr bwMode="auto">
            <a:xfrm>
              <a:off x="4105275" y="3141663"/>
              <a:ext cx="314325" cy="312737"/>
            </a:xfrm>
            <a:custGeom>
              <a:avLst/>
              <a:gdLst>
                <a:gd name="T0" fmla="*/ 864 w 874"/>
                <a:gd name="T1" fmla="*/ 498 h 868"/>
                <a:gd name="T2" fmla="*/ 864 w 874"/>
                <a:gd name="T3" fmla="*/ 498 h 868"/>
                <a:gd name="T4" fmla="*/ 181 w 874"/>
                <a:gd name="T5" fmla="*/ 498 h 868"/>
                <a:gd name="T6" fmla="*/ 267 w 874"/>
                <a:gd name="T7" fmla="*/ 650 h 868"/>
                <a:gd name="T8" fmla="*/ 456 w 874"/>
                <a:gd name="T9" fmla="*/ 706 h 868"/>
                <a:gd name="T10" fmla="*/ 592 w 874"/>
                <a:gd name="T11" fmla="*/ 684 h 868"/>
                <a:gd name="T12" fmla="*/ 700 w 874"/>
                <a:gd name="T13" fmla="*/ 617 h 868"/>
                <a:gd name="T14" fmla="*/ 814 w 874"/>
                <a:gd name="T15" fmla="*/ 725 h 868"/>
                <a:gd name="T16" fmla="*/ 739 w 874"/>
                <a:gd name="T17" fmla="*/ 786 h 868"/>
                <a:gd name="T18" fmla="*/ 650 w 874"/>
                <a:gd name="T19" fmla="*/ 831 h 868"/>
                <a:gd name="T20" fmla="*/ 553 w 874"/>
                <a:gd name="T21" fmla="*/ 859 h 868"/>
                <a:gd name="T22" fmla="*/ 453 w 874"/>
                <a:gd name="T23" fmla="*/ 867 h 868"/>
                <a:gd name="T24" fmla="*/ 267 w 874"/>
                <a:gd name="T25" fmla="*/ 836 h 868"/>
                <a:gd name="T26" fmla="*/ 123 w 874"/>
                <a:gd name="T27" fmla="*/ 748 h 868"/>
                <a:gd name="T28" fmla="*/ 31 w 874"/>
                <a:gd name="T29" fmla="*/ 609 h 868"/>
                <a:gd name="T30" fmla="*/ 0 w 874"/>
                <a:gd name="T31" fmla="*/ 431 h 868"/>
                <a:gd name="T32" fmla="*/ 31 w 874"/>
                <a:gd name="T33" fmla="*/ 256 h 868"/>
                <a:gd name="T34" fmla="*/ 123 w 874"/>
                <a:gd name="T35" fmla="*/ 120 h 868"/>
                <a:gd name="T36" fmla="*/ 261 w 874"/>
                <a:gd name="T37" fmla="*/ 31 h 868"/>
                <a:gd name="T38" fmla="*/ 442 w 874"/>
                <a:gd name="T39" fmla="*/ 0 h 868"/>
                <a:gd name="T40" fmla="*/ 628 w 874"/>
                <a:gd name="T41" fmla="*/ 31 h 868"/>
                <a:gd name="T42" fmla="*/ 767 w 874"/>
                <a:gd name="T43" fmla="*/ 125 h 868"/>
                <a:gd name="T44" fmla="*/ 850 w 874"/>
                <a:gd name="T45" fmla="*/ 278 h 868"/>
                <a:gd name="T46" fmla="*/ 864 w 874"/>
                <a:gd name="T47" fmla="*/ 498 h 868"/>
                <a:gd name="T48" fmla="*/ 187 w 874"/>
                <a:gd name="T49" fmla="*/ 353 h 868"/>
                <a:gd name="T50" fmla="*/ 187 w 874"/>
                <a:gd name="T51" fmla="*/ 353 h 868"/>
                <a:gd name="T52" fmla="*/ 695 w 874"/>
                <a:gd name="T53" fmla="*/ 353 h 868"/>
                <a:gd name="T54" fmla="*/ 620 w 874"/>
                <a:gd name="T55" fmla="*/ 203 h 868"/>
                <a:gd name="T56" fmla="*/ 448 w 874"/>
                <a:gd name="T57" fmla="*/ 153 h 868"/>
                <a:gd name="T58" fmla="*/ 278 w 874"/>
                <a:gd name="T59" fmla="*/ 203 h 868"/>
                <a:gd name="T60" fmla="*/ 187 w 874"/>
                <a:gd name="T61" fmla="*/ 353 h 868"/>
                <a:gd name="T62" fmla="*/ 864 w 874"/>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4" h="868">
                  <a:moveTo>
                    <a:pt x="864" y="498"/>
                  </a:moveTo>
                  <a:lnTo>
                    <a:pt x="864" y="498"/>
                  </a:lnTo>
                  <a:cubicBezTo>
                    <a:pt x="181" y="498"/>
                    <a:pt x="181" y="498"/>
                    <a:pt x="181" y="498"/>
                  </a:cubicBezTo>
                  <a:cubicBezTo>
                    <a:pt x="189" y="562"/>
                    <a:pt x="217" y="611"/>
                    <a:pt x="267" y="650"/>
                  </a:cubicBezTo>
                  <a:cubicBezTo>
                    <a:pt x="317" y="686"/>
                    <a:pt x="378" y="706"/>
                    <a:pt x="456" y="706"/>
                  </a:cubicBezTo>
                  <a:cubicBezTo>
                    <a:pt x="500" y="706"/>
                    <a:pt x="545" y="698"/>
                    <a:pt x="592" y="684"/>
                  </a:cubicBezTo>
                  <a:cubicBezTo>
                    <a:pt x="639" y="667"/>
                    <a:pt x="675" y="645"/>
                    <a:pt x="700" y="617"/>
                  </a:cubicBezTo>
                  <a:cubicBezTo>
                    <a:pt x="814" y="725"/>
                    <a:pt x="814" y="725"/>
                    <a:pt x="814" y="725"/>
                  </a:cubicBezTo>
                  <a:cubicBezTo>
                    <a:pt x="795" y="750"/>
                    <a:pt x="770" y="770"/>
                    <a:pt x="739" y="786"/>
                  </a:cubicBezTo>
                  <a:cubicBezTo>
                    <a:pt x="711" y="806"/>
                    <a:pt x="681" y="820"/>
                    <a:pt x="650" y="831"/>
                  </a:cubicBezTo>
                  <a:cubicBezTo>
                    <a:pt x="620" y="845"/>
                    <a:pt x="587" y="853"/>
                    <a:pt x="553" y="859"/>
                  </a:cubicBezTo>
                  <a:cubicBezTo>
                    <a:pt x="517" y="864"/>
                    <a:pt x="487" y="867"/>
                    <a:pt x="453" y="867"/>
                  </a:cubicBezTo>
                  <a:cubicBezTo>
                    <a:pt x="384" y="867"/>
                    <a:pt x="323" y="856"/>
                    <a:pt x="267" y="836"/>
                  </a:cubicBezTo>
                  <a:cubicBezTo>
                    <a:pt x="209" y="814"/>
                    <a:pt x="161" y="786"/>
                    <a:pt x="123" y="748"/>
                  </a:cubicBezTo>
                  <a:cubicBezTo>
                    <a:pt x="84" y="709"/>
                    <a:pt x="53" y="664"/>
                    <a:pt x="31" y="609"/>
                  </a:cubicBezTo>
                  <a:cubicBezTo>
                    <a:pt x="12" y="556"/>
                    <a:pt x="0" y="495"/>
                    <a:pt x="0" y="431"/>
                  </a:cubicBezTo>
                  <a:cubicBezTo>
                    <a:pt x="0" y="367"/>
                    <a:pt x="12" y="309"/>
                    <a:pt x="31" y="256"/>
                  </a:cubicBezTo>
                  <a:cubicBezTo>
                    <a:pt x="53" y="203"/>
                    <a:pt x="84" y="159"/>
                    <a:pt x="123" y="120"/>
                  </a:cubicBezTo>
                  <a:cubicBezTo>
                    <a:pt x="161" y="84"/>
                    <a:pt x="209" y="53"/>
                    <a:pt x="261" y="31"/>
                  </a:cubicBezTo>
                  <a:cubicBezTo>
                    <a:pt x="314" y="12"/>
                    <a:pt x="375" y="0"/>
                    <a:pt x="442" y="0"/>
                  </a:cubicBezTo>
                  <a:cubicBezTo>
                    <a:pt x="509" y="0"/>
                    <a:pt x="573" y="12"/>
                    <a:pt x="628" y="31"/>
                  </a:cubicBezTo>
                  <a:cubicBezTo>
                    <a:pt x="681" y="53"/>
                    <a:pt x="728" y="84"/>
                    <a:pt x="767" y="125"/>
                  </a:cubicBezTo>
                  <a:cubicBezTo>
                    <a:pt x="806" y="164"/>
                    <a:pt x="834" y="217"/>
                    <a:pt x="850" y="278"/>
                  </a:cubicBezTo>
                  <a:cubicBezTo>
                    <a:pt x="867" y="342"/>
                    <a:pt x="873" y="414"/>
                    <a:pt x="864" y="498"/>
                  </a:cubicBezTo>
                  <a:lnTo>
                    <a:pt x="187" y="353"/>
                  </a:lnTo>
                  <a:lnTo>
                    <a:pt x="187" y="353"/>
                  </a:lnTo>
                  <a:cubicBezTo>
                    <a:pt x="695" y="353"/>
                    <a:pt x="695" y="353"/>
                    <a:pt x="695" y="353"/>
                  </a:cubicBezTo>
                  <a:cubicBezTo>
                    <a:pt x="689" y="287"/>
                    <a:pt x="664" y="236"/>
                    <a:pt x="620" y="203"/>
                  </a:cubicBezTo>
                  <a:cubicBezTo>
                    <a:pt x="575" y="170"/>
                    <a:pt x="517" y="153"/>
                    <a:pt x="448" y="153"/>
                  </a:cubicBezTo>
                  <a:cubicBezTo>
                    <a:pt x="381" y="153"/>
                    <a:pt x="325" y="170"/>
                    <a:pt x="278" y="203"/>
                  </a:cubicBezTo>
                  <a:cubicBezTo>
                    <a:pt x="231" y="236"/>
                    <a:pt x="200" y="287"/>
                    <a:pt x="187"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1" name="Freeform 8">
              <a:extLst>
                <a:ext uri="{FF2B5EF4-FFF2-40B4-BE49-F238E27FC236}">
                  <a16:creationId xmlns:a16="http://schemas.microsoft.com/office/drawing/2014/main" id="{A95CF733-0C24-754C-BD5B-77257B556DD6}"/>
                </a:ext>
              </a:extLst>
            </p:cNvPr>
            <p:cNvSpPr>
              <a:spLocks noChangeArrowheads="1"/>
            </p:cNvSpPr>
            <p:nvPr userDrawn="1"/>
          </p:nvSpPr>
          <p:spPr bwMode="auto">
            <a:xfrm>
              <a:off x="4481513" y="3141663"/>
              <a:ext cx="227012" cy="303212"/>
            </a:xfrm>
            <a:custGeom>
              <a:avLst/>
              <a:gdLst>
                <a:gd name="T0" fmla="*/ 164 w 631"/>
                <a:gd name="T1" fmla="*/ 20 h 843"/>
                <a:gd name="T2" fmla="*/ 164 w 631"/>
                <a:gd name="T3" fmla="*/ 20 h 843"/>
                <a:gd name="T4" fmla="*/ 175 w 631"/>
                <a:gd name="T5" fmla="*/ 128 h 843"/>
                <a:gd name="T6" fmla="*/ 289 w 631"/>
                <a:gd name="T7" fmla="*/ 25 h 843"/>
                <a:gd name="T8" fmla="*/ 422 w 631"/>
                <a:gd name="T9" fmla="*/ 0 h 843"/>
                <a:gd name="T10" fmla="*/ 539 w 631"/>
                <a:gd name="T11" fmla="*/ 20 h 843"/>
                <a:gd name="T12" fmla="*/ 630 w 631"/>
                <a:gd name="T13" fmla="*/ 70 h 843"/>
                <a:gd name="T14" fmla="*/ 550 w 631"/>
                <a:gd name="T15" fmla="*/ 222 h 843"/>
                <a:gd name="T16" fmla="*/ 486 w 631"/>
                <a:gd name="T17" fmla="*/ 184 h 843"/>
                <a:gd name="T18" fmla="*/ 402 w 631"/>
                <a:gd name="T19" fmla="*/ 172 h 843"/>
                <a:gd name="T20" fmla="*/ 316 w 631"/>
                <a:gd name="T21" fmla="*/ 186 h 843"/>
                <a:gd name="T22" fmla="*/ 244 w 631"/>
                <a:gd name="T23" fmla="*/ 228 h 843"/>
                <a:gd name="T24" fmla="*/ 194 w 631"/>
                <a:gd name="T25" fmla="*/ 297 h 843"/>
                <a:gd name="T26" fmla="*/ 175 w 631"/>
                <a:gd name="T27" fmla="*/ 397 h 843"/>
                <a:gd name="T28" fmla="*/ 175 w 631"/>
                <a:gd name="T29" fmla="*/ 842 h 843"/>
                <a:gd name="T30" fmla="*/ 0 w 631"/>
                <a:gd name="T31" fmla="*/ 842 h 843"/>
                <a:gd name="T32" fmla="*/ 0 w 631"/>
                <a:gd name="T33" fmla="*/ 20 h 843"/>
                <a:gd name="T34" fmla="*/ 164 w 631"/>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1" h="843">
                  <a:moveTo>
                    <a:pt x="164" y="20"/>
                  </a:moveTo>
                  <a:lnTo>
                    <a:pt x="164" y="20"/>
                  </a:lnTo>
                  <a:cubicBezTo>
                    <a:pt x="175" y="128"/>
                    <a:pt x="175" y="128"/>
                    <a:pt x="175" y="128"/>
                  </a:cubicBezTo>
                  <a:cubicBezTo>
                    <a:pt x="205" y="75"/>
                    <a:pt x="244" y="42"/>
                    <a:pt x="289" y="25"/>
                  </a:cubicBezTo>
                  <a:cubicBezTo>
                    <a:pt x="333" y="9"/>
                    <a:pt x="378" y="0"/>
                    <a:pt x="422" y="0"/>
                  </a:cubicBezTo>
                  <a:cubicBezTo>
                    <a:pt x="464" y="0"/>
                    <a:pt x="502" y="9"/>
                    <a:pt x="539" y="20"/>
                  </a:cubicBezTo>
                  <a:cubicBezTo>
                    <a:pt x="577" y="34"/>
                    <a:pt x="608" y="50"/>
                    <a:pt x="630" y="70"/>
                  </a:cubicBezTo>
                  <a:cubicBezTo>
                    <a:pt x="550" y="222"/>
                    <a:pt x="550" y="222"/>
                    <a:pt x="550" y="222"/>
                  </a:cubicBezTo>
                  <a:cubicBezTo>
                    <a:pt x="530" y="206"/>
                    <a:pt x="508" y="192"/>
                    <a:pt x="486" y="184"/>
                  </a:cubicBezTo>
                  <a:cubicBezTo>
                    <a:pt x="464" y="175"/>
                    <a:pt x="436" y="172"/>
                    <a:pt x="402" y="172"/>
                  </a:cubicBezTo>
                  <a:cubicBezTo>
                    <a:pt x="372" y="172"/>
                    <a:pt x="341" y="175"/>
                    <a:pt x="316" y="186"/>
                  </a:cubicBezTo>
                  <a:cubicBezTo>
                    <a:pt x="289" y="195"/>
                    <a:pt x="264" y="209"/>
                    <a:pt x="244" y="228"/>
                  </a:cubicBezTo>
                  <a:cubicBezTo>
                    <a:pt x="222" y="245"/>
                    <a:pt x="205" y="270"/>
                    <a:pt x="194" y="297"/>
                  </a:cubicBezTo>
                  <a:cubicBezTo>
                    <a:pt x="180" y="325"/>
                    <a:pt x="175" y="359"/>
                    <a:pt x="175" y="397"/>
                  </a:cubicBezTo>
                  <a:cubicBezTo>
                    <a:pt x="175" y="842"/>
                    <a:pt x="175" y="842"/>
                    <a:pt x="175"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2" name="Freeform 9">
              <a:extLst>
                <a:ext uri="{FF2B5EF4-FFF2-40B4-BE49-F238E27FC236}">
                  <a16:creationId xmlns:a16="http://schemas.microsoft.com/office/drawing/2014/main" id="{32B6901F-DDF2-5045-AD50-E960B0652F60}"/>
                </a:ext>
              </a:extLst>
            </p:cNvPr>
            <p:cNvSpPr>
              <a:spLocks noChangeArrowheads="1"/>
            </p:cNvSpPr>
            <p:nvPr userDrawn="1"/>
          </p:nvSpPr>
          <p:spPr bwMode="auto">
            <a:xfrm>
              <a:off x="4872038" y="3141663"/>
              <a:ext cx="314325" cy="312737"/>
            </a:xfrm>
            <a:custGeom>
              <a:avLst/>
              <a:gdLst>
                <a:gd name="T0" fmla="*/ 863 w 872"/>
                <a:gd name="T1" fmla="*/ 498 h 868"/>
                <a:gd name="T2" fmla="*/ 863 w 872"/>
                <a:gd name="T3" fmla="*/ 498 h 868"/>
                <a:gd name="T4" fmla="*/ 183 w 872"/>
                <a:gd name="T5" fmla="*/ 498 h 868"/>
                <a:gd name="T6" fmla="*/ 266 w 872"/>
                <a:gd name="T7" fmla="*/ 650 h 868"/>
                <a:gd name="T8" fmla="*/ 458 w 872"/>
                <a:gd name="T9" fmla="*/ 706 h 868"/>
                <a:gd name="T10" fmla="*/ 590 w 872"/>
                <a:gd name="T11" fmla="*/ 684 h 868"/>
                <a:gd name="T12" fmla="*/ 699 w 872"/>
                <a:gd name="T13" fmla="*/ 617 h 868"/>
                <a:gd name="T14" fmla="*/ 815 w 872"/>
                <a:gd name="T15" fmla="*/ 725 h 868"/>
                <a:gd name="T16" fmla="*/ 740 w 872"/>
                <a:gd name="T17" fmla="*/ 786 h 868"/>
                <a:gd name="T18" fmla="*/ 649 w 872"/>
                <a:gd name="T19" fmla="*/ 831 h 868"/>
                <a:gd name="T20" fmla="*/ 551 w 872"/>
                <a:gd name="T21" fmla="*/ 859 h 868"/>
                <a:gd name="T22" fmla="*/ 452 w 872"/>
                <a:gd name="T23" fmla="*/ 867 h 868"/>
                <a:gd name="T24" fmla="*/ 266 w 872"/>
                <a:gd name="T25" fmla="*/ 836 h 868"/>
                <a:gd name="T26" fmla="*/ 122 w 872"/>
                <a:gd name="T27" fmla="*/ 748 h 868"/>
                <a:gd name="T28" fmla="*/ 30 w 872"/>
                <a:gd name="T29" fmla="*/ 609 h 868"/>
                <a:gd name="T30" fmla="*/ 0 w 872"/>
                <a:gd name="T31" fmla="*/ 431 h 868"/>
                <a:gd name="T32" fmla="*/ 30 w 872"/>
                <a:gd name="T33" fmla="*/ 256 h 868"/>
                <a:gd name="T34" fmla="*/ 122 w 872"/>
                <a:gd name="T35" fmla="*/ 120 h 868"/>
                <a:gd name="T36" fmla="*/ 261 w 872"/>
                <a:gd name="T37" fmla="*/ 31 h 868"/>
                <a:gd name="T38" fmla="*/ 441 w 872"/>
                <a:gd name="T39" fmla="*/ 0 h 868"/>
                <a:gd name="T40" fmla="*/ 626 w 872"/>
                <a:gd name="T41" fmla="*/ 31 h 868"/>
                <a:gd name="T42" fmla="*/ 765 w 872"/>
                <a:gd name="T43" fmla="*/ 125 h 868"/>
                <a:gd name="T44" fmla="*/ 849 w 872"/>
                <a:gd name="T45" fmla="*/ 278 h 868"/>
                <a:gd name="T46" fmla="*/ 863 w 872"/>
                <a:gd name="T47" fmla="*/ 498 h 868"/>
                <a:gd name="T48" fmla="*/ 186 w 872"/>
                <a:gd name="T49" fmla="*/ 353 h 868"/>
                <a:gd name="T50" fmla="*/ 186 w 872"/>
                <a:gd name="T51" fmla="*/ 353 h 868"/>
                <a:gd name="T52" fmla="*/ 696 w 872"/>
                <a:gd name="T53" fmla="*/ 353 h 868"/>
                <a:gd name="T54" fmla="*/ 621 w 872"/>
                <a:gd name="T55" fmla="*/ 203 h 868"/>
                <a:gd name="T56" fmla="*/ 447 w 872"/>
                <a:gd name="T57" fmla="*/ 153 h 868"/>
                <a:gd name="T58" fmla="*/ 278 w 872"/>
                <a:gd name="T59" fmla="*/ 203 h 868"/>
                <a:gd name="T60" fmla="*/ 186 w 872"/>
                <a:gd name="T61" fmla="*/ 353 h 868"/>
                <a:gd name="T62" fmla="*/ 863 w 872"/>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2" h="868">
                  <a:moveTo>
                    <a:pt x="863" y="498"/>
                  </a:moveTo>
                  <a:lnTo>
                    <a:pt x="863" y="498"/>
                  </a:lnTo>
                  <a:cubicBezTo>
                    <a:pt x="183" y="498"/>
                    <a:pt x="183" y="498"/>
                    <a:pt x="183" y="498"/>
                  </a:cubicBezTo>
                  <a:cubicBezTo>
                    <a:pt x="189" y="562"/>
                    <a:pt x="219" y="611"/>
                    <a:pt x="266" y="650"/>
                  </a:cubicBezTo>
                  <a:cubicBezTo>
                    <a:pt x="316" y="686"/>
                    <a:pt x="380" y="706"/>
                    <a:pt x="458" y="706"/>
                  </a:cubicBezTo>
                  <a:cubicBezTo>
                    <a:pt x="499" y="706"/>
                    <a:pt x="543" y="698"/>
                    <a:pt x="590" y="684"/>
                  </a:cubicBezTo>
                  <a:cubicBezTo>
                    <a:pt x="638" y="667"/>
                    <a:pt x="674" y="645"/>
                    <a:pt x="699" y="617"/>
                  </a:cubicBezTo>
                  <a:cubicBezTo>
                    <a:pt x="815" y="725"/>
                    <a:pt x="815" y="725"/>
                    <a:pt x="815" y="725"/>
                  </a:cubicBezTo>
                  <a:cubicBezTo>
                    <a:pt x="793" y="750"/>
                    <a:pt x="768" y="770"/>
                    <a:pt x="740" y="786"/>
                  </a:cubicBezTo>
                  <a:cubicBezTo>
                    <a:pt x="710" y="806"/>
                    <a:pt x="682" y="820"/>
                    <a:pt x="649" y="831"/>
                  </a:cubicBezTo>
                  <a:cubicBezTo>
                    <a:pt x="618" y="845"/>
                    <a:pt x="585" y="853"/>
                    <a:pt x="551" y="859"/>
                  </a:cubicBezTo>
                  <a:cubicBezTo>
                    <a:pt x="518" y="864"/>
                    <a:pt x="485" y="867"/>
                    <a:pt x="452" y="867"/>
                  </a:cubicBezTo>
                  <a:cubicBezTo>
                    <a:pt x="383" y="867"/>
                    <a:pt x="322" y="856"/>
                    <a:pt x="266" y="836"/>
                  </a:cubicBezTo>
                  <a:cubicBezTo>
                    <a:pt x="211" y="814"/>
                    <a:pt x="161" y="786"/>
                    <a:pt x="122" y="748"/>
                  </a:cubicBezTo>
                  <a:cubicBezTo>
                    <a:pt x="83" y="709"/>
                    <a:pt x="53" y="664"/>
                    <a:pt x="30" y="609"/>
                  </a:cubicBezTo>
                  <a:cubicBezTo>
                    <a:pt x="11" y="556"/>
                    <a:pt x="0" y="495"/>
                    <a:pt x="0" y="431"/>
                  </a:cubicBezTo>
                  <a:cubicBezTo>
                    <a:pt x="0" y="367"/>
                    <a:pt x="11" y="309"/>
                    <a:pt x="30" y="256"/>
                  </a:cubicBezTo>
                  <a:cubicBezTo>
                    <a:pt x="53" y="203"/>
                    <a:pt x="83" y="159"/>
                    <a:pt x="122" y="120"/>
                  </a:cubicBezTo>
                  <a:cubicBezTo>
                    <a:pt x="161" y="84"/>
                    <a:pt x="208" y="53"/>
                    <a:pt x="261" y="31"/>
                  </a:cubicBezTo>
                  <a:cubicBezTo>
                    <a:pt x="316" y="12"/>
                    <a:pt x="375" y="0"/>
                    <a:pt x="441" y="0"/>
                  </a:cubicBezTo>
                  <a:cubicBezTo>
                    <a:pt x="510" y="0"/>
                    <a:pt x="571" y="12"/>
                    <a:pt x="626" y="31"/>
                  </a:cubicBezTo>
                  <a:cubicBezTo>
                    <a:pt x="682" y="53"/>
                    <a:pt x="726" y="84"/>
                    <a:pt x="765" y="125"/>
                  </a:cubicBezTo>
                  <a:cubicBezTo>
                    <a:pt x="804" y="164"/>
                    <a:pt x="832" y="217"/>
                    <a:pt x="849" y="278"/>
                  </a:cubicBezTo>
                  <a:cubicBezTo>
                    <a:pt x="868" y="342"/>
                    <a:pt x="871" y="414"/>
                    <a:pt x="863" y="498"/>
                  </a:cubicBezTo>
                  <a:lnTo>
                    <a:pt x="186" y="353"/>
                  </a:lnTo>
                  <a:lnTo>
                    <a:pt x="186" y="353"/>
                  </a:lnTo>
                  <a:cubicBezTo>
                    <a:pt x="696" y="353"/>
                    <a:pt x="696" y="353"/>
                    <a:pt x="696" y="353"/>
                  </a:cubicBezTo>
                  <a:cubicBezTo>
                    <a:pt x="690" y="287"/>
                    <a:pt x="663" y="236"/>
                    <a:pt x="621" y="203"/>
                  </a:cubicBezTo>
                  <a:cubicBezTo>
                    <a:pt x="577" y="170"/>
                    <a:pt x="518" y="153"/>
                    <a:pt x="447" y="153"/>
                  </a:cubicBezTo>
                  <a:cubicBezTo>
                    <a:pt x="380" y="153"/>
                    <a:pt x="325" y="170"/>
                    <a:pt x="278" y="203"/>
                  </a:cubicBezTo>
                  <a:cubicBezTo>
                    <a:pt x="230" y="236"/>
                    <a:pt x="200" y="287"/>
                    <a:pt x="186" y="353"/>
                  </a:cubicBezTo>
                  <a:lnTo>
                    <a:pt x="863"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3" name="Freeform 10">
              <a:extLst>
                <a:ext uri="{FF2B5EF4-FFF2-40B4-BE49-F238E27FC236}">
                  <a16:creationId xmlns:a16="http://schemas.microsoft.com/office/drawing/2014/main" id="{A0D912B4-3BB5-BE4A-9993-C01D994A03B2}"/>
                </a:ext>
              </a:extLst>
            </p:cNvPr>
            <p:cNvSpPr>
              <a:spLocks noChangeArrowheads="1"/>
            </p:cNvSpPr>
            <p:nvPr userDrawn="1"/>
          </p:nvSpPr>
          <p:spPr bwMode="auto">
            <a:xfrm>
              <a:off x="5205413" y="3149600"/>
              <a:ext cx="301625" cy="296863"/>
            </a:xfrm>
            <a:custGeom>
              <a:avLst/>
              <a:gdLst>
                <a:gd name="T0" fmla="*/ 606 w 837"/>
                <a:gd name="T1" fmla="*/ 0 h 823"/>
                <a:gd name="T2" fmla="*/ 820 w 837"/>
                <a:gd name="T3" fmla="*/ 0 h 823"/>
                <a:gd name="T4" fmla="*/ 820 w 837"/>
                <a:gd name="T5" fmla="*/ 5 h 823"/>
                <a:gd name="T6" fmla="*/ 536 w 837"/>
                <a:gd name="T7" fmla="*/ 402 h 823"/>
                <a:gd name="T8" fmla="*/ 836 w 837"/>
                <a:gd name="T9" fmla="*/ 819 h 823"/>
                <a:gd name="T10" fmla="*/ 836 w 837"/>
                <a:gd name="T11" fmla="*/ 822 h 823"/>
                <a:gd name="T12" fmla="*/ 625 w 837"/>
                <a:gd name="T13" fmla="*/ 822 h 823"/>
                <a:gd name="T14" fmla="*/ 420 w 837"/>
                <a:gd name="T15" fmla="*/ 525 h 823"/>
                <a:gd name="T16" fmla="*/ 212 w 837"/>
                <a:gd name="T17" fmla="*/ 822 h 823"/>
                <a:gd name="T18" fmla="*/ 0 w 837"/>
                <a:gd name="T19" fmla="*/ 822 h 823"/>
                <a:gd name="T20" fmla="*/ 0 w 837"/>
                <a:gd name="T21" fmla="*/ 819 h 823"/>
                <a:gd name="T22" fmla="*/ 303 w 837"/>
                <a:gd name="T23" fmla="*/ 402 h 823"/>
                <a:gd name="T24" fmla="*/ 20 w 837"/>
                <a:gd name="T25" fmla="*/ 5 h 823"/>
                <a:gd name="T26" fmla="*/ 20 w 837"/>
                <a:gd name="T27" fmla="*/ 0 h 823"/>
                <a:gd name="T28" fmla="*/ 231 w 837"/>
                <a:gd name="T29" fmla="*/ 0 h 823"/>
                <a:gd name="T30" fmla="*/ 420 w 837"/>
                <a:gd name="T31" fmla="*/ 294 h 823"/>
                <a:gd name="T32" fmla="*/ 606 w 837"/>
                <a:gd name="T33"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7" h="823">
                  <a:moveTo>
                    <a:pt x="606" y="0"/>
                  </a:moveTo>
                  <a:lnTo>
                    <a:pt x="820" y="0"/>
                  </a:lnTo>
                  <a:lnTo>
                    <a:pt x="820" y="5"/>
                  </a:lnTo>
                  <a:lnTo>
                    <a:pt x="536" y="402"/>
                  </a:lnTo>
                  <a:lnTo>
                    <a:pt x="836" y="819"/>
                  </a:lnTo>
                  <a:lnTo>
                    <a:pt x="836" y="822"/>
                  </a:lnTo>
                  <a:lnTo>
                    <a:pt x="625" y="822"/>
                  </a:lnTo>
                  <a:lnTo>
                    <a:pt x="420" y="525"/>
                  </a:lnTo>
                  <a:lnTo>
                    <a:pt x="212" y="822"/>
                  </a:lnTo>
                  <a:lnTo>
                    <a:pt x="0" y="822"/>
                  </a:lnTo>
                  <a:lnTo>
                    <a:pt x="0" y="819"/>
                  </a:lnTo>
                  <a:lnTo>
                    <a:pt x="303" y="402"/>
                  </a:lnTo>
                  <a:lnTo>
                    <a:pt x="20" y="5"/>
                  </a:lnTo>
                  <a:lnTo>
                    <a:pt x="20" y="0"/>
                  </a:lnTo>
                  <a:lnTo>
                    <a:pt x="231" y="0"/>
                  </a:lnTo>
                  <a:lnTo>
                    <a:pt x="420" y="294"/>
                  </a:lnTo>
                  <a:lnTo>
                    <a:pt x="60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4" name="Freeform 11">
              <a:extLst>
                <a:ext uri="{FF2B5EF4-FFF2-40B4-BE49-F238E27FC236}">
                  <a16:creationId xmlns:a16="http://schemas.microsoft.com/office/drawing/2014/main" id="{794ABC0D-FBDD-7244-A442-8BE67BB237FC}"/>
                </a:ext>
              </a:extLst>
            </p:cNvPr>
            <p:cNvSpPr>
              <a:spLocks noChangeArrowheads="1"/>
            </p:cNvSpPr>
            <p:nvPr userDrawn="1"/>
          </p:nvSpPr>
          <p:spPr bwMode="auto">
            <a:xfrm>
              <a:off x="5557838" y="3143250"/>
              <a:ext cx="323850" cy="439738"/>
            </a:xfrm>
            <a:custGeom>
              <a:avLst/>
              <a:gdLst>
                <a:gd name="T0" fmla="*/ 0 w 898"/>
                <a:gd name="T1" fmla="*/ 1221 h 1222"/>
                <a:gd name="T2" fmla="*/ 0 w 898"/>
                <a:gd name="T3" fmla="*/ 1221 h 1222"/>
                <a:gd name="T4" fmla="*/ 0 w 898"/>
                <a:gd name="T5" fmla="*/ 17 h 1222"/>
                <a:gd name="T6" fmla="*/ 164 w 898"/>
                <a:gd name="T7" fmla="*/ 17 h 1222"/>
                <a:gd name="T8" fmla="*/ 175 w 898"/>
                <a:gd name="T9" fmla="*/ 150 h 1222"/>
                <a:gd name="T10" fmla="*/ 306 w 898"/>
                <a:gd name="T11" fmla="*/ 36 h 1222"/>
                <a:gd name="T12" fmla="*/ 472 w 898"/>
                <a:gd name="T13" fmla="*/ 0 h 1222"/>
                <a:gd name="T14" fmla="*/ 645 w 898"/>
                <a:gd name="T15" fmla="*/ 33 h 1222"/>
                <a:gd name="T16" fmla="*/ 781 w 898"/>
                <a:gd name="T17" fmla="*/ 122 h 1222"/>
                <a:gd name="T18" fmla="*/ 867 w 898"/>
                <a:gd name="T19" fmla="*/ 256 h 1222"/>
                <a:gd name="T20" fmla="*/ 897 w 898"/>
                <a:gd name="T21" fmla="*/ 428 h 1222"/>
                <a:gd name="T22" fmla="*/ 867 w 898"/>
                <a:gd name="T23" fmla="*/ 600 h 1222"/>
                <a:gd name="T24" fmla="*/ 783 w 898"/>
                <a:gd name="T25" fmla="*/ 736 h 1222"/>
                <a:gd name="T26" fmla="*/ 650 w 898"/>
                <a:gd name="T27" fmla="*/ 828 h 1222"/>
                <a:gd name="T28" fmla="*/ 472 w 898"/>
                <a:gd name="T29" fmla="*/ 858 h 1222"/>
                <a:gd name="T30" fmla="*/ 392 w 898"/>
                <a:gd name="T31" fmla="*/ 850 h 1222"/>
                <a:gd name="T32" fmla="*/ 308 w 898"/>
                <a:gd name="T33" fmla="*/ 828 h 1222"/>
                <a:gd name="T34" fmla="*/ 233 w 898"/>
                <a:gd name="T35" fmla="*/ 786 h 1222"/>
                <a:gd name="T36" fmla="*/ 175 w 898"/>
                <a:gd name="T37" fmla="*/ 719 h 1222"/>
                <a:gd name="T38" fmla="*/ 175 w 898"/>
                <a:gd name="T39" fmla="*/ 1221 h 1222"/>
                <a:gd name="T40" fmla="*/ 0 w 898"/>
                <a:gd name="T41" fmla="*/ 1221 h 1222"/>
                <a:gd name="T42" fmla="*/ 456 w 898"/>
                <a:gd name="T43" fmla="*/ 692 h 1222"/>
                <a:gd name="T44" fmla="*/ 456 w 898"/>
                <a:gd name="T45" fmla="*/ 692 h 1222"/>
                <a:gd name="T46" fmla="*/ 561 w 898"/>
                <a:gd name="T47" fmla="*/ 672 h 1222"/>
                <a:gd name="T48" fmla="*/ 647 w 898"/>
                <a:gd name="T49" fmla="*/ 617 h 1222"/>
                <a:gd name="T50" fmla="*/ 703 w 898"/>
                <a:gd name="T51" fmla="*/ 536 h 1222"/>
                <a:gd name="T52" fmla="*/ 722 w 898"/>
                <a:gd name="T53" fmla="*/ 428 h 1222"/>
                <a:gd name="T54" fmla="*/ 650 w 898"/>
                <a:gd name="T55" fmla="*/ 239 h 1222"/>
                <a:gd name="T56" fmla="*/ 456 w 898"/>
                <a:gd name="T57" fmla="*/ 167 h 1222"/>
                <a:gd name="T58" fmla="*/ 345 w 898"/>
                <a:gd name="T59" fmla="*/ 186 h 1222"/>
                <a:gd name="T60" fmla="*/ 261 w 898"/>
                <a:gd name="T61" fmla="*/ 242 h 1222"/>
                <a:gd name="T62" fmla="*/ 208 w 898"/>
                <a:gd name="T63" fmla="*/ 325 h 1222"/>
                <a:gd name="T64" fmla="*/ 192 w 898"/>
                <a:gd name="T65" fmla="*/ 428 h 1222"/>
                <a:gd name="T66" fmla="*/ 211 w 898"/>
                <a:gd name="T67" fmla="*/ 530 h 1222"/>
                <a:gd name="T68" fmla="*/ 264 w 898"/>
                <a:gd name="T69" fmla="*/ 617 h 1222"/>
                <a:gd name="T70" fmla="*/ 347 w 898"/>
                <a:gd name="T71" fmla="*/ 672 h 1222"/>
                <a:gd name="T72" fmla="*/ 456 w 898"/>
                <a:gd name="T73" fmla="*/ 69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8" h="1222">
                  <a:moveTo>
                    <a:pt x="0" y="1221"/>
                  </a:moveTo>
                  <a:lnTo>
                    <a:pt x="0" y="1221"/>
                  </a:lnTo>
                  <a:cubicBezTo>
                    <a:pt x="0" y="17"/>
                    <a:pt x="0" y="17"/>
                    <a:pt x="0" y="17"/>
                  </a:cubicBezTo>
                  <a:cubicBezTo>
                    <a:pt x="164" y="17"/>
                    <a:pt x="164" y="17"/>
                    <a:pt x="164" y="17"/>
                  </a:cubicBezTo>
                  <a:cubicBezTo>
                    <a:pt x="175" y="150"/>
                    <a:pt x="175" y="150"/>
                    <a:pt x="175" y="150"/>
                  </a:cubicBezTo>
                  <a:cubicBezTo>
                    <a:pt x="208" y="100"/>
                    <a:pt x="253" y="61"/>
                    <a:pt x="306" y="36"/>
                  </a:cubicBezTo>
                  <a:cubicBezTo>
                    <a:pt x="361" y="11"/>
                    <a:pt x="417" y="0"/>
                    <a:pt x="472" y="0"/>
                  </a:cubicBezTo>
                  <a:cubicBezTo>
                    <a:pt x="536" y="0"/>
                    <a:pt x="592" y="11"/>
                    <a:pt x="645" y="33"/>
                  </a:cubicBezTo>
                  <a:cubicBezTo>
                    <a:pt x="697" y="53"/>
                    <a:pt x="742" y="83"/>
                    <a:pt x="781" y="122"/>
                  </a:cubicBezTo>
                  <a:cubicBezTo>
                    <a:pt x="817" y="158"/>
                    <a:pt x="847" y="206"/>
                    <a:pt x="867" y="256"/>
                  </a:cubicBezTo>
                  <a:cubicBezTo>
                    <a:pt x="886" y="308"/>
                    <a:pt x="897" y="367"/>
                    <a:pt x="897" y="428"/>
                  </a:cubicBezTo>
                  <a:cubicBezTo>
                    <a:pt x="897" y="492"/>
                    <a:pt x="886" y="550"/>
                    <a:pt x="867" y="600"/>
                  </a:cubicBezTo>
                  <a:cubicBezTo>
                    <a:pt x="847" y="653"/>
                    <a:pt x="820" y="700"/>
                    <a:pt x="783" y="736"/>
                  </a:cubicBezTo>
                  <a:cubicBezTo>
                    <a:pt x="747" y="775"/>
                    <a:pt x="703" y="805"/>
                    <a:pt x="650" y="828"/>
                  </a:cubicBezTo>
                  <a:cubicBezTo>
                    <a:pt x="597" y="847"/>
                    <a:pt x="536" y="858"/>
                    <a:pt x="472" y="858"/>
                  </a:cubicBezTo>
                  <a:cubicBezTo>
                    <a:pt x="447" y="858"/>
                    <a:pt x="420" y="856"/>
                    <a:pt x="392" y="850"/>
                  </a:cubicBezTo>
                  <a:cubicBezTo>
                    <a:pt x="364" y="847"/>
                    <a:pt x="336" y="839"/>
                    <a:pt x="308" y="828"/>
                  </a:cubicBezTo>
                  <a:cubicBezTo>
                    <a:pt x="283" y="817"/>
                    <a:pt x="258" y="803"/>
                    <a:pt x="233" y="786"/>
                  </a:cubicBezTo>
                  <a:cubicBezTo>
                    <a:pt x="211" y="767"/>
                    <a:pt x="192" y="744"/>
                    <a:pt x="175" y="719"/>
                  </a:cubicBezTo>
                  <a:cubicBezTo>
                    <a:pt x="175" y="1221"/>
                    <a:pt x="175" y="1221"/>
                    <a:pt x="175" y="1221"/>
                  </a:cubicBezTo>
                  <a:lnTo>
                    <a:pt x="0" y="1221"/>
                  </a:lnTo>
                  <a:close/>
                  <a:moveTo>
                    <a:pt x="456" y="692"/>
                  </a:moveTo>
                  <a:lnTo>
                    <a:pt x="456" y="692"/>
                  </a:lnTo>
                  <a:cubicBezTo>
                    <a:pt x="495" y="692"/>
                    <a:pt x="531" y="686"/>
                    <a:pt x="561" y="672"/>
                  </a:cubicBezTo>
                  <a:cubicBezTo>
                    <a:pt x="595" y="658"/>
                    <a:pt x="622" y="642"/>
                    <a:pt x="647" y="617"/>
                  </a:cubicBezTo>
                  <a:cubicBezTo>
                    <a:pt x="669" y="594"/>
                    <a:pt x="689" y="567"/>
                    <a:pt x="703" y="536"/>
                  </a:cubicBezTo>
                  <a:cubicBezTo>
                    <a:pt x="714" y="503"/>
                    <a:pt x="722" y="467"/>
                    <a:pt x="722" y="428"/>
                  </a:cubicBezTo>
                  <a:cubicBezTo>
                    <a:pt x="722" y="350"/>
                    <a:pt x="697" y="289"/>
                    <a:pt x="650" y="239"/>
                  </a:cubicBezTo>
                  <a:cubicBezTo>
                    <a:pt x="600" y="192"/>
                    <a:pt x="536" y="167"/>
                    <a:pt x="456" y="167"/>
                  </a:cubicBezTo>
                  <a:cubicBezTo>
                    <a:pt x="414" y="167"/>
                    <a:pt x="378" y="172"/>
                    <a:pt x="345" y="186"/>
                  </a:cubicBezTo>
                  <a:cubicBezTo>
                    <a:pt x="314" y="200"/>
                    <a:pt x="286" y="219"/>
                    <a:pt x="261" y="242"/>
                  </a:cubicBezTo>
                  <a:cubicBezTo>
                    <a:pt x="239" y="267"/>
                    <a:pt x="222" y="294"/>
                    <a:pt x="208" y="325"/>
                  </a:cubicBezTo>
                  <a:cubicBezTo>
                    <a:pt x="197" y="358"/>
                    <a:pt x="192" y="392"/>
                    <a:pt x="192" y="428"/>
                  </a:cubicBezTo>
                  <a:cubicBezTo>
                    <a:pt x="192" y="467"/>
                    <a:pt x="197" y="500"/>
                    <a:pt x="211" y="530"/>
                  </a:cubicBezTo>
                  <a:cubicBezTo>
                    <a:pt x="222" y="564"/>
                    <a:pt x="242" y="592"/>
                    <a:pt x="264" y="617"/>
                  </a:cubicBezTo>
                  <a:cubicBezTo>
                    <a:pt x="289" y="639"/>
                    <a:pt x="317" y="658"/>
                    <a:pt x="347" y="672"/>
                  </a:cubicBezTo>
                  <a:cubicBezTo>
                    <a:pt x="381" y="683"/>
                    <a:pt x="417" y="692"/>
                    <a:pt x="456" y="692"/>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5" name="Freeform 12">
              <a:extLst>
                <a:ext uri="{FF2B5EF4-FFF2-40B4-BE49-F238E27FC236}">
                  <a16:creationId xmlns:a16="http://schemas.microsoft.com/office/drawing/2014/main" id="{8DC4AC5D-A60F-664C-A054-183CFACD9BBC}"/>
                </a:ext>
              </a:extLst>
            </p:cNvPr>
            <p:cNvSpPr>
              <a:spLocks noChangeArrowheads="1"/>
            </p:cNvSpPr>
            <p:nvPr userDrawn="1"/>
          </p:nvSpPr>
          <p:spPr bwMode="auto">
            <a:xfrm>
              <a:off x="5929313" y="3141663"/>
              <a:ext cx="315912" cy="312737"/>
            </a:xfrm>
            <a:custGeom>
              <a:avLst/>
              <a:gdLst>
                <a:gd name="T0" fmla="*/ 867 w 876"/>
                <a:gd name="T1" fmla="*/ 498 h 868"/>
                <a:gd name="T2" fmla="*/ 867 w 876"/>
                <a:gd name="T3" fmla="*/ 498 h 868"/>
                <a:gd name="T4" fmla="*/ 184 w 876"/>
                <a:gd name="T5" fmla="*/ 498 h 868"/>
                <a:gd name="T6" fmla="*/ 270 w 876"/>
                <a:gd name="T7" fmla="*/ 650 h 868"/>
                <a:gd name="T8" fmla="*/ 459 w 876"/>
                <a:gd name="T9" fmla="*/ 706 h 868"/>
                <a:gd name="T10" fmla="*/ 595 w 876"/>
                <a:gd name="T11" fmla="*/ 684 h 868"/>
                <a:gd name="T12" fmla="*/ 703 w 876"/>
                <a:gd name="T13" fmla="*/ 617 h 868"/>
                <a:gd name="T14" fmla="*/ 817 w 876"/>
                <a:gd name="T15" fmla="*/ 725 h 868"/>
                <a:gd name="T16" fmla="*/ 742 w 876"/>
                <a:gd name="T17" fmla="*/ 786 h 868"/>
                <a:gd name="T18" fmla="*/ 653 w 876"/>
                <a:gd name="T19" fmla="*/ 831 h 868"/>
                <a:gd name="T20" fmla="*/ 553 w 876"/>
                <a:gd name="T21" fmla="*/ 859 h 868"/>
                <a:gd name="T22" fmla="*/ 456 w 876"/>
                <a:gd name="T23" fmla="*/ 867 h 868"/>
                <a:gd name="T24" fmla="*/ 267 w 876"/>
                <a:gd name="T25" fmla="*/ 836 h 868"/>
                <a:gd name="T26" fmla="*/ 125 w 876"/>
                <a:gd name="T27" fmla="*/ 748 h 868"/>
                <a:gd name="T28" fmla="*/ 34 w 876"/>
                <a:gd name="T29" fmla="*/ 609 h 868"/>
                <a:gd name="T30" fmla="*/ 0 w 876"/>
                <a:gd name="T31" fmla="*/ 431 h 868"/>
                <a:gd name="T32" fmla="*/ 34 w 876"/>
                <a:gd name="T33" fmla="*/ 256 h 868"/>
                <a:gd name="T34" fmla="*/ 125 w 876"/>
                <a:gd name="T35" fmla="*/ 120 h 868"/>
                <a:gd name="T36" fmla="*/ 264 w 876"/>
                <a:gd name="T37" fmla="*/ 31 h 868"/>
                <a:gd name="T38" fmla="*/ 442 w 876"/>
                <a:gd name="T39" fmla="*/ 0 h 868"/>
                <a:gd name="T40" fmla="*/ 628 w 876"/>
                <a:gd name="T41" fmla="*/ 31 h 868"/>
                <a:gd name="T42" fmla="*/ 770 w 876"/>
                <a:gd name="T43" fmla="*/ 125 h 868"/>
                <a:gd name="T44" fmla="*/ 853 w 876"/>
                <a:gd name="T45" fmla="*/ 278 h 868"/>
                <a:gd name="T46" fmla="*/ 867 w 876"/>
                <a:gd name="T47" fmla="*/ 498 h 868"/>
                <a:gd name="T48" fmla="*/ 186 w 876"/>
                <a:gd name="T49" fmla="*/ 353 h 868"/>
                <a:gd name="T50" fmla="*/ 186 w 876"/>
                <a:gd name="T51" fmla="*/ 353 h 868"/>
                <a:gd name="T52" fmla="*/ 698 w 876"/>
                <a:gd name="T53" fmla="*/ 353 h 868"/>
                <a:gd name="T54" fmla="*/ 623 w 876"/>
                <a:gd name="T55" fmla="*/ 203 h 868"/>
                <a:gd name="T56" fmla="*/ 448 w 876"/>
                <a:gd name="T57" fmla="*/ 153 h 868"/>
                <a:gd name="T58" fmla="*/ 278 w 876"/>
                <a:gd name="T59" fmla="*/ 203 h 868"/>
                <a:gd name="T60" fmla="*/ 186 w 876"/>
                <a:gd name="T61" fmla="*/ 353 h 868"/>
                <a:gd name="T62" fmla="*/ 867 w 876"/>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8">
                  <a:moveTo>
                    <a:pt x="867" y="498"/>
                  </a:moveTo>
                  <a:lnTo>
                    <a:pt x="867" y="498"/>
                  </a:lnTo>
                  <a:cubicBezTo>
                    <a:pt x="184" y="498"/>
                    <a:pt x="184" y="498"/>
                    <a:pt x="184" y="498"/>
                  </a:cubicBezTo>
                  <a:cubicBezTo>
                    <a:pt x="192" y="562"/>
                    <a:pt x="220" y="611"/>
                    <a:pt x="270" y="650"/>
                  </a:cubicBezTo>
                  <a:cubicBezTo>
                    <a:pt x="317" y="686"/>
                    <a:pt x="381" y="706"/>
                    <a:pt x="459" y="706"/>
                  </a:cubicBezTo>
                  <a:cubicBezTo>
                    <a:pt x="503" y="706"/>
                    <a:pt x="547" y="698"/>
                    <a:pt x="595" y="684"/>
                  </a:cubicBezTo>
                  <a:cubicBezTo>
                    <a:pt x="639" y="667"/>
                    <a:pt x="675" y="645"/>
                    <a:pt x="703" y="617"/>
                  </a:cubicBezTo>
                  <a:cubicBezTo>
                    <a:pt x="817" y="725"/>
                    <a:pt x="817" y="725"/>
                    <a:pt x="817" y="725"/>
                  </a:cubicBezTo>
                  <a:cubicBezTo>
                    <a:pt x="795" y="750"/>
                    <a:pt x="770" y="770"/>
                    <a:pt x="742" y="786"/>
                  </a:cubicBezTo>
                  <a:cubicBezTo>
                    <a:pt x="714" y="806"/>
                    <a:pt x="684" y="820"/>
                    <a:pt x="653" y="831"/>
                  </a:cubicBezTo>
                  <a:cubicBezTo>
                    <a:pt x="620" y="845"/>
                    <a:pt x="589" y="853"/>
                    <a:pt x="553" y="859"/>
                  </a:cubicBezTo>
                  <a:cubicBezTo>
                    <a:pt x="520" y="864"/>
                    <a:pt x="486" y="867"/>
                    <a:pt x="456" y="867"/>
                  </a:cubicBezTo>
                  <a:cubicBezTo>
                    <a:pt x="386" y="867"/>
                    <a:pt x="323" y="856"/>
                    <a:pt x="267" y="836"/>
                  </a:cubicBezTo>
                  <a:cubicBezTo>
                    <a:pt x="211" y="814"/>
                    <a:pt x="164" y="786"/>
                    <a:pt x="125" y="748"/>
                  </a:cubicBezTo>
                  <a:cubicBezTo>
                    <a:pt x="86" y="709"/>
                    <a:pt x="56" y="664"/>
                    <a:pt x="34" y="609"/>
                  </a:cubicBezTo>
                  <a:cubicBezTo>
                    <a:pt x="11" y="556"/>
                    <a:pt x="0" y="495"/>
                    <a:pt x="0" y="431"/>
                  </a:cubicBezTo>
                  <a:cubicBezTo>
                    <a:pt x="0" y="367"/>
                    <a:pt x="11" y="309"/>
                    <a:pt x="34" y="256"/>
                  </a:cubicBezTo>
                  <a:cubicBezTo>
                    <a:pt x="56" y="203"/>
                    <a:pt x="86" y="159"/>
                    <a:pt x="125" y="120"/>
                  </a:cubicBezTo>
                  <a:cubicBezTo>
                    <a:pt x="161" y="84"/>
                    <a:pt x="209" y="53"/>
                    <a:pt x="264" y="31"/>
                  </a:cubicBezTo>
                  <a:cubicBezTo>
                    <a:pt x="317" y="12"/>
                    <a:pt x="378" y="0"/>
                    <a:pt x="442" y="0"/>
                  </a:cubicBezTo>
                  <a:cubicBezTo>
                    <a:pt x="511" y="0"/>
                    <a:pt x="573" y="12"/>
                    <a:pt x="628" y="31"/>
                  </a:cubicBezTo>
                  <a:cubicBezTo>
                    <a:pt x="684" y="53"/>
                    <a:pt x="731" y="84"/>
                    <a:pt x="770" y="125"/>
                  </a:cubicBezTo>
                  <a:cubicBezTo>
                    <a:pt x="806" y="164"/>
                    <a:pt x="834" y="217"/>
                    <a:pt x="853" y="278"/>
                  </a:cubicBezTo>
                  <a:cubicBezTo>
                    <a:pt x="870" y="342"/>
                    <a:pt x="875" y="414"/>
                    <a:pt x="867" y="498"/>
                  </a:cubicBezTo>
                  <a:lnTo>
                    <a:pt x="186" y="353"/>
                  </a:lnTo>
                  <a:lnTo>
                    <a:pt x="186" y="353"/>
                  </a:lnTo>
                  <a:cubicBezTo>
                    <a:pt x="698" y="353"/>
                    <a:pt x="698" y="353"/>
                    <a:pt x="698" y="353"/>
                  </a:cubicBezTo>
                  <a:cubicBezTo>
                    <a:pt x="692" y="287"/>
                    <a:pt x="667" y="236"/>
                    <a:pt x="623" y="203"/>
                  </a:cubicBezTo>
                  <a:cubicBezTo>
                    <a:pt x="578" y="170"/>
                    <a:pt x="520" y="153"/>
                    <a:pt x="448" y="153"/>
                  </a:cubicBezTo>
                  <a:cubicBezTo>
                    <a:pt x="384" y="153"/>
                    <a:pt x="328" y="170"/>
                    <a:pt x="278" y="203"/>
                  </a:cubicBezTo>
                  <a:cubicBezTo>
                    <a:pt x="231" y="236"/>
                    <a:pt x="200" y="287"/>
                    <a:pt x="186" y="353"/>
                  </a:cubicBezTo>
                  <a:lnTo>
                    <a:pt x="867"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6" name="Freeform 13">
              <a:extLst>
                <a:ext uri="{FF2B5EF4-FFF2-40B4-BE49-F238E27FC236}">
                  <a16:creationId xmlns:a16="http://schemas.microsoft.com/office/drawing/2014/main" id="{AE239619-F835-844B-8ADF-19E5F1049E64}"/>
                </a:ext>
              </a:extLst>
            </p:cNvPr>
            <p:cNvSpPr>
              <a:spLocks noChangeArrowheads="1"/>
            </p:cNvSpPr>
            <p:nvPr userDrawn="1"/>
          </p:nvSpPr>
          <p:spPr bwMode="auto">
            <a:xfrm>
              <a:off x="6305550" y="3141663"/>
              <a:ext cx="228600" cy="303212"/>
            </a:xfrm>
            <a:custGeom>
              <a:avLst/>
              <a:gdLst>
                <a:gd name="T0" fmla="*/ 164 w 634"/>
                <a:gd name="T1" fmla="*/ 20 h 843"/>
                <a:gd name="T2" fmla="*/ 164 w 634"/>
                <a:gd name="T3" fmla="*/ 20 h 843"/>
                <a:gd name="T4" fmla="*/ 177 w 634"/>
                <a:gd name="T5" fmla="*/ 128 h 843"/>
                <a:gd name="T6" fmla="*/ 289 w 634"/>
                <a:gd name="T7" fmla="*/ 25 h 843"/>
                <a:gd name="T8" fmla="*/ 425 w 634"/>
                <a:gd name="T9" fmla="*/ 0 h 843"/>
                <a:gd name="T10" fmla="*/ 541 w 634"/>
                <a:gd name="T11" fmla="*/ 20 h 843"/>
                <a:gd name="T12" fmla="*/ 633 w 634"/>
                <a:gd name="T13" fmla="*/ 70 h 843"/>
                <a:gd name="T14" fmla="*/ 552 w 634"/>
                <a:gd name="T15" fmla="*/ 222 h 843"/>
                <a:gd name="T16" fmla="*/ 486 w 634"/>
                <a:gd name="T17" fmla="*/ 184 h 843"/>
                <a:gd name="T18" fmla="*/ 405 w 634"/>
                <a:gd name="T19" fmla="*/ 172 h 843"/>
                <a:gd name="T20" fmla="*/ 316 w 634"/>
                <a:gd name="T21" fmla="*/ 186 h 843"/>
                <a:gd name="T22" fmla="*/ 244 w 634"/>
                <a:gd name="T23" fmla="*/ 228 h 843"/>
                <a:gd name="T24" fmla="*/ 197 w 634"/>
                <a:gd name="T25" fmla="*/ 297 h 843"/>
                <a:gd name="T26" fmla="*/ 177 w 634"/>
                <a:gd name="T27" fmla="*/ 397 h 843"/>
                <a:gd name="T28" fmla="*/ 177 w 634"/>
                <a:gd name="T29" fmla="*/ 842 h 843"/>
                <a:gd name="T30" fmla="*/ 0 w 634"/>
                <a:gd name="T31" fmla="*/ 842 h 843"/>
                <a:gd name="T32" fmla="*/ 0 w 634"/>
                <a:gd name="T33" fmla="*/ 20 h 843"/>
                <a:gd name="T34" fmla="*/ 164 w 634"/>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4" h="843">
                  <a:moveTo>
                    <a:pt x="164" y="20"/>
                  </a:moveTo>
                  <a:lnTo>
                    <a:pt x="164" y="20"/>
                  </a:lnTo>
                  <a:cubicBezTo>
                    <a:pt x="177" y="128"/>
                    <a:pt x="177" y="128"/>
                    <a:pt x="177" y="128"/>
                  </a:cubicBezTo>
                  <a:cubicBezTo>
                    <a:pt x="208" y="75"/>
                    <a:pt x="244" y="42"/>
                    <a:pt x="289" y="25"/>
                  </a:cubicBezTo>
                  <a:cubicBezTo>
                    <a:pt x="333" y="9"/>
                    <a:pt x="380" y="0"/>
                    <a:pt x="425" y="0"/>
                  </a:cubicBezTo>
                  <a:cubicBezTo>
                    <a:pt x="466" y="0"/>
                    <a:pt x="505" y="9"/>
                    <a:pt x="541" y="20"/>
                  </a:cubicBezTo>
                  <a:cubicBezTo>
                    <a:pt x="577" y="34"/>
                    <a:pt x="608" y="50"/>
                    <a:pt x="633" y="70"/>
                  </a:cubicBezTo>
                  <a:cubicBezTo>
                    <a:pt x="552" y="222"/>
                    <a:pt x="552" y="222"/>
                    <a:pt x="552" y="222"/>
                  </a:cubicBezTo>
                  <a:cubicBezTo>
                    <a:pt x="530" y="206"/>
                    <a:pt x="508" y="192"/>
                    <a:pt x="486" y="184"/>
                  </a:cubicBezTo>
                  <a:cubicBezTo>
                    <a:pt x="464" y="175"/>
                    <a:pt x="436" y="172"/>
                    <a:pt x="405" y="172"/>
                  </a:cubicBezTo>
                  <a:cubicBezTo>
                    <a:pt x="372" y="172"/>
                    <a:pt x="344" y="175"/>
                    <a:pt x="316" y="186"/>
                  </a:cubicBezTo>
                  <a:cubicBezTo>
                    <a:pt x="289" y="195"/>
                    <a:pt x="266" y="209"/>
                    <a:pt x="244" y="228"/>
                  </a:cubicBezTo>
                  <a:cubicBezTo>
                    <a:pt x="225" y="245"/>
                    <a:pt x="208" y="270"/>
                    <a:pt x="197" y="297"/>
                  </a:cubicBezTo>
                  <a:cubicBezTo>
                    <a:pt x="183" y="325"/>
                    <a:pt x="177" y="359"/>
                    <a:pt x="177" y="397"/>
                  </a:cubicBezTo>
                  <a:cubicBezTo>
                    <a:pt x="177" y="842"/>
                    <a:pt x="177" y="842"/>
                    <a:pt x="177"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7" name="Freeform 14">
              <a:extLst>
                <a:ext uri="{FF2B5EF4-FFF2-40B4-BE49-F238E27FC236}">
                  <a16:creationId xmlns:a16="http://schemas.microsoft.com/office/drawing/2014/main" id="{8AA14F52-A996-604F-8054-FED728847032}"/>
                </a:ext>
              </a:extLst>
            </p:cNvPr>
            <p:cNvSpPr>
              <a:spLocks noChangeArrowheads="1"/>
            </p:cNvSpPr>
            <p:nvPr userDrawn="1"/>
          </p:nvSpPr>
          <p:spPr bwMode="auto">
            <a:xfrm>
              <a:off x="6577013" y="3148013"/>
              <a:ext cx="63500" cy="296862"/>
            </a:xfrm>
            <a:custGeom>
              <a:avLst/>
              <a:gdLst>
                <a:gd name="T0" fmla="*/ 175 w 176"/>
                <a:gd name="T1" fmla="*/ 825 h 826"/>
                <a:gd name="T2" fmla="*/ 0 w 176"/>
                <a:gd name="T3" fmla="*/ 825 h 826"/>
                <a:gd name="T4" fmla="*/ 0 w 176"/>
                <a:gd name="T5" fmla="*/ 0 h 826"/>
                <a:gd name="T6" fmla="*/ 175 w 176"/>
                <a:gd name="T7" fmla="*/ 0 h 826"/>
                <a:gd name="T8" fmla="*/ 175 w 176"/>
                <a:gd name="T9" fmla="*/ 825 h 826"/>
              </a:gdLst>
              <a:ahLst/>
              <a:cxnLst>
                <a:cxn ang="0">
                  <a:pos x="T0" y="T1"/>
                </a:cxn>
                <a:cxn ang="0">
                  <a:pos x="T2" y="T3"/>
                </a:cxn>
                <a:cxn ang="0">
                  <a:pos x="T4" y="T5"/>
                </a:cxn>
                <a:cxn ang="0">
                  <a:pos x="T6" y="T7"/>
                </a:cxn>
                <a:cxn ang="0">
                  <a:pos x="T8" y="T9"/>
                </a:cxn>
              </a:cxnLst>
              <a:rect l="0" t="0" r="r" b="b"/>
              <a:pathLst>
                <a:path w="176" h="826">
                  <a:moveTo>
                    <a:pt x="175" y="825"/>
                  </a:moveTo>
                  <a:lnTo>
                    <a:pt x="0" y="825"/>
                  </a:lnTo>
                  <a:lnTo>
                    <a:pt x="0" y="0"/>
                  </a:lnTo>
                  <a:lnTo>
                    <a:pt x="175" y="0"/>
                  </a:lnTo>
                  <a:lnTo>
                    <a:pt x="175" y="8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8" name="Freeform 15">
              <a:extLst>
                <a:ext uri="{FF2B5EF4-FFF2-40B4-BE49-F238E27FC236}">
                  <a16:creationId xmlns:a16="http://schemas.microsoft.com/office/drawing/2014/main" id="{5A1C5DF4-763B-6E42-A4E8-5C52C47CA15E}"/>
                </a:ext>
              </a:extLst>
            </p:cNvPr>
            <p:cNvSpPr>
              <a:spLocks noChangeArrowheads="1"/>
            </p:cNvSpPr>
            <p:nvPr userDrawn="1"/>
          </p:nvSpPr>
          <p:spPr bwMode="auto">
            <a:xfrm>
              <a:off x="6707188" y="3141663"/>
              <a:ext cx="314325" cy="312737"/>
            </a:xfrm>
            <a:custGeom>
              <a:avLst/>
              <a:gdLst>
                <a:gd name="T0" fmla="*/ 864 w 873"/>
                <a:gd name="T1" fmla="*/ 498 h 868"/>
                <a:gd name="T2" fmla="*/ 864 w 873"/>
                <a:gd name="T3" fmla="*/ 498 h 868"/>
                <a:gd name="T4" fmla="*/ 184 w 873"/>
                <a:gd name="T5" fmla="*/ 498 h 868"/>
                <a:gd name="T6" fmla="*/ 267 w 873"/>
                <a:gd name="T7" fmla="*/ 650 h 868"/>
                <a:gd name="T8" fmla="*/ 459 w 873"/>
                <a:gd name="T9" fmla="*/ 706 h 868"/>
                <a:gd name="T10" fmla="*/ 592 w 873"/>
                <a:gd name="T11" fmla="*/ 684 h 868"/>
                <a:gd name="T12" fmla="*/ 700 w 873"/>
                <a:gd name="T13" fmla="*/ 617 h 868"/>
                <a:gd name="T14" fmla="*/ 817 w 873"/>
                <a:gd name="T15" fmla="*/ 725 h 868"/>
                <a:gd name="T16" fmla="*/ 742 w 873"/>
                <a:gd name="T17" fmla="*/ 786 h 868"/>
                <a:gd name="T18" fmla="*/ 650 w 873"/>
                <a:gd name="T19" fmla="*/ 831 h 868"/>
                <a:gd name="T20" fmla="*/ 553 w 873"/>
                <a:gd name="T21" fmla="*/ 859 h 868"/>
                <a:gd name="T22" fmla="*/ 453 w 873"/>
                <a:gd name="T23" fmla="*/ 867 h 868"/>
                <a:gd name="T24" fmla="*/ 267 w 873"/>
                <a:gd name="T25" fmla="*/ 836 h 868"/>
                <a:gd name="T26" fmla="*/ 123 w 873"/>
                <a:gd name="T27" fmla="*/ 748 h 868"/>
                <a:gd name="T28" fmla="*/ 34 w 873"/>
                <a:gd name="T29" fmla="*/ 609 h 868"/>
                <a:gd name="T30" fmla="*/ 0 w 873"/>
                <a:gd name="T31" fmla="*/ 431 h 868"/>
                <a:gd name="T32" fmla="*/ 34 w 873"/>
                <a:gd name="T33" fmla="*/ 256 h 868"/>
                <a:gd name="T34" fmla="*/ 123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7 w 873"/>
                <a:gd name="T53" fmla="*/ 353 h 868"/>
                <a:gd name="T54" fmla="*/ 622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4" y="498"/>
                    <a:pt x="184" y="498"/>
                    <a:pt x="184" y="498"/>
                  </a:cubicBezTo>
                  <a:cubicBezTo>
                    <a:pt x="189" y="562"/>
                    <a:pt x="220" y="611"/>
                    <a:pt x="267" y="650"/>
                  </a:cubicBezTo>
                  <a:cubicBezTo>
                    <a:pt x="317" y="686"/>
                    <a:pt x="381" y="706"/>
                    <a:pt x="459" y="706"/>
                  </a:cubicBezTo>
                  <a:cubicBezTo>
                    <a:pt x="500" y="706"/>
                    <a:pt x="545" y="698"/>
                    <a:pt x="592" y="684"/>
                  </a:cubicBezTo>
                  <a:cubicBezTo>
                    <a:pt x="639" y="667"/>
                    <a:pt x="675" y="645"/>
                    <a:pt x="700" y="617"/>
                  </a:cubicBezTo>
                  <a:cubicBezTo>
                    <a:pt x="817" y="725"/>
                    <a:pt x="817" y="725"/>
                    <a:pt x="817" y="725"/>
                  </a:cubicBezTo>
                  <a:cubicBezTo>
                    <a:pt x="795" y="750"/>
                    <a:pt x="770" y="770"/>
                    <a:pt x="742" y="786"/>
                  </a:cubicBezTo>
                  <a:cubicBezTo>
                    <a:pt x="711" y="806"/>
                    <a:pt x="684" y="820"/>
                    <a:pt x="650" y="831"/>
                  </a:cubicBezTo>
                  <a:cubicBezTo>
                    <a:pt x="620" y="845"/>
                    <a:pt x="586" y="853"/>
                    <a:pt x="553" y="859"/>
                  </a:cubicBezTo>
                  <a:cubicBezTo>
                    <a:pt x="520" y="864"/>
                    <a:pt x="486" y="867"/>
                    <a:pt x="453" y="867"/>
                  </a:cubicBezTo>
                  <a:cubicBezTo>
                    <a:pt x="384" y="867"/>
                    <a:pt x="322" y="856"/>
                    <a:pt x="267" y="836"/>
                  </a:cubicBezTo>
                  <a:cubicBezTo>
                    <a:pt x="211" y="814"/>
                    <a:pt x="164" y="786"/>
                    <a:pt x="123" y="748"/>
                  </a:cubicBezTo>
                  <a:cubicBezTo>
                    <a:pt x="84" y="709"/>
                    <a:pt x="53" y="664"/>
                    <a:pt x="34" y="609"/>
                  </a:cubicBezTo>
                  <a:cubicBezTo>
                    <a:pt x="11" y="556"/>
                    <a:pt x="0" y="495"/>
                    <a:pt x="0" y="431"/>
                  </a:cubicBezTo>
                  <a:cubicBezTo>
                    <a:pt x="0" y="367"/>
                    <a:pt x="11" y="309"/>
                    <a:pt x="34" y="256"/>
                  </a:cubicBezTo>
                  <a:cubicBezTo>
                    <a:pt x="53" y="203"/>
                    <a:pt x="84" y="159"/>
                    <a:pt x="123" y="120"/>
                  </a:cubicBezTo>
                  <a:cubicBezTo>
                    <a:pt x="161" y="84"/>
                    <a:pt x="209" y="53"/>
                    <a:pt x="261" y="31"/>
                  </a:cubicBezTo>
                  <a:cubicBezTo>
                    <a:pt x="317" y="12"/>
                    <a:pt x="375" y="0"/>
                    <a:pt x="442" y="0"/>
                  </a:cubicBezTo>
                  <a:cubicBezTo>
                    <a:pt x="511" y="0"/>
                    <a:pt x="572" y="12"/>
                    <a:pt x="628" y="31"/>
                  </a:cubicBezTo>
                  <a:cubicBezTo>
                    <a:pt x="684" y="53"/>
                    <a:pt x="728" y="84"/>
                    <a:pt x="767" y="125"/>
                  </a:cubicBezTo>
                  <a:cubicBezTo>
                    <a:pt x="806" y="164"/>
                    <a:pt x="834" y="217"/>
                    <a:pt x="850" y="278"/>
                  </a:cubicBezTo>
                  <a:cubicBezTo>
                    <a:pt x="870" y="342"/>
                    <a:pt x="872" y="414"/>
                    <a:pt x="864" y="498"/>
                  </a:cubicBezTo>
                  <a:lnTo>
                    <a:pt x="186" y="353"/>
                  </a:lnTo>
                  <a:lnTo>
                    <a:pt x="186" y="353"/>
                  </a:lnTo>
                  <a:cubicBezTo>
                    <a:pt x="697" y="353"/>
                    <a:pt x="697" y="353"/>
                    <a:pt x="697" y="353"/>
                  </a:cubicBezTo>
                  <a:cubicBezTo>
                    <a:pt x="692" y="287"/>
                    <a:pt x="667" y="236"/>
                    <a:pt x="622" y="203"/>
                  </a:cubicBezTo>
                  <a:cubicBezTo>
                    <a:pt x="578" y="170"/>
                    <a:pt x="520" y="153"/>
                    <a:pt x="447" y="153"/>
                  </a:cubicBezTo>
                  <a:cubicBezTo>
                    <a:pt x="384"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9" name="Freeform 16">
              <a:extLst>
                <a:ext uri="{FF2B5EF4-FFF2-40B4-BE49-F238E27FC236}">
                  <a16:creationId xmlns:a16="http://schemas.microsoft.com/office/drawing/2014/main" id="{BAC46370-E32B-374D-9DCD-B11D21D51FB5}"/>
                </a:ext>
              </a:extLst>
            </p:cNvPr>
            <p:cNvSpPr>
              <a:spLocks noChangeArrowheads="1"/>
            </p:cNvSpPr>
            <p:nvPr userDrawn="1"/>
          </p:nvSpPr>
          <p:spPr bwMode="auto">
            <a:xfrm>
              <a:off x="7083425" y="3144838"/>
              <a:ext cx="293688" cy="301625"/>
            </a:xfrm>
            <a:custGeom>
              <a:avLst/>
              <a:gdLst>
                <a:gd name="T0" fmla="*/ 638 w 817"/>
                <a:gd name="T1" fmla="*/ 836 h 837"/>
                <a:gd name="T2" fmla="*/ 638 w 817"/>
                <a:gd name="T3" fmla="*/ 836 h 837"/>
                <a:gd name="T4" fmla="*/ 638 w 817"/>
                <a:gd name="T5" fmla="*/ 397 h 837"/>
                <a:gd name="T6" fmla="*/ 580 w 817"/>
                <a:gd name="T7" fmla="*/ 225 h 837"/>
                <a:gd name="T8" fmla="*/ 411 w 817"/>
                <a:gd name="T9" fmla="*/ 161 h 837"/>
                <a:gd name="T10" fmla="*/ 313 w 817"/>
                <a:gd name="T11" fmla="*/ 180 h 837"/>
                <a:gd name="T12" fmla="*/ 241 w 817"/>
                <a:gd name="T13" fmla="*/ 233 h 837"/>
                <a:gd name="T14" fmla="*/ 194 w 817"/>
                <a:gd name="T15" fmla="*/ 311 h 837"/>
                <a:gd name="T16" fmla="*/ 175 w 817"/>
                <a:gd name="T17" fmla="*/ 408 h 837"/>
                <a:gd name="T18" fmla="*/ 175 w 817"/>
                <a:gd name="T19" fmla="*/ 836 h 837"/>
                <a:gd name="T20" fmla="*/ 0 w 817"/>
                <a:gd name="T21" fmla="*/ 836 h 837"/>
                <a:gd name="T22" fmla="*/ 0 w 817"/>
                <a:gd name="T23" fmla="*/ 11 h 837"/>
                <a:gd name="T24" fmla="*/ 161 w 817"/>
                <a:gd name="T25" fmla="*/ 11 h 837"/>
                <a:gd name="T26" fmla="*/ 172 w 817"/>
                <a:gd name="T27" fmla="*/ 133 h 837"/>
                <a:gd name="T28" fmla="*/ 455 w 817"/>
                <a:gd name="T29" fmla="*/ 0 h 837"/>
                <a:gd name="T30" fmla="*/ 597 w 817"/>
                <a:gd name="T31" fmla="*/ 25 h 837"/>
                <a:gd name="T32" fmla="*/ 711 w 817"/>
                <a:gd name="T33" fmla="*/ 103 h 837"/>
                <a:gd name="T34" fmla="*/ 788 w 817"/>
                <a:gd name="T35" fmla="*/ 225 h 837"/>
                <a:gd name="T36" fmla="*/ 816 w 817"/>
                <a:gd name="T37" fmla="*/ 394 h 837"/>
                <a:gd name="T38" fmla="*/ 816 w 817"/>
                <a:gd name="T39" fmla="*/ 836 h 837"/>
                <a:gd name="T40" fmla="*/ 638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8" y="836"/>
                  </a:moveTo>
                  <a:lnTo>
                    <a:pt x="638" y="836"/>
                  </a:lnTo>
                  <a:cubicBezTo>
                    <a:pt x="638" y="397"/>
                    <a:pt x="638" y="397"/>
                    <a:pt x="638" y="397"/>
                  </a:cubicBezTo>
                  <a:cubicBezTo>
                    <a:pt x="638" y="325"/>
                    <a:pt x="619" y="269"/>
                    <a:pt x="580" y="225"/>
                  </a:cubicBezTo>
                  <a:cubicBezTo>
                    <a:pt x="541" y="183"/>
                    <a:pt x="483" y="161"/>
                    <a:pt x="411" y="161"/>
                  </a:cubicBezTo>
                  <a:cubicBezTo>
                    <a:pt x="375" y="161"/>
                    <a:pt x="344" y="166"/>
                    <a:pt x="313" y="180"/>
                  </a:cubicBezTo>
                  <a:cubicBezTo>
                    <a:pt x="286" y="191"/>
                    <a:pt x="261" y="211"/>
                    <a:pt x="241" y="233"/>
                  </a:cubicBezTo>
                  <a:cubicBezTo>
                    <a:pt x="219" y="255"/>
                    <a:pt x="205" y="283"/>
                    <a:pt x="194" y="311"/>
                  </a:cubicBezTo>
                  <a:cubicBezTo>
                    <a:pt x="180" y="341"/>
                    <a:pt x="175" y="375"/>
                    <a:pt x="175" y="408"/>
                  </a:cubicBezTo>
                  <a:cubicBezTo>
                    <a:pt x="175" y="836"/>
                    <a:pt x="175" y="836"/>
                    <a:pt x="175" y="836"/>
                  </a:cubicBezTo>
                  <a:cubicBezTo>
                    <a:pt x="0" y="836"/>
                    <a:pt x="0" y="836"/>
                    <a:pt x="0" y="836"/>
                  </a:cubicBezTo>
                  <a:cubicBezTo>
                    <a:pt x="0" y="11"/>
                    <a:pt x="0" y="11"/>
                    <a:pt x="0" y="11"/>
                  </a:cubicBezTo>
                  <a:cubicBezTo>
                    <a:pt x="161" y="11"/>
                    <a:pt x="161" y="11"/>
                    <a:pt x="161" y="11"/>
                  </a:cubicBezTo>
                  <a:cubicBezTo>
                    <a:pt x="172" y="133"/>
                    <a:pt x="172" y="133"/>
                    <a:pt x="172" y="133"/>
                  </a:cubicBezTo>
                  <a:cubicBezTo>
                    <a:pt x="250" y="44"/>
                    <a:pt x="344" y="0"/>
                    <a:pt x="455" y="0"/>
                  </a:cubicBezTo>
                  <a:cubicBezTo>
                    <a:pt x="505" y="0"/>
                    <a:pt x="552" y="8"/>
                    <a:pt x="597" y="25"/>
                  </a:cubicBezTo>
                  <a:cubicBezTo>
                    <a:pt x="641" y="44"/>
                    <a:pt x="677" y="69"/>
                    <a:pt x="711" y="103"/>
                  </a:cubicBezTo>
                  <a:cubicBezTo>
                    <a:pt x="744" y="136"/>
                    <a:pt x="769" y="178"/>
                    <a:pt x="788" y="225"/>
                  </a:cubicBezTo>
                  <a:cubicBezTo>
                    <a:pt x="808" y="275"/>
                    <a:pt x="816" y="330"/>
                    <a:pt x="816" y="394"/>
                  </a:cubicBezTo>
                  <a:cubicBezTo>
                    <a:pt x="816" y="836"/>
                    <a:pt x="816" y="836"/>
                    <a:pt x="816" y="836"/>
                  </a:cubicBezTo>
                  <a:lnTo>
                    <a:pt x="638"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0" name="Freeform 17">
              <a:extLst>
                <a:ext uri="{FF2B5EF4-FFF2-40B4-BE49-F238E27FC236}">
                  <a16:creationId xmlns:a16="http://schemas.microsoft.com/office/drawing/2014/main" id="{87609B4C-8025-C048-93ED-1B2FCED70675}"/>
                </a:ext>
              </a:extLst>
            </p:cNvPr>
            <p:cNvSpPr>
              <a:spLocks noChangeArrowheads="1"/>
            </p:cNvSpPr>
            <p:nvPr userDrawn="1"/>
          </p:nvSpPr>
          <p:spPr bwMode="auto">
            <a:xfrm>
              <a:off x="7440613" y="3141663"/>
              <a:ext cx="274637" cy="311150"/>
            </a:xfrm>
            <a:custGeom>
              <a:avLst/>
              <a:gdLst>
                <a:gd name="T0" fmla="*/ 761 w 762"/>
                <a:gd name="T1" fmla="*/ 736 h 865"/>
                <a:gd name="T2" fmla="*/ 761 w 762"/>
                <a:gd name="T3" fmla="*/ 736 h 865"/>
                <a:gd name="T4" fmla="*/ 614 w 762"/>
                <a:gd name="T5" fmla="*/ 833 h 865"/>
                <a:gd name="T6" fmla="*/ 442 w 762"/>
                <a:gd name="T7" fmla="*/ 864 h 865"/>
                <a:gd name="T8" fmla="*/ 272 w 762"/>
                <a:gd name="T9" fmla="*/ 836 h 865"/>
                <a:gd name="T10" fmla="*/ 131 w 762"/>
                <a:gd name="T11" fmla="*/ 756 h 865"/>
                <a:gd name="T12" fmla="*/ 34 w 762"/>
                <a:gd name="T13" fmla="*/ 620 h 865"/>
                <a:gd name="T14" fmla="*/ 0 w 762"/>
                <a:gd name="T15" fmla="*/ 431 h 865"/>
                <a:gd name="T16" fmla="*/ 34 w 762"/>
                <a:gd name="T17" fmla="*/ 245 h 865"/>
                <a:gd name="T18" fmla="*/ 131 w 762"/>
                <a:gd name="T19" fmla="*/ 109 h 865"/>
                <a:gd name="T20" fmla="*/ 270 w 762"/>
                <a:gd name="T21" fmla="*/ 28 h 865"/>
                <a:gd name="T22" fmla="*/ 442 w 762"/>
                <a:gd name="T23" fmla="*/ 0 h 865"/>
                <a:gd name="T24" fmla="*/ 603 w 762"/>
                <a:gd name="T25" fmla="*/ 28 h 865"/>
                <a:gd name="T26" fmla="*/ 747 w 762"/>
                <a:gd name="T27" fmla="*/ 122 h 865"/>
                <a:gd name="T28" fmla="*/ 633 w 762"/>
                <a:gd name="T29" fmla="*/ 236 h 865"/>
                <a:gd name="T30" fmla="*/ 545 w 762"/>
                <a:gd name="T31" fmla="*/ 181 h 865"/>
                <a:gd name="T32" fmla="*/ 445 w 762"/>
                <a:gd name="T33" fmla="*/ 164 h 865"/>
                <a:gd name="T34" fmla="*/ 339 w 762"/>
                <a:gd name="T35" fmla="*/ 181 h 865"/>
                <a:gd name="T36" fmla="*/ 253 w 762"/>
                <a:gd name="T37" fmla="*/ 236 h 865"/>
                <a:gd name="T38" fmla="*/ 195 w 762"/>
                <a:gd name="T39" fmla="*/ 320 h 865"/>
                <a:gd name="T40" fmla="*/ 175 w 762"/>
                <a:gd name="T41" fmla="*/ 431 h 865"/>
                <a:gd name="T42" fmla="*/ 197 w 762"/>
                <a:gd name="T43" fmla="*/ 547 h 865"/>
                <a:gd name="T44" fmla="*/ 253 w 762"/>
                <a:gd name="T45" fmla="*/ 631 h 865"/>
                <a:gd name="T46" fmla="*/ 339 w 762"/>
                <a:gd name="T47" fmla="*/ 681 h 865"/>
                <a:gd name="T48" fmla="*/ 442 w 762"/>
                <a:gd name="T49" fmla="*/ 697 h 865"/>
                <a:gd name="T50" fmla="*/ 550 w 762"/>
                <a:gd name="T51" fmla="*/ 681 h 865"/>
                <a:gd name="T52" fmla="*/ 642 w 762"/>
                <a:gd name="T53" fmla="*/ 620 h 865"/>
                <a:gd name="T54" fmla="*/ 761 w 762"/>
                <a:gd name="T55" fmla="*/ 736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62" h="865">
                  <a:moveTo>
                    <a:pt x="761" y="736"/>
                  </a:moveTo>
                  <a:lnTo>
                    <a:pt x="761" y="736"/>
                  </a:lnTo>
                  <a:cubicBezTo>
                    <a:pt x="714" y="781"/>
                    <a:pt x="664" y="814"/>
                    <a:pt x="614" y="833"/>
                  </a:cubicBezTo>
                  <a:cubicBezTo>
                    <a:pt x="561" y="856"/>
                    <a:pt x="503" y="864"/>
                    <a:pt x="442" y="864"/>
                  </a:cubicBezTo>
                  <a:cubicBezTo>
                    <a:pt x="383" y="864"/>
                    <a:pt x="325" y="856"/>
                    <a:pt x="272" y="836"/>
                  </a:cubicBezTo>
                  <a:cubicBezTo>
                    <a:pt x="217" y="820"/>
                    <a:pt x="170" y="792"/>
                    <a:pt x="131" y="756"/>
                  </a:cubicBezTo>
                  <a:cubicBezTo>
                    <a:pt x="89" y="720"/>
                    <a:pt x="58" y="675"/>
                    <a:pt x="34" y="620"/>
                  </a:cubicBezTo>
                  <a:cubicBezTo>
                    <a:pt x="11" y="567"/>
                    <a:pt x="0" y="503"/>
                    <a:pt x="0" y="431"/>
                  </a:cubicBezTo>
                  <a:cubicBezTo>
                    <a:pt x="0" y="361"/>
                    <a:pt x="11" y="297"/>
                    <a:pt x="34" y="245"/>
                  </a:cubicBezTo>
                  <a:cubicBezTo>
                    <a:pt x="58" y="189"/>
                    <a:pt x="89" y="145"/>
                    <a:pt x="131" y="109"/>
                  </a:cubicBezTo>
                  <a:cubicBezTo>
                    <a:pt x="170" y="72"/>
                    <a:pt x="217" y="45"/>
                    <a:pt x="270" y="28"/>
                  </a:cubicBezTo>
                  <a:cubicBezTo>
                    <a:pt x="325" y="9"/>
                    <a:pt x="381" y="0"/>
                    <a:pt x="442" y="0"/>
                  </a:cubicBezTo>
                  <a:cubicBezTo>
                    <a:pt x="500" y="0"/>
                    <a:pt x="556" y="9"/>
                    <a:pt x="603" y="28"/>
                  </a:cubicBezTo>
                  <a:cubicBezTo>
                    <a:pt x="653" y="47"/>
                    <a:pt x="700" y="78"/>
                    <a:pt x="747" y="122"/>
                  </a:cubicBezTo>
                  <a:cubicBezTo>
                    <a:pt x="633" y="236"/>
                    <a:pt x="633" y="236"/>
                    <a:pt x="633" y="236"/>
                  </a:cubicBezTo>
                  <a:cubicBezTo>
                    <a:pt x="608" y="211"/>
                    <a:pt x="578" y="192"/>
                    <a:pt x="545" y="181"/>
                  </a:cubicBezTo>
                  <a:cubicBezTo>
                    <a:pt x="511" y="170"/>
                    <a:pt x="478" y="164"/>
                    <a:pt x="445" y="164"/>
                  </a:cubicBezTo>
                  <a:cubicBezTo>
                    <a:pt x="406" y="164"/>
                    <a:pt x="372" y="170"/>
                    <a:pt x="339" y="181"/>
                  </a:cubicBezTo>
                  <a:cubicBezTo>
                    <a:pt x="306" y="195"/>
                    <a:pt x="278" y="214"/>
                    <a:pt x="253" y="236"/>
                  </a:cubicBezTo>
                  <a:cubicBezTo>
                    <a:pt x="228" y="259"/>
                    <a:pt x="209" y="289"/>
                    <a:pt x="195" y="320"/>
                  </a:cubicBezTo>
                  <a:cubicBezTo>
                    <a:pt x="181" y="353"/>
                    <a:pt x="175" y="392"/>
                    <a:pt x="175" y="431"/>
                  </a:cubicBezTo>
                  <a:cubicBezTo>
                    <a:pt x="175" y="475"/>
                    <a:pt x="181" y="514"/>
                    <a:pt x="197" y="547"/>
                  </a:cubicBezTo>
                  <a:cubicBezTo>
                    <a:pt x="211" y="578"/>
                    <a:pt x="231" y="606"/>
                    <a:pt x="253" y="631"/>
                  </a:cubicBezTo>
                  <a:cubicBezTo>
                    <a:pt x="278" y="653"/>
                    <a:pt x="309" y="670"/>
                    <a:pt x="339" y="681"/>
                  </a:cubicBezTo>
                  <a:cubicBezTo>
                    <a:pt x="372" y="692"/>
                    <a:pt x="406" y="697"/>
                    <a:pt x="442" y="697"/>
                  </a:cubicBezTo>
                  <a:cubicBezTo>
                    <a:pt x="478" y="697"/>
                    <a:pt x="514" y="692"/>
                    <a:pt x="550" y="681"/>
                  </a:cubicBezTo>
                  <a:cubicBezTo>
                    <a:pt x="583" y="670"/>
                    <a:pt x="614" y="647"/>
                    <a:pt x="642" y="620"/>
                  </a:cubicBezTo>
                  <a:lnTo>
                    <a:pt x="761" y="7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1" name="Freeform 18">
              <a:extLst>
                <a:ext uri="{FF2B5EF4-FFF2-40B4-BE49-F238E27FC236}">
                  <a16:creationId xmlns:a16="http://schemas.microsoft.com/office/drawing/2014/main" id="{9BE5CECE-76E7-FC4D-B5AF-D21157C162A8}"/>
                </a:ext>
              </a:extLst>
            </p:cNvPr>
            <p:cNvSpPr>
              <a:spLocks noChangeArrowheads="1"/>
            </p:cNvSpPr>
            <p:nvPr userDrawn="1"/>
          </p:nvSpPr>
          <p:spPr bwMode="auto">
            <a:xfrm>
              <a:off x="7747000" y="3141663"/>
              <a:ext cx="314325" cy="312737"/>
            </a:xfrm>
            <a:custGeom>
              <a:avLst/>
              <a:gdLst>
                <a:gd name="T0" fmla="*/ 864 w 873"/>
                <a:gd name="T1" fmla="*/ 498 h 868"/>
                <a:gd name="T2" fmla="*/ 864 w 873"/>
                <a:gd name="T3" fmla="*/ 498 h 868"/>
                <a:gd name="T4" fmla="*/ 181 w 873"/>
                <a:gd name="T5" fmla="*/ 498 h 868"/>
                <a:gd name="T6" fmla="*/ 267 w 873"/>
                <a:gd name="T7" fmla="*/ 650 h 868"/>
                <a:gd name="T8" fmla="*/ 456 w 873"/>
                <a:gd name="T9" fmla="*/ 706 h 868"/>
                <a:gd name="T10" fmla="*/ 592 w 873"/>
                <a:gd name="T11" fmla="*/ 684 h 868"/>
                <a:gd name="T12" fmla="*/ 700 w 873"/>
                <a:gd name="T13" fmla="*/ 617 h 868"/>
                <a:gd name="T14" fmla="*/ 817 w 873"/>
                <a:gd name="T15" fmla="*/ 725 h 868"/>
                <a:gd name="T16" fmla="*/ 739 w 873"/>
                <a:gd name="T17" fmla="*/ 786 h 868"/>
                <a:gd name="T18" fmla="*/ 650 w 873"/>
                <a:gd name="T19" fmla="*/ 831 h 868"/>
                <a:gd name="T20" fmla="*/ 553 w 873"/>
                <a:gd name="T21" fmla="*/ 859 h 868"/>
                <a:gd name="T22" fmla="*/ 453 w 873"/>
                <a:gd name="T23" fmla="*/ 867 h 868"/>
                <a:gd name="T24" fmla="*/ 267 w 873"/>
                <a:gd name="T25" fmla="*/ 836 h 868"/>
                <a:gd name="T26" fmla="*/ 122 w 873"/>
                <a:gd name="T27" fmla="*/ 748 h 868"/>
                <a:gd name="T28" fmla="*/ 31 w 873"/>
                <a:gd name="T29" fmla="*/ 609 h 868"/>
                <a:gd name="T30" fmla="*/ 0 w 873"/>
                <a:gd name="T31" fmla="*/ 431 h 868"/>
                <a:gd name="T32" fmla="*/ 31 w 873"/>
                <a:gd name="T33" fmla="*/ 256 h 868"/>
                <a:gd name="T34" fmla="*/ 122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4 w 873"/>
                <a:gd name="T53" fmla="*/ 353 h 868"/>
                <a:gd name="T54" fmla="*/ 619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1" y="498"/>
                    <a:pt x="181" y="498"/>
                    <a:pt x="181" y="498"/>
                  </a:cubicBezTo>
                  <a:cubicBezTo>
                    <a:pt x="189" y="562"/>
                    <a:pt x="219" y="611"/>
                    <a:pt x="267" y="650"/>
                  </a:cubicBezTo>
                  <a:cubicBezTo>
                    <a:pt x="317" y="686"/>
                    <a:pt x="381" y="706"/>
                    <a:pt x="456" y="706"/>
                  </a:cubicBezTo>
                  <a:cubicBezTo>
                    <a:pt x="500" y="706"/>
                    <a:pt x="544" y="698"/>
                    <a:pt x="592" y="684"/>
                  </a:cubicBezTo>
                  <a:cubicBezTo>
                    <a:pt x="639" y="667"/>
                    <a:pt x="675" y="645"/>
                    <a:pt x="700" y="617"/>
                  </a:cubicBezTo>
                  <a:cubicBezTo>
                    <a:pt x="817" y="725"/>
                    <a:pt x="817" y="725"/>
                    <a:pt x="817" y="725"/>
                  </a:cubicBezTo>
                  <a:cubicBezTo>
                    <a:pt x="794" y="750"/>
                    <a:pt x="769" y="770"/>
                    <a:pt x="739" y="786"/>
                  </a:cubicBezTo>
                  <a:cubicBezTo>
                    <a:pt x="711" y="806"/>
                    <a:pt x="681" y="820"/>
                    <a:pt x="650" y="831"/>
                  </a:cubicBezTo>
                  <a:cubicBezTo>
                    <a:pt x="619" y="845"/>
                    <a:pt x="586" y="853"/>
                    <a:pt x="553" y="859"/>
                  </a:cubicBezTo>
                  <a:cubicBezTo>
                    <a:pt x="519" y="864"/>
                    <a:pt x="486" y="867"/>
                    <a:pt x="453" y="867"/>
                  </a:cubicBezTo>
                  <a:cubicBezTo>
                    <a:pt x="383" y="867"/>
                    <a:pt x="322" y="856"/>
                    <a:pt x="267" y="836"/>
                  </a:cubicBezTo>
                  <a:cubicBezTo>
                    <a:pt x="208" y="814"/>
                    <a:pt x="161" y="786"/>
                    <a:pt x="122" y="748"/>
                  </a:cubicBezTo>
                  <a:cubicBezTo>
                    <a:pt x="83" y="709"/>
                    <a:pt x="53" y="664"/>
                    <a:pt x="31" y="609"/>
                  </a:cubicBezTo>
                  <a:cubicBezTo>
                    <a:pt x="11" y="556"/>
                    <a:pt x="0" y="495"/>
                    <a:pt x="0" y="431"/>
                  </a:cubicBezTo>
                  <a:cubicBezTo>
                    <a:pt x="0" y="367"/>
                    <a:pt x="11" y="309"/>
                    <a:pt x="31" y="256"/>
                  </a:cubicBezTo>
                  <a:cubicBezTo>
                    <a:pt x="53" y="203"/>
                    <a:pt x="83" y="159"/>
                    <a:pt x="122" y="120"/>
                  </a:cubicBezTo>
                  <a:cubicBezTo>
                    <a:pt x="161" y="84"/>
                    <a:pt x="208" y="53"/>
                    <a:pt x="261" y="31"/>
                  </a:cubicBezTo>
                  <a:cubicBezTo>
                    <a:pt x="314" y="12"/>
                    <a:pt x="375" y="0"/>
                    <a:pt x="442" y="0"/>
                  </a:cubicBezTo>
                  <a:cubicBezTo>
                    <a:pt x="508" y="0"/>
                    <a:pt x="572" y="12"/>
                    <a:pt x="628" y="31"/>
                  </a:cubicBezTo>
                  <a:cubicBezTo>
                    <a:pt x="681" y="53"/>
                    <a:pt x="728" y="84"/>
                    <a:pt x="767" y="125"/>
                  </a:cubicBezTo>
                  <a:cubicBezTo>
                    <a:pt x="806" y="164"/>
                    <a:pt x="833" y="217"/>
                    <a:pt x="850" y="278"/>
                  </a:cubicBezTo>
                  <a:cubicBezTo>
                    <a:pt x="867" y="342"/>
                    <a:pt x="872" y="414"/>
                    <a:pt x="864" y="498"/>
                  </a:cubicBezTo>
                  <a:lnTo>
                    <a:pt x="186" y="353"/>
                  </a:lnTo>
                  <a:lnTo>
                    <a:pt x="186" y="353"/>
                  </a:lnTo>
                  <a:cubicBezTo>
                    <a:pt x="694" y="353"/>
                    <a:pt x="694" y="353"/>
                    <a:pt x="694" y="353"/>
                  </a:cubicBezTo>
                  <a:cubicBezTo>
                    <a:pt x="689" y="287"/>
                    <a:pt x="664" y="236"/>
                    <a:pt x="619" y="203"/>
                  </a:cubicBezTo>
                  <a:cubicBezTo>
                    <a:pt x="575" y="170"/>
                    <a:pt x="519" y="153"/>
                    <a:pt x="447" y="153"/>
                  </a:cubicBezTo>
                  <a:cubicBezTo>
                    <a:pt x="381"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2" name="Freeform 19">
              <a:extLst>
                <a:ext uri="{FF2B5EF4-FFF2-40B4-BE49-F238E27FC236}">
                  <a16:creationId xmlns:a16="http://schemas.microsoft.com/office/drawing/2014/main" id="{435AF856-D4F8-3541-860A-32D295D56D23}"/>
                </a:ext>
              </a:extLst>
            </p:cNvPr>
            <p:cNvSpPr>
              <a:spLocks noChangeArrowheads="1"/>
            </p:cNvSpPr>
            <p:nvPr userDrawn="1"/>
          </p:nvSpPr>
          <p:spPr bwMode="auto">
            <a:xfrm>
              <a:off x="1828800" y="3743325"/>
              <a:ext cx="323850" cy="311150"/>
            </a:xfrm>
            <a:custGeom>
              <a:avLst/>
              <a:gdLst>
                <a:gd name="T0" fmla="*/ 722 w 901"/>
                <a:gd name="T1" fmla="*/ 147 h 865"/>
                <a:gd name="T2" fmla="*/ 722 w 901"/>
                <a:gd name="T3" fmla="*/ 147 h 865"/>
                <a:gd name="T4" fmla="*/ 728 w 901"/>
                <a:gd name="T5" fmla="*/ 17 h 865"/>
                <a:gd name="T6" fmla="*/ 900 w 901"/>
                <a:gd name="T7" fmla="*/ 17 h 865"/>
                <a:gd name="T8" fmla="*/ 900 w 901"/>
                <a:gd name="T9" fmla="*/ 842 h 865"/>
                <a:gd name="T10" fmla="*/ 731 w 901"/>
                <a:gd name="T11" fmla="*/ 842 h 865"/>
                <a:gd name="T12" fmla="*/ 722 w 901"/>
                <a:gd name="T13" fmla="*/ 709 h 865"/>
                <a:gd name="T14" fmla="*/ 669 w 901"/>
                <a:gd name="T15" fmla="*/ 778 h 865"/>
                <a:gd name="T16" fmla="*/ 597 w 901"/>
                <a:gd name="T17" fmla="*/ 825 h 865"/>
                <a:gd name="T18" fmla="*/ 514 w 901"/>
                <a:gd name="T19" fmla="*/ 856 h 865"/>
                <a:gd name="T20" fmla="*/ 433 w 901"/>
                <a:gd name="T21" fmla="*/ 864 h 865"/>
                <a:gd name="T22" fmla="*/ 261 w 901"/>
                <a:gd name="T23" fmla="*/ 836 h 865"/>
                <a:gd name="T24" fmla="*/ 125 w 901"/>
                <a:gd name="T25" fmla="*/ 753 h 865"/>
                <a:gd name="T26" fmla="*/ 33 w 901"/>
                <a:gd name="T27" fmla="*/ 617 h 865"/>
                <a:gd name="T28" fmla="*/ 0 w 901"/>
                <a:gd name="T29" fmla="*/ 428 h 865"/>
                <a:gd name="T30" fmla="*/ 36 w 901"/>
                <a:gd name="T31" fmla="*/ 245 h 865"/>
                <a:gd name="T32" fmla="*/ 128 w 901"/>
                <a:gd name="T33" fmla="*/ 111 h 865"/>
                <a:gd name="T34" fmla="*/ 267 w 901"/>
                <a:gd name="T35" fmla="*/ 28 h 865"/>
                <a:gd name="T36" fmla="*/ 436 w 901"/>
                <a:gd name="T37" fmla="*/ 0 h 865"/>
                <a:gd name="T38" fmla="*/ 606 w 901"/>
                <a:gd name="T39" fmla="*/ 39 h 865"/>
                <a:gd name="T40" fmla="*/ 722 w 901"/>
                <a:gd name="T41" fmla="*/ 147 h 865"/>
                <a:gd name="T42" fmla="*/ 450 w 901"/>
                <a:gd name="T43" fmla="*/ 156 h 865"/>
                <a:gd name="T44" fmla="*/ 450 w 901"/>
                <a:gd name="T45" fmla="*/ 156 h 865"/>
                <a:gd name="T46" fmla="*/ 344 w 901"/>
                <a:gd name="T47" fmla="*/ 175 h 865"/>
                <a:gd name="T48" fmla="*/ 258 w 901"/>
                <a:gd name="T49" fmla="*/ 231 h 865"/>
                <a:gd name="T50" fmla="*/ 197 w 901"/>
                <a:gd name="T51" fmla="*/ 317 h 865"/>
                <a:gd name="T52" fmla="*/ 178 w 901"/>
                <a:gd name="T53" fmla="*/ 428 h 865"/>
                <a:gd name="T54" fmla="*/ 197 w 901"/>
                <a:gd name="T55" fmla="*/ 545 h 865"/>
                <a:gd name="T56" fmla="*/ 258 w 901"/>
                <a:gd name="T57" fmla="*/ 631 h 865"/>
                <a:gd name="T58" fmla="*/ 344 w 901"/>
                <a:gd name="T59" fmla="*/ 684 h 865"/>
                <a:gd name="T60" fmla="*/ 450 w 901"/>
                <a:gd name="T61" fmla="*/ 703 h 865"/>
                <a:gd name="T62" fmla="*/ 600 w 901"/>
                <a:gd name="T63" fmla="*/ 664 h 865"/>
                <a:gd name="T64" fmla="*/ 692 w 901"/>
                <a:gd name="T65" fmla="*/ 561 h 865"/>
                <a:gd name="T66" fmla="*/ 722 w 901"/>
                <a:gd name="T67" fmla="*/ 431 h 865"/>
                <a:gd name="T68" fmla="*/ 692 w 901"/>
                <a:gd name="T69" fmla="*/ 298 h 865"/>
                <a:gd name="T70" fmla="*/ 600 w 901"/>
                <a:gd name="T71" fmla="*/ 198 h 865"/>
                <a:gd name="T72" fmla="*/ 450 w 901"/>
                <a:gd name="T73" fmla="*/ 156 h 865"/>
                <a:gd name="T74" fmla="*/ 722 w 901"/>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1" h="865">
                  <a:moveTo>
                    <a:pt x="722" y="147"/>
                  </a:moveTo>
                  <a:lnTo>
                    <a:pt x="722" y="147"/>
                  </a:lnTo>
                  <a:cubicBezTo>
                    <a:pt x="728" y="17"/>
                    <a:pt x="728" y="17"/>
                    <a:pt x="728" y="17"/>
                  </a:cubicBezTo>
                  <a:cubicBezTo>
                    <a:pt x="900" y="17"/>
                    <a:pt x="900" y="17"/>
                    <a:pt x="900" y="17"/>
                  </a:cubicBezTo>
                  <a:cubicBezTo>
                    <a:pt x="900" y="842"/>
                    <a:pt x="900" y="842"/>
                    <a:pt x="900" y="842"/>
                  </a:cubicBezTo>
                  <a:cubicBezTo>
                    <a:pt x="731" y="842"/>
                    <a:pt x="731" y="842"/>
                    <a:pt x="731" y="842"/>
                  </a:cubicBezTo>
                  <a:cubicBezTo>
                    <a:pt x="722" y="709"/>
                    <a:pt x="722" y="709"/>
                    <a:pt x="722" y="709"/>
                  </a:cubicBezTo>
                  <a:cubicBezTo>
                    <a:pt x="708" y="736"/>
                    <a:pt x="692" y="759"/>
                    <a:pt x="669" y="778"/>
                  </a:cubicBezTo>
                  <a:cubicBezTo>
                    <a:pt x="647" y="797"/>
                    <a:pt x="622" y="814"/>
                    <a:pt x="597" y="825"/>
                  </a:cubicBezTo>
                  <a:cubicBezTo>
                    <a:pt x="569" y="839"/>
                    <a:pt x="542" y="847"/>
                    <a:pt x="514" y="856"/>
                  </a:cubicBezTo>
                  <a:cubicBezTo>
                    <a:pt x="486" y="861"/>
                    <a:pt x="458" y="864"/>
                    <a:pt x="433" y="864"/>
                  </a:cubicBezTo>
                  <a:cubicBezTo>
                    <a:pt x="372" y="864"/>
                    <a:pt x="314" y="853"/>
                    <a:pt x="261" y="836"/>
                  </a:cubicBezTo>
                  <a:cubicBezTo>
                    <a:pt x="208" y="817"/>
                    <a:pt x="164" y="789"/>
                    <a:pt x="125" y="753"/>
                  </a:cubicBezTo>
                  <a:cubicBezTo>
                    <a:pt x="86" y="714"/>
                    <a:pt x="56" y="670"/>
                    <a:pt x="33" y="617"/>
                  </a:cubicBezTo>
                  <a:cubicBezTo>
                    <a:pt x="11" y="561"/>
                    <a:pt x="0" y="500"/>
                    <a:pt x="0" y="428"/>
                  </a:cubicBezTo>
                  <a:cubicBezTo>
                    <a:pt x="0" y="361"/>
                    <a:pt x="11" y="300"/>
                    <a:pt x="36" y="245"/>
                  </a:cubicBezTo>
                  <a:cubicBezTo>
                    <a:pt x="58" y="192"/>
                    <a:pt x="89" y="147"/>
                    <a:pt x="128" y="111"/>
                  </a:cubicBezTo>
                  <a:cubicBezTo>
                    <a:pt x="167" y="75"/>
                    <a:pt x="214" y="48"/>
                    <a:pt x="267" y="28"/>
                  </a:cubicBezTo>
                  <a:cubicBezTo>
                    <a:pt x="319" y="9"/>
                    <a:pt x="375" y="0"/>
                    <a:pt x="436" y="0"/>
                  </a:cubicBezTo>
                  <a:cubicBezTo>
                    <a:pt x="497" y="0"/>
                    <a:pt x="553" y="14"/>
                    <a:pt x="606" y="39"/>
                  </a:cubicBezTo>
                  <a:cubicBezTo>
                    <a:pt x="658" y="64"/>
                    <a:pt x="697" y="103"/>
                    <a:pt x="722" y="147"/>
                  </a:cubicBezTo>
                  <a:lnTo>
                    <a:pt x="450" y="156"/>
                  </a:lnTo>
                  <a:lnTo>
                    <a:pt x="450" y="156"/>
                  </a:lnTo>
                  <a:cubicBezTo>
                    <a:pt x="414" y="156"/>
                    <a:pt x="378" y="164"/>
                    <a:pt x="344" y="175"/>
                  </a:cubicBezTo>
                  <a:cubicBezTo>
                    <a:pt x="311" y="189"/>
                    <a:pt x="283" y="206"/>
                    <a:pt x="258" y="231"/>
                  </a:cubicBezTo>
                  <a:cubicBezTo>
                    <a:pt x="233" y="253"/>
                    <a:pt x="211" y="284"/>
                    <a:pt x="197" y="317"/>
                  </a:cubicBezTo>
                  <a:cubicBezTo>
                    <a:pt x="183" y="350"/>
                    <a:pt x="178" y="386"/>
                    <a:pt x="178" y="428"/>
                  </a:cubicBezTo>
                  <a:cubicBezTo>
                    <a:pt x="178" y="472"/>
                    <a:pt x="183" y="509"/>
                    <a:pt x="197" y="545"/>
                  </a:cubicBezTo>
                  <a:cubicBezTo>
                    <a:pt x="211" y="578"/>
                    <a:pt x="233" y="606"/>
                    <a:pt x="258" y="631"/>
                  </a:cubicBezTo>
                  <a:cubicBezTo>
                    <a:pt x="283" y="653"/>
                    <a:pt x="311" y="672"/>
                    <a:pt x="344" y="684"/>
                  </a:cubicBezTo>
                  <a:cubicBezTo>
                    <a:pt x="378" y="698"/>
                    <a:pt x="414" y="703"/>
                    <a:pt x="450" y="703"/>
                  </a:cubicBezTo>
                  <a:cubicBezTo>
                    <a:pt x="511" y="703"/>
                    <a:pt x="561" y="689"/>
                    <a:pt x="600" y="664"/>
                  </a:cubicBezTo>
                  <a:cubicBezTo>
                    <a:pt x="642" y="636"/>
                    <a:pt x="672" y="603"/>
                    <a:pt x="692" y="561"/>
                  </a:cubicBezTo>
                  <a:cubicBezTo>
                    <a:pt x="714" y="522"/>
                    <a:pt x="722" y="478"/>
                    <a:pt x="722" y="431"/>
                  </a:cubicBezTo>
                  <a:cubicBezTo>
                    <a:pt x="722" y="384"/>
                    <a:pt x="714" y="339"/>
                    <a:pt x="692" y="298"/>
                  </a:cubicBezTo>
                  <a:cubicBezTo>
                    <a:pt x="672" y="259"/>
                    <a:pt x="642" y="223"/>
                    <a:pt x="600" y="198"/>
                  </a:cubicBezTo>
                  <a:cubicBezTo>
                    <a:pt x="561" y="170"/>
                    <a:pt x="511"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3" name="Freeform 20">
              <a:extLst>
                <a:ext uri="{FF2B5EF4-FFF2-40B4-BE49-F238E27FC236}">
                  <a16:creationId xmlns:a16="http://schemas.microsoft.com/office/drawing/2014/main" id="{46ABC618-DCB1-8A44-999F-D33CDE3BFDFA}"/>
                </a:ext>
              </a:extLst>
            </p:cNvPr>
            <p:cNvSpPr>
              <a:spLocks noChangeArrowheads="1"/>
            </p:cNvSpPr>
            <p:nvPr userDrawn="1"/>
          </p:nvSpPr>
          <p:spPr bwMode="auto">
            <a:xfrm>
              <a:off x="2214563" y="3743325"/>
              <a:ext cx="266700" cy="312738"/>
            </a:xfrm>
            <a:custGeom>
              <a:avLst/>
              <a:gdLst>
                <a:gd name="T0" fmla="*/ 603 w 743"/>
                <a:gd name="T1" fmla="*/ 222 h 870"/>
                <a:gd name="T2" fmla="*/ 603 w 743"/>
                <a:gd name="T3" fmla="*/ 222 h 870"/>
                <a:gd name="T4" fmla="*/ 500 w 743"/>
                <a:gd name="T5" fmla="*/ 161 h 870"/>
                <a:gd name="T6" fmla="*/ 381 w 743"/>
                <a:gd name="T7" fmla="*/ 147 h 870"/>
                <a:gd name="T8" fmla="*/ 250 w 743"/>
                <a:gd name="T9" fmla="*/ 169 h 870"/>
                <a:gd name="T10" fmla="*/ 203 w 743"/>
                <a:gd name="T11" fmla="*/ 244 h 870"/>
                <a:gd name="T12" fmla="*/ 253 w 743"/>
                <a:gd name="T13" fmla="*/ 319 h 870"/>
                <a:gd name="T14" fmla="*/ 386 w 743"/>
                <a:gd name="T15" fmla="*/ 349 h 870"/>
                <a:gd name="T16" fmla="*/ 506 w 743"/>
                <a:gd name="T17" fmla="*/ 366 h 870"/>
                <a:gd name="T18" fmla="*/ 622 w 743"/>
                <a:gd name="T19" fmla="*/ 405 h 870"/>
                <a:gd name="T20" fmla="*/ 708 w 743"/>
                <a:gd name="T21" fmla="*/ 480 h 870"/>
                <a:gd name="T22" fmla="*/ 742 w 743"/>
                <a:gd name="T23" fmla="*/ 608 h 870"/>
                <a:gd name="T24" fmla="*/ 717 w 743"/>
                <a:gd name="T25" fmla="*/ 713 h 870"/>
                <a:gd name="T26" fmla="*/ 645 w 743"/>
                <a:gd name="T27" fmla="*/ 797 h 870"/>
                <a:gd name="T28" fmla="*/ 531 w 743"/>
                <a:gd name="T29" fmla="*/ 849 h 870"/>
                <a:gd name="T30" fmla="*/ 383 w 743"/>
                <a:gd name="T31" fmla="*/ 869 h 870"/>
                <a:gd name="T32" fmla="*/ 184 w 743"/>
                <a:gd name="T33" fmla="*/ 838 h 870"/>
                <a:gd name="T34" fmla="*/ 0 w 743"/>
                <a:gd name="T35" fmla="*/ 716 h 870"/>
                <a:gd name="T36" fmla="*/ 92 w 743"/>
                <a:gd name="T37" fmla="*/ 597 h 870"/>
                <a:gd name="T38" fmla="*/ 231 w 743"/>
                <a:gd name="T39" fmla="*/ 688 h 870"/>
                <a:gd name="T40" fmla="*/ 386 w 743"/>
                <a:gd name="T41" fmla="*/ 719 h 870"/>
                <a:gd name="T42" fmla="*/ 450 w 743"/>
                <a:gd name="T43" fmla="*/ 713 h 870"/>
                <a:gd name="T44" fmla="*/ 506 w 743"/>
                <a:gd name="T45" fmla="*/ 694 h 870"/>
                <a:gd name="T46" fmla="*/ 550 w 743"/>
                <a:gd name="T47" fmla="*/ 661 h 870"/>
                <a:gd name="T48" fmla="*/ 567 w 743"/>
                <a:gd name="T49" fmla="*/ 611 h 870"/>
                <a:gd name="T50" fmla="*/ 517 w 743"/>
                <a:gd name="T51" fmla="*/ 530 h 870"/>
                <a:gd name="T52" fmla="*/ 372 w 743"/>
                <a:gd name="T53" fmla="*/ 497 h 870"/>
                <a:gd name="T54" fmla="*/ 250 w 743"/>
                <a:gd name="T55" fmla="*/ 477 h 870"/>
                <a:gd name="T56" fmla="*/ 142 w 743"/>
                <a:gd name="T57" fmla="*/ 436 h 870"/>
                <a:gd name="T58" fmla="*/ 61 w 743"/>
                <a:gd name="T59" fmla="*/ 363 h 870"/>
                <a:gd name="T60" fmla="*/ 28 w 743"/>
                <a:gd name="T61" fmla="*/ 249 h 870"/>
                <a:gd name="T62" fmla="*/ 61 w 743"/>
                <a:gd name="T63" fmla="*/ 133 h 870"/>
                <a:gd name="T64" fmla="*/ 145 w 743"/>
                <a:gd name="T65" fmla="*/ 55 h 870"/>
                <a:gd name="T66" fmla="*/ 258 w 743"/>
                <a:gd name="T67" fmla="*/ 11 h 870"/>
                <a:gd name="T68" fmla="*/ 378 w 743"/>
                <a:gd name="T69" fmla="*/ 0 h 870"/>
                <a:gd name="T70" fmla="*/ 553 w 743"/>
                <a:gd name="T71" fmla="*/ 22 h 870"/>
                <a:gd name="T72" fmla="*/ 703 w 743"/>
                <a:gd name="T73" fmla="*/ 108 h 870"/>
                <a:gd name="T74" fmla="*/ 603 w 743"/>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3" h="870">
                  <a:moveTo>
                    <a:pt x="603" y="222"/>
                  </a:moveTo>
                  <a:lnTo>
                    <a:pt x="603" y="222"/>
                  </a:lnTo>
                  <a:cubicBezTo>
                    <a:pt x="572" y="191"/>
                    <a:pt x="536" y="172"/>
                    <a:pt x="500" y="161"/>
                  </a:cubicBezTo>
                  <a:cubicBezTo>
                    <a:pt x="464" y="149"/>
                    <a:pt x="425" y="147"/>
                    <a:pt x="381" y="147"/>
                  </a:cubicBezTo>
                  <a:cubicBezTo>
                    <a:pt x="328" y="144"/>
                    <a:pt x="284" y="152"/>
                    <a:pt x="250" y="169"/>
                  </a:cubicBezTo>
                  <a:cubicBezTo>
                    <a:pt x="220" y="188"/>
                    <a:pt x="203" y="211"/>
                    <a:pt x="203" y="244"/>
                  </a:cubicBezTo>
                  <a:cubicBezTo>
                    <a:pt x="203" y="280"/>
                    <a:pt x="220" y="302"/>
                    <a:pt x="253" y="319"/>
                  </a:cubicBezTo>
                  <a:cubicBezTo>
                    <a:pt x="286" y="333"/>
                    <a:pt x="331" y="344"/>
                    <a:pt x="386" y="349"/>
                  </a:cubicBezTo>
                  <a:cubicBezTo>
                    <a:pt x="425" y="352"/>
                    <a:pt x="464" y="358"/>
                    <a:pt x="506" y="366"/>
                  </a:cubicBezTo>
                  <a:cubicBezTo>
                    <a:pt x="550" y="372"/>
                    <a:pt x="586" y="386"/>
                    <a:pt x="622" y="405"/>
                  </a:cubicBezTo>
                  <a:cubicBezTo>
                    <a:pt x="658" y="422"/>
                    <a:pt x="686" y="447"/>
                    <a:pt x="708" y="480"/>
                  </a:cubicBezTo>
                  <a:cubicBezTo>
                    <a:pt x="731" y="513"/>
                    <a:pt x="742" y="555"/>
                    <a:pt x="742" y="608"/>
                  </a:cubicBezTo>
                  <a:cubicBezTo>
                    <a:pt x="742" y="647"/>
                    <a:pt x="733" y="683"/>
                    <a:pt x="717" y="713"/>
                  </a:cubicBezTo>
                  <a:cubicBezTo>
                    <a:pt x="700" y="747"/>
                    <a:pt x="675" y="774"/>
                    <a:pt x="645" y="797"/>
                  </a:cubicBezTo>
                  <a:cubicBezTo>
                    <a:pt x="614" y="819"/>
                    <a:pt x="575" y="838"/>
                    <a:pt x="531" y="849"/>
                  </a:cubicBezTo>
                  <a:cubicBezTo>
                    <a:pt x="486" y="863"/>
                    <a:pt x="439" y="869"/>
                    <a:pt x="383" y="869"/>
                  </a:cubicBezTo>
                  <a:cubicBezTo>
                    <a:pt x="317" y="869"/>
                    <a:pt x="247" y="858"/>
                    <a:pt x="184" y="838"/>
                  </a:cubicBezTo>
                  <a:cubicBezTo>
                    <a:pt x="117" y="819"/>
                    <a:pt x="56" y="777"/>
                    <a:pt x="0" y="716"/>
                  </a:cubicBezTo>
                  <a:cubicBezTo>
                    <a:pt x="92" y="597"/>
                    <a:pt x="92" y="597"/>
                    <a:pt x="92" y="597"/>
                  </a:cubicBezTo>
                  <a:cubicBezTo>
                    <a:pt x="131" y="638"/>
                    <a:pt x="178" y="669"/>
                    <a:pt x="231" y="688"/>
                  </a:cubicBezTo>
                  <a:cubicBezTo>
                    <a:pt x="286" y="708"/>
                    <a:pt x="336" y="719"/>
                    <a:pt x="386" y="719"/>
                  </a:cubicBezTo>
                  <a:cubicBezTo>
                    <a:pt x="408" y="719"/>
                    <a:pt x="428" y="716"/>
                    <a:pt x="450" y="713"/>
                  </a:cubicBezTo>
                  <a:cubicBezTo>
                    <a:pt x="470" y="708"/>
                    <a:pt x="489" y="702"/>
                    <a:pt x="506" y="694"/>
                  </a:cubicBezTo>
                  <a:cubicBezTo>
                    <a:pt x="522" y="686"/>
                    <a:pt x="539" y="674"/>
                    <a:pt x="550" y="661"/>
                  </a:cubicBezTo>
                  <a:cubicBezTo>
                    <a:pt x="561" y="647"/>
                    <a:pt x="567" y="630"/>
                    <a:pt x="567" y="611"/>
                  </a:cubicBezTo>
                  <a:cubicBezTo>
                    <a:pt x="567" y="574"/>
                    <a:pt x="550" y="547"/>
                    <a:pt x="517" y="530"/>
                  </a:cubicBezTo>
                  <a:cubicBezTo>
                    <a:pt x="483" y="513"/>
                    <a:pt x="433" y="502"/>
                    <a:pt x="372" y="497"/>
                  </a:cubicBezTo>
                  <a:cubicBezTo>
                    <a:pt x="331" y="494"/>
                    <a:pt x="292" y="486"/>
                    <a:pt x="250" y="477"/>
                  </a:cubicBezTo>
                  <a:cubicBezTo>
                    <a:pt x="211" y="469"/>
                    <a:pt x="175" y="455"/>
                    <a:pt x="142" y="436"/>
                  </a:cubicBezTo>
                  <a:cubicBezTo>
                    <a:pt x="109" y="416"/>
                    <a:pt x="81" y="394"/>
                    <a:pt x="61" y="363"/>
                  </a:cubicBezTo>
                  <a:cubicBezTo>
                    <a:pt x="39" y="333"/>
                    <a:pt x="28" y="294"/>
                    <a:pt x="28" y="249"/>
                  </a:cubicBezTo>
                  <a:cubicBezTo>
                    <a:pt x="28" y="202"/>
                    <a:pt x="39" y="166"/>
                    <a:pt x="61" y="133"/>
                  </a:cubicBezTo>
                  <a:cubicBezTo>
                    <a:pt x="84" y="102"/>
                    <a:pt x="111" y="74"/>
                    <a:pt x="145" y="55"/>
                  </a:cubicBezTo>
                  <a:cubicBezTo>
                    <a:pt x="178" y="36"/>
                    <a:pt x="217" y="22"/>
                    <a:pt x="258" y="11"/>
                  </a:cubicBezTo>
                  <a:cubicBezTo>
                    <a:pt x="297" y="2"/>
                    <a:pt x="339" y="0"/>
                    <a:pt x="378" y="0"/>
                  </a:cubicBezTo>
                  <a:cubicBezTo>
                    <a:pt x="445" y="0"/>
                    <a:pt x="503" y="8"/>
                    <a:pt x="553" y="22"/>
                  </a:cubicBezTo>
                  <a:cubicBezTo>
                    <a:pt x="606" y="38"/>
                    <a:pt x="656" y="66"/>
                    <a:pt x="703" y="108"/>
                  </a:cubicBezTo>
                  <a:lnTo>
                    <a:pt x="603"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4" name="Freeform 21">
              <a:extLst>
                <a:ext uri="{FF2B5EF4-FFF2-40B4-BE49-F238E27FC236}">
                  <a16:creationId xmlns:a16="http://schemas.microsoft.com/office/drawing/2014/main" id="{562B112A-8D16-DC41-8612-0F6CE633BB94}"/>
                </a:ext>
              </a:extLst>
            </p:cNvPr>
            <p:cNvSpPr>
              <a:spLocks noChangeArrowheads="1"/>
            </p:cNvSpPr>
            <p:nvPr userDrawn="1"/>
          </p:nvSpPr>
          <p:spPr bwMode="auto">
            <a:xfrm>
              <a:off x="2698750" y="3749675"/>
              <a:ext cx="63500" cy="298450"/>
            </a:xfrm>
            <a:custGeom>
              <a:avLst/>
              <a:gdLst>
                <a:gd name="T0" fmla="*/ 175 w 176"/>
                <a:gd name="T1" fmla="*/ 828 h 829"/>
                <a:gd name="T2" fmla="*/ 0 w 176"/>
                <a:gd name="T3" fmla="*/ 828 h 829"/>
                <a:gd name="T4" fmla="*/ 0 w 176"/>
                <a:gd name="T5" fmla="*/ 0 h 829"/>
                <a:gd name="T6" fmla="*/ 175 w 176"/>
                <a:gd name="T7" fmla="*/ 0 h 829"/>
                <a:gd name="T8" fmla="*/ 175 w 176"/>
                <a:gd name="T9" fmla="*/ 828 h 829"/>
              </a:gdLst>
              <a:ahLst/>
              <a:cxnLst>
                <a:cxn ang="0">
                  <a:pos x="T0" y="T1"/>
                </a:cxn>
                <a:cxn ang="0">
                  <a:pos x="T2" y="T3"/>
                </a:cxn>
                <a:cxn ang="0">
                  <a:pos x="T4" y="T5"/>
                </a:cxn>
                <a:cxn ang="0">
                  <a:pos x="T6" y="T7"/>
                </a:cxn>
                <a:cxn ang="0">
                  <a:pos x="T8" y="T9"/>
                </a:cxn>
              </a:cxnLst>
              <a:rect l="0" t="0" r="r" b="b"/>
              <a:pathLst>
                <a:path w="176" h="829">
                  <a:moveTo>
                    <a:pt x="175" y="828"/>
                  </a:moveTo>
                  <a:lnTo>
                    <a:pt x="0" y="828"/>
                  </a:lnTo>
                  <a:lnTo>
                    <a:pt x="0" y="0"/>
                  </a:lnTo>
                  <a:lnTo>
                    <a:pt x="175" y="0"/>
                  </a:lnTo>
                  <a:lnTo>
                    <a:pt x="175" y="82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5" name="Freeform 22">
              <a:extLst>
                <a:ext uri="{FF2B5EF4-FFF2-40B4-BE49-F238E27FC236}">
                  <a16:creationId xmlns:a16="http://schemas.microsoft.com/office/drawing/2014/main" id="{2C5908FC-9194-FF47-BCE8-89EA7E0C0E99}"/>
                </a:ext>
              </a:extLst>
            </p:cNvPr>
            <p:cNvSpPr>
              <a:spLocks noChangeArrowheads="1"/>
            </p:cNvSpPr>
            <p:nvPr userDrawn="1"/>
          </p:nvSpPr>
          <p:spPr bwMode="auto">
            <a:xfrm>
              <a:off x="2822575" y="3665538"/>
              <a:ext cx="223838" cy="385762"/>
            </a:xfrm>
            <a:custGeom>
              <a:avLst/>
              <a:gdLst>
                <a:gd name="T0" fmla="*/ 342 w 620"/>
                <a:gd name="T1" fmla="*/ 0 h 1073"/>
                <a:gd name="T2" fmla="*/ 342 w 620"/>
                <a:gd name="T3" fmla="*/ 0 h 1073"/>
                <a:gd name="T4" fmla="*/ 342 w 620"/>
                <a:gd name="T5" fmla="*/ 239 h 1073"/>
                <a:gd name="T6" fmla="*/ 586 w 620"/>
                <a:gd name="T7" fmla="*/ 239 h 1073"/>
                <a:gd name="T8" fmla="*/ 586 w 620"/>
                <a:gd name="T9" fmla="*/ 389 h 1073"/>
                <a:gd name="T10" fmla="*/ 339 w 620"/>
                <a:gd name="T11" fmla="*/ 389 h 1073"/>
                <a:gd name="T12" fmla="*/ 339 w 620"/>
                <a:gd name="T13" fmla="*/ 780 h 1073"/>
                <a:gd name="T14" fmla="*/ 369 w 620"/>
                <a:gd name="T15" fmla="*/ 880 h 1073"/>
                <a:gd name="T16" fmla="*/ 461 w 620"/>
                <a:gd name="T17" fmla="*/ 917 h 1073"/>
                <a:gd name="T18" fmla="*/ 514 w 620"/>
                <a:gd name="T19" fmla="*/ 908 h 1073"/>
                <a:gd name="T20" fmla="*/ 566 w 620"/>
                <a:gd name="T21" fmla="*/ 886 h 1073"/>
                <a:gd name="T22" fmla="*/ 619 w 620"/>
                <a:gd name="T23" fmla="*/ 1033 h 1073"/>
                <a:gd name="T24" fmla="*/ 533 w 620"/>
                <a:gd name="T25" fmla="*/ 1061 h 1073"/>
                <a:gd name="T26" fmla="*/ 450 w 620"/>
                <a:gd name="T27" fmla="*/ 1072 h 1073"/>
                <a:gd name="T28" fmla="*/ 236 w 620"/>
                <a:gd name="T29" fmla="*/ 1000 h 1073"/>
                <a:gd name="T30" fmla="*/ 164 w 620"/>
                <a:gd name="T31" fmla="*/ 780 h 1073"/>
                <a:gd name="T32" fmla="*/ 164 w 620"/>
                <a:gd name="T33" fmla="*/ 389 h 1073"/>
                <a:gd name="T34" fmla="*/ 0 w 620"/>
                <a:gd name="T35" fmla="*/ 389 h 1073"/>
                <a:gd name="T36" fmla="*/ 0 w 620"/>
                <a:gd name="T37" fmla="*/ 239 h 1073"/>
                <a:gd name="T38" fmla="*/ 164 w 620"/>
                <a:gd name="T39" fmla="*/ 239 h 1073"/>
                <a:gd name="T40" fmla="*/ 164 w 620"/>
                <a:gd name="T41" fmla="*/ 19 h 1073"/>
                <a:gd name="T42" fmla="*/ 342 w 620"/>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0" h="1073">
                  <a:moveTo>
                    <a:pt x="342" y="0"/>
                  </a:moveTo>
                  <a:lnTo>
                    <a:pt x="342" y="0"/>
                  </a:lnTo>
                  <a:cubicBezTo>
                    <a:pt x="342" y="239"/>
                    <a:pt x="342" y="239"/>
                    <a:pt x="342" y="239"/>
                  </a:cubicBezTo>
                  <a:cubicBezTo>
                    <a:pt x="586" y="239"/>
                    <a:pt x="586" y="239"/>
                    <a:pt x="586" y="239"/>
                  </a:cubicBezTo>
                  <a:cubicBezTo>
                    <a:pt x="586" y="389"/>
                    <a:pt x="586" y="389"/>
                    <a:pt x="586" y="389"/>
                  </a:cubicBezTo>
                  <a:cubicBezTo>
                    <a:pt x="339" y="389"/>
                    <a:pt x="339" y="389"/>
                    <a:pt x="339" y="389"/>
                  </a:cubicBezTo>
                  <a:cubicBezTo>
                    <a:pt x="339" y="780"/>
                    <a:pt x="339" y="780"/>
                    <a:pt x="339" y="780"/>
                  </a:cubicBezTo>
                  <a:cubicBezTo>
                    <a:pt x="339" y="825"/>
                    <a:pt x="350" y="858"/>
                    <a:pt x="369" y="880"/>
                  </a:cubicBezTo>
                  <a:cubicBezTo>
                    <a:pt x="389" y="905"/>
                    <a:pt x="419" y="917"/>
                    <a:pt x="461" y="917"/>
                  </a:cubicBezTo>
                  <a:cubicBezTo>
                    <a:pt x="478" y="917"/>
                    <a:pt x="494" y="914"/>
                    <a:pt x="514" y="908"/>
                  </a:cubicBezTo>
                  <a:cubicBezTo>
                    <a:pt x="533" y="903"/>
                    <a:pt x="550" y="897"/>
                    <a:pt x="566" y="886"/>
                  </a:cubicBezTo>
                  <a:cubicBezTo>
                    <a:pt x="619" y="1033"/>
                    <a:pt x="619" y="1033"/>
                    <a:pt x="619" y="1033"/>
                  </a:cubicBezTo>
                  <a:cubicBezTo>
                    <a:pt x="589" y="1047"/>
                    <a:pt x="561" y="1055"/>
                    <a:pt x="533" y="1061"/>
                  </a:cubicBezTo>
                  <a:cubicBezTo>
                    <a:pt x="508" y="1069"/>
                    <a:pt x="480" y="1072"/>
                    <a:pt x="450" y="1072"/>
                  </a:cubicBezTo>
                  <a:cubicBezTo>
                    <a:pt x="358" y="1072"/>
                    <a:pt x="286" y="1050"/>
                    <a:pt x="236" y="1000"/>
                  </a:cubicBezTo>
                  <a:cubicBezTo>
                    <a:pt x="189" y="953"/>
                    <a:pt x="164" y="878"/>
                    <a:pt x="164" y="780"/>
                  </a:cubicBezTo>
                  <a:cubicBezTo>
                    <a:pt x="164" y="389"/>
                    <a:pt x="164" y="389"/>
                    <a:pt x="164" y="389"/>
                  </a:cubicBezTo>
                  <a:cubicBezTo>
                    <a:pt x="0" y="389"/>
                    <a:pt x="0" y="389"/>
                    <a:pt x="0" y="389"/>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6" name="Freeform 23">
              <a:extLst>
                <a:ext uri="{FF2B5EF4-FFF2-40B4-BE49-F238E27FC236}">
                  <a16:creationId xmlns:a16="http://schemas.microsoft.com/office/drawing/2014/main" id="{9E297F47-9AEA-0346-B352-AB9A867E9247}"/>
                </a:ext>
              </a:extLst>
            </p:cNvPr>
            <p:cNvSpPr>
              <a:spLocks noChangeArrowheads="1"/>
            </p:cNvSpPr>
            <p:nvPr userDrawn="1"/>
          </p:nvSpPr>
          <p:spPr bwMode="auto">
            <a:xfrm>
              <a:off x="3208338" y="3749675"/>
              <a:ext cx="492125" cy="298450"/>
            </a:xfrm>
            <a:custGeom>
              <a:avLst/>
              <a:gdLst>
                <a:gd name="T0" fmla="*/ 761 w 1368"/>
                <a:gd name="T1" fmla="*/ 0 h 829"/>
                <a:gd name="T2" fmla="*/ 961 w 1368"/>
                <a:gd name="T3" fmla="*/ 647 h 829"/>
                <a:gd name="T4" fmla="*/ 1169 w 1368"/>
                <a:gd name="T5" fmla="*/ 0 h 829"/>
                <a:gd name="T6" fmla="*/ 1367 w 1368"/>
                <a:gd name="T7" fmla="*/ 0 h 829"/>
                <a:gd name="T8" fmla="*/ 1072 w 1368"/>
                <a:gd name="T9" fmla="*/ 828 h 829"/>
                <a:gd name="T10" fmla="*/ 867 w 1368"/>
                <a:gd name="T11" fmla="*/ 828 h 829"/>
                <a:gd name="T12" fmla="*/ 767 w 1368"/>
                <a:gd name="T13" fmla="*/ 555 h 829"/>
                <a:gd name="T14" fmla="*/ 686 w 1368"/>
                <a:gd name="T15" fmla="*/ 267 h 829"/>
                <a:gd name="T16" fmla="*/ 603 w 1368"/>
                <a:gd name="T17" fmla="*/ 555 h 829"/>
                <a:gd name="T18" fmla="*/ 503 w 1368"/>
                <a:gd name="T19" fmla="*/ 828 h 829"/>
                <a:gd name="T20" fmla="*/ 297 w 1368"/>
                <a:gd name="T21" fmla="*/ 828 h 829"/>
                <a:gd name="T22" fmla="*/ 0 w 1368"/>
                <a:gd name="T23" fmla="*/ 0 h 829"/>
                <a:gd name="T24" fmla="*/ 200 w 1368"/>
                <a:gd name="T25" fmla="*/ 0 h 829"/>
                <a:gd name="T26" fmla="*/ 408 w 1368"/>
                <a:gd name="T27" fmla="*/ 647 h 829"/>
                <a:gd name="T28" fmla="*/ 608 w 1368"/>
                <a:gd name="T29" fmla="*/ 0 h 829"/>
                <a:gd name="T30" fmla="*/ 761 w 1368"/>
                <a:gd name="T31" fmla="*/ 0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8" h="829">
                  <a:moveTo>
                    <a:pt x="761" y="0"/>
                  </a:moveTo>
                  <a:lnTo>
                    <a:pt x="961" y="647"/>
                  </a:lnTo>
                  <a:lnTo>
                    <a:pt x="1169" y="0"/>
                  </a:lnTo>
                  <a:lnTo>
                    <a:pt x="1367" y="0"/>
                  </a:lnTo>
                  <a:lnTo>
                    <a:pt x="1072" y="828"/>
                  </a:lnTo>
                  <a:lnTo>
                    <a:pt x="867" y="828"/>
                  </a:lnTo>
                  <a:lnTo>
                    <a:pt x="767" y="555"/>
                  </a:lnTo>
                  <a:lnTo>
                    <a:pt x="686" y="267"/>
                  </a:lnTo>
                  <a:lnTo>
                    <a:pt x="603" y="555"/>
                  </a:lnTo>
                  <a:lnTo>
                    <a:pt x="503" y="828"/>
                  </a:lnTo>
                  <a:lnTo>
                    <a:pt x="297" y="828"/>
                  </a:lnTo>
                  <a:lnTo>
                    <a:pt x="0" y="0"/>
                  </a:lnTo>
                  <a:lnTo>
                    <a:pt x="200" y="0"/>
                  </a:lnTo>
                  <a:lnTo>
                    <a:pt x="408" y="647"/>
                  </a:lnTo>
                  <a:lnTo>
                    <a:pt x="608" y="0"/>
                  </a:lnTo>
                  <a:lnTo>
                    <a:pt x="761"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7" name="Freeform 24">
              <a:extLst>
                <a:ext uri="{FF2B5EF4-FFF2-40B4-BE49-F238E27FC236}">
                  <a16:creationId xmlns:a16="http://schemas.microsoft.com/office/drawing/2014/main" id="{F9BA96BF-089B-AE47-9AE7-B1E25CDBCE15}"/>
                </a:ext>
              </a:extLst>
            </p:cNvPr>
            <p:cNvSpPr>
              <a:spLocks noChangeArrowheads="1"/>
            </p:cNvSpPr>
            <p:nvPr userDrawn="1"/>
          </p:nvSpPr>
          <p:spPr bwMode="auto">
            <a:xfrm>
              <a:off x="37322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3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8" y="147"/>
                    <a:pt x="127" y="111"/>
                  </a:cubicBezTo>
                  <a:cubicBezTo>
                    <a:pt x="166" y="75"/>
                    <a:pt x="211" y="48"/>
                    <a:pt x="263"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38" y="636"/>
                    <a:pt x="669" y="603"/>
                    <a:pt x="691" y="561"/>
                  </a:cubicBezTo>
                  <a:cubicBezTo>
                    <a:pt x="711" y="522"/>
                    <a:pt x="722" y="478"/>
                    <a:pt x="722" y="431"/>
                  </a:cubicBezTo>
                  <a:cubicBezTo>
                    <a:pt x="722" y="384"/>
                    <a:pt x="711" y="339"/>
                    <a:pt x="691" y="298"/>
                  </a:cubicBezTo>
                  <a:cubicBezTo>
                    <a:pt x="669" y="259"/>
                    <a:pt x="638"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8" name="Freeform 25">
              <a:extLst>
                <a:ext uri="{FF2B5EF4-FFF2-40B4-BE49-F238E27FC236}">
                  <a16:creationId xmlns:a16="http://schemas.microsoft.com/office/drawing/2014/main" id="{B7B9AD65-5075-7D44-840A-B56986360C78}"/>
                </a:ext>
              </a:extLst>
            </p:cNvPr>
            <p:cNvSpPr>
              <a:spLocks noChangeArrowheads="1"/>
            </p:cNvSpPr>
            <p:nvPr userDrawn="1"/>
          </p:nvSpPr>
          <p:spPr bwMode="auto">
            <a:xfrm>
              <a:off x="4116388" y="3743325"/>
              <a:ext cx="268287" cy="312738"/>
            </a:xfrm>
            <a:custGeom>
              <a:avLst/>
              <a:gdLst>
                <a:gd name="T0" fmla="*/ 605 w 745"/>
                <a:gd name="T1" fmla="*/ 222 h 870"/>
                <a:gd name="T2" fmla="*/ 605 w 745"/>
                <a:gd name="T3" fmla="*/ 222 h 870"/>
                <a:gd name="T4" fmla="*/ 500 w 745"/>
                <a:gd name="T5" fmla="*/ 161 h 870"/>
                <a:gd name="T6" fmla="*/ 383 w 745"/>
                <a:gd name="T7" fmla="*/ 147 h 870"/>
                <a:gd name="T8" fmla="*/ 253 w 745"/>
                <a:gd name="T9" fmla="*/ 169 h 870"/>
                <a:gd name="T10" fmla="*/ 203 w 745"/>
                <a:gd name="T11" fmla="*/ 244 h 870"/>
                <a:gd name="T12" fmla="*/ 256 w 745"/>
                <a:gd name="T13" fmla="*/ 319 h 870"/>
                <a:gd name="T14" fmla="*/ 386 w 745"/>
                <a:gd name="T15" fmla="*/ 349 h 870"/>
                <a:gd name="T16" fmla="*/ 508 w 745"/>
                <a:gd name="T17" fmla="*/ 366 h 870"/>
                <a:gd name="T18" fmla="*/ 625 w 745"/>
                <a:gd name="T19" fmla="*/ 405 h 870"/>
                <a:gd name="T20" fmla="*/ 711 w 745"/>
                <a:gd name="T21" fmla="*/ 480 h 870"/>
                <a:gd name="T22" fmla="*/ 744 w 745"/>
                <a:gd name="T23" fmla="*/ 608 h 870"/>
                <a:gd name="T24" fmla="*/ 717 w 745"/>
                <a:gd name="T25" fmla="*/ 713 h 870"/>
                <a:gd name="T26" fmla="*/ 644 w 745"/>
                <a:gd name="T27" fmla="*/ 797 h 870"/>
                <a:gd name="T28" fmla="*/ 533 w 745"/>
                <a:gd name="T29" fmla="*/ 849 h 870"/>
                <a:gd name="T30" fmla="*/ 386 w 745"/>
                <a:gd name="T31" fmla="*/ 869 h 870"/>
                <a:gd name="T32" fmla="*/ 183 w 745"/>
                <a:gd name="T33" fmla="*/ 838 h 870"/>
                <a:gd name="T34" fmla="*/ 0 w 745"/>
                <a:gd name="T35" fmla="*/ 716 h 870"/>
                <a:gd name="T36" fmla="*/ 92 w 745"/>
                <a:gd name="T37" fmla="*/ 597 h 870"/>
                <a:gd name="T38" fmla="*/ 233 w 745"/>
                <a:gd name="T39" fmla="*/ 688 h 870"/>
                <a:gd name="T40" fmla="*/ 389 w 745"/>
                <a:gd name="T41" fmla="*/ 719 h 870"/>
                <a:gd name="T42" fmla="*/ 450 w 745"/>
                <a:gd name="T43" fmla="*/ 713 h 870"/>
                <a:gd name="T44" fmla="*/ 508 w 745"/>
                <a:gd name="T45" fmla="*/ 694 h 870"/>
                <a:gd name="T46" fmla="*/ 550 w 745"/>
                <a:gd name="T47" fmla="*/ 661 h 870"/>
                <a:gd name="T48" fmla="*/ 567 w 745"/>
                <a:gd name="T49" fmla="*/ 611 h 870"/>
                <a:gd name="T50" fmla="*/ 519 w 745"/>
                <a:gd name="T51" fmla="*/ 530 h 870"/>
                <a:gd name="T52" fmla="*/ 372 w 745"/>
                <a:gd name="T53" fmla="*/ 497 h 870"/>
                <a:gd name="T54" fmla="*/ 253 w 745"/>
                <a:gd name="T55" fmla="*/ 477 h 870"/>
                <a:gd name="T56" fmla="*/ 142 w 745"/>
                <a:gd name="T57" fmla="*/ 436 h 870"/>
                <a:gd name="T58" fmla="*/ 61 w 745"/>
                <a:gd name="T59" fmla="*/ 363 h 870"/>
                <a:gd name="T60" fmla="*/ 30 w 745"/>
                <a:gd name="T61" fmla="*/ 249 h 870"/>
                <a:gd name="T62" fmla="*/ 61 w 745"/>
                <a:gd name="T63" fmla="*/ 133 h 870"/>
                <a:gd name="T64" fmla="*/ 147 w 745"/>
                <a:gd name="T65" fmla="*/ 55 h 870"/>
                <a:gd name="T66" fmla="*/ 258 w 745"/>
                <a:gd name="T67" fmla="*/ 11 h 870"/>
                <a:gd name="T68" fmla="*/ 381 w 745"/>
                <a:gd name="T69" fmla="*/ 0 h 870"/>
                <a:gd name="T70" fmla="*/ 556 w 745"/>
                <a:gd name="T71" fmla="*/ 22 h 870"/>
                <a:gd name="T72" fmla="*/ 705 w 745"/>
                <a:gd name="T73" fmla="*/ 108 h 870"/>
                <a:gd name="T74" fmla="*/ 605 w 745"/>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5" h="870">
                  <a:moveTo>
                    <a:pt x="605" y="222"/>
                  </a:moveTo>
                  <a:lnTo>
                    <a:pt x="605" y="222"/>
                  </a:lnTo>
                  <a:cubicBezTo>
                    <a:pt x="572" y="191"/>
                    <a:pt x="536" y="172"/>
                    <a:pt x="500" y="161"/>
                  </a:cubicBezTo>
                  <a:cubicBezTo>
                    <a:pt x="464" y="149"/>
                    <a:pt x="425" y="147"/>
                    <a:pt x="383" y="147"/>
                  </a:cubicBezTo>
                  <a:cubicBezTo>
                    <a:pt x="328" y="144"/>
                    <a:pt x="286" y="152"/>
                    <a:pt x="253" y="169"/>
                  </a:cubicBezTo>
                  <a:cubicBezTo>
                    <a:pt x="219" y="188"/>
                    <a:pt x="203" y="211"/>
                    <a:pt x="203" y="244"/>
                  </a:cubicBezTo>
                  <a:cubicBezTo>
                    <a:pt x="206" y="280"/>
                    <a:pt x="222" y="302"/>
                    <a:pt x="256" y="319"/>
                  </a:cubicBezTo>
                  <a:cubicBezTo>
                    <a:pt x="289" y="333"/>
                    <a:pt x="333" y="344"/>
                    <a:pt x="386" y="349"/>
                  </a:cubicBezTo>
                  <a:cubicBezTo>
                    <a:pt x="425" y="352"/>
                    <a:pt x="467" y="358"/>
                    <a:pt x="508" y="366"/>
                  </a:cubicBezTo>
                  <a:cubicBezTo>
                    <a:pt x="550" y="372"/>
                    <a:pt x="589" y="386"/>
                    <a:pt x="625" y="405"/>
                  </a:cubicBezTo>
                  <a:cubicBezTo>
                    <a:pt x="658" y="422"/>
                    <a:pt x="689" y="447"/>
                    <a:pt x="711" y="480"/>
                  </a:cubicBezTo>
                  <a:cubicBezTo>
                    <a:pt x="733" y="513"/>
                    <a:pt x="744" y="555"/>
                    <a:pt x="744" y="608"/>
                  </a:cubicBezTo>
                  <a:cubicBezTo>
                    <a:pt x="744" y="647"/>
                    <a:pt x="736" y="683"/>
                    <a:pt x="717" y="713"/>
                  </a:cubicBezTo>
                  <a:cubicBezTo>
                    <a:pt x="700" y="747"/>
                    <a:pt x="678" y="774"/>
                    <a:pt x="644" y="797"/>
                  </a:cubicBezTo>
                  <a:cubicBezTo>
                    <a:pt x="614" y="819"/>
                    <a:pt x="578" y="838"/>
                    <a:pt x="533" y="849"/>
                  </a:cubicBezTo>
                  <a:cubicBezTo>
                    <a:pt x="489" y="863"/>
                    <a:pt x="439" y="869"/>
                    <a:pt x="386" y="869"/>
                  </a:cubicBezTo>
                  <a:cubicBezTo>
                    <a:pt x="317" y="869"/>
                    <a:pt x="250" y="858"/>
                    <a:pt x="183" y="838"/>
                  </a:cubicBezTo>
                  <a:cubicBezTo>
                    <a:pt x="117" y="819"/>
                    <a:pt x="56" y="777"/>
                    <a:pt x="0" y="716"/>
                  </a:cubicBezTo>
                  <a:cubicBezTo>
                    <a:pt x="92" y="597"/>
                    <a:pt x="92" y="597"/>
                    <a:pt x="92" y="597"/>
                  </a:cubicBezTo>
                  <a:cubicBezTo>
                    <a:pt x="133" y="638"/>
                    <a:pt x="181" y="669"/>
                    <a:pt x="233" y="688"/>
                  </a:cubicBezTo>
                  <a:cubicBezTo>
                    <a:pt x="286" y="708"/>
                    <a:pt x="339" y="719"/>
                    <a:pt x="389" y="719"/>
                  </a:cubicBezTo>
                  <a:cubicBezTo>
                    <a:pt x="408" y="719"/>
                    <a:pt x="430" y="716"/>
                    <a:pt x="450" y="713"/>
                  </a:cubicBezTo>
                  <a:cubicBezTo>
                    <a:pt x="472" y="708"/>
                    <a:pt x="492" y="702"/>
                    <a:pt x="508" y="694"/>
                  </a:cubicBezTo>
                  <a:cubicBezTo>
                    <a:pt x="525" y="686"/>
                    <a:pt x="539" y="674"/>
                    <a:pt x="550" y="661"/>
                  </a:cubicBezTo>
                  <a:cubicBezTo>
                    <a:pt x="561" y="647"/>
                    <a:pt x="567" y="630"/>
                    <a:pt x="567" y="611"/>
                  </a:cubicBezTo>
                  <a:cubicBezTo>
                    <a:pt x="569" y="574"/>
                    <a:pt x="553" y="547"/>
                    <a:pt x="519" y="530"/>
                  </a:cubicBezTo>
                  <a:cubicBezTo>
                    <a:pt x="483" y="513"/>
                    <a:pt x="436" y="502"/>
                    <a:pt x="372" y="497"/>
                  </a:cubicBezTo>
                  <a:cubicBezTo>
                    <a:pt x="333" y="494"/>
                    <a:pt x="292" y="486"/>
                    <a:pt x="253" y="477"/>
                  </a:cubicBezTo>
                  <a:cubicBezTo>
                    <a:pt x="211" y="469"/>
                    <a:pt x="175" y="455"/>
                    <a:pt x="142" y="436"/>
                  </a:cubicBezTo>
                  <a:cubicBezTo>
                    <a:pt x="108" y="416"/>
                    <a:pt x="83" y="394"/>
                    <a:pt x="61" y="363"/>
                  </a:cubicBezTo>
                  <a:cubicBezTo>
                    <a:pt x="42" y="333"/>
                    <a:pt x="30" y="294"/>
                    <a:pt x="30" y="249"/>
                  </a:cubicBezTo>
                  <a:cubicBezTo>
                    <a:pt x="30" y="202"/>
                    <a:pt x="42" y="166"/>
                    <a:pt x="61" y="133"/>
                  </a:cubicBezTo>
                  <a:cubicBezTo>
                    <a:pt x="83" y="102"/>
                    <a:pt x="111" y="74"/>
                    <a:pt x="147" y="55"/>
                  </a:cubicBezTo>
                  <a:cubicBezTo>
                    <a:pt x="181" y="36"/>
                    <a:pt x="217" y="22"/>
                    <a:pt x="258" y="11"/>
                  </a:cubicBezTo>
                  <a:cubicBezTo>
                    <a:pt x="300" y="2"/>
                    <a:pt x="339" y="0"/>
                    <a:pt x="381" y="0"/>
                  </a:cubicBezTo>
                  <a:cubicBezTo>
                    <a:pt x="444" y="0"/>
                    <a:pt x="503" y="8"/>
                    <a:pt x="556" y="22"/>
                  </a:cubicBezTo>
                  <a:cubicBezTo>
                    <a:pt x="605" y="38"/>
                    <a:pt x="656" y="66"/>
                    <a:pt x="705" y="108"/>
                  </a:cubicBezTo>
                  <a:lnTo>
                    <a:pt x="605"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9" name="Freeform 26">
              <a:extLst>
                <a:ext uri="{FF2B5EF4-FFF2-40B4-BE49-F238E27FC236}">
                  <a16:creationId xmlns:a16="http://schemas.microsoft.com/office/drawing/2014/main" id="{63D095FD-145D-6047-BEC5-289CE2CE0B68}"/>
                </a:ext>
              </a:extLst>
            </p:cNvPr>
            <p:cNvSpPr>
              <a:spLocks noChangeArrowheads="1"/>
            </p:cNvSpPr>
            <p:nvPr userDrawn="1"/>
          </p:nvSpPr>
          <p:spPr bwMode="auto">
            <a:xfrm>
              <a:off x="4600575" y="3744913"/>
              <a:ext cx="476250" cy="301625"/>
            </a:xfrm>
            <a:custGeom>
              <a:avLst/>
              <a:gdLst>
                <a:gd name="T0" fmla="*/ 575 w 1322"/>
                <a:gd name="T1" fmla="*/ 839 h 840"/>
                <a:gd name="T2" fmla="*/ 575 w 1322"/>
                <a:gd name="T3" fmla="*/ 839 h 840"/>
                <a:gd name="T4" fmla="*/ 575 w 1322"/>
                <a:gd name="T5" fmla="*/ 386 h 840"/>
                <a:gd name="T6" fmla="*/ 564 w 1322"/>
                <a:gd name="T7" fmla="*/ 300 h 840"/>
                <a:gd name="T8" fmla="*/ 525 w 1322"/>
                <a:gd name="T9" fmla="*/ 228 h 840"/>
                <a:gd name="T10" fmla="*/ 461 w 1322"/>
                <a:gd name="T11" fmla="*/ 178 h 840"/>
                <a:gd name="T12" fmla="*/ 381 w 1322"/>
                <a:gd name="T13" fmla="*/ 161 h 840"/>
                <a:gd name="T14" fmla="*/ 295 w 1322"/>
                <a:gd name="T15" fmla="*/ 178 h 840"/>
                <a:gd name="T16" fmla="*/ 231 w 1322"/>
                <a:gd name="T17" fmla="*/ 228 h 840"/>
                <a:gd name="T18" fmla="*/ 192 w 1322"/>
                <a:gd name="T19" fmla="*/ 300 h 840"/>
                <a:gd name="T20" fmla="*/ 175 w 1322"/>
                <a:gd name="T21" fmla="*/ 386 h 840"/>
                <a:gd name="T22" fmla="*/ 175 w 1322"/>
                <a:gd name="T23" fmla="*/ 839 h 840"/>
                <a:gd name="T24" fmla="*/ 0 w 1322"/>
                <a:gd name="T25" fmla="*/ 839 h 840"/>
                <a:gd name="T26" fmla="*/ 0 w 1322"/>
                <a:gd name="T27" fmla="*/ 14 h 840"/>
                <a:gd name="T28" fmla="*/ 164 w 1322"/>
                <a:gd name="T29" fmla="*/ 14 h 840"/>
                <a:gd name="T30" fmla="*/ 175 w 1322"/>
                <a:gd name="T31" fmla="*/ 125 h 840"/>
                <a:gd name="T32" fmla="*/ 278 w 1322"/>
                <a:gd name="T33" fmla="*/ 28 h 840"/>
                <a:gd name="T34" fmla="*/ 411 w 1322"/>
                <a:gd name="T35" fmla="*/ 0 h 840"/>
                <a:gd name="T36" fmla="*/ 492 w 1322"/>
                <a:gd name="T37" fmla="*/ 8 h 840"/>
                <a:gd name="T38" fmla="*/ 567 w 1322"/>
                <a:gd name="T39" fmla="*/ 36 h 840"/>
                <a:gd name="T40" fmla="*/ 631 w 1322"/>
                <a:gd name="T41" fmla="*/ 89 h 840"/>
                <a:gd name="T42" fmla="*/ 675 w 1322"/>
                <a:gd name="T43" fmla="*/ 167 h 840"/>
                <a:gd name="T44" fmla="*/ 803 w 1322"/>
                <a:gd name="T45" fmla="*/ 39 h 840"/>
                <a:gd name="T46" fmla="*/ 964 w 1322"/>
                <a:gd name="T47" fmla="*/ 3 h 840"/>
                <a:gd name="T48" fmla="*/ 1230 w 1322"/>
                <a:gd name="T49" fmla="*/ 103 h 840"/>
                <a:gd name="T50" fmla="*/ 1321 w 1322"/>
                <a:gd name="T51" fmla="*/ 383 h 840"/>
                <a:gd name="T52" fmla="*/ 1321 w 1322"/>
                <a:gd name="T53" fmla="*/ 839 h 840"/>
                <a:gd name="T54" fmla="*/ 1145 w 1322"/>
                <a:gd name="T55" fmla="*/ 839 h 840"/>
                <a:gd name="T56" fmla="*/ 1145 w 1322"/>
                <a:gd name="T57" fmla="*/ 381 h 840"/>
                <a:gd name="T58" fmla="*/ 1134 w 1322"/>
                <a:gd name="T59" fmla="*/ 297 h 840"/>
                <a:gd name="T60" fmla="*/ 1097 w 1322"/>
                <a:gd name="T61" fmla="*/ 225 h 840"/>
                <a:gd name="T62" fmla="*/ 1039 w 1322"/>
                <a:gd name="T63" fmla="*/ 178 h 840"/>
                <a:gd name="T64" fmla="*/ 959 w 1322"/>
                <a:gd name="T65" fmla="*/ 161 h 840"/>
                <a:gd name="T66" fmla="*/ 872 w 1322"/>
                <a:gd name="T67" fmla="*/ 181 h 840"/>
                <a:gd name="T68" fmla="*/ 809 w 1322"/>
                <a:gd name="T69" fmla="*/ 228 h 840"/>
                <a:gd name="T70" fmla="*/ 767 w 1322"/>
                <a:gd name="T71" fmla="*/ 300 h 840"/>
                <a:gd name="T72" fmla="*/ 753 w 1322"/>
                <a:gd name="T73" fmla="*/ 386 h 840"/>
                <a:gd name="T74" fmla="*/ 753 w 1322"/>
                <a:gd name="T75" fmla="*/ 839 h 840"/>
                <a:gd name="T76" fmla="*/ 575 w 1322"/>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2" h="840">
                  <a:moveTo>
                    <a:pt x="575" y="839"/>
                  </a:moveTo>
                  <a:lnTo>
                    <a:pt x="575" y="839"/>
                  </a:lnTo>
                  <a:cubicBezTo>
                    <a:pt x="575" y="386"/>
                    <a:pt x="575" y="386"/>
                    <a:pt x="575" y="386"/>
                  </a:cubicBezTo>
                  <a:cubicBezTo>
                    <a:pt x="575" y="356"/>
                    <a:pt x="572" y="325"/>
                    <a:pt x="564" y="300"/>
                  </a:cubicBezTo>
                  <a:cubicBezTo>
                    <a:pt x="556" y="272"/>
                    <a:pt x="542" y="247"/>
                    <a:pt x="525" y="228"/>
                  </a:cubicBezTo>
                  <a:cubicBezTo>
                    <a:pt x="509" y="206"/>
                    <a:pt x="486" y="189"/>
                    <a:pt x="461" y="178"/>
                  </a:cubicBezTo>
                  <a:cubicBezTo>
                    <a:pt x="436" y="167"/>
                    <a:pt x="411" y="161"/>
                    <a:pt x="381" y="161"/>
                  </a:cubicBezTo>
                  <a:cubicBezTo>
                    <a:pt x="347" y="161"/>
                    <a:pt x="320" y="167"/>
                    <a:pt x="295" y="178"/>
                  </a:cubicBezTo>
                  <a:cubicBezTo>
                    <a:pt x="270" y="189"/>
                    <a:pt x="250" y="206"/>
                    <a:pt x="231" y="228"/>
                  </a:cubicBezTo>
                  <a:cubicBezTo>
                    <a:pt x="214" y="247"/>
                    <a:pt x="200" y="272"/>
                    <a:pt x="192" y="300"/>
                  </a:cubicBezTo>
                  <a:cubicBezTo>
                    <a:pt x="181" y="325"/>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200" y="78"/>
                    <a:pt x="234" y="47"/>
                    <a:pt x="278" y="28"/>
                  </a:cubicBezTo>
                  <a:cubicBezTo>
                    <a:pt x="323" y="8"/>
                    <a:pt x="367" y="0"/>
                    <a:pt x="411" y="0"/>
                  </a:cubicBezTo>
                  <a:cubicBezTo>
                    <a:pt x="439" y="0"/>
                    <a:pt x="467" y="3"/>
                    <a:pt x="492" y="8"/>
                  </a:cubicBezTo>
                  <a:cubicBezTo>
                    <a:pt x="520" y="14"/>
                    <a:pt x="542" y="22"/>
                    <a:pt x="567" y="36"/>
                  </a:cubicBezTo>
                  <a:cubicBezTo>
                    <a:pt x="589" y="50"/>
                    <a:pt x="611" y="67"/>
                    <a:pt x="631" y="89"/>
                  </a:cubicBezTo>
                  <a:cubicBezTo>
                    <a:pt x="647" y="111"/>
                    <a:pt x="664" y="136"/>
                    <a:pt x="675" y="167"/>
                  </a:cubicBezTo>
                  <a:cubicBezTo>
                    <a:pt x="711" y="106"/>
                    <a:pt x="753" y="61"/>
                    <a:pt x="803" y="39"/>
                  </a:cubicBezTo>
                  <a:cubicBezTo>
                    <a:pt x="853" y="14"/>
                    <a:pt x="906" y="3"/>
                    <a:pt x="964" y="3"/>
                  </a:cubicBezTo>
                  <a:cubicBezTo>
                    <a:pt x="1084" y="3"/>
                    <a:pt x="1172" y="36"/>
                    <a:pt x="1230" y="103"/>
                  </a:cubicBezTo>
                  <a:cubicBezTo>
                    <a:pt x="1291" y="169"/>
                    <a:pt x="1321" y="264"/>
                    <a:pt x="1321" y="383"/>
                  </a:cubicBezTo>
                  <a:cubicBezTo>
                    <a:pt x="1321" y="839"/>
                    <a:pt x="1321" y="839"/>
                    <a:pt x="1321" y="839"/>
                  </a:cubicBezTo>
                  <a:cubicBezTo>
                    <a:pt x="1145" y="839"/>
                    <a:pt x="1145" y="839"/>
                    <a:pt x="1145" y="839"/>
                  </a:cubicBezTo>
                  <a:cubicBezTo>
                    <a:pt x="1145" y="381"/>
                    <a:pt x="1145" y="381"/>
                    <a:pt x="1145" y="381"/>
                  </a:cubicBezTo>
                  <a:cubicBezTo>
                    <a:pt x="1145" y="353"/>
                    <a:pt x="1139" y="322"/>
                    <a:pt x="1134" y="297"/>
                  </a:cubicBezTo>
                  <a:cubicBezTo>
                    <a:pt x="1125" y="269"/>
                    <a:pt x="1114" y="247"/>
                    <a:pt x="1097" y="225"/>
                  </a:cubicBezTo>
                  <a:cubicBezTo>
                    <a:pt x="1081" y="206"/>
                    <a:pt x="1061" y="189"/>
                    <a:pt x="1039" y="178"/>
                  </a:cubicBezTo>
                  <a:cubicBezTo>
                    <a:pt x="1017" y="167"/>
                    <a:pt x="989" y="161"/>
                    <a:pt x="959" y="161"/>
                  </a:cubicBezTo>
                  <a:cubicBezTo>
                    <a:pt x="928" y="161"/>
                    <a:pt x="900" y="169"/>
                    <a:pt x="872" y="181"/>
                  </a:cubicBezTo>
                  <a:cubicBezTo>
                    <a:pt x="847" y="192"/>
                    <a:pt x="825" y="208"/>
                    <a:pt x="809" y="228"/>
                  </a:cubicBezTo>
                  <a:cubicBezTo>
                    <a:pt x="792" y="247"/>
                    <a:pt x="778" y="272"/>
                    <a:pt x="767" y="300"/>
                  </a:cubicBezTo>
                  <a:cubicBezTo>
                    <a:pt x="759" y="325"/>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0" name="Freeform 27">
              <a:extLst>
                <a:ext uri="{FF2B5EF4-FFF2-40B4-BE49-F238E27FC236}">
                  <a16:creationId xmlns:a16="http://schemas.microsoft.com/office/drawing/2014/main" id="{7C10FC10-5A5F-1844-A065-1B221F00F695}"/>
                </a:ext>
              </a:extLst>
            </p:cNvPr>
            <p:cNvSpPr>
              <a:spLocks noChangeArrowheads="1"/>
            </p:cNvSpPr>
            <p:nvPr userDrawn="1"/>
          </p:nvSpPr>
          <p:spPr bwMode="auto">
            <a:xfrm>
              <a:off x="5138738" y="3743325"/>
              <a:ext cx="315912"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2 w 876"/>
                <a:gd name="T11" fmla="*/ 680 h 864"/>
                <a:gd name="T12" fmla="*/ 703 w 876"/>
                <a:gd name="T13" fmla="*/ 616 h 864"/>
                <a:gd name="T14" fmla="*/ 817 w 876"/>
                <a:gd name="T15" fmla="*/ 724 h 864"/>
                <a:gd name="T16" fmla="*/ 742 w 876"/>
                <a:gd name="T17" fmla="*/ 786 h 864"/>
                <a:gd name="T18" fmla="*/ 653 w 876"/>
                <a:gd name="T19" fmla="*/ 830 h 864"/>
                <a:gd name="T20" fmla="*/ 553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3 w 876"/>
                <a:gd name="T35" fmla="*/ 119 h 864"/>
                <a:gd name="T36" fmla="*/ 261 w 876"/>
                <a:gd name="T37" fmla="*/ 30 h 864"/>
                <a:gd name="T38" fmla="*/ 442 w 876"/>
                <a:gd name="T39" fmla="*/ 0 h 864"/>
                <a:gd name="T40" fmla="*/ 628 w 876"/>
                <a:gd name="T41" fmla="*/ 30 h 864"/>
                <a:gd name="T42" fmla="*/ 767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2 w 876"/>
                <a:gd name="T55" fmla="*/ 202 h 864"/>
                <a:gd name="T56" fmla="*/ 448 w 876"/>
                <a:gd name="T57" fmla="*/ 152 h 864"/>
                <a:gd name="T58" fmla="*/ 278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17" y="686"/>
                    <a:pt x="381" y="705"/>
                    <a:pt x="459" y="705"/>
                  </a:cubicBezTo>
                  <a:cubicBezTo>
                    <a:pt x="500" y="705"/>
                    <a:pt x="548" y="697"/>
                    <a:pt x="592" y="680"/>
                  </a:cubicBezTo>
                  <a:cubicBezTo>
                    <a:pt x="639" y="666"/>
                    <a:pt x="675" y="644"/>
                    <a:pt x="703" y="616"/>
                  </a:cubicBezTo>
                  <a:cubicBezTo>
                    <a:pt x="817" y="724"/>
                    <a:pt x="817" y="724"/>
                    <a:pt x="817" y="724"/>
                  </a:cubicBezTo>
                  <a:cubicBezTo>
                    <a:pt x="795" y="747"/>
                    <a:pt x="770" y="769"/>
                    <a:pt x="742" y="786"/>
                  </a:cubicBezTo>
                  <a:cubicBezTo>
                    <a:pt x="714" y="802"/>
                    <a:pt x="684" y="819"/>
                    <a:pt x="653" y="830"/>
                  </a:cubicBezTo>
                  <a:cubicBezTo>
                    <a:pt x="620" y="841"/>
                    <a:pt x="589" y="849"/>
                    <a:pt x="553" y="855"/>
                  </a:cubicBezTo>
                  <a:cubicBezTo>
                    <a:pt x="520" y="861"/>
                    <a:pt x="486" y="863"/>
                    <a:pt x="456" y="863"/>
                  </a:cubicBezTo>
                  <a:cubicBezTo>
                    <a:pt x="386" y="863"/>
                    <a:pt x="323" y="855"/>
                    <a:pt x="267" y="833"/>
                  </a:cubicBezTo>
                  <a:cubicBezTo>
                    <a:pt x="211" y="813"/>
                    <a:pt x="164" y="783"/>
                    <a:pt x="125" y="747"/>
                  </a:cubicBezTo>
                  <a:cubicBezTo>
                    <a:pt x="86" y="708"/>
                    <a:pt x="56" y="661"/>
                    <a:pt x="34" y="608"/>
                  </a:cubicBezTo>
                  <a:cubicBezTo>
                    <a:pt x="11" y="552"/>
                    <a:pt x="0" y="494"/>
                    <a:pt x="0" y="427"/>
                  </a:cubicBezTo>
                  <a:cubicBezTo>
                    <a:pt x="0" y="366"/>
                    <a:pt x="11" y="308"/>
                    <a:pt x="34" y="255"/>
                  </a:cubicBezTo>
                  <a:cubicBezTo>
                    <a:pt x="56" y="202"/>
                    <a:pt x="84" y="158"/>
                    <a:pt x="123" y="119"/>
                  </a:cubicBezTo>
                  <a:cubicBezTo>
                    <a:pt x="161" y="80"/>
                    <a:pt x="209" y="52"/>
                    <a:pt x="261" y="30"/>
                  </a:cubicBezTo>
                  <a:cubicBezTo>
                    <a:pt x="317" y="8"/>
                    <a:pt x="378" y="0"/>
                    <a:pt x="442" y="0"/>
                  </a:cubicBezTo>
                  <a:cubicBezTo>
                    <a:pt x="511" y="0"/>
                    <a:pt x="573" y="8"/>
                    <a:pt x="628" y="30"/>
                  </a:cubicBezTo>
                  <a:cubicBezTo>
                    <a:pt x="684" y="50"/>
                    <a:pt x="731" y="80"/>
                    <a:pt x="767" y="122"/>
                  </a:cubicBezTo>
                  <a:cubicBezTo>
                    <a:pt x="806" y="163"/>
                    <a:pt x="834" y="216"/>
                    <a:pt x="853" y="277"/>
                  </a:cubicBezTo>
                  <a:cubicBezTo>
                    <a:pt x="870" y="341"/>
                    <a:pt x="875" y="413"/>
                    <a:pt x="867" y="497"/>
                  </a:cubicBezTo>
                  <a:lnTo>
                    <a:pt x="186" y="352"/>
                  </a:lnTo>
                  <a:lnTo>
                    <a:pt x="186" y="352"/>
                  </a:lnTo>
                  <a:cubicBezTo>
                    <a:pt x="698" y="352"/>
                    <a:pt x="698" y="352"/>
                    <a:pt x="698" y="352"/>
                  </a:cubicBezTo>
                  <a:cubicBezTo>
                    <a:pt x="692" y="286"/>
                    <a:pt x="667" y="236"/>
                    <a:pt x="622" y="202"/>
                  </a:cubicBezTo>
                  <a:cubicBezTo>
                    <a:pt x="578" y="169"/>
                    <a:pt x="520" y="152"/>
                    <a:pt x="448" y="152"/>
                  </a:cubicBezTo>
                  <a:cubicBezTo>
                    <a:pt x="384" y="152"/>
                    <a:pt x="328" y="169"/>
                    <a:pt x="278"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1" name="Freeform 28">
              <a:extLst>
                <a:ext uri="{FF2B5EF4-FFF2-40B4-BE49-F238E27FC236}">
                  <a16:creationId xmlns:a16="http://schemas.microsoft.com/office/drawing/2014/main" id="{0B2929B2-C2F0-C645-B08B-4B54702C7C2F}"/>
                </a:ext>
              </a:extLst>
            </p:cNvPr>
            <p:cNvSpPr>
              <a:spLocks noChangeArrowheads="1"/>
            </p:cNvSpPr>
            <p:nvPr userDrawn="1"/>
          </p:nvSpPr>
          <p:spPr bwMode="auto">
            <a:xfrm>
              <a:off x="54975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4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9" y="147"/>
                    <a:pt x="127" y="111"/>
                  </a:cubicBezTo>
                  <a:cubicBezTo>
                    <a:pt x="166" y="75"/>
                    <a:pt x="211" y="48"/>
                    <a:pt x="264"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41" y="636"/>
                    <a:pt x="669" y="603"/>
                    <a:pt x="691" y="561"/>
                  </a:cubicBezTo>
                  <a:cubicBezTo>
                    <a:pt x="711" y="522"/>
                    <a:pt x="722" y="478"/>
                    <a:pt x="722" y="431"/>
                  </a:cubicBezTo>
                  <a:cubicBezTo>
                    <a:pt x="722" y="384"/>
                    <a:pt x="711" y="339"/>
                    <a:pt x="691" y="298"/>
                  </a:cubicBezTo>
                  <a:cubicBezTo>
                    <a:pt x="669" y="259"/>
                    <a:pt x="641"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2" name="Freeform 29">
              <a:extLst>
                <a:ext uri="{FF2B5EF4-FFF2-40B4-BE49-F238E27FC236}">
                  <a16:creationId xmlns:a16="http://schemas.microsoft.com/office/drawing/2014/main" id="{ED1FBB31-A161-B54F-8C97-BEE06BBF3972}"/>
                </a:ext>
              </a:extLst>
            </p:cNvPr>
            <p:cNvSpPr>
              <a:spLocks noChangeArrowheads="1"/>
            </p:cNvSpPr>
            <p:nvPr userDrawn="1"/>
          </p:nvSpPr>
          <p:spPr bwMode="auto">
            <a:xfrm>
              <a:off x="5905500" y="3746500"/>
              <a:ext cx="293688" cy="301625"/>
            </a:xfrm>
            <a:custGeom>
              <a:avLst/>
              <a:gdLst>
                <a:gd name="T0" fmla="*/ 639 w 817"/>
                <a:gd name="T1" fmla="*/ 836 h 837"/>
                <a:gd name="T2" fmla="*/ 639 w 817"/>
                <a:gd name="T3" fmla="*/ 836 h 837"/>
                <a:gd name="T4" fmla="*/ 639 w 817"/>
                <a:gd name="T5" fmla="*/ 397 h 837"/>
                <a:gd name="T6" fmla="*/ 580 w 817"/>
                <a:gd name="T7" fmla="*/ 225 h 837"/>
                <a:gd name="T8" fmla="*/ 411 w 817"/>
                <a:gd name="T9" fmla="*/ 158 h 837"/>
                <a:gd name="T10" fmla="*/ 316 w 817"/>
                <a:gd name="T11" fmla="*/ 178 h 837"/>
                <a:gd name="T12" fmla="*/ 241 w 817"/>
                <a:gd name="T13" fmla="*/ 230 h 837"/>
                <a:gd name="T14" fmla="*/ 194 w 817"/>
                <a:gd name="T15" fmla="*/ 311 h 837"/>
                <a:gd name="T16" fmla="*/ 177 w 817"/>
                <a:gd name="T17" fmla="*/ 405 h 837"/>
                <a:gd name="T18" fmla="*/ 177 w 817"/>
                <a:gd name="T19" fmla="*/ 836 h 837"/>
                <a:gd name="T20" fmla="*/ 0 w 817"/>
                <a:gd name="T21" fmla="*/ 836 h 837"/>
                <a:gd name="T22" fmla="*/ 0 w 817"/>
                <a:gd name="T23" fmla="*/ 11 h 837"/>
                <a:gd name="T24" fmla="*/ 161 w 817"/>
                <a:gd name="T25" fmla="*/ 11 h 837"/>
                <a:gd name="T26" fmla="*/ 172 w 817"/>
                <a:gd name="T27" fmla="*/ 130 h 837"/>
                <a:gd name="T28" fmla="*/ 455 w 817"/>
                <a:gd name="T29" fmla="*/ 0 h 837"/>
                <a:gd name="T30" fmla="*/ 597 w 817"/>
                <a:gd name="T31" fmla="*/ 25 h 837"/>
                <a:gd name="T32" fmla="*/ 711 w 817"/>
                <a:gd name="T33" fmla="*/ 100 h 837"/>
                <a:gd name="T34" fmla="*/ 789 w 817"/>
                <a:gd name="T35" fmla="*/ 225 h 837"/>
                <a:gd name="T36" fmla="*/ 816 w 817"/>
                <a:gd name="T37" fmla="*/ 394 h 837"/>
                <a:gd name="T38" fmla="*/ 816 w 817"/>
                <a:gd name="T39" fmla="*/ 836 h 837"/>
                <a:gd name="T40" fmla="*/ 639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9" y="836"/>
                  </a:moveTo>
                  <a:lnTo>
                    <a:pt x="639" y="836"/>
                  </a:lnTo>
                  <a:cubicBezTo>
                    <a:pt x="639" y="397"/>
                    <a:pt x="639" y="397"/>
                    <a:pt x="639" y="397"/>
                  </a:cubicBezTo>
                  <a:cubicBezTo>
                    <a:pt x="639" y="325"/>
                    <a:pt x="619" y="266"/>
                    <a:pt x="580" y="225"/>
                  </a:cubicBezTo>
                  <a:cubicBezTo>
                    <a:pt x="541" y="180"/>
                    <a:pt x="486" y="158"/>
                    <a:pt x="411" y="158"/>
                  </a:cubicBezTo>
                  <a:cubicBezTo>
                    <a:pt x="377" y="158"/>
                    <a:pt x="344" y="166"/>
                    <a:pt x="316" y="178"/>
                  </a:cubicBezTo>
                  <a:cubicBezTo>
                    <a:pt x="286" y="192"/>
                    <a:pt x="261" y="208"/>
                    <a:pt x="241" y="230"/>
                  </a:cubicBezTo>
                  <a:cubicBezTo>
                    <a:pt x="222" y="255"/>
                    <a:pt x="205" y="280"/>
                    <a:pt x="194" y="311"/>
                  </a:cubicBezTo>
                  <a:cubicBezTo>
                    <a:pt x="183" y="341"/>
                    <a:pt x="177" y="372"/>
                    <a:pt x="177" y="405"/>
                  </a:cubicBezTo>
                  <a:cubicBezTo>
                    <a:pt x="177" y="836"/>
                    <a:pt x="177" y="836"/>
                    <a:pt x="177" y="836"/>
                  </a:cubicBezTo>
                  <a:cubicBezTo>
                    <a:pt x="0" y="836"/>
                    <a:pt x="0" y="836"/>
                    <a:pt x="0" y="836"/>
                  </a:cubicBezTo>
                  <a:cubicBezTo>
                    <a:pt x="0" y="11"/>
                    <a:pt x="0" y="11"/>
                    <a:pt x="0" y="11"/>
                  </a:cubicBezTo>
                  <a:cubicBezTo>
                    <a:pt x="161" y="11"/>
                    <a:pt x="161" y="11"/>
                    <a:pt x="161" y="11"/>
                  </a:cubicBezTo>
                  <a:cubicBezTo>
                    <a:pt x="172" y="130"/>
                    <a:pt x="172" y="130"/>
                    <a:pt x="172" y="130"/>
                  </a:cubicBezTo>
                  <a:cubicBezTo>
                    <a:pt x="250" y="42"/>
                    <a:pt x="344" y="0"/>
                    <a:pt x="455" y="0"/>
                  </a:cubicBezTo>
                  <a:cubicBezTo>
                    <a:pt x="505" y="0"/>
                    <a:pt x="552" y="8"/>
                    <a:pt x="597" y="25"/>
                  </a:cubicBezTo>
                  <a:cubicBezTo>
                    <a:pt x="641" y="42"/>
                    <a:pt x="680" y="66"/>
                    <a:pt x="711" y="100"/>
                  </a:cubicBezTo>
                  <a:cubicBezTo>
                    <a:pt x="744" y="133"/>
                    <a:pt x="769" y="175"/>
                    <a:pt x="789" y="225"/>
                  </a:cubicBezTo>
                  <a:cubicBezTo>
                    <a:pt x="808" y="275"/>
                    <a:pt x="816" y="330"/>
                    <a:pt x="816" y="394"/>
                  </a:cubicBezTo>
                  <a:cubicBezTo>
                    <a:pt x="816" y="836"/>
                    <a:pt x="816" y="836"/>
                    <a:pt x="816" y="836"/>
                  </a:cubicBezTo>
                  <a:lnTo>
                    <a:pt x="639"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3" name="Freeform 30">
              <a:extLst>
                <a:ext uri="{FF2B5EF4-FFF2-40B4-BE49-F238E27FC236}">
                  <a16:creationId xmlns:a16="http://schemas.microsoft.com/office/drawing/2014/main" id="{A547C90C-D8AA-F74D-AB09-501656F8FCB5}"/>
                </a:ext>
              </a:extLst>
            </p:cNvPr>
            <p:cNvSpPr>
              <a:spLocks noChangeArrowheads="1"/>
            </p:cNvSpPr>
            <p:nvPr userDrawn="1"/>
          </p:nvSpPr>
          <p:spPr bwMode="auto">
            <a:xfrm>
              <a:off x="6251575"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4" name="Freeform 31">
              <a:extLst>
                <a:ext uri="{FF2B5EF4-FFF2-40B4-BE49-F238E27FC236}">
                  <a16:creationId xmlns:a16="http://schemas.microsoft.com/office/drawing/2014/main" id="{33D700A9-ED2C-DF4F-A617-187701246D0D}"/>
                </a:ext>
              </a:extLst>
            </p:cNvPr>
            <p:cNvSpPr>
              <a:spLocks noChangeArrowheads="1"/>
            </p:cNvSpPr>
            <p:nvPr userDrawn="1"/>
          </p:nvSpPr>
          <p:spPr bwMode="auto">
            <a:xfrm>
              <a:off x="6643688"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5" name="Freeform 32">
              <a:extLst>
                <a:ext uri="{FF2B5EF4-FFF2-40B4-BE49-F238E27FC236}">
                  <a16:creationId xmlns:a16="http://schemas.microsoft.com/office/drawing/2014/main" id="{CB036C5E-8288-CF44-8971-B3867DC06200}"/>
                </a:ext>
              </a:extLst>
            </p:cNvPr>
            <p:cNvSpPr>
              <a:spLocks noChangeArrowheads="1"/>
            </p:cNvSpPr>
            <p:nvPr userDrawn="1"/>
          </p:nvSpPr>
          <p:spPr bwMode="auto">
            <a:xfrm>
              <a:off x="6897688" y="3743325"/>
              <a:ext cx="314325" cy="309563"/>
            </a:xfrm>
            <a:custGeom>
              <a:avLst/>
              <a:gdLst>
                <a:gd name="T0" fmla="*/ 436 w 873"/>
                <a:gd name="T1" fmla="*/ 0 h 860"/>
                <a:gd name="T2" fmla="*/ 436 w 873"/>
                <a:gd name="T3" fmla="*/ 0 h 860"/>
                <a:gd name="T4" fmla="*/ 611 w 873"/>
                <a:gd name="T5" fmla="*/ 34 h 860"/>
                <a:gd name="T6" fmla="*/ 750 w 873"/>
                <a:gd name="T7" fmla="*/ 125 h 860"/>
                <a:gd name="T8" fmla="*/ 842 w 873"/>
                <a:gd name="T9" fmla="*/ 261 h 860"/>
                <a:gd name="T10" fmla="*/ 872 w 873"/>
                <a:gd name="T11" fmla="*/ 431 h 860"/>
                <a:gd name="T12" fmla="*/ 842 w 873"/>
                <a:gd name="T13" fmla="*/ 600 h 860"/>
                <a:gd name="T14" fmla="*/ 753 w 873"/>
                <a:gd name="T15" fmla="*/ 736 h 860"/>
                <a:gd name="T16" fmla="*/ 614 w 873"/>
                <a:gd name="T17" fmla="*/ 825 h 860"/>
                <a:gd name="T18" fmla="*/ 436 w 873"/>
                <a:gd name="T19" fmla="*/ 859 h 860"/>
                <a:gd name="T20" fmla="*/ 256 w 873"/>
                <a:gd name="T21" fmla="*/ 825 h 860"/>
                <a:gd name="T22" fmla="*/ 119 w 873"/>
                <a:gd name="T23" fmla="*/ 736 h 860"/>
                <a:gd name="T24" fmla="*/ 31 w 873"/>
                <a:gd name="T25" fmla="*/ 600 h 860"/>
                <a:gd name="T26" fmla="*/ 0 w 873"/>
                <a:gd name="T27" fmla="*/ 431 h 860"/>
                <a:gd name="T28" fmla="*/ 31 w 873"/>
                <a:gd name="T29" fmla="*/ 261 h 860"/>
                <a:gd name="T30" fmla="*/ 119 w 873"/>
                <a:gd name="T31" fmla="*/ 125 h 860"/>
                <a:gd name="T32" fmla="*/ 258 w 873"/>
                <a:gd name="T33" fmla="*/ 34 h 860"/>
                <a:gd name="T34" fmla="*/ 436 w 873"/>
                <a:gd name="T35" fmla="*/ 0 h 860"/>
                <a:gd name="T36" fmla="*/ 436 w 873"/>
                <a:gd name="T37" fmla="*/ 161 h 860"/>
                <a:gd name="T38" fmla="*/ 436 w 873"/>
                <a:gd name="T39" fmla="*/ 161 h 860"/>
                <a:gd name="T40" fmla="*/ 328 w 873"/>
                <a:gd name="T41" fmla="*/ 184 h 860"/>
                <a:gd name="T42" fmla="*/ 247 w 873"/>
                <a:gd name="T43" fmla="*/ 242 h 860"/>
                <a:gd name="T44" fmla="*/ 194 w 873"/>
                <a:gd name="T45" fmla="*/ 328 h 860"/>
                <a:gd name="T46" fmla="*/ 178 w 873"/>
                <a:gd name="T47" fmla="*/ 431 h 860"/>
                <a:gd name="T48" fmla="*/ 194 w 873"/>
                <a:gd name="T49" fmla="*/ 536 h 860"/>
                <a:gd name="T50" fmla="*/ 247 w 873"/>
                <a:gd name="T51" fmla="*/ 620 h 860"/>
                <a:gd name="T52" fmla="*/ 328 w 873"/>
                <a:gd name="T53" fmla="*/ 678 h 860"/>
                <a:gd name="T54" fmla="*/ 436 w 873"/>
                <a:gd name="T55" fmla="*/ 698 h 860"/>
                <a:gd name="T56" fmla="*/ 544 w 873"/>
                <a:gd name="T57" fmla="*/ 678 h 860"/>
                <a:gd name="T58" fmla="*/ 625 w 873"/>
                <a:gd name="T59" fmla="*/ 620 h 860"/>
                <a:gd name="T60" fmla="*/ 678 w 873"/>
                <a:gd name="T61" fmla="*/ 536 h 860"/>
                <a:gd name="T62" fmla="*/ 694 w 873"/>
                <a:gd name="T63" fmla="*/ 431 h 860"/>
                <a:gd name="T64" fmla="*/ 675 w 873"/>
                <a:gd name="T65" fmla="*/ 328 h 860"/>
                <a:gd name="T66" fmla="*/ 622 w 873"/>
                <a:gd name="T67" fmla="*/ 242 h 860"/>
                <a:gd name="T68" fmla="*/ 542 w 873"/>
                <a:gd name="T69" fmla="*/ 184 h 860"/>
                <a:gd name="T70" fmla="*/ 436 w 873"/>
                <a:gd name="T71" fmla="*/ 161 h 860"/>
                <a:gd name="T72" fmla="*/ 436 w 873"/>
                <a:gd name="T73"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60">
                  <a:moveTo>
                    <a:pt x="436" y="0"/>
                  </a:moveTo>
                  <a:lnTo>
                    <a:pt x="436" y="0"/>
                  </a:lnTo>
                  <a:cubicBezTo>
                    <a:pt x="500" y="0"/>
                    <a:pt x="558" y="11"/>
                    <a:pt x="611" y="34"/>
                  </a:cubicBezTo>
                  <a:cubicBezTo>
                    <a:pt x="667" y="59"/>
                    <a:pt x="711" y="86"/>
                    <a:pt x="750" y="125"/>
                  </a:cubicBezTo>
                  <a:cubicBezTo>
                    <a:pt x="789" y="164"/>
                    <a:pt x="819" y="209"/>
                    <a:pt x="842" y="261"/>
                  </a:cubicBezTo>
                  <a:cubicBezTo>
                    <a:pt x="861" y="314"/>
                    <a:pt x="872" y="370"/>
                    <a:pt x="872" y="431"/>
                  </a:cubicBezTo>
                  <a:cubicBezTo>
                    <a:pt x="872" y="492"/>
                    <a:pt x="861" y="547"/>
                    <a:pt x="842" y="600"/>
                  </a:cubicBezTo>
                  <a:cubicBezTo>
                    <a:pt x="819" y="653"/>
                    <a:pt x="792" y="698"/>
                    <a:pt x="753" y="736"/>
                  </a:cubicBezTo>
                  <a:cubicBezTo>
                    <a:pt x="714" y="775"/>
                    <a:pt x="669" y="806"/>
                    <a:pt x="614" y="825"/>
                  </a:cubicBezTo>
                  <a:cubicBezTo>
                    <a:pt x="561" y="847"/>
                    <a:pt x="500" y="859"/>
                    <a:pt x="436" y="859"/>
                  </a:cubicBezTo>
                  <a:cubicBezTo>
                    <a:pt x="369" y="859"/>
                    <a:pt x="308" y="847"/>
                    <a:pt x="256" y="825"/>
                  </a:cubicBezTo>
                  <a:cubicBezTo>
                    <a:pt x="203" y="806"/>
                    <a:pt x="156" y="775"/>
                    <a:pt x="119" y="736"/>
                  </a:cubicBezTo>
                  <a:cubicBezTo>
                    <a:pt x="80" y="698"/>
                    <a:pt x="53" y="653"/>
                    <a:pt x="31" y="600"/>
                  </a:cubicBezTo>
                  <a:cubicBezTo>
                    <a:pt x="11" y="547"/>
                    <a:pt x="0" y="492"/>
                    <a:pt x="0" y="431"/>
                  </a:cubicBezTo>
                  <a:cubicBezTo>
                    <a:pt x="0" y="370"/>
                    <a:pt x="11" y="314"/>
                    <a:pt x="31" y="261"/>
                  </a:cubicBezTo>
                  <a:cubicBezTo>
                    <a:pt x="53" y="209"/>
                    <a:pt x="80" y="164"/>
                    <a:pt x="119" y="125"/>
                  </a:cubicBezTo>
                  <a:cubicBezTo>
                    <a:pt x="158" y="86"/>
                    <a:pt x="203" y="59"/>
                    <a:pt x="258" y="34"/>
                  </a:cubicBezTo>
                  <a:cubicBezTo>
                    <a:pt x="311" y="11"/>
                    <a:pt x="369" y="0"/>
                    <a:pt x="436" y="0"/>
                  </a:cubicBezTo>
                  <a:lnTo>
                    <a:pt x="436" y="161"/>
                  </a:lnTo>
                  <a:lnTo>
                    <a:pt x="436" y="161"/>
                  </a:lnTo>
                  <a:cubicBezTo>
                    <a:pt x="394" y="161"/>
                    <a:pt x="358" y="170"/>
                    <a:pt x="328" y="184"/>
                  </a:cubicBezTo>
                  <a:cubicBezTo>
                    <a:pt x="294" y="198"/>
                    <a:pt x="269" y="217"/>
                    <a:pt x="247" y="242"/>
                  </a:cubicBezTo>
                  <a:cubicBezTo>
                    <a:pt x="225" y="267"/>
                    <a:pt x="206" y="298"/>
                    <a:pt x="194" y="328"/>
                  </a:cubicBezTo>
                  <a:cubicBezTo>
                    <a:pt x="183" y="361"/>
                    <a:pt x="178" y="395"/>
                    <a:pt x="178" y="431"/>
                  </a:cubicBezTo>
                  <a:cubicBezTo>
                    <a:pt x="178" y="470"/>
                    <a:pt x="183" y="503"/>
                    <a:pt x="194" y="536"/>
                  </a:cubicBezTo>
                  <a:cubicBezTo>
                    <a:pt x="206" y="567"/>
                    <a:pt x="225" y="595"/>
                    <a:pt x="247" y="620"/>
                  </a:cubicBezTo>
                  <a:cubicBezTo>
                    <a:pt x="269" y="645"/>
                    <a:pt x="294" y="664"/>
                    <a:pt x="328" y="678"/>
                  </a:cubicBezTo>
                  <a:cubicBezTo>
                    <a:pt x="358" y="692"/>
                    <a:pt x="394" y="698"/>
                    <a:pt x="436" y="698"/>
                  </a:cubicBezTo>
                  <a:cubicBezTo>
                    <a:pt x="475" y="698"/>
                    <a:pt x="511" y="692"/>
                    <a:pt x="544" y="678"/>
                  </a:cubicBezTo>
                  <a:cubicBezTo>
                    <a:pt x="575" y="664"/>
                    <a:pt x="603" y="645"/>
                    <a:pt x="625" y="620"/>
                  </a:cubicBezTo>
                  <a:cubicBezTo>
                    <a:pt x="647" y="595"/>
                    <a:pt x="664" y="567"/>
                    <a:pt x="678" y="536"/>
                  </a:cubicBezTo>
                  <a:cubicBezTo>
                    <a:pt x="689" y="503"/>
                    <a:pt x="694" y="470"/>
                    <a:pt x="694" y="431"/>
                  </a:cubicBezTo>
                  <a:cubicBezTo>
                    <a:pt x="694" y="395"/>
                    <a:pt x="689" y="361"/>
                    <a:pt x="675" y="328"/>
                  </a:cubicBezTo>
                  <a:cubicBezTo>
                    <a:pt x="664" y="298"/>
                    <a:pt x="644" y="267"/>
                    <a:pt x="622" y="242"/>
                  </a:cubicBezTo>
                  <a:cubicBezTo>
                    <a:pt x="600" y="217"/>
                    <a:pt x="572" y="198"/>
                    <a:pt x="542" y="184"/>
                  </a:cubicBezTo>
                  <a:cubicBezTo>
                    <a:pt x="508" y="170"/>
                    <a:pt x="472" y="161"/>
                    <a:pt x="436" y="161"/>
                  </a:cubicBezTo>
                  <a:lnTo>
                    <a:pt x="43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6" name="Freeform 33">
              <a:extLst>
                <a:ext uri="{FF2B5EF4-FFF2-40B4-BE49-F238E27FC236}">
                  <a16:creationId xmlns:a16="http://schemas.microsoft.com/office/drawing/2014/main" id="{AA1C64EB-7578-4549-A742-1A557634305F}"/>
                </a:ext>
              </a:extLst>
            </p:cNvPr>
            <p:cNvSpPr>
              <a:spLocks noChangeArrowheads="1"/>
            </p:cNvSpPr>
            <p:nvPr userDrawn="1"/>
          </p:nvSpPr>
          <p:spPr bwMode="auto">
            <a:xfrm>
              <a:off x="7431088" y="3627438"/>
              <a:ext cx="323850" cy="427037"/>
            </a:xfrm>
            <a:custGeom>
              <a:avLst/>
              <a:gdLst>
                <a:gd name="T0" fmla="*/ 175 w 898"/>
                <a:gd name="T1" fmla="*/ 0 h 1185"/>
                <a:gd name="T2" fmla="*/ 175 w 898"/>
                <a:gd name="T3" fmla="*/ 0 h 1185"/>
                <a:gd name="T4" fmla="*/ 175 w 898"/>
                <a:gd name="T5" fmla="*/ 472 h 1185"/>
                <a:gd name="T6" fmla="*/ 231 w 898"/>
                <a:gd name="T7" fmla="*/ 409 h 1185"/>
                <a:gd name="T8" fmla="*/ 306 w 898"/>
                <a:gd name="T9" fmla="*/ 361 h 1185"/>
                <a:gd name="T10" fmla="*/ 389 w 898"/>
                <a:gd name="T11" fmla="*/ 334 h 1185"/>
                <a:gd name="T12" fmla="*/ 472 w 898"/>
                <a:gd name="T13" fmla="*/ 325 h 1185"/>
                <a:gd name="T14" fmla="*/ 639 w 898"/>
                <a:gd name="T15" fmla="*/ 353 h 1185"/>
                <a:gd name="T16" fmla="*/ 775 w 898"/>
                <a:gd name="T17" fmla="*/ 434 h 1185"/>
                <a:gd name="T18" fmla="*/ 867 w 898"/>
                <a:gd name="T19" fmla="*/ 570 h 1185"/>
                <a:gd name="T20" fmla="*/ 897 w 898"/>
                <a:gd name="T21" fmla="*/ 753 h 1185"/>
                <a:gd name="T22" fmla="*/ 864 w 898"/>
                <a:gd name="T23" fmla="*/ 936 h 1185"/>
                <a:gd name="T24" fmla="*/ 775 w 898"/>
                <a:gd name="T25" fmla="*/ 1072 h 1185"/>
                <a:gd name="T26" fmla="*/ 639 w 898"/>
                <a:gd name="T27" fmla="*/ 1156 h 1185"/>
                <a:gd name="T28" fmla="*/ 467 w 898"/>
                <a:gd name="T29" fmla="*/ 1184 h 1185"/>
                <a:gd name="T30" fmla="*/ 303 w 898"/>
                <a:gd name="T31" fmla="*/ 1150 h 1185"/>
                <a:gd name="T32" fmla="*/ 175 w 898"/>
                <a:gd name="T33" fmla="*/ 1036 h 1185"/>
                <a:gd name="T34" fmla="*/ 167 w 898"/>
                <a:gd name="T35" fmla="*/ 1167 h 1185"/>
                <a:gd name="T36" fmla="*/ 0 w 898"/>
                <a:gd name="T37" fmla="*/ 1167 h 1185"/>
                <a:gd name="T38" fmla="*/ 0 w 898"/>
                <a:gd name="T39" fmla="*/ 0 h 1185"/>
                <a:gd name="T40" fmla="*/ 175 w 898"/>
                <a:gd name="T41" fmla="*/ 0 h 1185"/>
                <a:gd name="T42" fmla="*/ 456 w 898"/>
                <a:gd name="T43" fmla="*/ 486 h 1185"/>
                <a:gd name="T44" fmla="*/ 456 w 898"/>
                <a:gd name="T45" fmla="*/ 486 h 1185"/>
                <a:gd name="T46" fmla="*/ 353 w 898"/>
                <a:gd name="T47" fmla="*/ 506 h 1185"/>
                <a:gd name="T48" fmla="*/ 267 w 898"/>
                <a:gd name="T49" fmla="*/ 559 h 1185"/>
                <a:gd name="T50" fmla="*/ 208 w 898"/>
                <a:gd name="T51" fmla="*/ 645 h 1185"/>
                <a:gd name="T52" fmla="*/ 186 w 898"/>
                <a:gd name="T53" fmla="*/ 753 h 1185"/>
                <a:gd name="T54" fmla="*/ 208 w 898"/>
                <a:gd name="T55" fmla="*/ 864 h 1185"/>
                <a:gd name="T56" fmla="*/ 267 w 898"/>
                <a:gd name="T57" fmla="*/ 950 h 1185"/>
                <a:gd name="T58" fmla="*/ 350 w 898"/>
                <a:gd name="T59" fmla="*/ 1003 h 1185"/>
                <a:gd name="T60" fmla="*/ 456 w 898"/>
                <a:gd name="T61" fmla="*/ 1023 h 1185"/>
                <a:gd name="T62" fmla="*/ 558 w 898"/>
                <a:gd name="T63" fmla="*/ 1006 h 1185"/>
                <a:gd name="T64" fmla="*/ 645 w 898"/>
                <a:gd name="T65" fmla="*/ 950 h 1185"/>
                <a:gd name="T66" fmla="*/ 700 w 898"/>
                <a:gd name="T67" fmla="*/ 867 h 1185"/>
                <a:gd name="T68" fmla="*/ 722 w 898"/>
                <a:gd name="T69" fmla="*/ 753 h 1185"/>
                <a:gd name="T70" fmla="*/ 700 w 898"/>
                <a:gd name="T71" fmla="*/ 639 h 1185"/>
                <a:gd name="T72" fmla="*/ 645 w 898"/>
                <a:gd name="T73" fmla="*/ 556 h 1185"/>
                <a:gd name="T74" fmla="*/ 558 w 898"/>
                <a:gd name="T75" fmla="*/ 503 h 1185"/>
                <a:gd name="T76" fmla="*/ 456 w 898"/>
                <a:gd name="T77" fmla="*/ 48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8" h="1185">
                  <a:moveTo>
                    <a:pt x="175" y="0"/>
                  </a:moveTo>
                  <a:lnTo>
                    <a:pt x="175" y="0"/>
                  </a:lnTo>
                  <a:cubicBezTo>
                    <a:pt x="175" y="472"/>
                    <a:pt x="175" y="472"/>
                    <a:pt x="175" y="472"/>
                  </a:cubicBezTo>
                  <a:cubicBezTo>
                    <a:pt x="189" y="448"/>
                    <a:pt x="208" y="425"/>
                    <a:pt x="231" y="409"/>
                  </a:cubicBezTo>
                  <a:cubicBezTo>
                    <a:pt x="253" y="389"/>
                    <a:pt x="278" y="373"/>
                    <a:pt x="306" y="361"/>
                  </a:cubicBezTo>
                  <a:cubicBezTo>
                    <a:pt x="334" y="350"/>
                    <a:pt x="361" y="339"/>
                    <a:pt x="389" y="334"/>
                  </a:cubicBezTo>
                  <a:cubicBezTo>
                    <a:pt x="417" y="328"/>
                    <a:pt x="445" y="325"/>
                    <a:pt x="472" y="325"/>
                  </a:cubicBezTo>
                  <a:cubicBezTo>
                    <a:pt x="531" y="325"/>
                    <a:pt x="589" y="334"/>
                    <a:pt x="639" y="353"/>
                  </a:cubicBezTo>
                  <a:cubicBezTo>
                    <a:pt x="692" y="370"/>
                    <a:pt x="739" y="397"/>
                    <a:pt x="775" y="434"/>
                  </a:cubicBezTo>
                  <a:cubicBezTo>
                    <a:pt x="814" y="470"/>
                    <a:pt x="845" y="514"/>
                    <a:pt x="867" y="570"/>
                  </a:cubicBezTo>
                  <a:cubicBezTo>
                    <a:pt x="886" y="623"/>
                    <a:pt x="897" y="684"/>
                    <a:pt x="897" y="753"/>
                  </a:cubicBezTo>
                  <a:cubicBezTo>
                    <a:pt x="897" y="823"/>
                    <a:pt x="886" y="884"/>
                    <a:pt x="864" y="936"/>
                  </a:cubicBezTo>
                  <a:cubicBezTo>
                    <a:pt x="842" y="989"/>
                    <a:pt x="811" y="1036"/>
                    <a:pt x="775" y="1072"/>
                  </a:cubicBezTo>
                  <a:cubicBezTo>
                    <a:pt x="736" y="1109"/>
                    <a:pt x="692" y="1136"/>
                    <a:pt x="639" y="1156"/>
                  </a:cubicBezTo>
                  <a:cubicBezTo>
                    <a:pt x="586" y="1175"/>
                    <a:pt x="531" y="1184"/>
                    <a:pt x="467" y="1184"/>
                  </a:cubicBezTo>
                  <a:cubicBezTo>
                    <a:pt x="411" y="1184"/>
                    <a:pt x="356" y="1172"/>
                    <a:pt x="303" y="1150"/>
                  </a:cubicBezTo>
                  <a:cubicBezTo>
                    <a:pt x="253" y="1128"/>
                    <a:pt x="208" y="1089"/>
                    <a:pt x="175" y="1036"/>
                  </a:cubicBezTo>
                  <a:cubicBezTo>
                    <a:pt x="167" y="1167"/>
                    <a:pt x="167" y="1167"/>
                    <a:pt x="167" y="1167"/>
                  </a:cubicBezTo>
                  <a:cubicBezTo>
                    <a:pt x="0" y="1167"/>
                    <a:pt x="0" y="1167"/>
                    <a:pt x="0" y="1167"/>
                  </a:cubicBezTo>
                  <a:cubicBezTo>
                    <a:pt x="0" y="0"/>
                    <a:pt x="0" y="0"/>
                    <a:pt x="0" y="0"/>
                  </a:cubicBezTo>
                  <a:lnTo>
                    <a:pt x="175" y="0"/>
                  </a:lnTo>
                  <a:close/>
                  <a:moveTo>
                    <a:pt x="456" y="486"/>
                  </a:moveTo>
                  <a:lnTo>
                    <a:pt x="456" y="486"/>
                  </a:lnTo>
                  <a:cubicBezTo>
                    <a:pt x="420" y="486"/>
                    <a:pt x="383" y="492"/>
                    <a:pt x="353" y="506"/>
                  </a:cubicBezTo>
                  <a:cubicBezTo>
                    <a:pt x="320" y="517"/>
                    <a:pt x="289" y="536"/>
                    <a:pt x="267" y="559"/>
                  </a:cubicBezTo>
                  <a:cubicBezTo>
                    <a:pt x="242" y="584"/>
                    <a:pt x="222" y="611"/>
                    <a:pt x="208" y="645"/>
                  </a:cubicBezTo>
                  <a:cubicBezTo>
                    <a:pt x="195" y="678"/>
                    <a:pt x="186" y="714"/>
                    <a:pt x="186" y="753"/>
                  </a:cubicBezTo>
                  <a:cubicBezTo>
                    <a:pt x="186" y="795"/>
                    <a:pt x="195" y="831"/>
                    <a:pt x="208" y="864"/>
                  </a:cubicBezTo>
                  <a:cubicBezTo>
                    <a:pt x="222" y="897"/>
                    <a:pt x="242" y="925"/>
                    <a:pt x="267" y="950"/>
                  </a:cubicBezTo>
                  <a:cubicBezTo>
                    <a:pt x="289" y="972"/>
                    <a:pt x="320" y="992"/>
                    <a:pt x="350" y="1003"/>
                  </a:cubicBezTo>
                  <a:cubicBezTo>
                    <a:pt x="383" y="1017"/>
                    <a:pt x="420" y="1023"/>
                    <a:pt x="456" y="1023"/>
                  </a:cubicBezTo>
                  <a:cubicBezTo>
                    <a:pt x="492" y="1023"/>
                    <a:pt x="528" y="1017"/>
                    <a:pt x="558" y="1006"/>
                  </a:cubicBezTo>
                  <a:cubicBezTo>
                    <a:pt x="592" y="992"/>
                    <a:pt x="620" y="975"/>
                    <a:pt x="645" y="950"/>
                  </a:cubicBezTo>
                  <a:cubicBezTo>
                    <a:pt x="667" y="928"/>
                    <a:pt x="686" y="900"/>
                    <a:pt x="700" y="867"/>
                  </a:cubicBezTo>
                  <a:cubicBezTo>
                    <a:pt x="714" y="834"/>
                    <a:pt x="722" y="795"/>
                    <a:pt x="722" y="753"/>
                  </a:cubicBezTo>
                  <a:cubicBezTo>
                    <a:pt x="722" y="711"/>
                    <a:pt x="714" y="672"/>
                    <a:pt x="700" y="639"/>
                  </a:cubicBezTo>
                  <a:cubicBezTo>
                    <a:pt x="686" y="609"/>
                    <a:pt x="667" y="581"/>
                    <a:pt x="645" y="556"/>
                  </a:cubicBezTo>
                  <a:cubicBezTo>
                    <a:pt x="620" y="534"/>
                    <a:pt x="592" y="517"/>
                    <a:pt x="558" y="503"/>
                  </a:cubicBezTo>
                  <a:cubicBezTo>
                    <a:pt x="528" y="492"/>
                    <a:pt x="492" y="486"/>
                    <a:pt x="456" y="486"/>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7" name="Freeform 34">
              <a:extLst>
                <a:ext uri="{FF2B5EF4-FFF2-40B4-BE49-F238E27FC236}">
                  <a16:creationId xmlns:a16="http://schemas.microsoft.com/office/drawing/2014/main" id="{BE3E163F-70AE-E74D-B024-B0870A96A1DB}"/>
                </a:ext>
              </a:extLst>
            </p:cNvPr>
            <p:cNvSpPr>
              <a:spLocks noChangeArrowheads="1"/>
            </p:cNvSpPr>
            <p:nvPr userDrawn="1"/>
          </p:nvSpPr>
          <p:spPr bwMode="auto">
            <a:xfrm>
              <a:off x="7804150" y="3743325"/>
              <a:ext cx="315913"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5 w 876"/>
                <a:gd name="T11" fmla="*/ 680 h 864"/>
                <a:gd name="T12" fmla="*/ 703 w 876"/>
                <a:gd name="T13" fmla="*/ 616 h 864"/>
                <a:gd name="T14" fmla="*/ 817 w 876"/>
                <a:gd name="T15" fmla="*/ 724 h 864"/>
                <a:gd name="T16" fmla="*/ 742 w 876"/>
                <a:gd name="T17" fmla="*/ 786 h 864"/>
                <a:gd name="T18" fmla="*/ 653 w 876"/>
                <a:gd name="T19" fmla="*/ 830 h 864"/>
                <a:gd name="T20" fmla="*/ 556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5 w 876"/>
                <a:gd name="T35" fmla="*/ 119 h 864"/>
                <a:gd name="T36" fmla="*/ 264 w 876"/>
                <a:gd name="T37" fmla="*/ 30 h 864"/>
                <a:gd name="T38" fmla="*/ 445 w 876"/>
                <a:gd name="T39" fmla="*/ 0 h 864"/>
                <a:gd name="T40" fmla="*/ 628 w 876"/>
                <a:gd name="T41" fmla="*/ 30 h 864"/>
                <a:gd name="T42" fmla="*/ 770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3 w 876"/>
                <a:gd name="T55" fmla="*/ 202 h 864"/>
                <a:gd name="T56" fmla="*/ 450 w 876"/>
                <a:gd name="T57" fmla="*/ 152 h 864"/>
                <a:gd name="T58" fmla="*/ 281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20" y="686"/>
                    <a:pt x="381" y="705"/>
                    <a:pt x="459" y="705"/>
                  </a:cubicBezTo>
                  <a:cubicBezTo>
                    <a:pt x="503" y="705"/>
                    <a:pt x="548" y="697"/>
                    <a:pt x="595" y="680"/>
                  </a:cubicBezTo>
                  <a:cubicBezTo>
                    <a:pt x="642" y="666"/>
                    <a:pt x="678" y="644"/>
                    <a:pt x="703" y="616"/>
                  </a:cubicBezTo>
                  <a:cubicBezTo>
                    <a:pt x="817" y="724"/>
                    <a:pt x="817" y="724"/>
                    <a:pt x="817" y="724"/>
                  </a:cubicBezTo>
                  <a:cubicBezTo>
                    <a:pt x="798" y="747"/>
                    <a:pt x="770" y="769"/>
                    <a:pt x="742" y="786"/>
                  </a:cubicBezTo>
                  <a:cubicBezTo>
                    <a:pt x="714" y="802"/>
                    <a:pt x="684" y="819"/>
                    <a:pt x="653" y="830"/>
                  </a:cubicBezTo>
                  <a:cubicBezTo>
                    <a:pt x="623" y="841"/>
                    <a:pt x="589" y="849"/>
                    <a:pt x="556" y="855"/>
                  </a:cubicBezTo>
                  <a:cubicBezTo>
                    <a:pt x="520" y="861"/>
                    <a:pt x="486" y="863"/>
                    <a:pt x="456" y="863"/>
                  </a:cubicBezTo>
                  <a:cubicBezTo>
                    <a:pt x="386" y="863"/>
                    <a:pt x="323" y="855"/>
                    <a:pt x="267" y="833"/>
                  </a:cubicBezTo>
                  <a:cubicBezTo>
                    <a:pt x="212" y="813"/>
                    <a:pt x="164" y="783"/>
                    <a:pt x="125" y="747"/>
                  </a:cubicBezTo>
                  <a:cubicBezTo>
                    <a:pt x="86" y="708"/>
                    <a:pt x="56" y="661"/>
                    <a:pt x="34" y="608"/>
                  </a:cubicBezTo>
                  <a:cubicBezTo>
                    <a:pt x="12" y="552"/>
                    <a:pt x="0" y="494"/>
                    <a:pt x="0" y="427"/>
                  </a:cubicBezTo>
                  <a:cubicBezTo>
                    <a:pt x="0" y="366"/>
                    <a:pt x="12" y="308"/>
                    <a:pt x="34" y="255"/>
                  </a:cubicBezTo>
                  <a:cubicBezTo>
                    <a:pt x="56" y="202"/>
                    <a:pt x="86" y="158"/>
                    <a:pt x="125" y="119"/>
                  </a:cubicBezTo>
                  <a:cubicBezTo>
                    <a:pt x="164" y="80"/>
                    <a:pt x="209" y="52"/>
                    <a:pt x="264" y="30"/>
                  </a:cubicBezTo>
                  <a:cubicBezTo>
                    <a:pt x="317" y="8"/>
                    <a:pt x="378" y="0"/>
                    <a:pt x="445" y="0"/>
                  </a:cubicBezTo>
                  <a:cubicBezTo>
                    <a:pt x="511" y="0"/>
                    <a:pt x="573" y="8"/>
                    <a:pt x="628" y="30"/>
                  </a:cubicBezTo>
                  <a:cubicBezTo>
                    <a:pt x="684" y="50"/>
                    <a:pt x="731" y="80"/>
                    <a:pt x="770" y="122"/>
                  </a:cubicBezTo>
                  <a:cubicBezTo>
                    <a:pt x="809" y="163"/>
                    <a:pt x="836" y="216"/>
                    <a:pt x="853" y="277"/>
                  </a:cubicBezTo>
                  <a:cubicBezTo>
                    <a:pt x="870" y="341"/>
                    <a:pt x="875" y="413"/>
                    <a:pt x="867" y="497"/>
                  </a:cubicBezTo>
                  <a:lnTo>
                    <a:pt x="186" y="352"/>
                  </a:lnTo>
                  <a:lnTo>
                    <a:pt x="186" y="352"/>
                  </a:lnTo>
                  <a:cubicBezTo>
                    <a:pt x="698" y="352"/>
                    <a:pt x="698" y="352"/>
                    <a:pt x="698" y="352"/>
                  </a:cubicBezTo>
                  <a:cubicBezTo>
                    <a:pt x="692" y="286"/>
                    <a:pt x="667" y="236"/>
                    <a:pt x="623" y="202"/>
                  </a:cubicBezTo>
                  <a:cubicBezTo>
                    <a:pt x="578" y="169"/>
                    <a:pt x="520" y="152"/>
                    <a:pt x="450" y="152"/>
                  </a:cubicBezTo>
                  <a:cubicBezTo>
                    <a:pt x="384" y="152"/>
                    <a:pt x="328" y="169"/>
                    <a:pt x="281"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8" name="Freeform 36">
              <a:extLst>
                <a:ext uri="{FF2B5EF4-FFF2-40B4-BE49-F238E27FC236}">
                  <a16:creationId xmlns:a16="http://schemas.microsoft.com/office/drawing/2014/main" id="{F6A2A127-8E2A-BB46-88AE-E6004D55B654}"/>
                </a:ext>
              </a:extLst>
            </p:cNvPr>
            <p:cNvSpPr>
              <a:spLocks noChangeArrowheads="1"/>
            </p:cNvSpPr>
            <p:nvPr userDrawn="1"/>
          </p:nvSpPr>
          <p:spPr bwMode="auto">
            <a:xfrm>
              <a:off x="6570663" y="3024188"/>
              <a:ext cx="77787" cy="76200"/>
            </a:xfrm>
            <a:custGeom>
              <a:avLst/>
              <a:gdLst>
                <a:gd name="T0" fmla="*/ 0 w 218"/>
                <a:gd name="T1" fmla="*/ 106 h 213"/>
                <a:gd name="T2" fmla="*/ 0 w 218"/>
                <a:gd name="T3" fmla="*/ 106 h 213"/>
                <a:gd name="T4" fmla="*/ 33 w 218"/>
                <a:gd name="T5" fmla="*/ 25 h 213"/>
                <a:gd name="T6" fmla="*/ 108 w 218"/>
                <a:gd name="T7" fmla="*/ 0 h 213"/>
                <a:gd name="T8" fmla="*/ 183 w 218"/>
                <a:gd name="T9" fmla="*/ 25 h 213"/>
                <a:gd name="T10" fmla="*/ 217 w 218"/>
                <a:gd name="T11" fmla="*/ 106 h 213"/>
                <a:gd name="T12" fmla="*/ 183 w 218"/>
                <a:gd name="T13" fmla="*/ 184 h 213"/>
                <a:gd name="T14" fmla="*/ 108 w 218"/>
                <a:gd name="T15" fmla="*/ 212 h 213"/>
                <a:gd name="T16" fmla="*/ 33 w 218"/>
                <a:gd name="T17" fmla="*/ 184 h 213"/>
                <a:gd name="T18" fmla="*/ 0 w 218"/>
                <a:gd name="T19" fmla="*/ 10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3">
                  <a:moveTo>
                    <a:pt x="0" y="106"/>
                  </a:moveTo>
                  <a:lnTo>
                    <a:pt x="0" y="106"/>
                  </a:lnTo>
                  <a:cubicBezTo>
                    <a:pt x="0" y="70"/>
                    <a:pt x="11" y="42"/>
                    <a:pt x="33" y="25"/>
                  </a:cubicBezTo>
                  <a:cubicBezTo>
                    <a:pt x="56" y="9"/>
                    <a:pt x="80" y="0"/>
                    <a:pt x="108" y="0"/>
                  </a:cubicBezTo>
                  <a:cubicBezTo>
                    <a:pt x="136" y="0"/>
                    <a:pt x="161" y="9"/>
                    <a:pt x="183" y="25"/>
                  </a:cubicBezTo>
                  <a:cubicBezTo>
                    <a:pt x="206" y="42"/>
                    <a:pt x="217" y="70"/>
                    <a:pt x="217" y="106"/>
                  </a:cubicBezTo>
                  <a:cubicBezTo>
                    <a:pt x="217" y="139"/>
                    <a:pt x="206" y="167"/>
                    <a:pt x="183" y="184"/>
                  </a:cubicBezTo>
                  <a:cubicBezTo>
                    <a:pt x="161" y="203"/>
                    <a:pt x="136" y="212"/>
                    <a:pt x="108" y="212"/>
                  </a:cubicBezTo>
                  <a:cubicBezTo>
                    <a:pt x="80" y="212"/>
                    <a:pt x="56" y="203"/>
                    <a:pt x="33" y="184"/>
                  </a:cubicBezTo>
                  <a:cubicBezTo>
                    <a:pt x="11" y="167"/>
                    <a:pt x="0" y="139"/>
                    <a:pt x="0" y="106"/>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9" name="Freeform 37">
              <a:extLst>
                <a:ext uri="{FF2B5EF4-FFF2-40B4-BE49-F238E27FC236}">
                  <a16:creationId xmlns:a16="http://schemas.microsoft.com/office/drawing/2014/main" id="{71668889-0017-5F49-ADFA-A54F1110F4DF}"/>
                </a:ext>
              </a:extLst>
            </p:cNvPr>
            <p:cNvSpPr>
              <a:spLocks noChangeArrowheads="1"/>
            </p:cNvSpPr>
            <p:nvPr userDrawn="1"/>
          </p:nvSpPr>
          <p:spPr bwMode="auto">
            <a:xfrm>
              <a:off x="2690813" y="3625850"/>
              <a:ext cx="79375" cy="77788"/>
            </a:xfrm>
            <a:custGeom>
              <a:avLst/>
              <a:gdLst>
                <a:gd name="T0" fmla="*/ 0 w 221"/>
                <a:gd name="T1" fmla="*/ 105 h 215"/>
                <a:gd name="T2" fmla="*/ 0 w 221"/>
                <a:gd name="T3" fmla="*/ 105 h 215"/>
                <a:gd name="T4" fmla="*/ 34 w 221"/>
                <a:gd name="T5" fmla="*/ 28 h 215"/>
                <a:gd name="T6" fmla="*/ 111 w 221"/>
                <a:gd name="T7" fmla="*/ 0 h 215"/>
                <a:gd name="T8" fmla="*/ 186 w 221"/>
                <a:gd name="T9" fmla="*/ 28 h 215"/>
                <a:gd name="T10" fmla="*/ 220 w 221"/>
                <a:gd name="T11" fmla="*/ 105 h 215"/>
                <a:gd name="T12" fmla="*/ 186 w 221"/>
                <a:gd name="T13" fmla="*/ 186 h 215"/>
                <a:gd name="T14" fmla="*/ 111 w 221"/>
                <a:gd name="T15" fmla="*/ 214 h 215"/>
                <a:gd name="T16" fmla="*/ 34 w 221"/>
                <a:gd name="T17" fmla="*/ 186 h 215"/>
                <a:gd name="T18" fmla="*/ 0 w 221"/>
                <a:gd name="T19" fmla="*/ 10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215">
                  <a:moveTo>
                    <a:pt x="0" y="105"/>
                  </a:moveTo>
                  <a:lnTo>
                    <a:pt x="0" y="105"/>
                  </a:lnTo>
                  <a:cubicBezTo>
                    <a:pt x="0" y="69"/>
                    <a:pt x="11" y="44"/>
                    <a:pt x="34" y="28"/>
                  </a:cubicBezTo>
                  <a:cubicBezTo>
                    <a:pt x="59" y="8"/>
                    <a:pt x="84" y="0"/>
                    <a:pt x="111" y="0"/>
                  </a:cubicBezTo>
                  <a:cubicBezTo>
                    <a:pt x="136" y="0"/>
                    <a:pt x="161" y="8"/>
                    <a:pt x="186" y="28"/>
                  </a:cubicBezTo>
                  <a:cubicBezTo>
                    <a:pt x="209" y="44"/>
                    <a:pt x="220" y="69"/>
                    <a:pt x="220" y="105"/>
                  </a:cubicBezTo>
                  <a:cubicBezTo>
                    <a:pt x="220" y="141"/>
                    <a:pt x="209" y="169"/>
                    <a:pt x="186" y="186"/>
                  </a:cubicBezTo>
                  <a:cubicBezTo>
                    <a:pt x="161" y="202"/>
                    <a:pt x="136" y="214"/>
                    <a:pt x="111" y="214"/>
                  </a:cubicBezTo>
                  <a:cubicBezTo>
                    <a:pt x="84" y="214"/>
                    <a:pt x="59" y="202"/>
                    <a:pt x="34" y="186"/>
                  </a:cubicBezTo>
                  <a:cubicBezTo>
                    <a:pt x="11" y="169"/>
                    <a:pt x="0" y="141"/>
                    <a:pt x="0" y="105"/>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
        <p:nvSpPr>
          <p:cNvPr id="53" name="Freeform 1">
            <a:extLst>
              <a:ext uri="{FF2B5EF4-FFF2-40B4-BE49-F238E27FC236}">
                <a16:creationId xmlns:a16="http://schemas.microsoft.com/office/drawing/2014/main" id="{CD176246-222A-A84B-BE67-B1217F40D35A}"/>
              </a:ext>
            </a:extLst>
          </p:cNvPr>
          <p:cNvSpPr>
            <a:spLocks noChangeArrowheads="1"/>
          </p:cNvSpPr>
          <p:nvPr/>
        </p:nvSpPr>
        <p:spPr bwMode="auto">
          <a:xfrm>
            <a:off x="6717187" y="428048"/>
            <a:ext cx="1995013" cy="1911515"/>
          </a:xfrm>
          <a:custGeom>
            <a:avLst/>
            <a:gdLst>
              <a:gd name="T0" fmla="*/ 0 w 9182"/>
              <a:gd name="T1" fmla="*/ 0 h 8794"/>
              <a:gd name="T2" fmla="*/ 0 w 9182"/>
              <a:gd name="T3" fmla="*/ 1368563 h 8794"/>
              <a:gd name="T4" fmla="*/ 1796572 w 9182"/>
              <a:gd name="T5" fmla="*/ 1368563 h 8794"/>
              <a:gd name="T6" fmla="*/ 1796572 w 9182"/>
              <a:gd name="T7" fmla="*/ 3165116 h 8794"/>
              <a:gd name="T8" fmla="*/ 3304815 w 9182"/>
              <a:gd name="T9" fmla="*/ 3165116 h 8794"/>
              <a:gd name="T10" fmla="*/ 3304815 w 9182"/>
              <a:gd name="T11" fmla="*/ 0 h 8794"/>
              <a:gd name="T12" fmla="*/ 0 w 9182"/>
              <a:gd name="T13" fmla="*/ 0 h 87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182" h="8794">
                <a:moveTo>
                  <a:pt x="0" y="0"/>
                </a:moveTo>
                <a:lnTo>
                  <a:pt x="0" y="3802"/>
                </a:lnTo>
                <a:lnTo>
                  <a:pt x="4991" y="3802"/>
                </a:lnTo>
                <a:lnTo>
                  <a:pt x="4991" y="8793"/>
                </a:lnTo>
                <a:lnTo>
                  <a:pt x="9181" y="8793"/>
                </a:lnTo>
                <a:lnTo>
                  <a:pt x="9181"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4" name="Freeform 2">
            <a:extLst>
              <a:ext uri="{FF2B5EF4-FFF2-40B4-BE49-F238E27FC236}">
                <a16:creationId xmlns:a16="http://schemas.microsoft.com/office/drawing/2014/main" id="{5CE06423-3EAE-214C-BF22-4AB459871883}"/>
              </a:ext>
            </a:extLst>
          </p:cNvPr>
          <p:cNvSpPr>
            <a:spLocks noChangeArrowheads="1"/>
          </p:cNvSpPr>
          <p:nvPr/>
        </p:nvSpPr>
        <p:spPr bwMode="auto">
          <a:xfrm>
            <a:off x="4724829" y="3186378"/>
            <a:ext cx="3904745" cy="3823029"/>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5" name="Rectangle 54">
            <a:extLst>
              <a:ext uri="{FF2B5EF4-FFF2-40B4-BE49-F238E27FC236}">
                <a16:creationId xmlns:a16="http://schemas.microsoft.com/office/drawing/2014/main" id="{ACAC6EF0-DA8B-4F4C-AFE9-61F72A9663B7}"/>
              </a:ext>
            </a:extLst>
          </p:cNvPr>
          <p:cNvSpPr/>
          <p:nvPr userDrawn="1"/>
        </p:nvSpPr>
        <p:spPr>
          <a:xfrm>
            <a:off x="0" y="1347788"/>
            <a:ext cx="3455989" cy="3795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8" name="TextBox 57">
            <a:extLst>
              <a:ext uri="{FF2B5EF4-FFF2-40B4-BE49-F238E27FC236}">
                <a16:creationId xmlns:a16="http://schemas.microsoft.com/office/drawing/2014/main" id="{2D7B7D32-96D6-494C-BB98-9833A5306838}"/>
              </a:ext>
            </a:extLst>
          </p:cNvPr>
          <p:cNvSpPr txBox="1"/>
          <p:nvPr userDrawn="1"/>
        </p:nvSpPr>
        <p:spPr>
          <a:xfrm>
            <a:off x="0" y="1986952"/>
            <a:ext cx="3455988" cy="2534787"/>
          </a:xfrm>
          <a:prstGeom prst="rect">
            <a:avLst/>
          </a:prstGeom>
        </p:spPr>
        <p:txBody>
          <a:bodyPr wrap="square" lIns="432000" tIns="0" rIns="360000" bIns="72000" rtlCol="0">
            <a:spAutoFit/>
          </a:bodyPr>
          <a:lstStyle/>
          <a:p>
            <a:pPr marL="0" marR="0" lvl="0" indent="0" algn="l" defTabSz="685800" rtl="0" eaLnBrk="1" fontAlgn="auto" latinLnBrk="0" hangingPunct="1">
              <a:lnSpc>
                <a:spcPct val="120000"/>
              </a:lnSpc>
              <a:spcBef>
                <a:spcPts val="60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mn-lt"/>
                <a:ea typeface="+mn-ea"/>
                <a:cs typeface="+mn-cs"/>
              </a:rPr>
              <a:t>Odigo helps big organizations connect with individuals through world-class, cloud-based contact center solutions. Our cutting-edge, proprietary technologies enable a seamless, efficient, omnichannel experience for your customers and a satisfying, engaging experience for your service agents.</a:t>
            </a:r>
          </a:p>
          <a:p>
            <a:pPr marL="0" marR="0" lvl="0" indent="0" algn="l" defTabSz="685800" rtl="0" eaLnBrk="1" fontAlgn="auto" latinLnBrk="0" hangingPunct="1">
              <a:lnSpc>
                <a:spcPct val="120000"/>
              </a:lnSpc>
              <a:spcBef>
                <a:spcPts val="60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mn-lt"/>
                <a:ea typeface="+mn-ea"/>
                <a:cs typeface="+mn-cs"/>
              </a:rPr>
              <a:t>Odigo serves more than 400,000 agents and business users globally. With a 25-year history of industry firsts, Odigo has more than 350 clients around the world.</a:t>
            </a:r>
          </a:p>
          <a:p>
            <a:pPr marL="0" marR="0" lvl="0" indent="0" algn="l" defTabSz="685800" rtl="0" eaLnBrk="1" fontAlgn="auto" latinLnBrk="0" hangingPunct="1">
              <a:lnSpc>
                <a:spcPct val="120000"/>
              </a:lnSpc>
              <a:spcBef>
                <a:spcPts val="60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mn-lt"/>
                <a:ea typeface="+mn-ea"/>
                <a:cs typeface="+mn-cs"/>
              </a:rPr>
              <a:t>Odigo is a Capgemini brand, which means we benefit from the scale and expertise of one of the world’s foremost providers of consulting, technology services and digital transformation.</a:t>
            </a:r>
          </a:p>
          <a:p>
            <a:pPr marL="0" marR="0" lvl="0" indent="0" algn="l" defTabSz="685800" rtl="0" eaLnBrk="1" fontAlgn="auto" latinLnBrk="0" hangingPunct="1">
              <a:lnSpc>
                <a:spcPct val="120000"/>
              </a:lnSpc>
              <a:spcBef>
                <a:spcPts val="60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mn-lt"/>
                <a:ea typeface="+mn-ea"/>
                <a:cs typeface="+mn-cs"/>
              </a:rPr>
              <a:t>Visit us at</a:t>
            </a:r>
          </a:p>
          <a:p>
            <a:pPr marL="0" marR="0" lvl="0" indent="0" algn="l" defTabSz="685800" rtl="0" eaLnBrk="1" fontAlgn="auto" latinLnBrk="0" hangingPunct="1">
              <a:lnSpc>
                <a:spcPct val="120000"/>
              </a:lnSpc>
              <a:spcBef>
                <a:spcPts val="150"/>
              </a:spcBef>
              <a:spcAft>
                <a:spcPts val="0"/>
              </a:spcAft>
              <a:buClrTx/>
              <a:buSzTx/>
              <a:buFontTx/>
              <a:buNone/>
              <a:tabLst/>
              <a:defRPr/>
            </a:pPr>
            <a:r>
              <a:rPr kumimoji="0" lang="en-US" sz="1000" b="0" i="0" u="none" strike="noStrike" kern="1200" cap="none" spc="0" normalizeH="0" baseline="0" noProof="0">
                <a:ln>
                  <a:noFill/>
                </a:ln>
                <a:solidFill>
                  <a:srgbClr val="FF3466"/>
                </a:solidFill>
                <a:effectLst/>
                <a:uLnTx/>
                <a:uFillTx/>
                <a:latin typeface="+mn-lt"/>
                <a:ea typeface="+mn-ea"/>
                <a:cs typeface="+mn-cs"/>
                <a:hlinkClick r:id="rId2">
                  <a:extLst>
                    <a:ext uri="{A12FA001-AC4F-418D-AE19-62706E023703}">
                      <ahyp:hlinkClr xmlns:ahyp="http://schemas.microsoft.com/office/drawing/2018/hyperlinkcolor" val="tx"/>
                    </a:ext>
                  </a:extLst>
                </a:hlinkClick>
              </a:rPr>
              <a:t>www.odigo.com</a:t>
            </a:r>
            <a:endParaRPr kumimoji="0" lang="en-US" sz="1000" b="0" i="0" u="none" strike="noStrike" kern="1200" cap="none" spc="0" normalizeH="0" baseline="0" noProof="0">
              <a:ln>
                <a:noFill/>
              </a:ln>
              <a:solidFill>
                <a:srgbClr val="FF3466"/>
              </a:solidFill>
              <a:effectLst/>
              <a:uLnTx/>
              <a:uFillTx/>
              <a:latin typeface="+mn-lt"/>
              <a:ea typeface="+mn-ea"/>
              <a:cs typeface="+mn-cs"/>
            </a:endParaRPr>
          </a:p>
        </p:txBody>
      </p:sp>
      <p:sp>
        <p:nvSpPr>
          <p:cNvPr id="60" name="Footer Placeholder 13">
            <a:extLst>
              <a:ext uri="{FF2B5EF4-FFF2-40B4-BE49-F238E27FC236}">
                <a16:creationId xmlns:a16="http://schemas.microsoft.com/office/drawing/2014/main" id="{C6375F62-BFE9-DB4E-B7AB-659ADD0EDF00}"/>
              </a:ext>
            </a:extLst>
          </p:cNvPr>
          <p:cNvSpPr txBox="1">
            <a:spLocks/>
          </p:cNvSpPr>
          <p:nvPr userDrawn="1"/>
        </p:nvSpPr>
        <p:spPr>
          <a:xfrm>
            <a:off x="10090" y="4581322"/>
            <a:ext cx="3461514" cy="552430"/>
          </a:xfrm>
          <a:prstGeom prst="rect">
            <a:avLst/>
          </a:prstGeom>
        </p:spPr>
        <p:txBody>
          <a:bodyPr vert="horz" wrap="none" lIns="432000" tIns="0" rIns="0" bIns="180000" anchor="b" anchorCtr="0">
            <a:noAutofit/>
          </a:bodyPr>
          <a:lstStyle>
            <a:defPPr>
              <a:defRPr lang="pt-PT"/>
            </a:defPPr>
            <a:lvl1pPr marL="0" algn="l" defTabSz="685800" rtl="0" eaLnBrk="1" latinLnBrk="0" hangingPunct="1">
              <a:defRPr lang="pl-PL" sz="600" kern="1200" dirty="0">
                <a:solidFill>
                  <a:schemeClr val="accent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450"/>
              </a:spcAft>
            </a:pPr>
            <a:r>
              <a:rPr lang="en-US" sz="600" noProof="0">
                <a:solidFill>
                  <a:schemeClr val="bg1"/>
                </a:solidFill>
                <a:latin typeface="+mn-lt"/>
                <a:cs typeface="Arial"/>
              </a:rPr>
              <a:t>This message contains information that may be privileged</a:t>
            </a:r>
            <a:br>
              <a:rPr lang="en-US" sz="600" noProof="0">
                <a:solidFill>
                  <a:schemeClr val="bg1"/>
                </a:solidFill>
                <a:latin typeface="+mn-lt"/>
                <a:cs typeface="Arial"/>
              </a:rPr>
            </a:br>
            <a:r>
              <a:rPr lang="en-US" sz="600" noProof="0">
                <a:solidFill>
                  <a:schemeClr val="bg1"/>
                </a:solidFill>
                <a:latin typeface="+mn-lt"/>
                <a:cs typeface="Arial"/>
              </a:rPr>
              <a:t>or confidential and is the property of the Odigo.</a:t>
            </a:r>
            <a:br>
              <a:rPr lang="en-US" sz="600" noProof="0">
                <a:solidFill>
                  <a:schemeClr val="bg1"/>
                </a:solidFill>
                <a:latin typeface="+mn-lt"/>
                <a:cs typeface="Arial"/>
              </a:rPr>
            </a:br>
            <a:r>
              <a:rPr lang="en-US" sz="600" noProof="0">
                <a:solidFill>
                  <a:schemeClr val="bg1"/>
                </a:solidFill>
                <a:latin typeface="+mn-lt"/>
                <a:cs typeface="Arial"/>
              </a:rPr>
              <a:t>Copyright © 2018 Odigo. All rights reserved.</a:t>
            </a:r>
          </a:p>
        </p:txBody>
      </p:sp>
      <p:sp>
        <p:nvSpPr>
          <p:cNvPr id="61" name="Title 1">
            <a:extLst>
              <a:ext uri="{FF2B5EF4-FFF2-40B4-BE49-F238E27FC236}">
                <a16:creationId xmlns:a16="http://schemas.microsoft.com/office/drawing/2014/main" id="{382C367C-80E9-0C44-8361-28CBE50C42B7}"/>
              </a:ext>
            </a:extLst>
          </p:cNvPr>
          <p:cNvSpPr txBox="1">
            <a:spLocks/>
          </p:cNvSpPr>
          <p:nvPr userDrawn="1"/>
        </p:nvSpPr>
        <p:spPr>
          <a:xfrm>
            <a:off x="3473930" y="1491075"/>
            <a:ext cx="1836885" cy="486930"/>
          </a:xfrm>
          <a:prstGeom prst="rect">
            <a:avLst/>
          </a:prstGeom>
        </p:spPr>
        <p:txBody>
          <a:bodyPr lIns="432000" tIns="180000" rIns="72000" bIns="0"/>
          <a:lstStyle>
            <a:lvl1pPr marL="0" marR="0" indent="0" algn="l" defTabSz="685800" rtl="0" eaLnBrk="1" fontAlgn="auto" latinLnBrk="0" hangingPunct="1">
              <a:lnSpc>
                <a:spcPct val="90000"/>
              </a:lnSpc>
              <a:spcBef>
                <a:spcPct val="0"/>
              </a:spcBef>
              <a:spcAft>
                <a:spcPts val="0"/>
              </a:spcAft>
              <a:buClrTx/>
              <a:buSzTx/>
              <a:buFontTx/>
              <a:buNone/>
              <a:tabLst/>
              <a:defRPr kumimoji="0" lang="pl-PL" sz="1200" b="0" i="0" u="none" strike="noStrike" kern="1200" cap="none" spc="0" normalizeH="0" baseline="0" noProof="0" smtClean="0">
                <a:ln>
                  <a:noFill/>
                </a:ln>
                <a:solidFill>
                  <a:schemeClr val="accent2"/>
                </a:solidFill>
                <a:effectLst/>
                <a:uLnTx/>
                <a:uFillTx/>
                <a:latin typeface="+mj-lt"/>
                <a:ea typeface="+mj-ea"/>
                <a:cs typeface="+mj-cs"/>
              </a:defRPr>
            </a:lvl1pPr>
          </a:lstStyle>
          <a:p>
            <a:r>
              <a:rPr lang="en-US" noProof="0"/>
              <a:t>Contact us</a:t>
            </a:r>
            <a:br>
              <a:rPr lang="en-US" noProof="0"/>
            </a:br>
            <a:endParaRPr lang="en-US" noProof="0"/>
          </a:p>
        </p:txBody>
      </p:sp>
      <p:sp>
        <p:nvSpPr>
          <p:cNvPr id="71" name="Title 1">
            <a:extLst>
              <a:ext uri="{FF2B5EF4-FFF2-40B4-BE49-F238E27FC236}">
                <a16:creationId xmlns:a16="http://schemas.microsoft.com/office/drawing/2014/main" id="{157E951B-0B21-604B-AAE6-EA08AC350E8B}"/>
              </a:ext>
            </a:extLst>
          </p:cNvPr>
          <p:cNvSpPr txBox="1">
            <a:spLocks/>
          </p:cNvSpPr>
          <p:nvPr userDrawn="1"/>
        </p:nvSpPr>
        <p:spPr>
          <a:xfrm>
            <a:off x="-1299" y="1491075"/>
            <a:ext cx="3455988" cy="486930"/>
          </a:xfrm>
          <a:prstGeom prst="rect">
            <a:avLst/>
          </a:prstGeom>
        </p:spPr>
        <p:txBody>
          <a:bodyPr lIns="432000" tIns="180000" rIns="72000" bIns="0"/>
          <a:lstStyle>
            <a:lvl1pPr marL="0" marR="0" indent="0" algn="l" defTabSz="685800" rtl="0" eaLnBrk="1" fontAlgn="auto" latinLnBrk="0" hangingPunct="1">
              <a:lnSpc>
                <a:spcPct val="90000"/>
              </a:lnSpc>
              <a:spcBef>
                <a:spcPct val="0"/>
              </a:spcBef>
              <a:spcAft>
                <a:spcPts val="0"/>
              </a:spcAft>
              <a:buClrTx/>
              <a:buSzTx/>
              <a:buFontTx/>
              <a:buNone/>
              <a:tabLst/>
              <a:defRPr kumimoji="0" lang="pl-PL" sz="1200" b="0" i="0" u="none" strike="noStrike" kern="1200" cap="none" spc="0" normalizeH="0" baseline="0" noProof="0" smtClean="0">
                <a:ln>
                  <a:noFill/>
                </a:ln>
                <a:solidFill>
                  <a:schemeClr val="accent2"/>
                </a:solidFill>
                <a:effectLst/>
                <a:uLnTx/>
                <a:uFillTx/>
                <a:latin typeface="+mj-lt"/>
                <a:ea typeface="+mj-ea"/>
                <a:cs typeface="+mj-cs"/>
              </a:defRPr>
            </a:lvl1pPr>
          </a:lstStyle>
          <a:p>
            <a:r>
              <a:rPr lang="en-US" noProof="0"/>
              <a:t>About Odigo</a:t>
            </a:r>
          </a:p>
        </p:txBody>
      </p:sp>
    </p:spTree>
    <p:extLst>
      <p:ext uri="{BB962C8B-B14F-4D97-AF65-F5344CB8AC3E}">
        <p14:creationId xmlns:p14="http://schemas.microsoft.com/office/powerpoint/2010/main" val="2995337309"/>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Odigo-Cover_Circle-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87AECE6-E896-2545-A62F-962C7544C58E}"/>
              </a:ext>
            </a:extLst>
          </p:cNvPr>
          <p:cNvSpPr>
            <a:spLocks noGrp="1"/>
          </p:cNvSpPr>
          <p:nvPr>
            <p:ph type="pic" sz="quarter" idx="11"/>
          </p:nvPr>
        </p:nvSpPr>
        <p:spPr>
          <a:xfrm>
            <a:off x="3395133" y="1016424"/>
            <a:ext cx="5372217" cy="5254433"/>
          </a:xfrm>
          <a:prstGeom prst="ellipse">
            <a:avLst/>
          </a:prstGeom>
          <a:solidFill>
            <a:schemeClr val="accent1"/>
          </a:solidFill>
        </p:spPr>
        <p:txBody>
          <a:bodyPr/>
          <a:lstStyle>
            <a:lvl1pPr>
              <a:defRPr sz="1000">
                <a:solidFill>
                  <a:schemeClr val="accent2"/>
                </a:solidFill>
              </a:defRPr>
            </a:lvl1pPr>
          </a:lstStyle>
          <a:p>
            <a:endParaRPr lang="en-US" noProof="0"/>
          </a:p>
        </p:txBody>
      </p:sp>
      <p:sp>
        <p:nvSpPr>
          <p:cNvPr id="2" name="Title 1">
            <a:extLst>
              <a:ext uri="{FF2B5EF4-FFF2-40B4-BE49-F238E27FC236}">
                <a16:creationId xmlns:a16="http://schemas.microsoft.com/office/drawing/2014/main" id="{0D402FA9-5415-A549-AA59-7A032EE6A06E}"/>
              </a:ext>
            </a:extLst>
          </p:cNvPr>
          <p:cNvSpPr>
            <a:spLocks noGrp="1"/>
          </p:cNvSpPr>
          <p:nvPr>
            <p:ph type="title" hasCustomPrompt="1"/>
          </p:nvPr>
        </p:nvSpPr>
        <p:spPr>
          <a:xfrm>
            <a:off x="1" y="1508558"/>
            <a:ext cx="3455988" cy="1187449"/>
          </a:xfrm>
          <a:prstGeom prst="rect">
            <a:avLst/>
          </a:prstGeom>
        </p:spPr>
        <p:txBody>
          <a:bodyPr lIns="432000" tIns="180000" rIns="72000" bIns="0"/>
          <a:lstStyle>
            <a:lvl1pPr>
              <a:defRPr lang="pl-PL" dirty="0"/>
            </a:lvl1pPr>
          </a:lstStyle>
          <a:p>
            <a:pPr lvl="0"/>
            <a:r>
              <a:rPr lang="en-US" noProof="0"/>
              <a:t>Presentation title</a:t>
            </a:r>
          </a:p>
        </p:txBody>
      </p:sp>
      <p:sp>
        <p:nvSpPr>
          <p:cNvPr id="20" name="Text Placeholder 19">
            <a:extLst>
              <a:ext uri="{FF2B5EF4-FFF2-40B4-BE49-F238E27FC236}">
                <a16:creationId xmlns:a16="http://schemas.microsoft.com/office/drawing/2014/main" id="{E9BFB6C4-08A5-BA43-A8EE-6725DD021A57}"/>
              </a:ext>
            </a:extLst>
          </p:cNvPr>
          <p:cNvSpPr>
            <a:spLocks noGrp="1"/>
          </p:cNvSpPr>
          <p:nvPr>
            <p:ph type="body" sz="quarter" idx="10" hasCustomPrompt="1"/>
          </p:nvPr>
        </p:nvSpPr>
        <p:spPr>
          <a:xfrm>
            <a:off x="1" y="2696007"/>
            <a:ext cx="3455988" cy="455087"/>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sp>
        <p:nvSpPr>
          <p:cNvPr id="4" name="Freeform 1">
            <a:extLst>
              <a:ext uri="{FF2B5EF4-FFF2-40B4-BE49-F238E27FC236}">
                <a16:creationId xmlns:a16="http://schemas.microsoft.com/office/drawing/2014/main" id="{9C35C5D7-0A43-4242-9279-D23DF607C008}"/>
              </a:ext>
            </a:extLst>
          </p:cNvPr>
          <p:cNvSpPr>
            <a:spLocks noChangeArrowheads="1"/>
          </p:cNvSpPr>
          <p:nvPr userDrawn="1"/>
        </p:nvSpPr>
        <p:spPr bwMode="auto">
          <a:xfrm>
            <a:off x="6799803" y="0"/>
            <a:ext cx="2747583" cy="2612551"/>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nvGrpSpPr>
          <p:cNvPr id="16" name="Group 15">
            <a:extLst>
              <a:ext uri="{FF2B5EF4-FFF2-40B4-BE49-F238E27FC236}">
                <a16:creationId xmlns:a16="http://schemas.microsoft.com/office/drawing/2014/main" id="{3D48575B-247C-2E47-8104-C62B28DCA166}"/>
              </a:ext>
            </a:extLst>
          </p:cNvPr>
          <p:cNvGrpSpPr/>
          <p:nvPr userDrawn="1"/>
        </p:nvGrpSpPr>
        <p:grpSpPr>
          <a:xfrm>
            <a:off x="431799" y="416351"/>
            <a:ext cx="1336166" cy="539307"/>
            <a:chOff x="2286000" y="2193925"/>
            <a:chExt cx="6835775" cy="2759075"/>
          </a:xfrm>
        </p:grpSpPr>
        <p:sp>
          <p:nvSpPr>
            <p:cNvPr id="17" name="Freeform 1">
              <a:extLst>
                <a:ext uri="{FF2B5EF4-FFF2-40B4-BE49-F238E27FC236}">
                  <a16:creationId xmlns:a16="http://schemas.microsoft.com/office/drawing/2014/main" id="{8282938B-AFE2-FC4C-96F0-361C3BB71CCD}"/>
                </a:ext>
              </a:extLst>
            </p:cNvPr>
            <p:cNvSpPr>
              <a:spLocks noChangeArrowheads="1"/>
            </p:cNvSpPr>
            <p:nvPr/>
          </p:nvSpPr>
          <p:spPr bwMode="auto">
            <a:xfrm>
              <a:off x="8378825" y="2471738"/>
              <a:ext cx="742950" cy="706437"/>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8" name="Freeform 2">
              <a:extLst>
                <a:ext uri="{FF2B5EF4-FFF2-40B4-BE49-F238E27FC236}">
                  <a16:creationId xmlns:a16="http://schemas.microsoft.com/office/drawing/2014/main" id="{91C8DC84-ACC4-3C4C-AC04-32EF1E7F378F}"/>
                </a:ext>
              </a:extLst>
            </p:cNvPr>
            <p:cNvSpPr>
              <a:spLocks noChangeArrowheads="1"/>
            </p:cNvSpPr>
            <p:nvPr/>
          </p:nvSpPr>
          <p:spPr bwMode="auto">
            <a:xfrm>
              <a:off x="5299075" y="2781300"/>
              <a:ext cx="333375" cy="1349375"/>
            </a:xfrm>
            <a:custGeom>
              <a:avLst/>
              <a:gdLst>
                <a:gd name="T0" fmla="*/ 0 w 927"/>
                <a:gd name="T1" fmla="*/ 3749 h 3750"/>
                <a:gd name="T2" fmla="*/ 926 w 927"/>
                <a:gd name="T3" fmla="*/ 3749 h 3750"/>
                <a:gd name="T4" fmla="*/ 926 w 927"/>
                <a:gd name="T5" fmla="*/ 0 h 3750"/>
                <a:gd name="T6" fmla="*/ 0 w 927"/>
                <a:gd name="T7" fmla="*/ 0 h 3750"/>
                <a:gd name="T8" fmla="*/ 0 w 927"/>
                <a:gd name="T9" fmla="*/ 3749 h 3750"/>
              </a:gdLst>
              <a:ahLst/>
              <a:cxnLst>
                <a:cxn ang="0">
                  <a:pos x="T0" y="T1"/>
                </a:cxn>
                <a:cxn ang="0">
                  <a:pos x="T2" y="T3"/>
                </a:cxn>
                <a:cxn ang="0">
                  <a:pos x="T4" y="T5"/>
                </a:cxn>
                <a:cxn ang="0">
                  <a:pos x="T6" y="T7"/>
                </a:cxn>
                <a:cxn ang="0">
                  <a:pos x="T8" y="T9"/>
                </a:cxn>
              </a:cxnLst>
              <a:rect l="0" t="0" r="r" b="b"/>
              <a:pathLst>
                <a:path w="927" h="3750">
                  <a:moveTo>
                    <a:pt x="0" y="3749"/>
                  </a:moveTo>
                  <a:lnTo>
                    <a:pt x="926" y="3749"/>
                  </a:lnTo>
                  <a:lnTo>
                    <a:pt x="926" y="0"/>
                  </a:lnTo>
                  <a:lnTo>
                    <a:pt x="0" y="0"/>
                  </a:lnTo>
                  <a:lnTo>
                    <a:pt x="0" y="3749"/>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9" name="Freeform 3">
              <a:extLst>
                <a:ext uri="{FF2B5EF4-FFF2-40B4-BE49-F238E27FC236}">
                  <a16:creationId xmlns:a16="http://schemas.microsoft.com/office/drawing/2014/main" id="{B167D7DA-F8BF-6741-89E7-A83D054E93D2}"/>
                </a:ext>
              </a:extLst>
            </p:cNvPr>
            <p:cNvSpPr>
              <a:spLocks noChangeArrowheads="1"/>
            </p:cNvSpPr>
            <p:nvPr/>
          </p:nvSpPr>
          <p:spPr bwMode="auto">
            <a:xfrm>
              <a:off x="3781425" y="2193925"/>
              <a:ext cx="1206500" cy="1973263"/>
            </a:xfrm>
            <a:custGeom>
              <a:avLst/>
              <a:gdLst>
                <a:gd name="T0" fmla="*/ 2426 w 3353"/>
                <a:gd name="T1" fmla="*/ 1631 h 5480"/>
                <a:gd name="T2" fmla="*/ 2426 w 3353"/>
                <a:gd name="T3" fmla="*/ 1631 h 5480"/>
                <a:gd name="T4" fmla="*/ 2459 w 3353"/>
                <a:gd name="T5" fmla="*/ 1940 h 5480"/>
                <a:gd name="T6" fmla="*/ 1290 w 3353"/>
                <a:gd name="T7" fmla="*/ 1532 h 5480"/>
                <a:gd name="T8" fmla="*/ 0 w 3353"/>
                <a:gd name="T9" fmla="*/ 1995 h 5480"/>
                <a:gd name="T10" fmla="*/ 463 w 3353"/>
                <a:gd name="T11" fmla="*/ 2833 h 5480"/>
                <a:gd name="T12" fmla="*/ 1323 w 3353"/>
                <a:gd name="T13" fmla="*/ 2403 h 5480"/>
                <a:gd name="T14" fmla="*/ 2393 w 3353"/>
                <a:gd name="T15" fmla="*/ 3506 h 5480"/>
                <a:gd name="T16" fmla="*/ 1323 w 3353"/>
                <a:gd name="T17" fmla="*/ 4619 h 5480"/>
                <a:gd name="T18" fmla="*/ 485 w 3353"/>
                <a:gd name="T19" fmla="*/ 4178 h 5480"/>
                <a:gd name="T20" fmla="*/ 0 w 3353"/>
                <a:gd name="T21" fmla="*/ 5049 h 5480"/>
                <a:gd name="T22" fmla="*/ 1290 w 3353"/>
                <a:gd name="T23" fmla="*/ 5479 h 5480"/>
                <a:gd name="T24" fmla="*/ 2459 w 3353"/>
                <a:gd name="T25" fmla="*/ 5071 h 5480"/>
                <a:gd name="T26" fmla="*/ 2492 w 3353"/>
                <a:gd name="T27" fmla="*/ 5380 h 5480"/>
                <a:gd name="T28" fmla="*/ 3352 w 3353"/>
                <a:gd name="T29" fmla="*/ 5380 h 5480"/>
                <a:gd name="T30" fmla="*/ 3352 w 3353"/>
                <a:gd name="T31" fmla="*/ 0 h 5480"/>
                <a:gd name="T32" fmla="*/ 2426 w 3353"/>
                <a:gd name="T33" fmla="*/ 0 h 5480"/>
                <a:gd name="T34" fmla="*/ 2426 w 3353"/>
                <a:gd name="T35" fmla="*/ 1631 h 5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53" h="5480">
                  <a:moveTo>
                    <a:pt x="2426" y="1631"/>
                  </a:moveTo>
                  <a:lnTo>
                    <a:pt x="2426" y="1631"/>
                  </a:lnTo>
                  <a:cubicBezTo>
                    <a:pt x="2426" y="1819"/>
                    <a:pt x="2459" y="1940"/>
                    <a:pt x="2459" y="1940"/>
                  </a:cubicBezTo>
                  <a:cubicBezTo>
                    <a:pt x="2150" y="1720"/>
                    <a:pt x="1786" y="1532"/>
                    <a:pt x="1290" y="1532"/>
                  </a:cubicBezTo>
                  <a:cubicBezTo>
                    <a:pt x="794" y="1532"/>
                    <a:pt x="364" y="1720"/>
                    <a:pt x="0" y="1995"/>
                  </a:cubicBezTo>
                  <a:cubicBezTo>
                    <a:pt x="210" y="2249"/>
                    <a:pt x="364" y="2524"/>
                    <a:pt x="463" y="2833"/>
                  </a:cubicBezTo>
                  <a:cubicBezTo>
                    <a:pt x="673" y="2557"/>
                    <a:pt x="948" y="2403"/>
                    <a:pt x="1323" y="2403"/>
                  </a:cubicBezTo>
                  <a:cubicBezTo>
                    <a:pt x="1963" y="2403"/>
                    <a:pt x="2393" y="2833"/>
                    <a:pt x="2393" y="3506"/>
                  </a:cubicBezTo>
                  <a:cubicBezTo>
                    <a:pt x="2393" y="4211"/>
                    <a:pt x="1941" y="4619"/>
                    <a:pt x="1323" y="4619"/>
                  </a:cubicBezTo>
                  <a:cubicBezTo>
                    <a:pt x="982" y="4619"/>
                    <a:pt x="673" y="4465"/>
                    <a:pt x="485" y="4178"/>
                  </a:cubicBezTo>
                  <a:cubicBezTo>
                    <a:pt x="397" y="4520"/>
                    <a:pt x="210" y="4795"/>
                    <a:pt x="0" y="5049"/>
                  </a:cubicBezTo>
                  <a:cubicBezTo>
                    <a:pt x="364" y="5325"/>
                    <a:pt x="794" y="5479"/>
                    <a:pt x="1290" y="5479"/>
                  </a:cubicBezTo>
                  <a:cubicBezTo>
                    <a:pt x="1753" y="5479"/>
                    <a:pt x="2183" y="5292"/>
                    <a:pt x="2459" y="5071"/>
                  </a:cubicBezTo>
                  <a:cubicBezTo>
                    <a:pt x="2492" y="5380"/>
                    <a:pt x="2492" y="5380"/>
                    <a:pt x="2492" y="5380"/>
                  </a:cubicBezTo>
                  <a:cubicBezTo>
                    <a:pt x="3352" y="5380"/>
                    <a:pt x="3352" y="5380"/>
                    <a:pt x="3352" y="5380"/>
                  </a:cubicBezTo>
                  <a:cubicBezTo>
                    <a:pt x="3352" y="0"/>
                    <a:pt x="3352" y="0"/>
                    <a:pt x="3352" y="0"/>
                  </a:cubicBezTo>
                  <a:cubicBezTo>
                    <a:pt x="2426" y="0"/>
                    <a:pt x="2426" y="0"/>
                    <a:pt x="2426" y="0"/>
                  </a:cubicBezTo>
                  <a:lnTo>
                    <a:pt x="2426" y="1631"/>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1" name="Freeform 4">
              <a:extLst>
                <a:ext uri="{FF2B5EF4-FFF2-40B4-BE49-F238E27FC236}">
                  <a16:creationId xmlns:a16="http://schemas.microsoft.com/office/drawing/2014/main" id="{13CF8FAB-1FB0-3145-8422-1988AF781515}"/>
                </a:ext>
              </a:extLst>
            </p:cNvPr>
            <p:cNvSpPr>
              <a:spLocks noChangeArrowheads="1"/>
            </p:cNvSpPr>
            <p:nvPr/>
          </p:nvSpPr>
          <p:spPr bwMode="auto">
            <a:xfrm>
              <a:off x="2286000" y="2746375"/>
              <a:ext cx="1441450" cy="1420813"/>
            </a:xfrm>
            <a:custGeom>
              <a:avLst/>
              <a:gdLst>
                <a:gd name="T0" fmla="*/ 1995 w 4003"/>
                <a:gd name="T1" fmla="*/ 0 h 3948"/>
                <a:gd name="T2" fmla="*/ 1995 w 4003"/>
                <a:gd name="T3" fmla="*/ 0 h 3948"/>
                <a:gd name="T4" fmla="*/ 0 w 4003"/>
                <a:gd name="T5" fmla="*/ 1974 h 3948"/>
                <a:gd name="T6" fmla="*/ 1995 w 4003"/>
                <a:gd name="T7" fmla="*/ 3947 h 3948"/>
                <a:gd name="T8" fmla="*/ 4002 w 4003"/>
                <a:gd name="T9" fmla="*/ 1974 h 3948"/>
                <a:gd name="T10" fmla="*/ 1995 w 4003"/>
                <a:gd name="T11" fmla="*/ 0 h 3948"/>
                <a:gd name="T12" fmla="*/ 1995 w 4003"/>
                <a:gd name="T13" fmla="*/ 3087 h 3948"/>
                <a:gd name="T14" fmla="*/ 1995 w 4003"/>
                <a:gd name="T15" fmla="*/ 3087 h 3948"/>
                <a:gd name="T16" fmla="*/ 926 w 4003"/>
                <a:gd name="T17" fmla="*/ 1974 h 3948"/>
                <a:gd name="T18" fmla="*/ 1995 w 4003"/>
                <a:gd name="T19" fmla="*/ 871 h 3948"/>
                <a:gd name="T20" fmla="*/ 3076 w 4003"/>
                <a:gd name="T21" fmla="*/ 1974 h 3948"/>
                <a:gd name="T22" fmla="*/ 1995 w 4003"/>
                <a:gd name="T23" fmla="*/ 3087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3" h="3948">
                  <a:moveTo>
                    <a:pt x="1995" y="0"/>
                  </a:moveTo>
                  <a:lnTo>
                    <a:pt x="1995" y="0"/>
                  </a:lnTo>
                  <a:cubicBezTo>
                    <a:pt x="860" y="0"/>
                    <a:pt x="0" y="893"/>
                    <a:pt x="0" y="1974"/>
                  </a:cubicBezTo>
                  <a:cubicBezTo>
                    <a:pt x="0" y="3109"/>
                    <a:pt x="860" y="3947"/>
                    <a:pt x="1995" y="3947"/>
                  </a:cubicBezTo>
                  <a:cubicBezTo>
                    <a:pt x="3142" y="3947"/>
                    <a:pt x="4002" y="3109"/>
                    <a:pt x="4002" y="1974"/>
                  </a:cubicBezTo>
                  <a:cubicBezTo>
                    <a:pt x="4002" y="893"/>
                    <a:pt x="3142" y="0"/>
                    <a:pt x="1995" y="0"/>
                  </a:cubicBezTo>
                  <a:close/>
                  <a:moveTo>
                    <a:pt x="1995" y="3087"/>
                  </a:moveTo>
                  <a:lnTo>
                    <a:pt x="1995" y="3087"/>
                  </a:lnTo>
                  <a:cubicBezTo>
                    <a:pt x="1389" y="3087"/>
                    <a:pt x="926" y="2624"/>
                    <a:pt x="926" y="1974"/>
                  </a:cubicBezTo>
                  <a:cubicBezTo>
                    <a:pt x="926" y="1356"/>
                    <a:pt x="1356" y="871"/>
                    <a:pt x="1995" y="871"/>
                  </a:cubicBezTo>
                  <a:cubicBezTo>
                    <a:pt x="2646" y="871"/>
                    <a:pt x="3076" y="1356"/>
                    <a:pt x="3076" y="1974"/>
                  </a:cubicBezTo>
                  <a:cubicBezTo>
                    <a:pt x="3076" y="2624"/>
                    <a:pt x="2613" y="3087"/>
                    <a:pt x="1995" y="3087"/>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2" name="Freeform 5">
              <a:extLst>
                <a:ext uri="{FF2B5EF4-FFF2-40B4-BE49-F238E27FC236}">
                  <a16:creationId xmlns:a16="http://schemas.microsoft.com/office/drawing/2014/main" id="{17AD89BA-251B-DD41-A1DD-7937D0CD4AEF}"/>
                </a:ext>
              </a:extLst>
            </p:cNvPr>
            <p:cNvSpPr>
              <a:spLocks noChangeArrowheads="1"/>
            </p:cNvSpPr>
            <p:nvPr/>
          </p:nvSpPr>
          <p:spPr bwMode="auto">
            <a:xfrm>
              <a:off x="5862638" y="2627313"/>
              <a:ext cx="1420812" cy="2325687"/>
            </a:xfrm>
            <a:custGeom>
              <a:avLst/>
              <a:gdLst>
                <a:gd name="T0" fmla="*/ 3914 w 3948"/>
                <a:gd name="T1" fmla="*/ 2216 h 6462"/>
                <a:gd name="T2" fmla="*/ 3914 w 3948"/>
                <a:gd name="T3" fmla="*/ 2216 h 6462"/>
                <a:gd name="T4" fmla="*/ 3517 w 3948"/>
                <a:gd name="T5" fmla="*/ 1048 h 6462"/>
                <a:gd name="T6" fmla="*/ 3947 w 3948"/>
                <a:gd name="T7" fmla="*/ 519 h 6462"/>
                <a:gd name="T8" fmla="*/ 3263 w 3948"/>
                <a:gd name="T9" fmla="*/ 0 h 6462"/>
                <a:gd name="T10" fmla="*/ 2800 w 3948"/>
                <a:gd name="T11" fmla="*/ 519 h 6462"/>
                <a:gd name="T12" fmla="*/ 1940 w 3948"/>
                <a:gd name="T13" fmla="*/ 331 h 6462"/>
                <a:gd name="T14" fmla="*/ 0 w 3948"/>
                <a:gd name="T15" fmla="*/ 2305 h 6462"/>
                <a:gd name="T16" fmla="*/ 1510 w 3948"/>
                <a:gd name="T17" fmla="*/ 4057 h 6462"/>
                <a:gd name="T18" fmla="*/ 2954 w 3948"/>
                <a:gd name="T19" fmla="*/ 4895 h 6462"/>
                <a:gd name="T20" fmla="*/ 2061 w 3948"/>
                <a:gd name="T21" fmla="*/ 5568 h 6462"/>
                <a:gd name="T22" fmla="*/ 1080 w 3948"/>
                <a:gd name="T23" fmla="*/ 4829 h 6462"/>
                <a:gd name="T24" fmla="*/ 1080 w 3948"/>
                <a:gd name="T25" fmla="*/ 4741 h 6462"/>
                <a:gd name="T26" fmla="*/ 132 w 3948"/>
                <a:gd name="T27" fmla="*/ 4741 h 6462"/>
                <a:gd name="T28" fmla="*/ 132 w 3948"/>
                <a:gd name="T29" fmla="*/ 4829 h 6462"/>
                <a:gd name="T30" fmla="*/ 2039 w 3948"/>
                <a:gd name="T31" fmla="*/ 6461 h 6462"/>
                <a:gd name="T32" fmla="*/ 3914 w 3948"/>
                <a:gd name="T33" fmla="*/ 4951 h 6462"/>
                <a:gd name="T34" fmla="*/ 3021 w 3948"/>
                <a:gd name="T35" fmla="*/ 3694 h 6462"/>
                <a:gd name="T36" fmla="*/ 3914 w 3948"/>
                <a:gd name="T37" fmla="*/ 2216 h 6462"/>
                <a:gd name="T38" fmla="*/ 1940 w 3948"/>
                <a:gd name="T39" fmla="*/ 3286 h 6462"/>
                <a:gd name="T40" fmla="*/ 1940 w 3948"/>
                <a:gd name="T41" fmla="*/ 3286 h 6462"/>
                <a:gd name="T42" fmla="*/ 959 w 3948"/>
                <a:gd name="T43" fmla="*/ 2238 h 6462"/>
                <a:gd name="T44" fmla="*/ 1940 w 3948"/>
                <a:gd name="T45" fmla="*/ 1202 h 6462"/>
                <a:gd name="T46" fmla="*/ 2954 w 3948"/>
                <a:gd name="T47" fmla="*/ 2238 h 6462"/>
                <a:gd name="T48" fmla="*/ 1940 w 3948"/>
                <a:gd name="T49" fmla="*/ 3286 h 6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8" h="6462">
                  <a:moveTo>
                    <a:pt x="3914" y="2216"/>
                  </a:moveTo>
                  <a:lnTo>
                    <a:pt x="3914" y="2216"/>
                  </a:lnTo>
                  <a:cubicBezTo>
                    <a:pt x="3914" y="1786"/>
                    <a:pt x="3759" y="1356"/>
                    <a:pt x="3517" y="1048"/>
                  </a:cubicBezTo>
                  <a:cubicBezTo>
                    <a:pt x="3947" y="519"/>
                    <a:pt x="3947" y="519"/>
                    <a:pt x="3947" y="519"/>
                  </a:cubicBezTo>
                  <a:cubicBezTo>
                    <a:pt x="3263" y="0"/>
                    <a:pt x="3263" y="0"/>
                    <a:pt x="3263" y="0"/>
                  </a:cubicBezTo>
                  <a:cubicBezTo>
                    <a:pt x="2800" y="519"/>
                    <a:pt x="2800" y="519"/>
                    <a:pt x="2800" y="519"/>
                  </a:cubicBezTo>
                  <a:cubicBezTo>
                    <a:pt x="2558" y="397"/>
                    <a:pt x="2282" y="331"/>
                    <a:pt x="1940" y="331"/>
                  </a:cubicBezTo>
                  <a:cubicBezTo>
                    <a:pt x="805" y="331"/>
                    <a:pt x="0" y="1202"/>
                    <a:pt x="0" y="2305"/>
                  </a:cubicBezTo>
                  <a:cubicBezTo>
                    <a:pt x="0" y="3286"/>
                    <a:pt x="595" y="3903"/>
                    <a:pt x="1510" y="4057"/>
                  </a:cubicBezTo>
                  <a:cubicBezTo>
                    <a:pt x="2128" y="4179"/>
                    <a:pt x="2954" y="4157"/>
                    <a:pt x="2954" y="4895"/>
                  </a:cubicBezTo>
                  <a:cubicBezTo>
                    <a:pt x="2954" y="5292"/>
                    <a:pt x="2679" y="5568"/>
                    <a:pt x="2061" y="5568"/>
                  </a:cubicBezTo>
                  <a:cubicBezTo>
                    <a:pt x="1422" y="5568"/>
                    <a:pt x="1080" y="5193"/>
                    <a:pt x="1080" y="4829"/>
                  </a:cubicBezTo>
                  <a:cubicBezTo>
                    <a:pt x="1080" y="4796"/>
                    <a:pt x="1080" y="4763"/>
                    <a:pt x="1080" y="4741"/>
                  </a:cubicBezTo>
                  <a:cubicBezTo>
                    <a:pt x="132" y="4741"/>
                    <a:pt x="132" y="4741"/>
                    <a:pt x="132" y="4741"/>
                  </a:cubicBezTo>
                  <a:cubicBezTo>
                    <a:pt x="132" y="4763"/>
                    <a:pt x="132" y="4796"/>
                    <a:pt x="132" y="4829"/>
                  </a:cubicBezTo>
                  <a:cubicBezTo>
                    <a:pt x="132" y="5689"/>
                    <a:pt x="871" y="6461"/>
                    <a:pt x="2039" y="6461"/>
                  </a:cubicBezTo>
                  <a:cubicBezTo>
                    <a:pt x="3329" y="6461"/>
                    <a:pt x="3914" y="5689"/>
                    <a:pt x="3914" y="4951"/>
                  </a:cubicBezTo>
                  <a:cubicBezTo>
                    <a:pt x="3914" y="4245"/>
                    <a:pt x="3539" y="3870"/>
                    <a:pt x="3021" y="3694"/>
                  </a:cubicBezTo>
                  <a:cubicBezTo>
                    <a:pt x="3539" y="3440"/>
                    <a:pt x="3914" y="2889"/>
                    <a:pt x="3914" y="2216"/>
                  </a:cubicBezTo>
                  <a:close/>
                  <a:moveTo>
                    <a:pt x="1940" y="3286"/>
                  </a:moveTo>
                  <a:lnTo>
                    <a:pt x="1940" y="3286"/>
                  </a:lnTo>
                  <a:cubicBezTo>
                    <a:pt x="1356" y="3286"/>
                    <a:pt x="959" y="2889"/>
                    <a:pt x="959" y="2238"/>
                  </a:cubicBezTo>
                  <a:cubicBezTo>
                    <a:pt x="959" y="1632"/>
                    <a:pt x="1334" y="1202"/>
                    <a:pt x="1940" y="1202"/>
                  </a:cubicBezTo>
                  <a:cubicBezTo>
                    <a:pt x="2591" y="1202"/>
                    <a:pt x="2954" y="1632"/>
                    <a:pt x="2954" y="2238"/>
                  </a:cubicBezTo>
                  <a:cubicBezTo>
                    <a:pt x="2954" y="2889"/>
                    <a:pt x="2624" y="3286"/>
                    <a:pt x="1940" y="3286"/>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3" name="Freeform 6">
              <a:extLst>
                <a:ext uri="{FF2B5EF4-FFF2-40B4-BE49-F238E27FC236}">
                  <a16:creationId xmlns:a16="http://schemas.microsoft.com/office/drawing/2014/main" id="{DC084B0C-F963-5C48-822D-1B8CE308E8BC}"/>
                </a:ext>
              </a:extLst>
            </p:cNvPr>
            <p:cNvSpPr>
              <a:spLocks noChangeArrowheads="1"/>
            </p:cNvSpPr>
            <p:nvPr/>
          </p:nvSpPr>
          <p:spPr bwMode="auto">
            <a:xfrm>
              <a:off x="5299075" y="2193925"/>
              <a:ext cx="333375" cy="322263"/>
            </a:xfrm>
            <a:custGeom>
              <a:avLst/>
              <a:gdLst>
                <a:gd name="T0" fmla="*/ 0 w 927"/>
                <a:gd name="T1" fmla="*/ 893 h 894"/>
                <a:gd name="T2" fmla="*/ 926 w 927"/>
                <a:gd name="T3" fmla="*/ 893 h 894"/>
                <a:gd name="T4" fmla="*/ 926 w 927"/>
                <a:gd name="T5" fmla="*/ 0 h 894"/>
                <a:gd name="T6" fmla="*/ 0 w 927"/>
                <a:gd name="T7" fmla="*/ 0 h 894"/>
                <a:gd name="T8" fmla="*/ 0 w 927"/>
                <a:gd name="T9" fmla="*/ 893 h 894"/>
              </a:gdLst>
              <a:ahLst/>
              <a:cxnLst>
                <a:cxn ang="0">
                  <a:pos x="T0" y="T1"/>
                </a:cxn>
                <a:cxn ang="0">
                  <a:pos x="T2" y="T3"/>
                </a:cxn>
                <a:cxn ang="0">
                  <a:pos x="T4" y="T5"/>
                </a:cxn>
                <a:cxn ang="0">
                  <a:pos x="T6" y="T7"/>
                </a:cxn>
                <a:cxn ang="0">
                  <a:pos x="T8" y="T9"/>
                </a:cxn>
              </a:cxnLst>
              <a:rect l="0" t="0" r="r" b="b"/>
              <a:pathLst>
                <a:path w="927" h="894">
                  <a:moveTo>
                    <a:pt x="0" y="893"/>
                  </a:moveTo>
                  <a:lnTo>
                    <a:pt x="926" y="893"/>
                  </a:lnTo>
                  <a:lnTo>
                    <a:pt x="926" y="0"/>
                  </a:lnTo>
                  <a:lnTo>
                    <a:pt x="0" y="0"/>
                  </a:lnTo>
                  <a:lnTo>
                    <a:pt x="0" y="893"/>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4" name="Freeform 7">
              <a:extLst>
                <a:ext uri="{FF2B5EF4-FFF2-40B4-BE49-F238E27FC236}">
                  <a16:creationId xmlns:a16="http://schemas.microsoft.com/office/drawing/2014/main" id="{B7CD481C-C6B8-1A47-B32D-E42D1E2D490F}"/>
                </a:ext>
              </a:extLst>
            </p:cNvPr>
            <p:cNvSpPr>
              <a:spLocks noChangeArrowheads="1"/>
            </p:cNvSpPr>
            <p:nvPr/>
          </p:nvSpPr>
          <p:spPr bwMode="auto">
            <a:xfrm>
              <a:off x="7458075" y="2746375"/>
              <a:ext cx="1452563" cy="1420813"/>
            </a:xfrm>
            <a:custGeom>
              <a:avLst/>
              <a:gdLst>
                <a:gd name="T0" fmla="*/ 3076 w 4036"/>
                <a:gd name="T1" fmla="*/ 1764 h 3948"/>
                <a:gd name="T2" fmla="*/ 3076 w 4036"/>
                <a:gd name="T3" fmla="*/ 1764 h 3948"/>
                <a:gd name="T4" fmla="*/ 3076 w 4036"/>
                <a:gd name="T5" fmla="*/ 1974 h 3948"/>
                <a:gd name="T6" fmla="*/ 2007 w 4036"/>
                <a:gd name="T7" fmla="*/ 3087 h 3948"/>
                <a:gd name="T8" fmla="*/ 959 w 4036"/>
                <a:gd name="T9" fmla="*/ 1974 h 3948"/>
                <a:gd name="T10" fmla="*/ 2007 w 4036"/>
                <a:gd name="T11" fmla="*/ 871 h 3948"/>
                <a:gd name="T12" fmla="*/ 2062 w 4036"/>
                <a:gd name="T13" fmla="*/ 871 h 3948"/>
                <a:gd name="T14" fmla="*/ 2062 w 4036"/>
                <a:gd name="T15" fmla="*/ 0 h 3948"/>
                <a:gd name="T16" fmla="*/ 2007 w 4036"/>
                <a:gd name="T17" fmla="*/ 0 h 3948"/>
                <a:gd name="T18" fmla="*/ 0 w 4036"/>
                <a:gd name="T19" fmla="*/ 1974 h 3948"/>
                <a:gd name="T20" fmla="*/ 2007 w 4036"/>
                <a:gd name="T21" fmla="*/ 3947 h 3948"/>
                <a:gd name="T22" fmla="*/ 4035 w 4036"/>
                <a:gd name="T23" fmla="*/ 1974 h 3948"/>
                <a:gd name="T24" fmla="*/ 4002 w 4036"/>
                <a:gd name="T25" fmla="*/ 1764 h 3948"/>
                <a:gd name="T26" fmla="*/ 3076 w 4036"/>
                <a:gd name="T27" fmla="*/ 1764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6" h="3948">
                  <a:moveTo>
                    <a:pt x="3076" y="1764"/>
                  </a:moveTo>
                  <a:lnTo>
                    <a:pt x="3076" y="1764"/>
                  </a:lnTo>
                  <a:cubicBezTo>
                    <a:pt x="3076" y="1852"/>
                    <a:pt x="3076" y="1907"/>
                    <a:pt x="3076" y="1974"/>
                  </a:cubicBezTo>
                  <a:cubicBezTo>
                    <a:pt x="3076" y="2624"/>
                    <a:pt x="2624" y="3087"/>
                    <a:pt x="2007" y="3087"/>
                  </a:cubicBezTo>
                  <a:cubicBezTo>
                    <a:pt x="1422" y="3087"/>
                    <a:pt x="959" y="2624"/>
                    <a:pt x="959" y="1974"/>
                  </a:cubicBezTo>
                  <a:cubicBezTo>
                    <a:pt x="959" y="1356"/>
                    <a:pt x="1389" y="871"/>
                    <a:pt x="2007" y="871"/>
                  </a:cubicBezTo>
                  <a:cubicBezTo>
                    <a:pt x="2040" y="871"/>
                    <a:pt x="2040" y="871"/>
                    <a:pt x="2062" y="871"/>
                  </a:cubicBezTo>
                  <a:cubicBezTo>
                    <a:pt x="2062" y="0"/>
                    <a:pt x="2062" y="0"/>
                    <a:pt x="2062" y="0"/>
                  </a:cubicBezTo>
                  <a:cubicBezTo>
                    <a:pt x="2040" y="0"/>
                    <a:pt x="2040" y="0"/>
                    <a:pt x="2007" y="0"/>
                  </a:cubicBezTo>
                  <a:cubicBezTo>
                    <a:pt x="871" y="0"/>
                    <a:pt x="0" y="893"/>
                    <a:pt x="0" y="1974"/>
                  </a:cubicBezTo>
                  <a:cubicBezTo>
                    <a:pt x="0" y="3109"/>
                    <a:pt x="871" y="3947"/>
                    <a:pt x="2007" y="3947"/>
                  </a:cubicBezTo>
                  <a:cubicBezTo>
                    <a:pt x="3175" y="3947"/>
                    <a:pt x="4035" y="3109"/>
                    <a:pt x="4035" y="1974"/>
                  </a:cubicBezTo>
                  <a:cubicBezTo>
                    <a:pt x="4035" y="1907"/>
                    <a:pt x="4035" y="1852"/>
                    <a:pt x="4002" y="1764"/>
                  </a:cubicBezTo>
                  <a:lnTo>
                    <a:pt x="3076" y="176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grpSp>
        <p:nvGrpSpPr>
          <p:cNvPr id="63" name="Group 62">
            <a:extLst>
              <a:ext uri="{FF2B5EF4-FFF2-40B4-BE49-F238E27FC236}">
                <a16:creationId xmlns:a16="http://schemas.microsoft.com/office/drawing/2014/main" id="{249617DF-2CE6-3243-B1B9-08FEB94BEDE9}"/>
              </a:ext>
            </a:extLst>
          </p:cNvPr>
          <p:cNvGrpSpPr/>
          <p:nvPr userDrawn="1"/>
        </p:nvGrpSpPr>
        <p:grpSpPr>
          <a:xfrm>
            <a:off x="434640" y="4447762"/>
            <a:ext cx="1692983" cy="279387"/>
            <a:chOff x="1828800" y="3017838"/>
            <a:chExt cx="6291263" cy="1038225"/>
          </a:xfrm>
        </p:grpSpPr>
        <p:sp>
          <p:nvSpPr>
            <p:cNvPr id="64" name="Freeform 1">
              <a:extLst>
                <a:ext uri="{FF2B5EF4-FFF2-40B4-BE49-F238E27FC236}">
                  <a16:creationId xmlns:a16="http://schemas.microsoft.com/office/drawing/2014/main" id="{08526F5E-52C7-A24D-9B3C-7B37569DB457}"/>
                </a:ext>
              </a:extLst>
            </p:cNvPr>
            <p:cNvSpPr>
              <a:spLocks noChangeArrowheads="1"/>
            </p:cNvSpPr>
            <p:nvPr userDrawn="1"/>
          </p:nvSpPr>
          <p:spPr bwMode="auto">
            <a:xfrm>
              <a:off x="1831975" y="3017838"/>
              <a:ext cx="388938" cy="438150"/>
            </a:xfrm>
            <a:custGeom>
              <a:avLst/>
              <a:gdLst>
                <a:gd name="T0" fmla="*/ 1081 w 1082"/>
                <a:gd name="T1" fmla="*/ 1042 h 1215"/>
                <a:gd name="T2" fmla="*/ 1081 w 1082"/>
                <a:gd name="T3" fmla="*/ 1042 h 1215"/>
                <a:gd name="T4" fmla="*/ 873 w 1082"/>
                <a:gd name="T5" fmla="*/ 1172 h 1215"/>
                <a:gd name="T6" fmla="*/ 631 w 1082"/>
                <a:gd name="T7" fmla="*/ 1214 h 1215"/>
                <a:gd name="T8" fmla="*/ 350 w 1082"/>
                <a:gd name="T9" fmla="*/ 1164 h 1215"/>
                <a:gd name="T10" fmla="*/ 153 w 1082"/>
                <a:gd name="T11" fmla="*/ 1028 h 1215"/>
                <a:gd name="T12" fmla="*/ 39 w 1082"/>
                <a:gd name="T13" fmla="*/ 836 h 1215"/>
                <a:gd name="T14" fmla="*/ 0 w 1082"/>
                <a:gd name="T15" fmla="*/ 614 h 1215"/>
                <a:gd name="T16" fmla="*/ 39 w 1082"/>
                <a:gd name="T17" fmla="*/ 389 h 1215"/>
                <a:gd name="T18" fmla="*/ 156 w 1082"/>
                <a:gd name="T19" fmla="*/ 192 h 1215"/>
                <a:gd name="T20" fmla="*/ 353 w 1082"/>
                <a:gd name="T21" fmla="*/ 53 h 1215"/>
                <a:gd name="T22" fmla="*/ 631 w 1082"/>
                <a:gd name="T23" fmla="*/ 0 h 1215"/>
                <a:gd name="T24" fmla="*/ 864 w 1082"/>
                <a:gd name="T25" fmla="*/ 44 h 1215"/>
                <a:gd name="T26" fmla="*/ 1070 w 1082"/>
                <a:gd name="T27" fmla="*/ 178 h 1215"/>
                <a:gd name="T28" fmla="*/ 942 w 1082"/>
                <a:gd name="T29" fmla="*/ 297 h 1215"/>
                <a:gd name="T30" fmla="*/ 795 w 1082"/>
                <a:gd name="T31" fmla="*/ 206 h 1215"/>
                <a:gd name="T32" fmla="*/ 631 w 1082"/>
                <a:gd name="T33" fmla="*/ 178 h 1215"/>
                <a:gd name="T34" fmla="*/ 434 w 1082"/>
                <a:gd name="T35" fmla="*/ 214 h 1215"/>
                <a:gd name="T36" fmla="*/ 298 w 1082"/>
                <a:gd name="T37" fmla="*/ 314 h 1215"/>
                <a:gd name="T38" fmla="*/ 217 w 1082"/>
                <a:gd name="T39" fmla="*/ 453 h 1215"/>
                <a:gd name="T40" fmla="*/ 192 w 1082"/>
                <a:gd name="T41" fmla="*/ 614 h 1215"/>
                <a:gd name="T42" fmla="*/ 217 w 1082"/>
                <a:gd name="T43" fmla="*/ 769 h 1215"/>
                <a:gd name="T44" fmla="*/ 295 w 1082"/>
                <a:gd name="T45" fmla="*/ 906 h 1215"/>
                <a:gd name="T46" fmla="*/ 434 w 1082"/>
                <a:gd name="T47" fmla="*/ 1003 h 1215"/>
                <a:gd name="T48" fmla="*/ 631 w 1082"/>
                <a:gd name="T49" fmla="*/ 1039 h 1215"/>
                <a:gd name="T50" fmla="*/ 800 w 1082"/>
                <a:gd name="T51" fmla="*/ 1008 h 1215"/>
                <a:gd name="T52" fmla="*/ 950 w 1082"/>
                <a:gd name="T53" fmla="*/ 911 h 1215"/>
                <a:gd name="T54" fmla="*/ 1081 w 1082"/>
                <a:gd name="T55" fmla="*/ 1042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2" h="1215">
                  <a:moveTo>
                    <a:pt x="1081" y="1042"/>
                  </a:moveTo>
                  <a:lnTo>
                    <a:pt x="1081" y="1042"/>
                  </a:lnTo>
                  <a:cubicBezTo>
                    <a:pt x="1020" y="1100"/>
                    <a:pt x="950" y="1144"/>
                    <a:pt x="873" y="1172"/>
                  </a:cubicBezTo>
                  <a:cubicBezTo>
                    <a:pt x="798" y="1200"/>
                    <a:pt x="717" y="1214"/>
                    <a:pt x="631" y="1214"/>
                  </a:cubicBezTo>
                  <a:cubicBezTo>
                    <a:pt x="523" y="1214"/>
                    <a:pt x="431" y="1197"/>
                    <a:pt x="350" y="1164"/>
                  </a:cubicBezTo>
                  <a:cubicBezTo>
                    <a:pt x="273" y="1130"/>
                    <a:pt x="206" y="1086"/>
                    <a:pt x="153" y="1028"/>
                  </a:cubicBezTo>
                  <a:cubicBezTo>
                    <a:pt x="103" y="972"/>
                    <a:pt x="64" y="908"/>
                    <a:pt x="39" y="836"/>
                  </a:cubicBezTo>
                  <a:cubicBezTo>
                    <a:pt x="14" y="764"/>
                    <a:pt x="0" y="692"/>
                    <a:pt x="0" y="614"/>
                  </a:cubicBezTo>
                  <a:cubicBezTo>
                    <a:pt x="0" y="536"/>
                    <a:pt x="14" y="461"/>
                    <a:pt x="39" y="389"/>
                  </a:cubicBezTo>
                  <a:cubicBezTo>
                    <a:pt x="67" y="314"/>
                    <a:pt x="103" y="250"/>
                    <a:pt x="156" y="192"/>
                  </a:cubicBezTo>
                  <a:cubicBezTo>
                    <a:pt x="209" y="133"/>
                    <a:pt x="273" y="89"/>
                    <a:pt x="353" y="53"/>
                  </a:cubicBezTo>
                  <a:cubicBezTo>
                    <a:pt x="431" y="17"/>
                    <a:pt x="525" y="0"/>
                    <a:pt x="631" y="0"/>
                  </a:cubicBezTo>
                  <a:cubicBezTo>
                    <a:pt x="711" y="0"/>
                    <a:pt x="789" y="14"/>
                    <a:pt x="864" y="44"/>
                  </a:cubicBezTo>
                  <a:cubicBezTo>
                    <a:pt x="939" y="72"/>
                    <a:pt x="1009" y="117"/>
                    <a:pt x="1070" y="178"/>
                  </a:cubicBezTo>
                  <a:cubicBezTo>
                    <a:pt x="942" y="297"/>
                    <a:pt x="942" y="297"/>
                    <a:pt x="942" y="297"/>
                  </a:cubicBezTo>
                  <a:cubicBezTo>
                    <a:pt x="898" y="256"/>
                    <a:pt x="850" y="225"/>
                    <a:pt x="795" y="206"/>
                  </a:cubicBezTo>
                  <a:cubicBezTo>
                    <a:pt x="742" y="186"/>
                    <a:pt x="686" y="178"/>
                    <a:pt x="631" y="178"/>
                  </a:cubicBezTo>
                  <a:cubicBezTo>
                    <a:pt x="556" y="178"/>
                    <a:pt x="489" y="189"/>
                    <a:pt x="434" y="214"/>
                  </a:cubicBezTo>
                  <a:cubicBezTo>
                    <a:pt x="378" y="239"/>
                    <a:pt x="334" y="272"/>
                    <a:pt x="298" y="314"/>
                  </a:cubicBezTo>
                  <a:cubicBezTo>
                    <a:pt x="261" y="356"/>
                    <a:pt x="234" y="400"/>
                    <a:pt x="217" y="453"/>
                  </a:cubicBezTo>
                  <a:cubicBezTo>
                    <a:pt x="200" y="506"/>
                    <a:pt x="192" y="558"/>
                    <a:pt x="192" y="614"/>
                  </a:cubicBezTo>
                  <a:cubicBezTo>
                    <a:pt x="192" y="667"/>
                    <a:pt x="200" y="719"/>
                    <a:pt x="217" y="769"/>
                  </a:cubicBezTo>
                  <a:cubicBezTo>
                    <a:pt x="234" y="822"/>
                    <a:pt x="261" y="867"/>
                    <a:pt x="295" y="906"/>
                  </a:cubicBezTo>
                  <a:cubicBezTo>
                    <a:pt x="331" y="947"/>
                    <a:pt x="378" y="978"/>
                    <a:pt x="434" y="1003"/>
                  </a:cubicBezTo>
                  <a:cubicBezTo>
                    <a:pt x="489" y="1028"/>
                    <a:pt x="553" y="1039"/>
                    <a:pt x="631" y="1039"/>
                  </a:cubicBezTo>
                  <a:cubicBezTo>
                    <a:pt x="686" y="1039"/>
                    <a:pt x="745" y="1028"/>
                    <a:pt x="800" y="1008"/>
                  </a:cubicBezTo>
                  <a:cubicBezTo>
                    <a:pt x="859" y="986"/>
                    <a:pt x="906" y="953"/>
                    <a:pt x="950" y="911"/>
                  </a:cubicBezTo>
                  <a:lnTo>
                    <a:pt x="1081" y="104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5" name="Freeform 2">
              <a:extLst>
                <a:ext uri="{FF2B5EF4-FFF2-40B4-BE49-F238E27FC236}">
                  <a16:creationId xmlns:a16="http://schemas.microsoft.com/office/drawing/2014/main" id="{1C1B1D27-0631-1C42-883E-3E78743EE0F0}"/>
                </a:ext>
              </a:extLst>
            </p:cNvPr>
            <p:cNvSpPr>
              <a:spLocks noChangeArrowheads="1"/>
            </p:cNvSpPr>
            <p:nvPr userDrawn="1"/>
          </p:nvSpPr>
          <p:spPr bwMode="auto">
            <a:xfrm>
              <a:off x="2268538" y="3149600"/>
              <a:ext cx="293687" cy="301625"/>
            </a:xfrm>
            <a:custGeom>
              <a:avLst/>
              <a:gdLst>
                <a:gd name="T0" fmla="*/ 175 w 815"/>
                <a:gd name="T1" fmla="*/ 0 h 837"/>
                <a:gd name="T2" fmla="*/ 175 w 815"/>
                <a:gd name="T3" fmla="*/ 0 h 837"/>
                <a:gd name="T4" fmla="*/ 175 w 815"/>
                <a:gd name="T5" fmla="*/ 439 h 837"/>
                <a:gd name="T6" fmla="*/ 233 w 815"/>
                <a:gd name="T7" fmla="*/ 611 h 837"/>
                <a:gd name="T8" fmla="*/ 406 w 815"/>
                <a:gd name="T9" fmla="*/ 675 h 837"/>
                <a:gd name="T10" fmla="*/ 500 w 815"/>
                <a:gd name="T11" fmla="*/ 658 h 837"/>
                <a:gd name="T12" fmla="*/ 572 w 815"/>
                <a:gd name="T13" fmla="*/ 602 h 837"/>
                <a:gd name="T14" fmla="*/ 622 w 815"/>
                <a:gd name="T15" fmla="*/ 525 h 837"/>
                <a:gd name="T16" fmla="*/ 639 w 815"/>
                <a:gd name="T17" fmla="*/ 427 h 837"/>
                <a:gd name="T18" fmla="*/ 639 w 815"/>
                <a:gd name="T19" fmla="*/ 0 h 837"/>
                <a:gd name="T20" fmla="*/ 814 w 815"/>
                <a:gd name="T21" fmla="*/ 0 h 837"/>
                <a:gd name="T22" fmla="*/ 814 w 815"/>
                <a:gd name="T23" fmla="*/ 825 h 837"/>
                <a:gd name="T24" fmla="*/ 656 w 815"/>
                <a:gd name="T25" fmla="*/ 825 h 837"/>
                <a:gd name="T26" fmla="*/ 645 w 815"/>
                <a:gd name="T27" fmla="*/ 702 h 837"/>
                <a:gd name="T28" fmla="*/ 514 w 815"/>
                <a:gd name="T29" fmla="*/ 805 h 837"/>
                <a:gd name="T30" fmla="*/ 356 w 815"/>
                <a:gd name="T31" fmla="*/ 836 h 837"/>
                <a:gd name="T32" fmla="*/ 211 w 815"/>
                <a:gd name="T33" fmla="*/ 811 h 837"/>
                <a:gd name="T34" fmla="*/ 100 w 815"/>
                <a:gd name="T35" fmla="*/ 733 h 837"/>
                <a:gd name="T36" fmla="*/ 25 w 815"/>
                <a:gd name="T37" fmla="*/ 608 h 837"/>
                <a:gd name="T38" fmla="*/ 0 w 815"/>
                <a:gd name="T39" fmla="*/ 441 h 837"/>
                <a:gd name="T40" fmla="*/ 0 w 815"/>
                <a:gd name="T41" fmla="*/ 0 h 837"/>
                <a:gd name="T42" fmla="*/ 175 w 815"/>
                <a:gd name="T43" fmla="*/ 0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5" h="837">
                  <a:moveTo>
                    <a:pt x="175" y="0"/>
                  </a:moveTo>
                  <a:lnTo>
                    <a:pt x="175" y="0"/>
                  </a:lnTo>
                  <a:cubicBezTo>
                    <a:pt x="175" y="439"/>
                    <a:pt x="175" y="439"/>
                    <a:pt x="175" y="439"/>
                  </a:cubicBezTo>
                  <a:cubicBezTo>
                    <a:pt x="175" y="508"/>
                    <a:pt x="195" y="566"/>
                    <a:pt x="233" y="611"/>
                  </a:cubicBezTo>
                  <a:cubicBezTo>
                    <a:pt x="275" y="655"/>
                    <a:pt x="331" y="675"/>
                    <a:pt x="406" y="675"/>
                  </a:cubicBezTo>
                  <a:cubicBezTo>
                    <a:pt x="439" y="675"/>
                    <a:pt x="470" y="669"/>
                    <a:pt x="500" y="658"/>
                  </a:cubicBezTo>
                  <a:cubicBezTo>
                    <a:pt x="528" y="644"/>
                    <a:pt x="553" y="627"/>
                    <a:pt x="572" y="602"/>
                  </a:cubicBezTo>
                  <a:cubicBezTo>
                    <a:pt x="595" y="580"/>
                    <a:pt x="611" y="555"/>
                    <a:pt x="622" y="525"/>
                  </a:cubicBezTo>
                  <a:cubicBezTo>
                    <a:pt x="633" y="494"/>
                    <a:pt x="639" y="461"/>
                    <a:pt x="639" y="427"/>
                  </a:cubicBezTo>
                  <a:cubicBezTo>
                    <a:pt x="639" y="0"/>
                    <a:pt x="639" y="0"/>
                    <a:pt x="639" y="0"/>
                  </a:cubicBezTo>
                  <a:cubicBezTo>
                    <a:pt x="814" y="0"/>
                    <a:pt x="814" y="0"/>
                    <a:pt x="814" y="0"/>
                  </a:cubicBezTo>
                  <a:cubicBezTo>
                    <a:pt x="814" y="825"/>
                    <a:pt x="814" y="825"/>
                    <a:pt x="814" y="825"/>
                  </a:cubicBezTo>
                  <a:cubicBezTo>
                    <a:pt x="656" y="825"/>
                    <a:pt x="656" y="825"/>
                    <a:pt x="656" y="825"/>
                  </a:cubicBezTo>
                  <a:cubicBezTo>
                    <a:pt x="645" y="702"/>
                    <a:pt x="645" y="702"/>
                    <a:pt x="645" y="702"/>
                  </a:cubicBezTo>
                  <a:cubicBezTo>
                    <a:pt x="603" y="750"/>
                    <a:pt x="561" y="783"/>
                    <a:pt x="514" y="805"/>
                  </a:cubicBezTo>
                  <a:cubicBezTo>
                    <a:pt x="467" y="825"/>
                    <a:pt x="414" y="836"/>
                    <a:pt x="356" y="836"/>
                  </a:cubicBezTo>
                  <a:cubicBezTo>
                    <a:pt x="303" y="836"/>
                    <a:pt x="256" y="827"/>
                    <a:pt x="211" y="811"/>
                  </a:cubicBezTo>
                  <a:cubicBezTo>
                    <a:pt x="170" y="791"/>
                    <a:pt x="131" y="766"/>
                    <a:pt x="100" y="733"/>
                  </a:cubicBezTo>
                  <a:cubicBezTo>
                    <a:pt x="70" y="700"/>
                    <a:pt x="45" y="658"/>
                    <a:pt x="25" y="608"/>
                  </a:cubicBezTo>
                  <a:cubicBezTo>
                    <a:pt x="8" y="561"/>
                    <a:pt x="0" y="505"/>
                    <a:pt x="0" y="441"/>
                  </a:cubicBezTo>
                  <a:cubicBezTo>
                    <a:pt x="0" y="0"/>
                    <a:pt x="0" y="0"/>
                    <a:pt x="0" y="0"/>
                  </a:cubicBezTo>
                  <a:lnTo>
                    <a:pt x="175"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6" name="Freeform 3">
              <a:extLst>
                <a:ext uri="{FF2B5EF4-FFF2-40B4-BE49-F238E27FC236}">
                  <a16:creationId xmlns:a16="http://schemas.microsoft.com/office/drawing/2014/main" id="{FBF82886-AE9E-C04F-A294-FF0D38C07FC5}"/>
                </a:ext>
              </a:extLst>
            </p:cNvPr>
            <p:cNvSpPr>
              <a:spLocks noChangeArrowheads="1"/>
            </p:cNvSpPr>
            <p:nvPr userDrawn="1"/>
          </p:nvSpPr>
          <p:spPr bwMode="auto">
            <a:xfrm>
              <a:off x="2624138" y="3141663"/>
              <a:ext cx="268287" cy="314325"/>
            </a:xfrm>
            <a:custGeom>
              <a:avLst/>
              <a:gdLst>
                <a:gd name="T0" fmla="*/ 606 w 746"/>
                <a:gd name="T1" fmla="*/ 225 h 871"/>
                <a:gd name="T2" fmla="*/ 606 w 746"/>
                <a:gd name="T3" fmla="*/ 225 h 871"/>
                <a:gd name="T4" fmla="*/ 500 w 746"/>
                <a:gd name="T5" fmla="*/ 164 h 871"/>
                <a:gd name="T6" fmla="*/ 383 w 746"/>
                <a:gd name="T7" fmla="*/ 148 h 871"/>
                <a:gd name="T8" fmla="*/ 253 w 746"/>
                <a:gd name="T9" fmla="*/ 173 h 871"/>
                <a:gd name="T10" fmla="*/ 203 w 746"/>
                <a:gd name="T11" fmla="*/ 245 h 871"/>
                <a:gd name="T12" fmla="*/ 256 w 746"/>
                <a:gd name="T13" fmla="*/ 320 h 871"/>
                <a:gd name="T14" fmla="*/ 386 w 746"/>
                <a:gd name="T15" fmla="*/ 350 h 871"/>
                <a:gd name="T16" fmla="*/ 508 w 746"/>
                <a:gd name="T17" fmla="*/ 367 h 871"/>
                <a:gd name="T18" fmla="*/ 625 w 746"/>
                <a:gd name="T19" fmla="*/ 406 h 871"/>
                <a:gd name="T20" fmla="*/ 711 w 746"/>
                <a:gd name="T21" fmla="*/ 481 h 871"/>
                <a:gd name="T22" fmla="*/ 745 w 746"/>
                <a:gd name="T23" fmla="*/ 611 h 871"/>
                <a:gd name="T24" fmla="*/ 717 w 746"/>
                <a:gd name="T25" fmla="*/ 717 h 871"/>
                <a:gd name="T26" fmla="*/ 645 w 746"/>
                <a:gd name="T27" fmla="*/ 798 h 871"/>
                <a:gd name="T28" fmla="*/ 533 w 746"/>
                <a:gd name="T29" fmla="*/ 853 h 871"/>
                <a:gd name="T30" fmla="*/ 383 w 746"/>
                <a:gd name="T31" fmla="*/ 870 h 871"/>
                <a:gd name="T32" fmla="*/ 183 w 746"/>
                <a:gd name="T33" fmla="*/ 842 h 871"/>
                <a:gd name="T34" fmla="*/ 0 w 746"/>
                <a:gd name="T35" fmla="*/ 720 h 871"/>
                <a:gd name="T36" fmla="*/ 92 w 746"/>
                <a:gd name="T37" fmla="*/ 598 h 871"/>
                <a:gd name="T38" fmla="*/ 233 w 746"/>
                <a:gd name="T39" fmla="*/ 689 h 871"/>
                <a:gd name="T40" fmla="*/ 389 w 746"/>
                <a:gd name="T41" fmla="*/ 720 h 871"/>
                <a:gd name="T42" fmla="*/ 450 w 746"/>
                <a:gd name="T43" fmla="*/ 714 h 871"/>
                <a:gd name="T44" fmla="*/ 508 w 746"/>
                <a:gd name="T45" fmla="*/ 698 h 871"/>
                <a:gd name="T46" fmla="*/ 550 w 746"/>
                <a:gd name="T47" fmla="*/ 662 h 871"/>
                <a:gd name="T48" fmla="*/ 567 w 746"/>
                <a:gd name="T49" fmla="*/ 614 h 871"/>
                <a:gd name="T50" fmla="*/ 517 w 746"/>
                <a:gd name="T51" fmla="*/ 531 h 871"/>
                <a:gd name="T52" fmla="*/ 372 w 746"/>
                <a:gd name="T53" fmla="*/ 498 h 871"/>
                <a:gd name="T54" fmla="*/ 253 w 746"/>
                <a:gd name="T55" fmla="*/ 478 h 871"/>
                <a:gd name="T56" fmla="*/ 142 w 746"/>
                <a:gd name="T57" fmla="*/ 436 h 871"/>
                <a:gd name="T58" fmla="*/ 61 w 746"/>
                <a:gd name="T59" fmla="*/ 364 h 871"/>
                <a:gd name="T60" fmla="*/ 31 w 746"/>
                <a:gd name="T61" fmla="*/ 250 h 871"/>
                <a:gd name="T62" fmla="*/ 61 w 746"/>
                <a:gd name="T63" fmla="*/ 134 h 871"/>
                <a:gd name="T64" fmla="*/ 145 w 746"/>
                <a:gd name="T65" fmla="*/ 56 h 871"/>
                <a:gd name="T66" fmla="*/ 259 w 746"/>
                <a:gd name="T67" fmla="*/ 14 h 871"/>
                <a:gd name="T68" fmla="*/ 381 w 746"/>
                <a:gd name="T69" fmla="*/ 0 h 871"/>
                <a:gd name="T70" fmla="*/ 556 w 746"/>
                <a:gd name="T71" fmla="*/ 25 h 871"/>
                <a:gd name="T72" fmla="*/ 703 w 746"/>
                <a:gd name="T73" fmla="*/ 112 h 871"/>
                <a:gd name="T74" fmla="*/ 606 w 746"/>
                <a:gd name="T75" fmla="*/ 225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6" h="871">
                  <a:moveTo>
                    <a:pt x="606" y="225"/>
                  </a:moveTo>
                  <a:lnTo>
                    <a:pt x="606" y="225"/>
                  </a:lnTo>
                  <a:cubicBezTo>
                    <a:pt x="572" y="195"/>
                    <a:pt x="536" y="173"/>
                    <a:pt x="500" y="164"/>
                  </a:cubicBezTo>
                  <a:cubicBezTo>
                    <a:pt x="464" y="153"/>
                    <a:pt x="425" y="148"/>
                    <a:pt x="383" y="148"/>
                  </a:cubicBezTo>
                  <a:cubicBezTo>
                    <a:pt x="328" y="148"/>
                    <a:pt x="286" y="153"/>
                    <a:pt x="253" y="173"/>
                  </a:cubicBezTo>
                  <a:cubicBezTo>
                    <a:pt x="220" y="189"/>
                    <a:pt x="203" y="214"/>
                    <a:pt x="203" y="245"/>
                  </a:cubicBezTo>
                  <a:cubicBezTo>
                    <a:pt x="206" y="281"/>
                    <a:pt x="222" y="306"/>
                    <a:pt x="256" y="320"/>
                  </a:cubicBezTo>
                  <a:cubicBezTo>
                    <a:pt x="289" y="336"/>
                    <a:pt x="331" y="345"/>
                    <a:pt x="386" y="350"/>
                  </a:cubicBezTo>
                  <a:cubicBezTo>
                    <a:pt x="425" y="356"/>
                    <a:pt x="467" y="359"/>
                    <a:pt x="508" y="367"/>
                  </a:cubicBezTo>
                  <a:cubicBezTo>
                    <a:pt x="550" y="375"/>
                    <a:pt x="589" y="387"/>
                    <a:pt x="625" y="406"/>
                  </a:cubicBezTo>
                  <a:cubicBezTo>
                    <a:pt x="658" y="425"/>
                    <a:pt x="689" y="450"/>
                    <a:pt x="711" y="481"/>
                  </a:cubicBezTo>
                  <a:cubicBezTo>
                    <a:pt x="733" y="514"/>
                    <a:pt x="745" y="556"/>
                    <a:pt x="745" y="611"/>
                  </a:cubicBezTo>
                  <a:cubicBezTo>
                    <a:pt x="745" y="650"/>
                    <a:pt x="736" y="684"/>
                    <a:pt x="717" y="717"/>
                  </a:cubicBezTo>
                  <a:cubicBezTo>
                    <a:pt x="700" y="748"/>
                    <a:pt x="675" y="775"/>
                    <a:pt x="645" y="798"/>
                  </a:cubicBezTo>
                  <a:cubicBezTo>
                    <a:pt x="614" y="823"/>
                    <a:pt x="575" y="839"/>
                    <a:pt x="533" y="853"/>
                  </a:cubicBezTo>
                  <a:cubicBezTo>
                    <a:pt x="489" y="864"/>
                    <a:pt x="439" y="870"/>
                    <a:pt x="383" y="870"/>
                  </a:cubicBezTo>
                  <a:cubicBezTo>
                    <a:pt x="317" y="870"/>
                    <a:pt x="250" y="862"/>
                    <a:pt x="183" y="842"/>
                  </a:cubicBezTo>
                  <a:cubicBezTo>
                    <a:pt x="117" y="820"/>
                    <a:pt x="56" y="781"/>
                    <a:pt x="0" y="720"/>
                  </a:cubicBezTo>
                  <a:cubicBezTo>
                    <a:pt x="92" y="598"/>
                    <a:pt x="92" y="598"/>
                    <a:pt x="92" y="598"/>
                  </a:cubicBezTo>
                  <a:cubicBezTo>
                    <a:pt x="133" y="639"/>
                    <a:pt x="181" y="673"/>
                    <a:pt x="233" y="689"/>
                  </a:cubicBezTo>
                  <a:cubicBezTo>
                    <a:pt x="286" y="709"/>
                    <a:pt x="339" y="720"/>
                    <a:pt x="389" y="720"/>
                  </a:cubicBezTo>
                  <a:cubicBezTo>
                    <a:pt x="408" y="720"/>
                    <a:pt x="431" y="720"/>
                    <a:pt x="450" y="714"/>
                  </a:cubicBezTo>
                  <a:cubicBezTo>
                    <a:pt x="472" y="711"/>
                    <a:pt x="492" y="706"/>
                    <a:pt x="508" y="698"/>
                  </a:cubicBezTo>
                  <a:cubicBezTo>
                    <a:pt x="525" y="686"/>
                    <a:pt x="539" y="675"/>
                    <a:pt x="550" y="662"/>
                  </a:cubicBezTo>
                  <a:cubicBezTo>
                    <a:pt x="561" y="648"/>
                    <a:pt x="567" y="631"/>
                    <a:pt x="567" y="614"/>
                  </a:cubicBezTo>
                  <a:cubicBezTo>
                    <a:pt x="570" y="575"/>
                    <a:pt x="553" y="548"/>
                    <a:pt x="517" y="531"/>
                  </a:cubicBezTo>
                  <a:cubicBezTo>
                    <a:pt x="483" y="514"/>
                    <a:pt x="436" y="503"/>
                    <a:pt x="372" y="498"/>
                  </a:cubicBezTo>
                  <a:cubicBezTo>
                    <a:pt x="333" y="495"/>
                    <a:pt x="292" y="489"/>
                    <a:pt x="253" y="478"/>
                  </a:cubicBezTo>
                  <a:cubicBezTo>
                    <a:pt x="211" y="470"/>
                    <a:pt x="175" y="456"/>
                    <a:pt x="142" y="436"/>
                  </a:cubicBezTo>
                  <a:cubicBezTo>
                    <a:pt x="108" y="420"/>
                    <a:pt x="84" y="395"/>
                    <a:pt x="61" y="364"/>
                  </a:cubicBezTo>
                  <a:cubicBezTo>
                    <a:pt x="39" y="334"/>
                    <a:pt x="31" y="298"/>
                    <a:pt x="31" y="250"/>
                  </a:cubicBezTo>
                  <a:cubicBezTo>
                    <a:pt x="31" y="206"/>
                    <a:pt x="42" y="167"/>
                    <a:pt x="61" y="134"/>
                  </a:cubicBezTo>
                  <a:cubicBezTo>
                    <a:pt x="84" y="103"/>
                    <a:pt x="111" y="78"/>
                    <a:pt x="145" y="56"/>
                  </a:cubicBezTo>
                  <a:cubicBezTo>
                    <a:pt x="181" y="37"/>
                    <a:pt x="217" y="23"/>
                    <a:pt x="259" y="14"/>
                  </a:cubicBezTo>
                  <a:cubicBezTo>
                    <a:pt x="300" y="6"/>
                    <a:pt x="339" y="0"/>
                    <a:pt x="381" y="0"/>
                  </a:cubicBezTo>
                  <a:cubicBezTo>
                    <a:pt x="445" y="0"/>
                    <a:pt x="503" y="9"/>
                    <a:pt x="556" y="25"/>
                  </a:cubicBezTo>
                  <a:cubicBezTo>
                    <a:pt x="606" y="42"/>
                    <a:pt x="656" y="70"/>
                    <a:pt x="703" y="112"/>
                  </a:cubicBezTo>
                  <a:lnTo>
                    <a:pt x="606" y="2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7" name="Freeform 4">
              <a:extLst>
                <a:ext uri="{FF2B5EF4-FFF2-40B4-BE49-F238E27FC236}">
                  <a16:creationId xmlns:a16="http://schemas.microsoft.com/office/drawing/2014/main" id="{AA00FF42-3F22-C740-8AC3-5086F24542CB}"/>
                </a:ext>
              </a:extLst>
            </p:cNvPr>
            <p:cNvSpPr>
              <a:spLocks noChangeArrowheads="1"/>
            </p:cNvSpPr>
            <p:nvPr userDrawn="1"/>
          </p:nvSpPr>
          <p:spPr bwMode="auto">
            <a:xfrm>
              <a:off x="2928938" y="3063875"/>
              <a:ext cx="223837" cy="387350"/>
            </a:xfrm>
            <a:custGeom>
              <a:avLst/>
              <a:gdLst>
                <a:gd name="T0" fmla="*/ 342 w 621"/>
                <a:gd name="T1" fmla="*/ 0 h 1076"/>
                <a:gd name="T2" fmla="*/ 342 w 621"/>
                <a:gd name="T3" fmla="*/ 0 h 1076"/>
                <a:gd name="T4" fmla="*/ 342 w 621"/>
                <a:gd name="T5" fmla="*/ 239 h 1076"/>
                <a:gd name="T6" fmla="*/ 586 w 621"/>
                <a:gd name="T7" fmla="*/ 239 h 1076"/>
                <a:gd name="T8" fmla="*/ 586 w 621"/>
                <a:gd name="T9" fmla="*/ 391 h 1076"/>
                <a:gd name="T10" fmla="*/ 339 w 621"/>
                <a:gd name="T11" fmla="*/ 391 h 1076"/>
                <a:gd name="T12" fmla="*/ 339 w 621"/>
                <a:gd name="T13" fmla="*/ 780 h 1076"/>
                <a:gd name="T14" fmla="*/ 369 w 621"/>
                <a:gd name="T15" fmla="*/ 880 h 1076"/>
                <a:gd name="T16" fmla="*/ 461 w 621"/>
                <a:gd name="T17" fmla="*/ 916 h 1076"/>
                <a:gd name="T18" fmla="*/ 514 w 621"/>
                <a:gd name="T19" fmla="*/ 908 h 1076"/>
                <a:gd name="T20" fmla="*/ 567 w 621"/>
                <a:gd name="T21" fmla="*/ 889 h 1076"/>
                <a:gd name="T22" fmla="*/ 620 w 621"/>
                <a:gd name="T23" fmla="*/ 1036 h 1076"/>
                <a:gd name="T24" fmla="*/ 533 w 621"/>
                <a:gd name="T25" fmla="*/ 1064 h 1076"/>
                <a:gd name="T26" fmla="*/ 450 w 621"/>
                <a:gd name="T27" fmla="*/ 1072 h 1076"/>
                <a:gd name="T28" fmla="*/ 236 w 621"/>
                <a:gd name="T29" fmla="*/ 1002 h 1076"/>
                <a:gd name="T30" fmla="*/ 164 w 621"/>
                <a:gd name="T31" fmla="*/ 783 h 1076"/>
                <a:gd name="T32" fmla="*/ 164 w 621"/>
                <a:gd name="T33" fmla="*/ 391 h 1076"/>
                <a:gd name="T34" fmla="*/ 0 w 621"/>
                <a:gd name="T35" fmla="*/ 391 h 1076"/>
                <a:gd name="T36" fmla="*/ 0 w 621"/>
                <a:gd name="T37" fmla="*/ 239 h 1076"/>
                <a:gd name="T38" fmla="*/ 164 w 621"/>
                <a:gd name="T39" fmla="*/ 239 h 1076"/>
                <a:gd name="T40" fmla="*/ 164 w 621"/>
                <a:gd name="T41" fmla="*/ 19 h 1076"/>
                <a:gd name="T42" fmla="*/ 342 w 621"/>
                <a:gd name="T43" fmla="*/ 0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1" h="1076">
                  <a:moveTo>
                    <a:pt x="342" y="0"/>
                  </a:moveTo>
                  <a:lnTo>
                    <a:pt x="342" y="0"/>
                  </a:lnTo>
                  <a:cubicBezTo>
                    <a:pt x="342" y="239"/>
                    <a:pt x="342" y="239"/>
                    <a:pt x="342" y="239"/>
                  </a:cubicBezTo>
                  <a:cubicBezTo>
                    <a:pt x="586" y="239"/>
                    <a:pt x="586" y="239"/>
                    <a:pt x="586" y="239"/>
                  </a:cubicBezTo>
                  <a:cubicBezTo>
                    <a:pt x="586" y="391"/>
                    <a:pt x="586" y="391"/>
                    <a:pt x="586" y="391"/>
                  </a:cubicBezTo>
                  <a:cubicBezTo>
                    <a:pt x="339" y="391"/>
                    <a:pt x="339" y="391"/>
                    <a:pt x="339" y="391"/>
                  </a:cubicBezTo>
                  <a:cubicBezTo>
                    <a:pt x="339" y="780"/>
                    <a:pt x="339" y="780"/>
                    <a:pt x="339" y="780"/>
                  </a:cubicBezTo>
                  <a:cubicBezTo>
                    <a:pt x="339" y="825"/>
                    <a:pt x="350" y="858"/>
                    <a:pt x="369" y="880"/>
                  </a:cubicBezTo>
                  <a:cubicBezTo>
                    <a:pt x="389" y="905"/>
                    <a:pt x="420" y="916"/>
                    <a:pt x="461" y="916"/>
                  </a:cubicBezTo>
                  <a:cubicBezTo>
                    <a:pt x="478" y="916"/>
                    <a:pt x="494" y="914"/>
                    <a:pt x="514" y="908"/>
                  </a:cubicBezTo>
                  <a:cubicBezTo>
                    <a:pt x="533" y="905"/>
                    <a:pt x="550" y="897"/>
                    <a:pt x="567" y="889"/>
                  </a:cubicBezTo>
                  <a:cubicBezTo>
                    <a:pt x="620" y="1036"/>
                    <a:pt x="620" y="1036"/>
                    <a:pt x="620" y="1036"/>
                  </a:cubicBezTo>
                  <a:cubicBezTo>
                    <a:pt x="589" y="1047"/>
                    <a:pt x="561" y="1058"/>
                    <a:pt x="533" y="1064"/>
                  </a:cubicBezTo>
                  <a:cubicBezTo>
                    <a:pt x="508" y="1069"/>
                    <a:pt x="481" y="1072"/>
                    <a:pt x="450" y="1072"/>
                  </a:cubicBezTo>
                  <a:cubicBezTo>
                    <a:pt x="358" y="1075"/>
                    <a:pt x="286" y="1050"/>
                    <a:pt x="236" y="1002"/>
                  </a:cubicBezTo>
                  <a:cubicBezTo>
                    <a:pt x="189" y="952"/>
                    <a:pt x="164" y="880"/>
                    <a:pt x="164" y="783"/>
                  </a:cubicBezTo>
                  <a:cubicBezTo>
                    <a:pt x="164" y="391"/>
                    <a:pt x="164" y="391"/>
                    <a:pt x="164" y="391"/>
                  </a:cubicBezTo>
                  <a:cubicBezTo>
                    <a:pt x="0" y="391"/>
                    <a:pt x="0" y="391"/>
                    <a:pt x="0" y="391"/>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8" name="Freeform 5">
              <a:extLst>
                <a:ext uri="{FF2B5EF4-FFF2-40B4-BE49-F238E27FC236}">
                  <a16:creationId xmlns:a16="http://schemas.microsoft.com/office/drawing/2014/main" id="{C4EE45D9-A5B2-3340-A884-8CB6BE0C9CA3}"/>
                </a:ext>
              </a:extLst>
            </p:cNvPr>
            <p:cNvSpPr>
              <a:spLocks noChangeArrowheads="1"/>
            </p:cNvSpPr>
            <p:nvPr userDrawn="1"/>
          </p:nvSpPr>
          <p:spPr bwMode="auto">
            <a:xfrm>
              <a:off x="3186113" y="3143250"/>
              <a:ext cx="314325" cy="307975"/>
            </a:xfrm>
            <a:custGeom>
              <a:avLst/>
              <a:gdLst>
                <a:gd name="T0" fmla="*/ 433 w 873"/>
                <a:gd name="T1" fmla="*/ 0 h 857"/>
                <a:gd name="T2" fmla="*/ 433 w 873"/>
                <a:gd name="T3" fmla="*/ 0 h 857"/>
                <a:gd name="T4" fmla="*/ 611 w 873"/>
                <a:gd name="T5" fmla="*/ 33 h 857"/>
                <a:gd name="T6" fmla="*/ 750 w 873"/>
                <a:gd name="T7" fmla="*/ 125 h 857"/>
                <a:gd name="T8" fmla="*/ 839 w 873"/>
                <a:gd name="T9" fmla="*/ 261 h 857"/>
                <a:gd name="T10" fmla="*/ 872 w 873"/>
                <a:gd name="T11" fmla="*/ 428 h 857"/>
                <a:gd name="T12" fmla="*/ 839 w 873"/>
                <a:gd name="T13" fmla="*/ 597 h 857"/>
                <a:gd name="T14" fmla="*/ 753 w 873"/>
                <a:gd name="T15" fmla="*/ 733 h 857"/>
                <a:gd name="T16" fmla="*/ 614 w 873"/>
                <a:gd name="T17" fmla="*/ 825 h 857"/>
                <a:gd name="T18" fmla="*/ 433 w 873"/>
                <a:gd name="T19" fmla="*/ 856 h 857"/>
                <a:gd name="T20" fmla="*/ 256 w 873"/>
                <a:gd name="T21" fmla="*/ 825 h 857"/>
                <a:gd name="T22" fmla="*/ 117 w 873"/>
                <a:gd name="T23" fmla="*/ 733 h 857"/>
                <a:gd name="T24" fmla="*/ 31 w 873"/>
                <a:gd name="T25" fmla="*/ 597 h 857"/>
                <a:gd name="T26" fmla="*/ 0 w 873"/>
                <a:gd name="T27" fmla="*/ 428 h 857"/>
                <a:gd name="T28" fmla="*/ 31 w 873"/>
                <a:gd name="T29" fmla="*/ 261 h 857"/>
                <a:gd name="T30" fmla="*/ 120 w 873"/>
                <a:gd name="T31" fmla="*/ 125 h 857"/>
                <a:gd name="T32" fmla="*/ 256 w 873"/>
                <a:gd name="T33" fmla="*/ 33 h 857"/>
                <a:gd name="T34" fmla="*/ 433 w 873"/>
                <a:gd name="T35" fmla="*/ 0 h 857"/>
                <a:gd name="T36" fmla="*/ 433 w 873"/>
                <a:gd name="T37" fmla="*/ 161 h 857"/>
                <a:gd name="T38" fmla="*/ 433 w 873"/>
                <a:gd name="T39" fmla="*/ 161 h 857"/>
                <a:gd name="T40" fmla="*/ 325 w 873"/>
                <a:gd name="T41" fmla="*/ 181 h 857"/>
                <a:gd name="T42" fmla="*/ 245 w 873"/>
                <a:gd name="T43" fmla="*/ 242 h 857"/>
                <a:gd name="T44" fmla="*/ 195 w 873"/>
                <a:gd name="T45" fmla="*/ 328 h 857"/>
                <a:gd name="T46" fmla="*/ 175 w 873"/>
                <a:gd name="T47" fmla="*/ 430 h 857"/>
                <a:gd name="T48" fmla="*/ 195 w 873"/>
                <a:gd name="T49" fmla="*/ 533 h 857"/>
                <a:gd name="T50" fmla="*/ 245 w 873"/>
                <a:gd name="T51" fmla="*/ 617 h 857"/>
                <a:gd name="T52" fmla="*/ 325 w 873"/>
                <a:gd name="T53" fmla="*/ 675 h 857"/>
                <a:gd name="T54" fmla="*/ 433 w 873"/>
                <a:gd name="T55" fmla="*/ 697 h 857"/>
                <a:gd name="T56" fmla="*/ 542 w 873"/>
                <a:gd name="T57" fmla="*/ 675 h 857"/>
                <a:gd name="T58" fmla="*/ 625 w 873"/>
                <a:gd name="T59" fmla="*/ 617 h 857"/>
                <a:gd name="T60" fmla="*/ 675 w 873"/>
                <a:gd name="T61" fmla="*/ 533 h 857"/>
                <a:gd name="T62" fmla="*/ 694 w 873"/>
                <a:gd name="T63" fmla="*/ 430 h 857"/>
                <a:gd name="T64" fmla="*/ 675 w 873"/>
                <a:gd name="T65" fmla="*/ 328 h 857"/>
                <a:gd name="T66" fmla="*/ 622 w 873"/>
                <a:gd name="T67" fmla="*/ 242 h 857"/>
                <a:gd name="T68" fmla="*/ 539 w 873"/>
                <a:gd name="T69" fmla="*/ 181 h 857"/>
                <a:gd name="T70" fmla="*/ 433 w 873"/>
                <a:gd name="T71" fmla="*/ 161 h 857"/>
                <a:gd name="T72" fmla="*/ 433 w 873"/>
                <a:gd name="T73"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57">
                  <a:moveTo>
                    <a:pt x="433" y="0"/>
                  </a:moveTo>
                  <a:lnTo>
                    <a:pt x="433" y="0"/>
                  </a:lnTo>
                  <a:cubicBezTo>
                    <a:pt x="500" y="0"/>
                    <a:pt x="558" y="11"/>
                    <a:pt x="611" y="33"/>
                  </a:cubicBezTo>
                  <a:cubicBezTo>
                    <a:pt x="664" y="56"/>
                    <a:pt x="711" y="86"/>
                    <a:pt x="750" y="125"/>
                  </a:cubicBezTo>
                  <a:cubicBezTo>
                    <a:pt x="789" y="161"/>
                    <a:pt x="820" y="208"/>
                    <a:pt x="839" y="261"/>
                  </a:cubicBezTo>
                  <a:cubicBezTo>
                    <a:pt x="861" y="314"/>
                    <a:pt x="872" y="369"/>
                    <a:pt x="872" y="428"/>
                  </a:cubicBezTo>
                  <a:cubicBezTo>
                    <a:pt x="872" y="489"/>
                    <a:pt x="861" y="547"/>
                    <a:pt x="839" y="597"/>
                  </a:cubicBezTo>
                  <a:cubicBezTo>
                    <a:pt x="820" y="650"/>
                    <a:pt x="792" y="694"/>
                    <a:pt x="753" y="733"/>
                  </a:cubicBezTo>
                  <a:cubicBezTo>
                    <a:pt x="714" y="772"/>
                    <a:pt x="667" y="803"/>
                    <a:pt x="614" y="825"/>
                  </a:cubicBezTo>
                  <a:cubicBezTo>
                    <a:pt x="561" y="847"/>
                    <a:pt x="500" y="856"/>
                    <a:pt x="433" y="856"/>
                  </a:cubicBezTo>
                  <a:cubicBezTo>
                    <a:pt x="367" y="856"/>
                    <a:pt x="308" y="847"/>
                    <a:pt x="256" y="825"/>
                  </a:cubicBezTo>
                  <a:cubicBezTo>
                    <a:pt x="200" y="803"/>
                    <a:pt x="156" y="772"/>
                    <a:pt x="117" y="733"/>
                  </a:cubicBezTo>
                  <a:cubicBezTo>
                    <a:pt x="81" y="694"/>
                    <a:pt x="50" y="650"/>
                    <a:pt x="31" y="597"/>
                  </a:cubicBezTo>
                  <a:cubicBezTo>
                    <a:pt x="11" y="547"/>
                    <a:pt x="0" y="489"/>
                    <a:pt x="0" y="428"/>
                  </a:cubicBezTo>
                  <a:cubicBezTo>
                    <a:pt x="0" y="369"/>
                    <a:pt x="11" y="314"/>
                    <a:pt x="31" y="261"/>
                  </a:cubicBezTo>
                  <a:cubicBezTo>
                    <a:pt x="50" y="208"/>
                    <a:pt x="81" y="161"/>
                    <a:pt x="120" y="125"/>
                  </a:cubicBezTo>
                  <a:cubicBezTo>
                    <a:pt x="156" y="86"/>
                    <a:pt x="203" y="56"/>
                    <a:pt x="256" y="33"/>
                  </a:cubicBezTo>
                  <a:cubicBezTo>
                    <a:pt x="308" y="11"/>
                    <a:pt x="370" y="0"/>
                    <a:pt x="433" y="0"/>
                  </a:cubicBezTo>
                  <a:lnTo>
                    <a:pt x="433" y="161"/>
                  </a:lnTo>
                  <a:lnTo>
                    <a:pt x="433" y="161"/>
                  </a:lnTo>
                  <a:cubicBezTo>
                    <a:pt x="394" y="161"/>
                    <a:pt x="358" y="167"/>
                    <a:pt x="325" y="181"/>
                  </a:cubicBezTo>
                  <a:cubicBezTo>
                    <a:pt x="295" y="197"/>
                    <a:pt x="267" y="217"/>
                    <a:pt x="245" y="242"/>
                  </a:cubicBezTo>
                  <a:cubicBezTo>
                    <a:pt x="222" y="267"/>
                    <a:pt x="206" y="294"/>
                    <a:pt x="195" y="328"/>
                  </a:cubicBezTo>
                  <a:cubicBezTo>
                    <a:pt x="181" y="358"/>
                    <a:pt x="175" y="394"/>
                    <a:pt x="175" y="430"/>
                  </a:cubicBezTo>
                  <a:cubicBezTo>
                    <a:pt x="175" y="467"/>
                    <a:pt x="181" y="500"/>
                    <a:pt x="195" y="533"/>
                  </a:cubicBezTo>
                  <a:cubicBezTo>
                    <a:pt x="206" y="567"/>
                    <a:pt x="222" y="594"/>
                    <a:pt x="245" y="617"/>
                  </a:cubicBezTo>
                  <a:cubicBezTo>
                    <a:pt x="267" y="642"/>
                    <a:pt x="295" y="661"/>
                    <a:pt x="325" y="675"/>
                  </a:cubicBezTo>
                  <a:cubicBezTo>
                    <a:pt x="358" y="689"/>
                    <a:pt x="394" y="697"/>
                    <a:pt x="433" y="697"/>
                  </a:cubicBezTo>
                  <a:cubicBezTo>
                    <a:pt x="475" y="697"/>
                    <a:pt x="511" y="689"/>
                    <a:pt x="542" y="675"/>
                  </a:cubicBezTo>
                  <a:cubicBezTo>
                    <a:pt x="575" y="661"/>
                    <a:pt x="603" y="642"/>
                    <a:pt x="625" y="617"/>
                  </a:cubicBezTo>
                  <a:cubicBezTo>
                    <a:pt x="647" y="594"/>
                    <a:pt x="664" y="567"/>
                    <a:pt x="675" y="533"/>
                  </a:cubicBezTo>
                  <a:cubicBezTo>
                    <a:pt x="686" y="500"/>
                    <a:pt x="694" y="467"/>
                    <a:pt x="694" y="430"/>
                  </a:cubicBezTo>
                  <a:cubicBezTo>
                    <a:pt x="694" y="394"/>
                    <a:pt x="686" y="358"/>
                    <a:pt x="675" y="328"/>
                  </a:cubicBezTo>
                  <a:cubicBezTo>
                    <a:pt x="661" y="294"/>
                    <a:pt x="645" y="267"/>
                    <a:pt x="622" y="242"/>
                  </a:cubicBezTo>
                  <a:cubicBezTo>
                    <a:pt x="600" y="217"/>
                    <a:pt x="572" y="197"/>
                    <a:pt x="539" y="181"/>
                  </a:cubicBezTo>
                  <a:cubicBezTo>
                    <a:pt x="508" y="167"/>
                    <a:pt x="472" y="161"/>
                    <a:pt x="433" y="161"/>
                  </a:cubicBezTo>
                  <a:lnTo>
                    <a:pt x="433"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9" name="Freeform 6">
              <a:extLst>
                <a:ext uri="{FF2B5EF4-FFF2-40B4-BE49-F238E27FC236}">
                  <a16:creationId xmlns:a16="http://schemas.microsoft.com/office/drawing/2014/main" id="{B0316715-7EBD-7246-939D-5A483B415505}"/>
                </a:ext>
              </a:extLst>
            </p:cNvPr>
            <p:cNvSpPr>
              <a:spLocks noChangeArrowheads="1"/>
            </p:cNvSpPr>
            <p:nvPr userDrawn="1"/>
          </p:nvSpPr>
          <p:spPr bwMode="auto">
            <a:xfrm>
              <a:off x="3567113" y="3143250"/>
              <a:ext cx="476250" cy="301625"/>
            </a:xfrm>
            <a:custGeom>
              <a:avLst/>
              <a:gdLst>
                <a:gd name="T0" fmla="*/ 575 w 1321"/>
                <a:gd name="T1" fmla="*/ 839 h 840"/>
                <a:gd name="T2" fmla="*/ 575 w 1321"/>
                <a:gd name="T3" fmla="*/ 839 h 840"/>
                <a:gd name="T4" fmla="*/ 575 w 1321"/>
                <a:gd name="T5" fmla="*/ 386 h 840"/>
                <a:gd name="T6" fmla="*/ 561 w 1321"/>
                <a:gd name="T7" fmla="*/ 300 h 840"/>
                <a:gd name="T8" fmla="*/ 523 w 1321"/>
                <a:gd name="T9" fmla="*/ 228 h 840"/>
                <a:gd name="T10" fmla="*/ 461 w 1321"/>
                <a:gd name="T11" fmla="*/ 181 h 840"/>
                <a:gd name="T12" fmla="*/ 378 w 1321"/>
                <a:gd name="T13" fmla="*/ 161 h 840"/>
                <a:gd name="T14" fmla="*/ 295 w 1321"/>
                <a:gd name="T15" fmla="*/ 181 h 840"/>
                <a:gd name="T16" fmla="*/ 231 w 1321"/>
                <a:gd name="T17" fmla="*/ 228 h 840"/>
                <a:gd name="T18" fmla="*/ 189 w 1321"/>
                <a:gd name="T19" fmla="*/ 300 h 840"/>
                <a:gd name="T20" fmla="*/ 175 w 1321"/>
                <a:gd name="T21" fmla="*/ 386 h 840"/>
                <a:gd name="T22" fmla="*/ 175 w 1321"/>
                <a:gd name="T23" fmla="*/ 839 h 840"/>
                <a:gd name="T24" fmla="*/ 0 w 1321"/>
                <a:gd name="T25" fmla="*/ 839 h 840"/>
                <a:gd name="T26" fmla="*/ 0 w 1321"/>
                <a:gd name="T27" fmla="*/ 14 h 840"/>
                <a:gd name="T28" fmla="*/ 164 w 1321"/>
                <a:gd name="T29" fmla="*/ 14 h 840"/>
                <a:gd name="T30" fmla="*/ 175 w 1321"/>
                <a:gd name="T31" fmla="*/ 125 h 840"/>
                <a:gd name="T32" fmla="*/ 278 w 1321"/>
                <a:gd name="T33" fmla="*/ 28 h 840"/>
                <a:gd name="T34" fmla="*/ 411 w 1321"/>
                <a:gd name="T35" fmla="*/ 0 h 840"/>
                <a:gd name="T36" fmla="*/ 492 w 1321"/>
                <a:gd name="T37" fmla="*/ 8 h 840"/>
                <a:gd name="T38" fmla="*/ 564 w 1321"/>
                <a:gd name="T39" fmla="*/ 39 h 840"/>
                <a:gd name="T40" fmla="*/ 628 w 1321"/>
                <a:gd name="T41" fmla="*/ 89 h 840"/>
                <a:gd name="T42" fmla="*/ 675 w 1321"/>
                <a:gd name="T43" fmla="*/ 167 h 840"/>
                <a:gd name="T44" fmla="*/ 800 w 1321"/>
                <a:gd name="T45" fmla="*/ 39 h 840"/>
                <a:gd name="T46" fmla="*/ 964 w 1321"/>
                <a:gd name="T47" fmla="*/ 3 h 840"/>
                <a:gd name="T48" fmla="*/ 1231 w 1321"/>
                <a:gd name="T49" fmla="*/ 103 h 840"/>
                <a:gd name="T50" fmla="*/ 1320 w 1321"/>
                <a:gd name="T51" fmla="*/ 383 h 840"/>
                <a:gd name="T52" fmla="*/ 1320 w 1321"/>
                <a:gd name="T53" fmla="*/ 839 h 840"/>
                <a:gd name="T54" fmla="*/ 1142 w 1321"/>
                <a:gd name="T55" fmla="*/ 839 h 840"/>
                <a:gd name="T56" fmla="*/ 1142 w 1321"/>
                <a:gd name="T57" fmla="*/ 383 h 840"/>
                <a:gd name="T58" fmla="*/ 1131 w 1321"/>
                <a:gd name="T59" fmla="*/ 297 h 840"/>
                <a:gd name="T60" fmla="*/ 1095 w 1321"/>
                <a:gd name="T61" fmla="*/ 228 h 840"/>
                <a:gd name="T62" fmla="*/ 1039 w 1321"/>
                <a:gd name="T63" fmla="*/ 181 h 840"/>
                <a:gd name="T64" fmla="*/ 956 w 1321"/>
                <a:gd name="T65" fmla="*/ 164 h 840"/>
                <a:gd name="T66" fmla="*/ 873 w 1321"/>
                <a:gd name="T67" fmla="*/ 181 h 840"/>
                <a:gd name="T68" fmla="*/ 809 w 1321"/>
                <a:gd name="T69" fmla="*/ 228 h 840"/>
                <a:gd name="T70" fmla="*/ 767 w 1321"/>
                <a:gd name="T71" fmla="*/ 300 h 840"/>
                <a:gd name="T72" fmla="*/ 753 w 1321"/>
                <a:gd name="T73" fmla="*/ 386 h 840"/>
                <a:gd name="T74" fmla="*/ 753 w 1321"/>
                <a:gd name="T75" fmla="*/ 839 h 840"/>
                <a:gd name="T76" fmla="*/ 575 w 1321"/>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1" h="840">
                  <a:moveTo>
                    <a:pt x="575" y="839"/>
                  </a:moveTo>
                  <a:lnTo>
                    <a:pt x="575" y="839"/>
                  </a:lnTo>
                  <a:cubicBezTo>
                    <a:pt x="575" y="386"/>
                    <a:pt x="575" y="386"/>
                    <a:pt x="575" y="386"/>
                  </a:cubicBezTo>
                  <a:cubicBezTo>
                    <a:pt x="575" y="356"/>
                    <a:pt x="570" y="328"/>
                    <a:pt x="561" y="300"/>
                  </a:cubicBezTo>
                  <a:cubicBezTo>
                    <a:pt x="553" y="272"/>
                    <a:pt x="539" y="247"/>
                    <a:pt x="523" y="228"/>
                  </a:cubicBezTo>
                  <a:cubicBezTo>
                    <a:pt x="506" y="208"/>
                    <a:pt x="486" y="192"/>
                    <a:pt x="461" y="181"/>
                  </a:cubicBezTo>
                  <a:cubicBezTo>
                    <a:pt x="436" y="167"/>
                    <a:pt x="409" y="161"/>
                    <a:pt x="378" y="161"/>
                  </a:cubicBezTo>
                  <a:cubicBezTo>
                    <a:pt x="348" y="161"/>
                    <a:pt x="320" y="167"/>
                    <a:pt x="295" y="181"/>
                  </a:cubicBezTo>
                  <a:cubicBezTo>
                    <a:pt x="270" y="192"/>
                    <a:pt x="248" y="208"/>
                    <a:pt x="231" y="228"/>
                  </a:cubicBezTo>
                  <a:cubicBezTo>
                    <a:pt x="211" y="247"/>
                    <a:pt x="200" y="272"/>
                    <a:pt x="189" y="300"/>
                  </a:cubicBezTo>
                  <a:cubicBezTo>
                    <a:pt x="181" y="328"/>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198" y="78"/>
                    <a:pt x="234" y="47"/>
                    <a:pt x="278" y="28"/>
                  </a:cubicBezTo>
                  <a:cubicBezTo>
                    <a:pt x="323" y="11"/>
                    <a:pt x="367" y="0"/>
                    <a:pt x="411" y="0"/>
                  </a:cubicBezTo>
                  <a:cubicBezTo>
                    <a:pt x="439" y="0"/>
                    <a:pt x="464" y="3"/>
                    <a:pt x="492" y="8"/>
                  </a:cubicBezTo>
                  <a:cubicBezTo>
                    <a:pt x="517" y="14"/>
                    <a:pt x="542" y="25"/>
                    <a:pt x="564" y="39"/>
                  </a:cubicBezTo>
                  <a:cubicBezTo>
                    <a:pt x="589" y="50"/>
                    <a:pt x="609" y="69"/>
                    <a:pt x="628" y="89"/>
                  </a:cubicBezTo>
                  <a:cubicBezTo>
                    <a:pt x="647" y="111"/>
                    <a:pt x="661" y="136"/>
                    <a:pt x="675" y="167"/>
                  </a:cubicBezTo>
                  <a:cubicBezTo>
                    <a:pt x="709" y="106"/>
                    <a:pt x="750" y="64"/>
                    <a:pt x="800" y="39"/>
                  </a:cubicBezTo>
                  <a:cubicBezTo>
                    <a:pt x="850" y="14"/>
                    <a:pt x="906" y="3"/>
                    <a:pt x="964" y="3"/>
                  </a:cubicBezTo>
                  <a:cubicBezTo>
                    <a:pt x="1081" y="3"/>
                    <a:pt x="1170" y="36"/>
                    <a:pt x="1231" y="103"/>
                  </a:cubicBezTo>
                  <a:cubicBezTo>
                    <a:pt x="1289" y="172"/>
                    <a:pt x="1320" y="264"/>
                    <a:pt x="1320" y="383"/>
                  </a:cubicBezTo>
                  <a:cubicBezTo>
                    <a:pt x="1320" y="839"/>
                    <a:pt x="1320" y="839"/>
                    <a:pt x="1320" y="839"/>
                  </a:cubicBezTo>
                  <a:cubicBezTo>
                    <a:pt x="1142" y="839"/>
                    <a:pt x="1142" y="839"/>
                    <a:pt x="1142" y="839"/>
                  </a:cubicBezTo>
                  <a:cubicBezTo>
                    <a:pt x="1142" y="383"/>
                    <a:pt x="1142" y="383"/>
                    <a:pt x="1142" y="383"/>
                  </a:cubicBezTo>
                  <a:cubicBezTo>
                    <a:pt x="1142" y="353"/>
                    <a:pt x="1139" y="325"/>
                    <a:pt x="1131" y="297"/>
                  </a:cubicBezTo>
                  <a:cubicBezTo>
                    <a:pt x="1122" y="269"/>
                    <a:pt x="1111" y="247"/>
                    <a:pt x="1095" y="228"/>
                  </a:cubicBezTo>
                  <a:cubicBezTo>
                    <a:pt x="1081" y="206"/>
                    <a:pt x="1061" y="192"/>
                    <a:pt x="1039" y="181"/>
                  </a:cubicBezTo>
                  <a:cubicBezTo>
                    <a:pt x="1014" y="169"/>
                    <a:pt x="986" y="164"/>
                    <a:pt x="956" y="164"/>
                  </a:cubicBezTo>
                  <a:cubicBezTo>
                    <a:pt x="925" y="164"/>
                    <a:pt x="897" y="169"/>
                    <a:pt x="873" y="181"/>
                  </a:cubicBezTo>
                  <a:cubicBezTo>
                    <a:pt x="847" y="192"/>
                    <a:pt x="825" y="208"/>
                    <a:pt x="809" y="228"/>
                  </a:cubicBezTo>
                  <a:cubicBezTo>
                    <a:pt x="789" y="250"/>
                    <a:pt x="775" y="272"/>
                    <a:pt x="767" y="300"/>
                  </a:cubicBezTo>
                  <a:cubicBezTo>
                    <a:pt x="756" y="328"/>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0" name="Freeform 7">
              <a:extLst>
                <a:ext uri="{FF2B5EF4-FFF2-40B4-BE49-F238E27FC236}">
                  <a16:creationId xmlns:a16="http://schemas.microsoft.com/office/drawing/2014/main" id="{A8D1D8A4-8EDC-934F-AABC-1517955DBF6D}"/>
                </a:ext>
              </a:extLst>
            </p:cNvPr>
            <p:cNvSpPr>
              <a:spLocks noChangeArrowheads="1"/>
            </p:cNvSpPr>
            <p:nvPr userDrawn="1"/>
          </p:nvSpPr>
          <p:spPr bwMode="auto">
            <a:xfrm>
              <a:off x="4105275" y="3141663"/>
              <a:ext cx="314325" cy="312737"/>
            </a:xfrm>
            <a:custGeom>
              <a:avLst/>
              <a:gdLst>
                <a:gd name="T0" fmla="*/ 864 w 874"/>
                <a:gd name="T1" fmla="*/ 498 h 868"/>
                <a:gd name="T2" fmla="*/ 864 w 874"/>
                <a:gd name="T3" fmla="*/ 498 h 868"/>
                <a:gd name="T4" fmla="*/ 181 w 874"/>
                <a:gd name="T5" fmla="*/ 498 h 868"/>
                <a:gd name="T6" fmla="*/ 267 w 874"/>
                <a:gd name="T7" fmla="*/ 650 h 868"/>
                <a:gd name="T8" fmla="*/ 456 w 874"/>
                <a:gd name="T9" fmla="*/ 706 h 868"/>
                <a:gd name="T10" fmla="*/ 592 w 874"/>
                <a:gd name="T11" fmla="*/ 684 h 868"/>
                <a:gd name="T12" fmla="*/ 700 w 874"/>
                <a:gd name="T13" fmla="*/ 617 h 868"/>
                <a:gd name="T14" fmla="*/ 814 w 874"/>
                <a:gd name="T15" fmla="*/ 725 h 868"/>
                <a:gd name="T16" fmla="*/ 739 w 874"/>
                <a:gd name="T17" fmla="*/ 786 h 868"/>
                <a:gd name="T18" fmla="*/ 650 w 874"/>
                <a:gd name="T19" fmla="*/ 831 h 868"/>
                <a:gd name="T20" fmla="*/ 553 w 874"/>
                <a:gd name="T21" fmla="*/ 859 h 868"/>
                <a:gd name="T22" fmla="*/ 453 w 874"/>
                <a:gd name="T23" fmla="*/ 867 h 868"/>
                <a:gd name="T24" fmla="*/ 267 w 874"/>
                <a:gd name="T25" fmla="*/ 836 h 868"/>
                <a:gd name="T26" fmla="*/ 123 w 874"/>
                <a:gd name="T27" fmla="*/ 748 h 868"/>
                <a:gd name="T28" fmla="*/ 31 w 874"/>
                <a:gd name="T29" fmla="*/ 609 h 868"/>
                <a:gd name="T30" fmla="*/ 0 w 874"/>
                <a:gd name="T31" fmla="*/ 431 h 868"/>
                <a:gd name="T32" fmla="*/ 31 w 874"/>
                <a:gd name="T33" fmla="*/ 256 h 868"/>
                <a:gd name="T34" fmla="*/ 123 w 874"/>
                <a:gd name="T35" fmla="*/ 120 h 868"/>
                <a:gd name="T36" fmla="*/ 261 w 874"/>
                <a:gd name="T37" fmla="*/ 31 h 868"/>
                <a:gd name="T38" fmla="*/ 442 w 874"/>
                <a:gd name="T39" fmla="*/ 0 h 868"/>
                <a:gd name="T40" fmla="*/ 628 w 874"/>
                <a:gd name="T41" fmla="*/ 31 h 868"/>
                <a:gd name="T42" fmla="*/ 767 w 874"/>
                <a:gd name="T43" fmla="*/ 125 h 868"/>
                <a:gd name="T44" fmla="*/ 850 w 874"/>
                <a:gd name="T45" fmla="*/ 278 h 868"/>
                <a:gd name="T46" fmla="*/ 864 w 874"/>
                <a:gd name="T47" fmla="*/ 498 h 868"/>
                <a:gd name="T48" fmla="*/ 187 w 874"/>
                <a:gd name="T49" fmla="*/ 353 h 868"/>
                <a:gd name="T50" fmla="*/ 187 w 874"/>
                <a:gd name="T51" fmla="*/ 353 h 868"/>
                <a:gd name="T52" fmla="*/ 695 w 874"/>
                <a:gd name="T53" fmla="*/ 353 h 868"/>
                <a:gd name="T54" fmla="*/ 620 w 874"/>
                <a:gd name="T55" fmla="*/ 203 h 868"/>
                <a:gd name="T56" fmla="*/ 448 w 874"/>
                <a:gd name="T57" fmla="*/ 153 h 868"/>
                <a:gd name="T58" fmla="*/ 278 w 874"/>
                <a:gd name="T59" fmla="*/ 203 h 868"/>
                <a:gd name="T60" fmla="*/ 187 w 874"/>
                <a:gd name="T61" fmla="*/ 353 h 868"/>
                <a:gd name="T62" fmla="*/ 864 w 874"/>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4" h="868">
                  <a:moveTo>
                    <a:pt x="864" y="498"/>
                  </a:moveTo>
                  <a:lnTo>
                    <a:pt x="864" y="498"/>
                  </a:lnTo>
                  <a:cubicBezTo>
                    <a:pt x="181" y="498"/>
                    <a:pt x="181" y="498"/>
                    <a:pt x="181" y="498"/>
                  </a:cubicBezTo>
                  <a:cubicBezTo>
                    <a:pt x="189" y="562"/>
                    <a:pt x="217" y="611"/>
                    <a:pt x="267" y="650"/>
                  </a:cubicBezTo>
                  <a:cubicBezTo>
                    <a:pt x="317" y="686"/>
                    <a:pt x="378" y="706"/>
                    <a:pt x="456" y="706"/>
                  </a:cubicBezTo>
                  <a:cubicBezTo>
                    <a:pt x="500" y="706"/>
                    <a:pt x="545" y="698"/>
                    <a:pt x="592" y="684"/>
                  </a:cubicBezTo>
                  <a:cubicBezTo>
                    <a:pt x="639" y="667"/>
                    <a:pt x="675" y="645"/>
                    <a:pt x="700" y="617"/>
                  </a:cubicBezTo>
                  <a:cubicBezTo>
                    <a:pt x="814" y="725"/>
                    <a:pt x="814" y="725"/>
                    <a:pt x="814" y="725"/>
                  </a:cubicBezTo>
                  <a:cubicBezTo>
                    <a:pt x="795" y="750"/>
                    <a:pt x="770" y="770"/>
                    <a:pt x="739" y="786"/>
                  </a:cubicBezTo>
                  <a:cubicBezTo>
                    <a:pt x="711" y="806"/>
                    <a:pt x="681" y="820"/>
                    <a:pt x="650" y="831"/>
                  </a:cubicBezTo>
                  <a:cubicBezTo>
                    <a:pt x="620" y="845"/>
                    <a:pt x="587" y="853"/>
                    <a:pt x="553" y="859"/>
                  </a:cubicBezTo>
                  <a:cubicBezTo>
                    <a:pt x="517" y="864"/>
                    <a:pt x="487" y="867"/>
                    <a:pt x="453" y="867"/>
                  </a:cubicBezTo>
                  <a:cubicBezTo>
                    <a:pt x="384" y="867"/>
                    <a:pt x="323" y="856"/>
                    <a:pt x="267" y="836"/>
                  </a:cubicBezTo>
                  <a:cubicBezTo>
                    <a:pt x="209" y="814"/>
                    <a:pt x="161" y="786"/>
                    <a:pt x="123" y="748"/>
                  </a:cubicBezTo>
                  <a:cubicBezTo>
                    <a:pt x="84" y="709"/>
                    <a:pt x="53" y="664"/>
                    <a:pt x="31" y="609"/>
                  </a:cubicBezTo>
                  <a:cubicBezTo>
                    <a:pt x="12" y="556"/>
                    <a:pt x="0" y="495"/>
                    <a:pt x="0" y="431"/>
                  </a:cubicBezTo>
                  <a:cubicBezTo>
                    <a:pt x="0" y="367"/>
                    <a:pt x="12" y="309"/>
                    <a:pt x="31" y="256"/>
                  </a:cubicBezTo>
                  <a:cubicBezTo>
                    <a:pt x="53" y="203"/>
                    <a:pt x="84" y="159"/>
                    <a:pt x="123" y="120"/>
                  </a:cubicBezTo>
                  <a:cubicBezTo>
                    <a:pt x="161" y="84"/>
                    <a:pt x="209" y="53"/>
                    <a:pt x="261" y="31"/>
                  </a:cubicBezTo>
                  <a:cubicBezTo>
                    <a:pt x="314" y="12"/>
                    <a:pt x="375" y="0"/>
                    <a:pt x="442" y="0"/>
                  </a:cubicBezTo>
                  <a:cubicBezTo>
                    <a:pt x="509" y="0"/>
                    <a:pt x="573" y="12"/>
                    <a:pt x="628" y="31"/>
                  </a:cubicBezTo>
                  <a:cubicBezTo>
                    <a:pt x="681" y="53"/>
                    <a:pt x="728" y="84"/>
                    <a:pt x="767" y="125"/>
                  </a:cubicBezTo>
                  <a:cubicBezTo>
                    <a:pt x="806" y="164"/>
                    <a:pt x="834" y="217"/>
                    <a:pt x="850" y="278"/>
                  </a:cubicBezTo>
                  <a:cubicBezTo>
                    <a:pt x="867" y="342"/>
                    <a:pt x="873" y="414"/>
                    <a:pt x="864" y="498"/>
                  </a:cubicBezTo>
                  <a:lnTo>
                    <a:pt x="187" y="353"/>
                  </a:lnTo>
                  <a:lnTo>
                    <a:pt x="187" y="353"/>
                  </a:lnTo>
                  <a:cubicBezTo>
                    <a:pt x="695" y="353"/>
                    <a:pt x="695" y="353"/>
                    <a:pt x="695" y="353"/>
                  </a:cubicBezTo>
                  <a:cubicBezTo>
                    <a:pt x="689" y="287"/>
                    <a:pt x="664" y="236"/>
                    <a:pt x="620" y="203"/>
                  </a:cubicBezTo>
                  <a:cubicBezTo>
                    <a:pt x="575" y="170"/>
                    <a:pt x="517" y="153"/>
                    <a:pt x="448" y="153"/>
                  </a:cubicBezTo>
                  <a:cubicBezTo>
                    <a:pt x="381" y="153"/>
                    <a:pt x="325" y="170"/>
                    <a:pt x="278" y="203"/>
                  </a:cubicBezTo>
                  <a:cubicBezTo>
                    <a:pt x="231" y="236"/>
                    <a:pt x="200" y="287"/>
                    <a:pt x="187"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1" name="Freeform 8">
              <a:extLst>
                <a:ext uri="{FF2B5EF4-FFF2-40B4-BE49-F238E27FC236}">
                  <a16:creationId xmlns:a16="http://schemas.microsoft.com/office/drawing/2014/main" id="{99C3D801-079F-9C46-BA62-8B82A5C5950C}"/>
                </a:ext>
              </a:extLst>
            </p:cNvPr>
            <p:cNvSpPr>
              <a:spLocks noChangeArrowheads="1"/>
            </p:cNvSpPr>
            <p:nvPr userDrawn="1"/>
          </p:nvSpPr>
          <p:spPr bwMode="auto">
            <a:xfrm>
              <a:off x="4481513" y="3141663"/>
              <a:ext cx="227012" cy="303212"/>
            </a:xfrm>
            <a:custGeom>
              <a:avLst/>
              <a:gdLst>
                <a:gd name="T0" fmla="*/ 164 w 631"/>
                <a:gd name="T1" fmla="*/ 20 h 843"/>
                <a:gd name="T2" fmla="*/ 164 w 631"/>
                <a:gd name="T3" fmla="*/ 20 h 843"/>
                <a:gd name="T4" fmla="*/ 175 w 631"/>
                <a:gd name="T5" fmla="*/ 128 h 843"/>
                <a:gd name="T6" fmla="*/ 289 w 631"/>
                <a:gd name="T7" fmla="*/ 25 h 843"/>
                <a:gd name="T8" fmla="*/ 422 w 631"/>
                <a:gd name="T9" fmla="*/ 0 h 843"/>
                <a:gd name="T10" fmla="*/ 539 w 631"/>
                <a:gd name="T11" fmla="*/ 20 h 843"/>
                <a:gd name="T12" fmla="*/ 630 w 631"/>
                <a:gd name="T13" fmla="*/ 70 h 843"/>
                <a:gd name="T14" fmla="*/ 550 w 631"/>
                <a:gd name="T15" fmla="*/ 222 h 843"/>
                <a:gd name="T16" fmla="*/ 486 w 631"/>
                <a:gd name="T17" fmla="*/ 184 h 843"/>
                <a:gd name="T18" fmla="*/ 402 w 631"/>
                <a:gd name="T19" fmla="*/ 172 h 843"/>
                <a:gd name="T20" fmla="*/ 316 w 631"/>
                <a:gd name="T21" fmla="*/ 186 h 843"/>
                <a:gd name="T22" fmla="*/ 244 w 631"/>
                <a:gd name="T23" fmla="*/ 228 h 843"/>
                <a:gd name="T24" fmla="*/ 194 w 631"/>
                <a:gd name="T25" fmla="*/ 297 h 843"/>
                <a:gd name="T26" fmla="*/ 175 w 631"/>
                <a:gd name="T27" fmla="*/ 397 h 843"/>
                <a:gd name="T28" fmla="*/ 175 w 631"/>
                <a:gd name="T29" fmla="*/ 842 h 843"/>
                <a:gd name="T30" fmla="*/ 0 w 631"/>
                <a:gd name="T31" fmla="*/ 842 h 843"/>
                <a:gd name="T32" fmla="*/ 0 w 631"/>
                <a:gd name="T33" fmla="*/ 20 h 843"/>
                <a:gd name="T34" fmla="*/ 164 w 631"/>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1" h="843">
                  <a:moveTo>
                    <a:pt x="164" y="20"/>
                  </a:moveTo>
                  <a:lnTo>
                    <a:pt x="164" y="20"/>
                  </a:lnTo>
                  <a:cubicBezTo>
                    <a:pt x="175" y="128"/>
                    <a:pt x="175" y="128"/>
                    <a:pt x="175" y="128"/>
                  </a:cubicBezTo>
                  <a:cubicBezTo>
                    <a:pt x="205" y="75"/>
                    <a:pt x="244" y="42"/>
                    <a:pt x="289" y="25"/>
                  </a:cubicBezTo>
                  <a:cubicBezTo>
                    <a:pt x="333" y="9"/>
                    <a:pt x="378" y="0"/>
                    <a:pt x="422" y="0"/>
                  </a:cubicBezTo>
                  <a:cubicBezTo>
                    <a:pt x="464" y="0"/>
                    <a:pt x="502" y="9"/>
                    <a:pt x="539" y="20"/>
                  </a:cubicBezTo>
                  <a:cubicBezTo>
                    <a:pt x="577" y="34"/>
                    <a:pt x="608" y="50"/>
                    <a:pt x="630" y="70"/>
                  </a:cubicBezTo>
                  <a:cubicBezTo>
                    <a:pt x="550" y="222"/>
                    <a:pt x="550" y="222"/>
                    <a:pt x="550" y="222"/>
                  </a:cubicBezTo>
                  <a:cubicBezTo>
                    <a:pt x="530" y="206"/>
                    <a:pt x="508" y="192"/>
                    <a:pt x="486" y="184"/>
                  </a:cubicBezTo>
                  <a:cubicBezTo>
                    <a:pt x="464" y="175"/>
                    <a:pt x="436" y="172"/>
                    <a:pt x="402" y="172"/>
                  </a:cubicBezTo>
                  <a:cubicBezTo>
                    <a:pt x="372" y="172"/>
                    <a:pt x="341" y="175"/>
                    <a:pt x="316" y="186"/>
                  </a:cubicBezTo>
                  <a:cubicBezTo>
                    <a:pt x="289" y="195"/>
                    <a:pt x="264" y="209"/>
                    <a:pt x="244" y="228"/>
                  </a:cubicBezTo>
                  <a:cubicBezTo>
                    <a:pt x="222" y="245"/>
                    <a:pt x="205" y="270"/>
                    <a:pt x="194" y="297"/>
                  </a:cubicBezTo>
                  <a:cubicBezTo>
                    <a:pt x="180" y="325"/>
                    <a:pt x="175" y="359"/>
                    <a:pt x="175" y="397"/>
                  </a:cubicBezTo>
                  <a:cubicBezTo>
                    <a:pt x="175" y="842"/>
                    <a:pt x="175" y="842"/>
                    <a:pt x="175"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2" name="Freeform 9">
              <a:extLst>
                <a:ext uri="{FF2B5EF4-FFF2-40B4-BE49-F238E27FC236}">
                  <a16:creationId xmlns:a16="http://schemas.microsoft.com/office/drawing/2014/main" id="{9ABCFA99-C867-9C49-BA6A-57EB10090B35}"/>
                </a:ext>
              </a:extLst>
            </p:cNvPr>
            <p:cNvSpPr>
              <a:spLocks noChangeArrowheads="1"/>
            </p:cNvSpPr>
            <p:nvPr userDrawn="1"/>
          </p:nvSpPr>
          <p:spPr bwMode="auto">
            <a:xfrm>
              <a:off x="4872038" y="3141663"/>
              <a:ext cx="314325" cy="312737"/>
            </a:xfrm>
            <a:custGeom>
              <a:avLst/>
              <a:gdLst>
                <a:gd name="T0" fmla="*/ 863 w 872"/>
                <a:gd name="T1" fmla="*/ 498 h 868"/>
                <a:gd name="T2" fmla="*/ 863 w 872"/>
                <a:gd name="T3" fmla="*/ 498 h 868"/>
                <a:gd name="T4" fmla="*/ 183 w 872"/>
                <a:gd name="T5" fmla="*/ 498 h 868"/>
                <a:gd name="T6" fmla="*/ 266 w 872"/>
                <a:gd name="T7" fmla="*/ 650 h 868"/>
                <a:gd name="T8" fmla="*/ 458 w 872"/>
                <a:gd name="T9" fmla="*/ 706 h 868"/>
                <a:gd name="T10" fmla="*/ 590 w 872"/>
                <a:gd name="T11" fmla="*/ 684 h 868"/>
                <a:gd name="T12" fmla="*/ 699 w 872"/>
                <a:gd name="T13" fmla="*/ 617 h 868"/>
                <a:gd name="T14" fmla="*/ 815 w 872"/>
                <a:gd name="T15" fmla="*/ 725 h 868"/>
                <a:gd name="T16" fmla="*/ 740 w 872"/>
                <a:gd name="T17" fmla="*/ 786 h 868"/>
                <a:gd name="T18" fmla="*/ 649 w 872"/>
                <a:gd name="T19" fmla="*/ 831 h 868"/>
                <a:gd name="T20" fmla="*/ 551 w 872"/>
                <a:gd name="T21" fmla="*/ 859 h 868"/>
                <a:gd name="T22" fmla="*/ 452 w 872"/>
                <a:gd name="T23" fmla="*/ 867 h 868"/>
                <a:gd name="T24" fmla="*/ 266 w 872"/>
                <a:gd name="T25" fmla="*/ 836 h 868"/>
                <a:gd name="T26" fmla="*/ 122 w 872"/>
                <a:gd name="T27" fmla="*/ 748 h 868"/>
                <a:gd name="T28" fmla="*/ 30 w 872"/>
                <a:gd name="T29" fmla="*/ 609 h 868"/>
                <a:gd name="T30" fmla="*/ 0 w 872"/>
                <a:gd name="T31" fmla="*/ 431 h 868"/>
                <a:gd name="T32" fmla="*/ 30 w 872"/>
                <a:gd name="T33" fmla="*/ 256 h 868"/>
                <a:gd name="T34" fmla="*/ 122 w 872"/>
                <a:gd name="T35" fmla="*/ 120 h 868"/>
                <a:gd name="T36" fmla="*/ 261 w 872"/>
                <a:gd name="T37" fmla="*/ 31 h 868"/>
                <a:gd name="T38" fmla="*/ 441 w 872"/>
                <a:gd name="T39" fmla="*/ 0 h 868"/>
                <a:gd name="T40" fmla="*/ 626 w 872"/>
                <a:gd name="T41" fmla="*/ 31 h 868"/>
                <a:gd name="T42" fmla="*/ 765 w 872"/>
                <a:gd name="T43" fmla="*/ 125 h 868"/>
                <a:gd name="T44" fmla="*/ 849 w 872"/>
                <a:gd name="T45" fmla="*/ 278 h 868"/>
                <a:gd name="T46" fmla="*/ 863 w 872"/>
                <a:gd name="T47" fmla="*/ 498 h 868"/>
                <a:gd name="T48" fmla="*/ 186 w 872"/>
                <a:gd name="T49" fmla="*/ 353 h 868"/>
                <a:gd name="T50" fmla="*/ 186 w 872"/>
                <a:gd name="T51" fmla="*/ 353 h 868"/>
                <a:gd name="T52" fmla="*/ 696 w 872"/>
                <a:gd name="T53" fmla="*/ 353 h 868"/>
                <a:gd name="T54" fmla="*/ 621 w 872"/>
                <a:gd name="T55" fmla="*/ 203 h 868"/>
                <a:gd name="T56" fmla="*/ 447 w 872"/>
                <a:gd name="T57" fmla="*/ 153 h 868"/>
                <a:gd name="T58" fmla="*/ 278 w 872"/>
                <a:gd name="T59" fmla="*/ 203 h 868"/>
                <a:gd name="T60" fmla="*/ 186 w 872"/>
                <a:gd name="T61" fmla="*/ 353 h 868"/>
                <a:gd name="T62" fmla="*/ 863 w 872"/>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2" h="868">
                  <a:moveTo>
                    <a:pt x="863" y="498"/>
                  </a:moveTo>
                  <a:lnTo>
                    <a:pt x="863" y="498"/>
                  </a:lnTo>
                  <a:cubicBezTo>
                    <a:pt x="183" y="498"/>
                    <a:pt x="183" y="498"/>
                    <a:pt x="183" y="498"/>
                  </a:cubicBezTo>
                  <a:cubicBezTo>
                    <a:pt x="189" y="562"/>
                    <a:pt x="219" y="611"/>
                    <a:pt x="266" y="650"/>
                  </a:cubicBezTo>
                  <a:cubicBezTo>
                    <a:pt x="316" y="686"/>
                    <a:pt x="380" y="706"/>
                    <a:pt x="458" y="706"/>
                  </a:cubicBezTo>
                  <a:cubicBezTo>
                    <a:pt x="499" y="706"/>
                    <a:pt x="543" y="698"/>
                    <a:pt x="590" y="684"/>
                  </a:cubicBezTo>
                  <a:cubicBezTo>
                    <a:pt x="638" y="667"/>
                    <a:pt x="674" y="645"/>
                    <a:pt x="699" y="617"/>
                  </a:cubicBezTo>
                  <a:cubicBezTo>
                    <a:pt x="815" y="725"/>
                    <a:pt x="815" y="725"/>
                    <a:pt x="815" y="725"/>
                  </a:cubicBezTo>
                  <a:cubicBezTo>
                    <a:pt x="793" y="750"/>
                    <a:pt x="768" y="770"/>
                    <a:pt x="740" y="786"/>
                  </a:cubicBezTo>
                  <a:cubicBezTo>
                    <a:pt x="710" y="806"/>
                    <a:pt x="682" y="820"/>
                    <a:pt x="649" y="831"/>
                  </a:cubicBezTo>
                  <a:cubicBezTo>
                    <a:pt x="618" y="845"/>
                    <a:pt x="585" y="853"/>
                    <a:pt x="551" y="859"/>
                  </a:cubicBezTo>
                  <a:cubicBezTo>
                    <a:pt x="518" y="864"/>
                    <a:pt x="485" y="867"/>
                    <a:pt x="452" y="867"/>
                  </a:cubicBezTo>
                  <a:cubicBezTo>
                    <a:pt x="383" y="867"/>
                    <a:pt x="322" y="856"/>
                    <a:pt x="266" y="836"/>
                  </a:cubicBezTo>
                  <a:cubicBezTo>
                    <a:pt x="211" y="814"/>
                    <a:pt x="161" y="786"/>
                    <a:pt x="122" y="748"/>
                  </a:cubicBezTo>
                  <a:cubicBezTo>
                    <a:pt x="83" y="709"/>
                    <a:pt x="53" y="664"/>
                    <a:pt x="30" y="609"/>
                  </a:cubicBezTo>
                  <a:cubicBezTo>
                    <a:pt x="11" y="556"/>
                    <a:pt x="0" y="495"/>
                    <a:pt x="0" y="431"/>
                  </a:cubicBezTo>
                  <a:cubicBezTo>
                    <a:pt x="0" y="367"/>
                    <a:pt x="11" y="309"/>
                    <a:pt x="30" y="256"/>
                  </a:cubicBezTo>
                  <a:cubicBezTo>
                    <a:pt x="53" y="203"/>
                    <a:pt x="83" y="159"/>
                    <a:pt x="122" y="120"/>
                  </a:cubicBezTo>
                  <a:cubicBezTo>
                    <a:pt x="161" y="84"/>
                    <a:pt x="208" y="53"/>
                    <a:pt x="261" y="31"/>
                  </a:cubicBezTo>
                  <a:cubicBezTo>
                    <a:pt x="316" y="12"/>
                    <a:pt x="375" y="0"/>
                    <a:pt x="441" y="0"/>
                  </a:cubicBezTo>
                  <a:cubicBezTo>
                    <a:pt x="510" y="0"/>
                    <a:pt x="571" y="12"/>
                    <a:pt x="626" y="31"/>
                  </a:cubicBezTo>
                  <a:cubicBezTo>
                    <a:pt x="682" y="53"/>
                    <a:pt x="726" y="84"/>
                    <a:pt x="765" y="125"/>
                  </a:cubicBezTo>
                  <a:cubicBezTo>
                    <a:pt x="804" y="164"/>
                    <a:pt x="832" y="217"/>
                    <a:pt x="849" y="278"/>
                  </a:cubicBezTo>
                  <a:cubicBezTo>
                    <a:pt x="868" y="342"/>
                    <a:pt x="871" y="414"/>
                    <a:pt x="863" y="498"/>
                  </a:cubicBezTo>
                  <a:lnTo>
                    <a:pt x="186" y="353"/>
                  </a:lnTo>
                  <a:lnTo>
                    <a:pt x="186" y="353"/>
                  </a:lnTo>
                  <a:cubicBezTo>
                    <a:pt x="696" y="353"/>
                    <a:pt x="696" y="353"/>
                    <a:pt x="696" y="353"/>
                  </a:cubicBezTo>
                  <a:cubicBezTo>
                    <a:pt x="690" y="287"/>
                    <a:pt x="663" y="236"/>
                    <a:pt x="621" y="203"/>
                  </a:cubicBezTo>
                  <a:cubicBezTo>
                    <a:pt x="577" y="170"/>
                    <a:pt x="518" y="153"/>
                    <a:pt x="447" y="153"/>
                  </a:cubicBezTo>
                  <a:cubicBezTo>
                    <a:pt x="380" y="153"/>
                    <a:pt x="325" y="170"/>
                    <a:pt x="278" y="203"/>
                  </a:cubicBezTo>
                  <a:cubicBezTo>
                    <a:pt x="230" y="236"/>
                    <a:pt x="200" y="287"/>
                    <a:pt x="186" y="353"/>
                  </a:cubicBezTo>
                  <a:lnTo>
                    <a:pt x="863"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3" name="Freeform 10">
              <a:extLst>
                <a:ext uri="{FF2B5EF4-FFF2-40B4-BE49-F238E27FC236}">
                  <a16:creationId xmlns:a16="http://schemas.microsoft.com/office/drawing/2014/main" id="{D952F8B5-B172-F34E-B79E-B9FAF2C64A35}"/>
                </a:ext>
              </a:extLst>
            </p:cNvPr>
            <p:cNvSpPr>
              <a:spLocks noChangeArrowheads="1"/>
            </p:cNvSpPr>
            <p:nvPr userDrawn="1"/>
          </p:nvSpPr>
          <p:spPr bwMode="auto">
            <a:xfrm>
              <a:off x="5205413" y="3149600"/>
              <a:ext cx="301625" cy="296863"/>
            </a:xfrm>
            <a:custGeom>
              <a:avLst/>
              <a:gdLst>
                <a:gd name="T0" fmla="*/ 606 w 837"/>
                <a:gd name="T1" fmla="*/ 0 h 823"/>
                <a:gd name="T2" fmla="*/ 820 w 837"/>
                <a:gd name="T3" fmla="*/ 0 h 823"/>
                <a:gd name="T4" fmla="*/ 820 w 837"/>
                <a:gd name="T5" fmla="*/ 5 h 823"/>
                <a:gd name="T6" fmla="*/ 536 w 837"/>
                <a:gd name="T7" fmla="*/ 402 h 823"/>
                <a:gd name="T8" fmla="*/ 836 w 837"/>
                <a:gd name="T9" fmla="*/ 819 h 823"/>
                <a:gd name="T10" fmla="*/ 836 w 837"/>
                <a:gd name="T11" fmla="*/ 822 h 823"/>
                <a:gd name="T12" fmla="*/ 625 w 837"/>
                <a:gd name="T13" fmla="*/ 822 h 823"/>
                <a:gd name="T14" fmla="*/ 420 w 837"/>
                <a:gd name="T15" fmla="*/ 525 h 823"/>
                <a:gd name="T16" fmla="*/ 212 w 837"/>
                <a:gd name="T17" fmla="*/ 822 h 823"/>
                <a:gd name="T18" fmla="*/ 0 w 837"/>
                <a:gd name="T19" fmla="*/ 822 h 823"/>
                <a:gd name="T20" fmla="*/ 0 w 837"/>
                <a:gd name="T21" fmla="*/ 819 h 823"/>
                <a:gd name="T22" fmla="*/ 303 w 837"/>
                <a:gd name="T23" fmla="*/ 402 h 823"/>
                <a:gd name="T24" fmla="*/ 20 w 837"/>
                <a:gd name="T25" fmla="*/ 5 h 823"/>
                <a:gd name="T26" fmla="*/ 20 w 837"/>
                <a:gd name="T27" fmla="*/ 0 h 823"/>
                <a:gd name="T28" fmla="*/ 231 w 837"/>
                <a:gd name="T29" fmla="*/ 0 h 823"/>
                <a:gd name="T30" fmla="*/ 420 w 837"/>
                <a:gd name="T31" fmla="*/ 294 h 823"/>
                <a:gd name="T32" fmla="*/ 606 w 837"/>
                <a:gd name="T33"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7" h="823">
                  <a:moveTo>
                    <a:pt x="606" y="0"/>
                  </a:moveTo>
                  <a:lnTo>
                    <a:pt x="820" y="0"/>
                  </a:lnTo>
                  <a:lnTo>
                    <a:pt x="820" y="5"/>
                  </a:lnTo>
                  <a:lnTo>
                    <a:pt x="536" y="402"/>
                  </a:lnTo>
                  <a:lnTo>
                    <a:pt x="836" y="819"/>
                  </a:lnTo>
                  <a:lnTo>
                    <a:pt x="836" y="822"/>
                  </a:lnTo>
                  <a:lnTo>
                    <a:pt x="625" y="822"/>
                  </a:lnTo>
                  <a:lnTo>
                    <a:pt x="420" y="525"/>
                  </a:lnTo>
                  <a:lnTo>
                    <a:pt x="212" y="822"/>
                  </a:lnTo>
                  <a:lnTo>
                    <a:pt x="0" y="822"/>
                  </a:lnTo>
                  <a:lnTo>
                    <a:pt x="0" y="819"/>
                  </a:lnTo>
                  <a:lnTo>
                    <a:pt x="303" y="402"/>
                  </a:lnTo>
                  <a:lnTo>
                    <a:pt x="20" y="5"/>
                  </a:lnTo>
                  <a:lnTo>
                    <a:pt x="20" y="0"/>
                  </a:lnTo>
                  <a:lnTo>
                    <a:pt x="231" y="0"/>
                  </a:lnTo>
                  <a:lnTo>
                    <a:pt x="420" y="294"/>
                  </a:lnTo>
                  <a:lnTo>
                    <a:pt x="60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4" name="Freeform 11">
              <a:extLst>
                <a:ext uri="{FF2B5EF4-FFF2-40B4-BE49-F238E27FC236}">
                  <a16:creationId xmlns:a16="http://schemas.microsoft.com/office/drawing/2014/main" id="{68BD8CEC-2BB3-D540-BDD4-22D01ECC2D8C}"/>
                </a:ext>
              </a:extLst>
            </p:cNvPr>
            <p:cNvSpPr>
              <a:spLocks noChangeArrowheads="1"/>
            </p:cNvSpPr>
            <p:nvPr userDrawn="1"/>
          </p:nvSpPr>
          <p:spPr bwMode="auto">
            <a:xfrm>
              <a:off x="5557838" y="3143250"/>
              <a:ext cx="323850" cy="439738"/>
            </a:xfrm>
            <a:custGeom>
              <a:avLst/>
              <a:gdLst>
                <a:gd name="T0" fmla="*/ 0 w 898"/>
                <a:gd name="T1" fmla="*/ 1221 h 1222"/>
                <a:gd name="T2" fmla="*/ 0 w 898"/>
                <a:gd name="T3" fmla="*/ 1221 h 1222"/>
                <a:gd name="T4" fmla="*/ 0 w 898"/>
                <a:gd name="T5" fmla="*/ 17 h 1222"/>
                <a:gd name="T6" fmla="*/ 164 w 898"/>
                <a:gd name="T7" fmla="*/ 17 h 1222"/>
                <a:gd name="T8" fmla="*/ 175 w 898"/>
                <a:gd name="T9" fmla="*/ 150 h 1222"/>
                <a:gd name="T10" fmla="*/ 306 w 898"/>
                <a:gd name="T11" fmla="*/ 36 h 1222"/>
                <a:gd name="T12" fmla="*/ 472 w 898"/>
                <a:gd name="T13" fmla="*/ 0 h 1222"/>
                <a:gd name="T14" fmla="*/ 645 w 898"/>
                <a:gd name="T15" fmla="*/ 33 h 1222"/>
                <a:gd name="T16" fmla="*/ 781 w 898"/>
                <a:gd name="T17" fmla="*/ 122 h 1222"/>
                <a:gd name="T18" fmla="*/ 867 w 898"/>
                <a:gd name="T19" fmla="*/ 256 h 1222"/>
                <a:gd name="T20" fmla="*/ 897 w 898"/>
                <a:gd name="T21" fmla="*/ 428 h 1222"/>
                <a:gd name="T22" fmla="*/ 867 w 898"/>
                <a:gd name="T23" fmla="*/ 600 h 1222"/>
                <a:gd name="T24" fmla="*/ 783 w 898"/>
                <a:gd name="T25" fmla="*/ 736 h 1222"/>
                <a:gd name="T26" fmla="*/ 650 w 898"/>
                <a:gd name="T27" fmla="*/ 828 h 1222"/>
                <a:gd name="T28" fmla="*/ 472 w 898"/>
                <a:gd name="T29" fmla="*/ 858 h 1222"/>
                <a:gd name="T30" fmla="*/ 392 w 898"/>
                <a:gd name="T31" fmla="*/ 850 h 1222"/>
                <a:gd name="T32" fmla="*/ 308 w 898"/>
                <a:gd name="T33" fmla="*/ 828 h 1222"/>
                <a:gd name="T34" fmla="*/ 233 w 898"/>
                <a:gd name="T35" fmla="*/ 786 h 1222"/>
                <a:gd name="T36" fmla="*/ 175 w 898"/>
                <a:gd name="T37" fmla="*/ 719 h 1222"/>
                <a:gd name="T38" fmla="*/ 175 w 898"/>
                <a:gd name="T39" fmla="*/ 1221 h 1222"/>
                <a:gd name="T40" fmla="*/ 0 w 898"/>
                <a:gd name="T41" fmla="*/ 1221 h 1222"/>
                <a:gd name="T42" fmla="*/ 456 w 898"/>
                <a:gd name="T43" fmla="*/ 692 h 1222"/>
                <a:gd name="T44" fmla="*/ 456 w 898"/>
                <a:gd name="T45" fmla="*/ 692 h 1222"/>
                <a:gd name="T46" fmla="*/ 561 w 898"/>
                <a:gd name="T47" fmla="*/ 672 h 1222"/>
                <a:gd name="T48" fmla="*/ 647 w 898"/>
                <a:gd name="T49" fmla="*/ 617 h 1222"/>
                <a:gd name="T50" fmla="*/ 703 w 898"/>
                <a:gd name="T51" fmla="*/ 536 h 1222"/>
                <a:gd name="T52" fmla="*/ 722 w 898"/>
                <a:gd name="T53" fmla="*/ 428 h 1222"/>
                <a:gd name="T54" fmla="*/ 650 w 898"/>
                <a:gd name="T55" fmla="*/ 239 h 1222"/>
                <a:gd name="T56" fmla="*/ 456 w 898"/>
                <a:gd name="T57" fmla="*/ 167 h 1222"/>
                <a:gd name="T58" fmla="*/ 345 w 898"/>
                <a:gd name="T59" fmla="*/ 186 h 1222"/>
                <a:gd name="T60" fmla="*/ 261 w 898"/>
                <a:gd name="T61" fmla="*/ 242 h 1222"/>
                <a:gd name="T62" fmla="*/ 208 w 898"/>
                <a:gd name="T63" fmla="*/ 325 h 1222"/>
                <a:gd name="T64" fmla="*/ 192 w 898"/>
                <a:gd name="T65" fmla="*/ 428 h 1222"/>
                <a:gd name="T66" fmla="*/ 211 w 898"/>
                <a:gd name="T67" fmla="*/ 530 h 1222"/>
                <a:gd name="T68" fmla="*/ 264 w 898"/>
                <a:gd name="T69" fmla="*/ 617 h 1222"/>
                <a:gd name="T70" fmla="*/ 347 w 898"/>
                <a:gd name="T71" fmla="*/ 672 h 1222"/>
                <a:gd name="T72" fmla="*/ 456 w 898"/>
                <a:gd name="T73" fmla="*/ 69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8" h="1222">
                  <a:moveTo>
                    <a:pt x="0" y="1221"/>
                  </a:moveTo>
                  <a:lnTo>
                    <a:pt x="0" y="1221"/>
                  </a:lnTo>
                  <a:cubicBezTo>
                    <a:pt x="0" y="17"/>
                    <a:pt x="0" y="17"/>
                    <a:pt x="0" y="17"/>
                  </a:cubicBezTo>
                  <a:cubicBezTo>
                    <a:pt x="164" y="17"/>
                    <a:pt x="164" y="17"/>
                    <a:pt x="164" y="17"/>
                  </a:cubicBezTo>
                  <a:cubicBezTo>
                    <a:pt x="175" y="150"/>
                    <a:pt x="175" y="150"/>
                    <a:pt x="175" y="150"/>
                  </a:cubicBezTo>
                  <a:cubicBezTo>
                    <a:pt x="208" y="100"/>
                    <a:pt x="253" y="61"/>
                    <a:pt x="306" y="36"/>
                  </a:cubicBezTo>
                  <a:cubicBezTo>
                    <a:pt x="361" y="11"/>
                    <a:pt x="417" y="0"/>
                    <a:pt x="472" y="0"/>
                  </a:cubicBezTo>
                  <a:cubicBezTo>
                    <a:pt x="536" y="0"/>
                    <a:pt x="592" y="11"/>
                    <a:pt x="645" y="33"/>
                  </a:cubicBezTo>
                  <a:cubicBezTo>
                    <a:pt x="697" y="53"/>
                    <a:pt x="742" y="83"/>
                    <a:pt x="781" y="122"/>
                  </a:cubicBezTo>
                  <a:cubicBezTo>
                    <a:pt x="817" y="158"/>
                    <a:pt x="847" y="206"/>
                    <a:pt x="867" y="256"/>
                  </a:cubicBezTo>
                  <a:cubicBezTo>
                    <a:pt x="886" y="308"/>
                    <a:pt x="897" y="367"/>
                    <a:pt x="897" y="428"/>
                  </a:cubicBezTo>
                  <a:cubicBezTo>
                    <a:pt x="897" y="492"/>
                    <a:pt x="886" y="550"/>
                    <a:pt x="867" y="600"/>
                  </a:cubicBezTo>
                  <a:cubicBezTo>
                    <a:pt x="847" y="653"/>
                    <a:pt x="820" y="700"/>
                    <a:pt x="783" y="736"/>
                  </a:cubicBezTo>
                  <a:cubicBezTo>
                    <a:pt x="747" y="775"/>
                    <a:pt x="703" y="805"/>
                    <a:pt x="650" y="828"/>
                  </a:cubicBezTo>
                  <a:cubicBezTo>
                    <a:pt x="597" y="847"/>
                    <a:pt x="536" y="858"/>
                    <a:pt x="472" y="858"/>
                  </a:cubicBezTo>
                  <a:cubicBezTo>
                    <a:pt x="447" y="858"/>
                    <a:pt x="420" y="856"/>
                    <a:pt x="392" y="850"/>
                  </a:cubicBezTo>
                  <a:cubicBezTo>
                    <a:pt x="364" y="847"/>
                    <a:pt x="336" y="839"/>
                    <a:pt x="308" y="828"/>
                  </a:cubicBezTo>
                  <a:cubicBezTo>
                    <a:pt x="283" y="817"/>
                    <a:pt x="258" y="803"/>
                    <a:pt x="233" y="786"/>
                  </a:cubicBezTo>
                  <a:cubicBezTo>
                    <a:pt x="211" y="767"/>
                    <a:pt x="192" y="744"/>
                    <a:pt x="175" y="719"/>
                  </a:cubicBezTo>
                  <a:cubicBezTo>
                    <a:pt x="175" y="1221"/>
                    <a:pt x="175" y="1221"/>
                    <a:pt x="175" y="1221"/>
                  </a:cubicBezTo>
                  <a:lnTo>
                    <a:pt x="0" y="1221"/>
                  </a:lnTo>
                  <a:close/>
                  <a:moveTo>
                    <a:pt x="456" y="692"/>
                  </a:moveTo>
                  <a:lnTo>
                    <a:pt x="456" y="692"/>
                  </a:lnTo>
                  <a:cubicBezTo>
                    <a:pt x="495" y="692"/>
                    <a:pt x="531" y="686"/>
                    <a:pt x="561" y="672"/>
                  </a:cubicBezTo>
                  <a:cubicBezTo>
                    <a:pt x="595" y="658"/>
                    <a:pt x="622" y="642"/>
                    <a:pt x="647" y="617"/>
                  </a:cubicBezTo>
                  <a:cubicBezTo>
                    <a:pt x="669" y="594"/>
                    <a:pt x="689" y="567"/>
                    <a:pt x="703" y="536"/>
                  </a:cubicBezTo>
                  <a:cubicBezTo>
                    <a:pt x="714" y="503"/>
                    <a:pt x="722" y="467"/>
                    <a:pt x="722" y="428"/>
                  </a:cubicBezTo>
                  <a:cubicBezTo>
                    <a:pt x="722" y="350"/>
                    <a:pt x="697" y="289"/>
                    <a:pt x="650" y="239"/>
                  </a:cubicBezTo>
                  <a:cubicBezTo>
                    <a:pt x="600" y="192"/>
                    <a:pt x="536" y="167"/>
                    <a:pt x="456" y="167"/>
                  </a:cubicBezTo>
                  <a:cubicBezTo>
                    <a:pt x="414" y="167"/>
                    <a:pt x="378" y="172"/>
                    <a:pt x="345" y="186"/>
                  </a:cubicBezTo>
                  <a:cubicBezTo>
                    <a:pt x="314" y="200"/>
                    <a:pt x="286" y="219"/>
                    <a:pt x="261" y="242"/>
                  </a:cubicBezTo>
                  <a:cubicBezTo>
                    <a:pt x="239" y="267"/>
                    <a:pt x="222" y="294"/>
                    <a:pt x="208" y="325"/>
                  </a:cubicBezTo>
                  <a:cubicBezTo>
                    <a:pt x="197" y="358"/>
                    <a:pt x="192" y="392"/>
                    <a:pt x="192" y="428"/>
                  </a:cubicBezTo>
                  <a:cubicBezTo>
                    <a:pt x="192" y="467"/>
                    <a:pt x="197" y="500"/>
                    <a:pt x="211" y="530"/>
                  </a:cubicBezTo>
                  <a:cubicBezTo>
                    <a:pt x="222" y="564"/>
                    <a:pt x="242" y="592"/>
                    <a:pt x="264" y="617"/>
                  </a:cubicBezTo>
                  <a:cubicBezTo>
                    <a:pt x="289" y="639"/>
                    <a:pt x="317" y="658"/>
                    <a:pt x="347" y="672"/>
                  </a:cubicBezTo>
                  <a:cubicBezTo>
                    <a:pt x="381" y="683"/>
                    <a:pt x="417" y="692"/>
                    <a:pt x="456" y="692"/>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5" name="Freeform 12">
              <a:extLst>
                <a:ext uri="{FF2B5EF4-FFF2-40B4-BE49-F238E27FC236}">
                  <a16:creationId xmlns:a16="http://schemas.microsoft.com/office/drawing/2014/main" id="{34C24972-7ECF-434E-A163-8E91BBA1D4A8}"/>
                </a:ext>
              </a:extLst>
            </p:cNvPr>
            <p:cNvSpPr>
              <a:spLocks noChangeArrowheads="1"/>
            </p:cNvSpPr>
            <p:nvPr userDrawn="1"/>
          </p:nvSpPr>
          <p:spPr bwMode="auto">
            <a:xfrm>
              <a:off x="5929313" y="3141663"/>
              <a:ext cx="315912" cy="312737"/>
            </a:xfrm>
            <a:custGeom>
              <a:avLst/>
              <a:gdLst>
                <a:gd name="T0" fmla="*/ 867 w 876"/>
                <a:gd name="T1" fmla="*/ 498 h 868"/>
                <a:gd name="T2" fmla="*/ 867 w 876"/>
                <a:gd name="T3" fmla="*/ 498 h 868"/>
                <a:gd name="T4" fmla="*/ 184 w 876"/>
                <a:gd name="T5" fmla="*/ 498 h 868"/>
                <a:gd name="T6" fmla="*/ 270 w 876"/>
                <a:gd name="T7" fmla="*/ 650 h 868"/>
                <a:gd name="T8" fmla="*/ 459 w 876"/>
                <a:gd name="T9" fmla="*/ 706 h 868"/>
                <a:gd name="T10" fmla="*/ 595 w 876"/>
                <a:gd name="T11" fmla="*/ 684 h 868"/>
                <a:gd name="T12" fmla="*/ 703 w 876"/>
                <a:gd name="T13" fmla="*/ 617 h 868"/>
                <a:gd name="T14" fmla="*/ 817 w 876"/>
                <a:gd name="T15" fmla="*/ 725 h 868"/>
                <a:gd name="T16" fmla="*/ 742 w 876"/>
                <a:gd name="T17" fmla="*/ 786 h 868"/>
                <a:gd name="T18" fmla="*/ 653 w 876"/>
                <a:gd name="T19" fmla="*/ 831 h 868"/>
                <a:gd name="T20" fmla="*/ 553 w 876"/>
                <a:gd name="T21" fmla="*/ 859 h 868"/>
                <a:gd name="T22" fmla="*/ 456 w 876"/>
                <a:gd name="T23" fmla="*/ 867 h 868"/>
                <a:gd name="T24" fmla="*/ 267 w 876"/>
                <a:gd name="T25" fmla="*/ 836 h 868"/>
                <a:gd name="T26" fmla="*/ 125 w 876"/>
                <a:gd name="T27" fmla="*/ 748 h 868"/>
                <a:gd name="T28" fmla="*/ 34 w 876"/>
                <a:gd name="T29" fmla="*/ 609 h 868"/>
                <a:gd name="T30" fmla="*/ 0 w 876"/>
                <a:gd name="T31" fmla="*/ 431 h 868"/>
                <a:gd name="T32" fmla="*/ 34 w 876"/>
                <a:gd name="T33" fmla="*/ 256 h 868"/>
                <a:gd name="T34" fmla="*/ 125 w 876"/>
                <a:gd name="T35" fmla="*/ 120 h 868"/>
                <a:gd name="T36" fmla="*/ 264 w 876"/>
                <a:gd name="T37" fmla="*/ 31 h 868"/>
                <a:gd name="T38" fmla="*/ 442 w 876"/>
                <a:gd name="T39" fmla="*/ 0 h 868"/>
                <a:gd name="T40" fmla="*/ 628 w 876"/>
                <a:gd name="T41" fmla="*/ 31 h 868"/>
                <a:gd name="T42" fmla="*/ 770 w 876"/>
                <a:gd name="T43" fmla="*/ 125 h 868"/>
                <a:gd name="T44" fmla="*/ 853 w 876"/>
                <a:gd name="T45" fmla="*/ 278 h 868"/>
                <a:gd name="T46" fmla="*/ 867 w 876"/>
                <a:gd name="T47" fmla="*/ 498 h 868"/>
                <a:gd name="T48" fmla="*/ 186 w 876"/>
                <a:gd name="T49" fmla="*/ 353 h 868"/>
                <a:gd name="T50" fmla="*/ 186 w 876"/>
                <a:gd name="T51" fmla="*/ 353 h 868"/>
                <a:gd name="T52" fmla="*/ 698 w 876"/>
                <a:gd name="T53" fmla="*/ 353 h 868"/>
                <a:gd name="T54" fmla="*/ 623 w 876"/>
                <a:gd name="T55" fmla="*/ 203 h 868"/>
                <a:gd name="T56" fmla="*/ 448 w 876"/>
                <a:gd name="T57" fmla="*/ 153 h 868"/>
                <a:gd name="T58" fmla="*/ 278 w 876"/>
                <a:gd name="T59" fmla="*/ 203 h 868"/>
                <a:gd name="T60" fmla="*/ 186 w 876"/>
                <a:gd name="T61" fmla="*/ 353 h 868"/>
                <a:gd name="T62" fmla="*/ 867 w 876"/>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8">
                  <a:moveTo>
                    <a:pt x="867" y="498"/>
                  </a:moveTo>
                  <a:lnTo>
                    <a:pt x="867" y="498"/>
                  </a:lnTo>
                  <a:cubicBezTo>
                    <a:pt x="184" y="498"/>
                    <a:pt x="184" y="498"/>
                    <a:pt x="184" y="498"/>
                  </a:cubicBezTo>
                  <a:cubicBezTo>
                    <a:pt x="192" y="562"/>
                    <a:pt x="220" y="611"/>
                    <a:pt x="270" y="650"/>
                  </a:cubicBezTo>
                  <a:cubicBezTo>
                    <a:pt x="317" y="686"/>
                    <a:pt x="381" y="706"/>
                    <a:pt x="459" y="706"/>
                  </a:cubicBezTo>
                  <a:cubicBezTo>
                    <a:pt x="503" y="706"/>
                    <a:pt x="547" y="698"/>
                    <a:pt x="595" y="684"/>
                  </a:cubicBezTo>
                  <a:cubicBezTo>
                    <a:pt x="639" y="667"/>
                    <a:pt x="675" y="645"/>
                    <a:pt x="703" y="617"/>
                  </a:cubicBezTo>
                  <a:cubicBezTo>
                    <a:pt x="817" y="725"/>
                    <a:pt x="817" y="725"/>
                    <a:pt x="817" y="725"/>
                  </a:cubicBezTo>
                  <a:cubicBezTo>
                    <a:pt x="795" y="750"/>
                    <a:pt x="770" y="770"/>
                    <a:pt x="742" y="786"/>
                  </a:cubicBezTo>
                  <a:cubicBezTo>
                    <a:pt x="714" y="806"/>
                    <a:pt x="684" y="820"/>
                    <a:pt x="653" y="831"/>
                  </a:cubicBezTo>
                  <a:cubicBezTo>
                    <a:pt x="620" y="845"/>
                    <a:pt x="589" y="853"/>
                    <a:pt x="553" y="859"/>
                  </a:cubicBezTo>
                  <a:cubicBezTo>
                    <a:pt x="520" y="864"/>
                    <a:pt x="486" y="867"/>
                    <a:pt x="456" y="867"/>
                  </a:cubicBezTo>
                  <a:cubicBezTo>
                    <a:pt x="386" y="867"/>
                    <a:pt x="323" y="856"/>
                    <a:pt x="267" y="836"/>
                  </a:cubicBezTo>
                  <a:cubicBezTo>
                    <a:pt x="211" y="814"/>
                    <a:pt x="164" y="786"/>
                    <a:pt x="125" y="748"/>
                  </a:cubicBezTo>
                  <a:cubicBezTo>
                    <a:pt x="86" y="709"/>
                    <a:pt x="56" y="664"/>
                    <a:pt x="34" y="609"/>
                  </a:cubicBezTo>
                  <a:cubicBezTo>
                    <a:pt x="11" y="556"/>
                    <a:pt x="0" y="495"/>
                    <a:pt x="0" y="431"/>
                  </a:cubicBezTo>
                  <a:cubicBezTo>
                    <a:pt x="0" y="367"/>
                    <a:pt x="11" y="309"/>
                    <a:pt x="34" y="256"/>
                  </a:cubicBezTo>
                  <a:cubicBezTo>
                    <a:pt x="56" y="203"/>
                    <a:pt x="86" y="159"/>
                    <a:pt x="125" y="120"/>
                  </a:cubicBezTo>
                  <a:cubicBezTo>
                    <a:pt x="161" y="84"/>
                    <a:pt x="209" y="53"/>
                    <a:pt x="264" y="31"/>
                  </a:cubicBezTo>
                  <a:cubicBezTo>
                    <a:pt x="317" y="12"/>
                    <a:pt x="378" y="0"/>
                    <a:pt x="442" y="0"/>
                  </a:cubicBezTo>
                  <a:cubicBezTo>
                    <a:pt x="511" y="0"/>
                    <a:pt x="573" y="12"/>
                    <a:pt x="628" y="31"/>
                  </a:cubicBezTo>
                  <a:cubicBezTo>
                    <a:pt x="684" y="53"/>
                    <a:pt x="731" y="84"/>
                    <a:pt x="770" y="125"/>
                  </a:cubicBezTo>
                  <a:cubicBezTo>
                    <a:pt x="806" y="164"/>
                    <a:pt x="834" y="217"/>
                    <a:pt x="853" y="278"/>
                  </a:cubicBezTo>
                  <a:cubicBezTo>
                    <a:pt x="870" y="342"/>
                    <a:pt x="875" y="414"/>
                    <a:pt x="867" y="498"/>
                  </a:cubicBezTo>
                  <a:lnTo>
                    <a:pt x="186" y="353"/>
                  </a:lnTo>
                  <a:lnTo>
                    <a:pt x="186" y="353"/>
                  </a:lnTo>
                  <a:cubicBezTo>
                    <a:pt x="698" y="353"/>
                    <a:pt x="698" y="353"/>
                    <a:pt x="698" y="353"/>
                  </a:cubicBezTo>
                  <a:cubicBezTo>
                    <a:pt x="692" y="287"/>
                    <a:pt x="667" y="236"/>
                    <a:pt x="623" y="203"/>
                  </a:cubicBezTo>
                  <a:cubicBezTo>
                    <a:pt x="578" y="170"/>
                    <a:pt x="520" y="153"/>
                    <a:pt x="448" y="153"/>
                  </a:cubicBezTo>
                  <a:cubicBezTo>
                    <a:pt x="384" y="153"/>
                    <a:pt x="328" y="170"/>
                    <a:pt x="278" y="203"/>
                  </a:cubicBezTo>
                  <a:cubicBezTo>
                    <a:pt x="231" y="236"/>
                    <a:pt x="200" y="287"/>
                    <a:pt x="186" y="353"/>
                  </a:cubicBezTo>
                  <a:lnTo>
                    <a:pt x="867"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6" name="Freeform 13">
              <a:extLst>
                <a:ext uri="{FF2B5EF4-FFF2-40B4-BE49-F238E27FC236}">
                  <a16:creationId xmlns:a16="http://schemas.microsoft.com/office/drawing/2014/main" id="{D808B508-B861-7C47-882C-1E46A3019A68}"/>
                </a:ext>
              </a:extLst>
            </p:cNvPr>
            <p:cNvSpPr>
              <a:spLocks noChangeArrowheads="1"/>
            </p:cNvSpPr>
            <p:nvPr userDrawn="1"/>
          </p:nvSpPr>
          <p:spPr bwMode="auto">
            <a:xfrm>
              <a:off x="6305550" y="3141663"/>
              <a:ext cx="228600" cy="303212"/>
            </a:xfrm>
            <a:custGeom>
              <a:avLst/>
              <a:gdLst>
                <a:gd name="T0" fmla="*/ 164 w 634"/>
                <a:gd name="T1" fmla="*/ 20 h 843"/>
                <a:gd name="T2" fmla="*/ 164 w 634"/>
                <a:gd name="T3" fmla="*/ 20 h 843"/>
                <a:gd name="T4" fmla="*/ 177 w 634"/>
                <a:gd name="T5" fmla="*/ 128 h 843"/>
                <a:gd name="T6" fmla="*/ 289 w 634"/>
                <a:gd name="T7" fmla="*/ 25 h 843"/>
                <a:gd name="T8" fmla="*/ 425 w 634"/>
                <a:gd name="T9" fmla="*/ 0 h 843"/>
                <a:gd name="T10" fmla="*/ 541 w 634"/>
                <a:gd name="T11" fmla="*/ 20 h 843"/>
                <a:gd name="T12" fmla="*/ 633 w 634"/>
                <a:gd name="T13" fmla="*/ 70 h 843"/>
                <a:gd name="T14" fmla="*/ 552 w 634"/>
                <a:gd name="T15" fmla="*/ 222 h 843"/>
                <a:gd name="T16" fmla="*/ 486 w 634"/>
                <a:gd name="T17" fmla="*/ 184 h 843"/>
                <a:gd name="T18" fmla="*/ 405 w 634"/>
                <a:gd name="T19" fmla="*/ 172 h 843"/>
                <a:gd name="T20" fmla="*/ 316 w 634"/>
                <a:gd name="T21" fmla="*/ 186 h 843"/>
                <a:gd name="T22" fmla="*/ 244 w 634"/>
                <a:gd name="T23" fmla="*/ 228 h 843"/>
                <a:gd name="T24" fmla="*/ 197 w 634"/>
                <a:gd name="T25" fmla="*/ 297 h 843"/>
                <a:gd name="T26" fmla="*/ 177 w 634"/>
                <a:gd name="T27" fmla="*/ 397 h 843"/>
                <a:gd name="T28" fmla="*/ 177 w 634"/>
                <a:gd name="T29" fmla="*/ 842 h 843"/>
                <a:gd name="T30" fmla="*/ 0 w 634"/>
                <a:gd name="T31" fmla="*/ 842 h 843"/>
                <a:gd name="T32" fmla="*/ 0 w 634"/>
                <a:gd name="T33" fmla="*/ 20 h 843"/>
                <a:gd name="T34" fmla="*/ 164 w 634"/>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4" h="843">
                  <a:moveTo>
                    <a:pt x="164" y="20"/>
                  </a:moveTo>
                  <a:lnTo>
                    <a:pt x="164" y="20"/>
                  </a:lnTo>
                  <a:cubicBezTo>
                    <a:pt x="177" y="128"/>
                    <a:pt x="177" y="128"/>
                    <a:pt x="177" y="128"/>
                  </a:cubicBezTo>
                  <a:cubicBezTo>
                    <a:pt x="208" y="75"/>
                    <a:pt x="244" y="42"/>
                    <a:pt x="289" y="25"/>
                  </a:cubicBezTo>
                  <a:cubicBezTo>
                    <a:pt x="333" y="9"/>
                    <a:pt x="380" y="0"/>
                    <a:pt x="425" y="0"/>
                  </a:cubicBezTo>
                  <a:cubicBezTo>
                    <a:pt x="466" y="0"/>
                    <a:pt x="505" y="9"/>
                    <a:pt x="541" y="20"/>
                  </a:cubicBezTo>
                  <a:cubicBezTo>
                    <a:pt x="577" y="34"/>
                    <a:pt x="608" y="50"/>
                    <a:pt x="633" y="70"/>
                  </a:cubicBezTo>
                  <a:cubicBezTo>
                    <a:pt x="552" y="222"/>
                    <a:pt x="552" y="222"/>
                    <a:pt x="552" y="222"/>
                  </a:cubicBezTo>
                  <a:cubicBezTo>
                    <a:pt x="530" y="206"/>
                    <a:pt x="508" y="192"/>
                    <a:pt x="486" y="184"/>
                  </a:cubicBezTo>
                  <a:cubicBezTo>
                    <a:pt x="464" y="175"/>
                    <a:pt x="436" y="172"/>
                    <a:pt x="405" y="172"/>
                  </a:cubicBezTo>
                  <a:cubicBezTo>
                    <a:pt x="372" y="172"/>
                    <a:pt x="344" y="175"/>
                    <a:pt x="316" y="186"/>
                  </a:cubicBezTo>
                  <a:cubicBezTo>
                    <a:pt x="289" y="195"/>
                    <a:pt x="266" y="209"/>
                    <a:pt x="244" y="228"/>
                  </a:cubicBezTo>
                  <a:cubicBezTo>
                    <a:pt x="225" y="245"/>
                    <a:pt x="208" y="270"/>
                    <a:pt x="197" y="297"/>
                  </a:cubicBezTo>
                  <a:cubicBezTo>
                    <a:pt x="183" y="325"/>
                    <a:pt x="177" y="359"/>
                    <a:pt x="177" y="397"/>
                  </a:cubicBezTo>
                  <a:cubicBezTo>
                    <a:pt x="177" y="842"/>
                    <a:pt x="177" y="842"/>
                    <a:pt x="177"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7" name="Freeform 14">
              <a:extLst>
                <a:ext uri="{FF2B5EF4-FFF2-40B4-BE49-F238E27FC236}">
                  <a16:creationId xmlns:a16="http://schemas.microsoft.com/office/drawing/2014/main" id="{DA4B5B07-1DD1-444C-9434-A5BD0D4BC375}"/>
                </a:ext>
              </a:extLst>
            </p:cNvPr>
            <p:cNvSpPr>
              <a:spLocks noChangeArrowheads="1"/>
            </p:cNvSpPr>
            <p:nvPr userDrawn="1"/>
          </p:nvSpPr>
          <p:spPr bwMode="auto">
            <a:xfrm>
              <a:off x="6577013" y="3148013"/>
              <a:ext cx="63500" cy="296862"/>
            </a:xfrm>
            <a:custGeom>
              <a:avLst/>
              <a:gdLst>
                <a:gd name="T0" fmla="*/ 175 w 176"/>
                <a:gd name="T1" fmla="*/ 825 h 826"/>
                <a:gd name="T2" fmla="*/ 0 w 176"/>
                <a:gd name="T3" fmla="*/ 825 h 826"/>
                <a:gd name="T4" fmla="*/ 0 w 176"/>
                <a:gd name="T5" fmla="*/ 0 h 826"/>
                <a:gd name="T6" fmla="*/ 175 w 176"/>
                <a:gd name="T7" fmla="*/ 0 h 826"/>
                <a:gd name="T8" fmla="*/ 175 w 176"/>
                <a:gd name="T9" fmla="*/ 825 h 826"/>
              </a:gdLst>
              <a:ahLst/>
              <a:cxnLst>
                <a:cxn ang="0">
                  <a:pos x="T0" y="T1"/>
                </a:cxn>
                <a:cxn ang="0">
                  <a:pos x="T2" y="T3"/>
                </a:cxn>
                <a:cxn ang="0">
                  <a:pos x="T4" y="T5"/>
                </a:cxn>
                <a:cxn ang="0">
                  <a:pos x="T6" y="T7"/>
                </a:cxn>
                <a:cxn ang="0">
                  <a:pos x="T8" y="T9"/>
                </a:cxn>
              </a:cxnLst>
              <a:rect l="0" t="0" r="r" b="b"/>
              <a:pathLst>
                <a:path w="176" h="826">
                  <a:moveTo>
                    <a:pt x="175" y="825"/>
                  </a:moveTo>
                  <a:lnTo>
                    <a:pt x="0" y="825"/>
                  </a:lnTo>
                  <a:lnTo>
                    <a:pt x="0" y="0"/>
                  </a:lnTo>
                  <a:lnTo>
                    <a:pt x="175" y="0"/>
                  </a:lnTo>
                  <a:lnTo>
                    <a:pt x="175" y="8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8" name="Freeform 15">
              <a:extLst>
                <a:ext uri="{FF2B5EF4-FFF2-40B4-BE49-F238E27FC236}">
                  <a16:creationId xmlns:a16="http://schemas.microsoft.com/office/drawing/2014/main" id="{D083457F-493B-9D49-9B53-1046E4A96F81}"/>
                </a:ext>
              </a:extLst>
            </p:cNvPr>
            <p:cNvSpPr>
              <a:spLocks noChangeArrowheads="1"/>
            </p:cNvSpPr>
            <p:nvPr userDrawn="1"/>
          </p:nvSpPr>
          <p:spPr bwMode="auto">
            <a:xfrm>
              <a:off x="6707188" y="3141663"/>
              <a:ext cx="314325" cy="312737"/>
            </a:xfrm>
            <a:custGeom>
              <a:avLst/>
              <a:gdLst>
                <a:gd name="T0" fmla="*/ 864 w 873"/>
                <a:gd name="T1" fmla="*/ 498 h 868"/>
                <a:gd name="T2" fmla="*/ 864 w 873"/>
                <a:gd name="T3" fmla="*/ 498 h 868"/>
                <a:gd name="T4" fmla="*/ 184 w 873"/>
                <a:gd name="T5" fmla="*/ 498 h 868"/>
                <a:gd name="T6" fmla="*/ 267 w 873"/>
                <a:gd name="T7" fmla="*/ 650 h 868"/>
                <a:gd name="T8" fmla="*/ 459 w 873"/>
                <a:gd name="T9" fmla="*/ 706 h 868"/>
                <a:gd name="T10" fmla="*/ 592 w 873"/>
                <a:gd name="T11" fmla="*/ 684 h 868"/>
                <a:gd name="T12" fmla="*/ 700 w 873"/>
                <a:gd name="T13" fmla="*/ 617 h 868"/>
                <a:gd name="T14" fmla="*/ 817 w 873"/>
                <a:gd name="T15" fmla="*/ 725 h 868"/>
                <a:gd name="T16" fmla="*/ 742 w 873"/>
                <a:gd name="T17" fmla="*/ 786 h 868"/>
                <a:gd name="T18" fmla="*/ 650 w 873"/>
                <a:gd name="T19" fmla="*/ 831 h 868"/>
                <a:gd name="T20" fmla="*/ 553 w 873"/>
                <a:gd name="T21" fmla="*/ 859 h 868"/>
                <a:gd name="T22" fmla="*/ 453 w 873"/>
                <a:gd name="T23" fmla="*/ 867 h 868"/>
                <a:gd name="T24" fmla="*/ 267 w 873"/>
                <a:gd name="T25" fmla="*/ 836 h 868"/>
                <a:gd name="T26" fmla="*/ 123 w 873"/>
                <a:gd name="T27" fmla="*/ 748 h 868"/>
                <a:gd name="T28" fmla="*/ 34 w 873"/>
                <a:gd name="T29" fmla="*/ 609 h 868"/>
                <a:gd name="T30" fmla="*/ 0 w 873"/>
                <a:gd name="T31" fmla="*/ 431 h 868"/>
                <a:gd name="T32" fmla="*/ 34 w 873"/>
                <a:gd name="T33" fmla="*/ 256 h 868"/>
                <a:gd name="T34" fmla="*/ 123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7 w 873"/>
                <a:gd name="T53" fmla="*/ 353 h 868"/>
                <a:gd name="T54" fmla="*/ 622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4" y="498"/>
                    <a:pt x="184" y="498"/>
                    <a:pt x="184" y="498"/>
                  </a:cubicBezTo>
                  <a:cubicBezTo>
                    <a:pt x="189" y="562"/>
                    <a:pt x="220" y="611"/>
                    <a:pt x="267" y="650"/>
                  </a:cubicBezTo>
                  <a:cubicBezTo>
                    <a:pt x="317" y="686"/>
                    <a:pt x="381" y="706"/>
                    <a:pt x="459" y="706"/>
                  </a:cubicBezTo>
                  <a:cubicBezTo>
                    <a:pt x="500" y="706"/>
                    <a:pt x="545" y="698"/>
                    <a:pt x="592" y="684"/>
                  </a:cubicBezTo>
                  <a:cubicBezTo>
                    <a:pt x="639" y="667"/>
                    <a:pt x="675" y="645"/>
                    <a:pt x="700" y="617"/>
                  </a:cubicBezTo>
                  <a:cubicBezTo>
                    <a:pt x="817" y="725"/>
                    <a:pt x="817" y="725"/>
                    <a:pt x="817" y="725"/>
                  </a:cubicBezTo>
                  <a:cubicBezTo>
                    <a:pt x="795" y="750"/>
                    <a:pt x="770" y="770"/>
                    <a:pt x="742" y="786"/>
                  </a:cubicBezTo>
                  <a:cubicBezTo>
                    <a:pt x="711" y="806"/>
                    <a:pt x="684" y="820"/>
                    <a:pt x="650" y="831"/>
                  </a:cubicBezTo>
                  <a:cubicBezTo>
                    <a:pt x="620" y="845"/>
                    <a:pt x="586" y="853"/>
                    <a:pt x="553" y="859"/>
                  </a:cubicBezTo>
                  <a:cubicBezTo>
                    <a:pt x="520" y="864"/>
                    <a:pt x="486" y="867"/>
                    <a:pt x="453" y="867"/>
                  </a:cubicBezTo>
                  <a:cubicBezTo>
                    <a:pt x="384" y="867"/>
                    <a:pt x="322" y="856"/>
                    <a:pt x="267" y="836"/>
                  </a:cubicBezTo>
                  <a:cubicBezTo>
                    <a:pt x="211" y="814"/>
                    <a:pt x="164" y="786"/>
                    <a:pt x="123" y="748"/>
                  </a:cubicBezTo>
                  <a:cubicBezTo>
                    <a:pt x="84" y="709"/>
                    <a:pt x="53" y="664"/>
                    <a:pt x="34" y="609"/>
                  </a:cubicBezTo>
                  <a:cubicBezTo>
                    <a:pt x="11" y="556"/>
                    <a:pt x="0" y="495"/>
                    <a:pt x="0" y="431"/>
                  </a:cubicBezTo>
                  <a:cubicBezTo>
                    <a:pt x="0" y="367"/>
                    <a:pt x="11" y="309"/>
                    <a:pt x="34" y="256"/>
                  </a:cubicBezTo>
                  <a:cubicBezTo>
                    <a:pt x="53" y="203"/>
                    <a:pt x="84" y="159"/>
                    <a:pt x="123" y="120"/>
                  </a:cubicBezTo>
                  <a:cubicBezTo>
                    <a:pt x="161" y="84"/>
                    <a:pt x="209" y="53"/>
                    <a:pt x="261" y="31"/>
                  </a:cubicBezTo>
                  <a:cubicBezTo>
                    <a:pt x="317" y="12"/>
                    <a:pt x="375" y="0"/>
                    <a:pt x="442" y="0"/>
                  </a:cubicBezTo>
                  <a:cubicBezTo>
                    <a:pt x="511" y="0"/>
                    <a:pt x="572" y="12"/>
                    <a:pt x="628" y="31"/>
                  </a:cubicBezTo>
                  <a:cubicBezTo>
                    <a:pt x="684" y="53"/>
                    <a:pt x="728" y="84"/>
                    <a:pt x="767" y="125"/>
                  </a:cubicBezTo>
                  <a:cubicBezTo>
                    <a:pt x="806" y="164"/>
                    <a:pt x="834" y="217"/>
                    <a:pt x="850" y="278"/>
                  </a:cubicBezTo>
                  <a:cubicBezTo>
                    <a:pt x="870" y="342"/>
                    <a:pt x="872" y="414"/>
                    <a:pt x="864" y="498"/>
                  </a:cubicBezTo>
                  <a:lnTo>
                    <a:pt x="186" y="353"/>
                  </a:lnTo>
                  <a:lnTo>
                    <a:pt x="186" y="353"/>
                  </a:lnTo>
                  <a:cubicBezTo>
                    <a:pt x="697" y="353"/>
                    <a:pt x="697" y="353"/>
                    <a:pt x="697" y="353"/>
                  </a:cubicBezTo>
                  <a:cubicBezTo>
                    <a:pt x="692" y="287"/>
                    <a:pt x="667" y="236"/>
                    <a:pt x="622" y="203"/>
                  </a:cubicBezTo>
                  <a:cubicBezTo>
                    <a:pt x="578" y="170"/>
                    <a:pt x="520" y="153"/>
                    <a:pt x="447" y="153"/>
                  </a:cubicBezTo>
                  <a:cubicBezTo>
                    <a:pt x="384"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9" name="Freeform 16">
              <a:extLst>
                <a:ext uri="{FF2B5EF4-FFF2-40B4-BE49-F238E27FC236}">
                  <a16:creationId xmlns:a16="http://schemas.microsoft.com/office/drawing/2014/main" id="{DE651136-D223-7E43-A25B-367D3263D05B}"/>
                </a:ext>
              </a:extLst>
            </p:cNvPr>
            <p:cNvSpPr>
              <a:spLocks noChangeArrowheads="1"/>
            </p:cNvSpPr>
            <p:nvPr userDrawn="1"/>
          </p:nvSpPr>
          <p:spPr bwMode="auto">
            <a:xfrm>
              <a:off x="7083425" y="3144838"/>
              <a:ext cx="293688" cy="301625"/>
            </a:xfrm>
            <a:custGeom>
              <a:avLst/>
              <a:gdLst>
                <a:gd name="T0" fmla="*/ 638 w 817"/>
                <a:gd name="T1" fmla="*/ 836 h 837"/>
                <a:gd name="T2" fmla="*/ 638 w 817"/>
                <a:gd name="T3" fmla="*/ 836 h 837"/>
                <a:gd name="T4" fmla="*/ 638 w 817"/>
                <a:gd name="T5" fmla="*/ 397 h 837"/>
                <a:gd name="T6" fmla="*/ 580 w 817"/>
                <a:gd name="T7" fmla="*/ 225 h 837"/>
                <a:gd name="T8" fmla="*/ 411 w 817"/>
                <a:gd name="T9" fmla="*/ 161 h 837"/>
                <a:gd name="T10" fmla="*/ 313 w 817"/>
                <a:gd name="T11" fmla="*/ 180 h 837"/>
                <a:gd name="T12" fmla="*/ 241 w 817"/>
                <a:gd name="T13" fmla="*/ 233 h 837"/>
                <a:gd name="T14" fmla="*/ 194 w 817"/>
                <a:gd name="T15" fmla="*/ 311 h 837"/>
                <a:gd name="T16" fmla="*/ 175 w 817"/>
                <a:gd name="T17" fmla="*/ 408 h 837"/>
                <a:gd name="T18" fmla="*/ 175 w 817"/>
                <a:gd name="T19" fmla="*/ 836 h 837"/>
                <a:gd name="T20" fmla="*/ 0 w 817"/>
                <a:gd name="T21" fmla="*/ 836 h 837"/>
                <a:gd name="T22" fmla="*/ 0 w 817"/>
                <a:gd name="T23" fmla="*/ 11 h 837"/>
                <a:gd name="T24" fmla="*/ 161 w 817"/>
                <a:gd name="T25" fmla="*/ 11 h 837"/>
                <a:gd name="T26" fmla="*/ 172 w 817"/>
                <a:gd name="T27" fmla="*/ 133 h 837"/>
                <a:gd name="T28" fmla="*/ 455 w 817"/>
                <a:gd name="T29" fmla="*/ 0 h 837"/>
                <a:gd name="T30" fmla="*/ 597 w 817"/>
                <a:gd name="T31" fmla="*/ 25 h 837"/>
                <a:gd name="T32" fmla="*/ 711 w 817"/>
                <a:gd name="T33" fmla="*/ 103 h 837"/>
                <a:gd name="T34" fmla="*/ 788 w 817"/>
                <a:gd name="T35" fmla="*/ 225 h 837"/>
                <a:gd name="T36" fmla="*/ 816 w 817"/>
                <a:gd name="T37" fmla="*/ 394 h 837"/>
                <a:gd name="T38" fmla="*/ 816 w 817"/>
                <a:gd name="T39" fmla="*/ 836 h 837"/>
                <a:gd name="T40" fmla="*/ 638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8" y="836"/>
                  </a:moveTo>
                  <a:lnTo>
                    <a:pt x="638" y="836"/>
                  </a:lnTo>
                  <a:cubicBezTo>
                    <a:pt x="638" y="397"/>
                    <a:pt x="638" y="397"/>
                    <a:pt x="638" y="397"/>
                  </a:cubicBezTo>
                  <a:cubicBezTo>
                    <a:pt x="638" y="325"/>
                    <a:pt x="619" y="269"/>
                    <a:pt x="580" y="225"/>
                  </a:cubicBezTo>
                  <a:cubicBezTo>
                    <a:pt x="541" y="183"/>
                    <a:pt x="483" y="161"/>
                    <a:pt x="411" y="161"/>
                  </a:cubicBezTo>
                  <a:cubicBezTo>
                    <a:pt x="375" y="161"/>
                    <a:pt x="344" y="166"/>
                    <a:pt x="313" y="180"/>
                  </a:cubicBezTo>
                  <a:cubicBezTo>
                    <a:pt x="286" y="191"/>
                    <a:pt x="261" y="211"/>
                    <a:pt x="241" y="233"/>
                  </a:cubicBezTo>
                  <a:cubicBezTo>
                    <a:pt x="219" y="255"/>
                    <a:pt x="205" y="283"/>
                    <a:pt x="194" y="311"/>
                  </a:cubicBezTo>
                  <a:cubicBezTo>
                    <a:pt x="180" y="341"/>
                    <a:pt x="175" y="375"/>
                    <a:pt x="175" y="408"/>
                  </a:cubicBezTo>
                  <a:cubicBezTo>
                    <a:pt x="175" y="836"/>
                    <a:pt x="175" y="836"/>
                    <a:pt x="175" y="836"/>
                  </a:cubicBezTo>
                  <a:cubicBezTo>
                    <a:pt x="0" y="836"/>
                    <a:pt x="0" y="836"/>
                    <a:pt x="0" y="836"/>
                  </a:cubicBezTo>
                  <a:cubicBezTo>
                    <a:pt x="0" y="11"/>
                    <a:pt x="0" y="11"/>
                    <a:pt x="0" y="11"/>
                  </a:cubicBezTo>
                  <a:cubicBezTo>
                    <a:pt x="161" y="11"/>
                    <a:pt x="161" y="11"/>
                    <a:pt x="161" y="11"/>
                  </a:cubicBezTo>
                  <a:cubicBezTo>
                    <a:pt x="172" y="133"/>
                    <a:pt x="172" y="133"/>
                    <a:pt x="172" y="133"/>
                  </a:cubicBezTo>
                  <a:cubicBezTo>
                    <a:pt x="250" y="44"/>
                    <a:pt x="344" y="0"/>
                    <a:pt x="455" y="0"/>
                  </a:cubicBezTo>
                  <a:cubicBezTo>
                    <a:pt x="505" y="0"/>
                    <a:pt x="552" y="8"/>
                    <a:pt x="597" y="25"/>
                  </a:cubicBezTo>
                  <a:cubicBezTo>
                    <a:pt x="641" y="44"/>
                    <a:pt x="677" y="69"/>
                    <a:pt x="711" y="103"/>
                  </a:cubicBezTo>
                  <a:cubicBezTo>
                    <a:pt x="744" y="136"/>
                    <a:pt x="769" y="178"/>
                    <a:pt x="788" y="225"/>
                  </a:cubicBezTo>
                  <a:cubicBezTo>
                    <a:pt x="808" y="275"/>
                    <a:pt x="816" y="330"/>
                    <a:pt x="816" y="394"/>
                  </a:cubicBezTo>
                  <a:cubicBezTo>
                    <a:pt x="816" y="836"/>
                    <a:pt x="816" y="836"/>
                    <a:pt x="816" y="836"/>
                  </a:cubicBezTo>
                  <a:lnTo>
                    <a:pt x="638"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0" name="Freeform 17">
              <a:extLst>
                <a:ext uri="{FF2B5EF4-FFF2-40B4-BE49-F238E27FC236}">
                  <a16:creationId xmlns:a16="http://schemas.microsoft.com/office/drawing/2014/main" id="{F66E08D8-03E8-7E47-B511-F56EB14F7451}"/>
                </a:ext>
              </a:extLst>
            </p:cNvPr>
            <p:cNvSpPr>
              <a:spLocks noChangeArrowheads="1"/>
            </p:cNvSpPr>
            <p:nvPr userDrawn="1"/>
          </p:nvSpPr>
          <p:spPr bwMode="auto">
            <a:xfrm>
              <a:off x="7440613" y="3141663"/>
              <a:ext cx="274637" cy="311150"/>
            </a:xfrm>
            <a:custGeom>
              <a:avLst/>
              <a:gdLst>
                <a:gd name="T0" fmla="*/ 761 w 762"/>
                <a:gd name="T1" fmla="*/ 736 h 865"/>
                <a:gd name="T2" fmla="*/ 761 w 762"/>
                <a:gd name="T3" fmla="*/ 736 h 865"/>
                <a:gd name="T4" fmla="*/ 614 w 762"/>
                <a:gd name="T5" fmla="*/ 833 h 865"/>
                <a:gd name="T6" fmla="*/ 442 w 762"/>
                <a:gd name="T7" fmla="*/ 864 h 865"/>
                <a:gd name="T8" fmla="*/ 272 w 762"/>
                <a:gd name="T9" fmla="*/ 836 h 865"/>
                <a:gd name="T10" fmla="*/ 131 w 762"/>
                <a:gd name="T11" fmla="*/ 756 h 865"/>
                <a:gd name="T12" fmla="*/ 34 w 762"/>
                <a:gd name="T13" fmla="*/ 620 h 865"/>
                <a:gd name="T14" fmla="*/ 0 w 762"/>
                <a:gd name="T15" fmla="*/ 431 h 865"/>
                <a:gd name="T16" fmla="*/ 34 w 762"/>
                <a:gd name="T17" fmla="*/ 245 h 865"/>
                <a:gd name="T18" fmla="*/ 131 w 762"/>
                <a:gd name="T19" fmla="*/ 109 h 865"/>
                <a:gd name="T20" fmla="*/ 270 w 762"/>
                <a:gd name="T21" fmla="*/ 28 h 865"/>
                <a:gd name="T22" fmla="*/ 442 w 762"/>
                <a:gd name="T23" fmla="*/ 0 h 865"/>
                <a:gd name="T24" fmla="*/ 603 w 762"/>
                <a:gd name="T25" fmla="*/ 28 h 865"/>
                <a:gd name="T26" fmla="*/ 747 w 762"/>
                <a:gd name="T27" fmla="*/ 122 h 865"/>
                <a:gd name="T28" fmla="*/ 633 w 762"/>
                <a:gd name="T29" fmla="*/ 236 h 865"/>
                <a:gd name="T30" fmla="*/ 545 w 762"/>
                <a:gd name="T31" fmla="*/ 181 h 865"/>
                <a:gd name="T32" fmla="*/ 445 w 762"/>
                <a:gd name="T33" fmla="*/ 164 h 865"/>
                <a:gd name="T34" fmla="*/ 339 w 762"/>
                <a:gd name="T35" fmla="*/ 181 h 865"/>
                <a:gd name="T36" fmla="*/ 253 w 762"/>
                <a:gd name="T37" fmla="*/ 236 h 865"/>
                <a:gd name="T38" fmla="*/ 195 w 762"/>
                <a:gd name="T39" fmla="*/ 320 h 865"/>
                <a:gd name="T40" fmla="*/ 175 w 762"/>
                <a:gd name="T41" fmla="*/ 431 h 865"/>
                <a:gd name="T42" fmla="*/ 197 w 762"/>
                <a:gd name="T43" fmla="*/ 547 h 865"/>
                <a:gd name="T44" fmla="*/ 253 w 762"/>
                <a:gd name="T45" fmla="*/ 631 h 865"/>
                <a:gd name="T46" fmla="*/ 339 w 762"/>
                <a:gd name="T47" fmla="*/ 681 h 865"/>
                <a:gd name="T48" fmla="*/ 442 w 762"/>
                <a:gd name="T49" fmla="*/ 697 h 865"/>
                <a:gd name="T50" fmla="*/ 550 w 762"/>
                <a:gd name="T51" fmla="*/ 681 h 865"/>
                <a:gd name="T52" fmla="*/ 642 w 762"/>
                <a:gd name="T53" fmla="*/ 620 h 865"/>
                <a:gd name="T54" fmla="*/ 761 w 762"/>
                <a:gd name="T55" fmla="*/ 736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62" h="865">
                  <a:moveTo>
                    <a:pt x="761" y="736"/>
                  </a:moveTo>
                  <a:lnTo>
                    <a:pt x="761" y="736"/>
                  </a:lnTo>
                  <a:cubicBezTo>
                    <a:pt x="714" y="781"/>
                    <a:pt x="664" y="814"/>
                    <a:pt x="614" y="833"/>
                  </a:cubicBezTo>
                  <a:cubicBezTo>
                    <a:pt x="561" y="856"/>
                    <a:pt x="503" y="864"/>
                    <a:pt x="442" y="864"/>
                  </a:cubicBezTo>
                  <a:cubicBezTo>
                    <a:pt x="383" y="864"/>
                    <a:pt x="325" y="856"/>
                    <a:pt x="272" y="836"/>
                  </a:cubicBezTo>
                  <a:cubicBezTo>
                    <a:pt x="217" y="820"/>
                    <a:pt x="170" y="792"/>
                    <a:pt x="131" y="756"/>
                  </a:cubicBezTo>
                  <a:cubicBezTo>
                    <a:pt x="89" y="720"/>
                    <a:pt x="58" y="675"/>
                    <a:pt x="34" y="620"/>
                  </a:cubicBezTo>
                  <a:cubicBezTo>
                    <a:pt x="11" y="567"/>
                    <a:pt x="0" y="503"/>
                    <a:pt x="0" y="431"/>
                  </a:cubicBezTo>
                  <a:cubicBezTo>
                    <a:pt x="0" y="361"/>
                    <a:pt x="11" y="297"/>
                    <a:pt x="34" y="245"/>
                  </a:cubicBezTo>
                  <a:cubicBezTo>
                    <a:pt x="58" y="189"/>
                    <a:pt x="89" y="145"/>
                    <a:pt x="131" y="109"/>
                  </a:cubicBezTo>
                  <a:cubicBezTo>
                    <a:pt x="170" y="72"/>
                    <a:pt x="217" y="45"/>
                    <a:pt x="270" y="28"/>
                  </a:cubicBezTo>
                  <a:cubicBezTo>
                    <a:pt x="325" y="9"/>
                    <a:pt x="381" y="0"/>
                    <a:pt x="442" y="0"/>
                  </a:cubicBezTo>
                  <a:cubicBezTo>
                    <a:pt x="500" y="0"/>
                    <a:pt x="556" y="9"/>
                    <a:pt x="603" y="28"/>
                  </a:cubicBezTo>
                  <a:cubicBezTo>
                    <a:pt x="653" y="47"/>
                    <a:pt x="700" y="78"/>
                    <a:pt x="747" y="122"/>
                  </a:cubicBezTo>
                  <a:cubicBezTo>
                    <a:pt x="633" y="236"/>
                    <a:pt x="633" y="236"/>
                    <a:pt x="633" y="236"/>
                  </a:cubicBezTo>
                  <a:cubicBezTo>
                    <a:pt x="608" y="211"/>
                    <a:pt x="578" y="192"/>
                    <a:pt x="545" y="181"/>
                  </a:cubicBezTo>
                  <a:cubicBezTo>
                    <a:pt x="511" y="170"/>
                    <a:pt x="478" y="164"/>
                    <a:pt x="445" y="164"/>
                  </a:cubicBezTo>
                  <a:cubicBezTo>
                    <a:pt x="406" y="164"/>
                    <a:pt x="372" y="170"/>
                    <a:pt x="339" y="181"/>
                  </a:cubicBezTo>
                  <a:cubicBezTo>
                    <a:pt x="306" y="195"/>
                    <a:pt x="278" y="214"/>
                    <a:pt x="253" y="236"/>
                  </a:cubicBezTo>
                  <a:cubicBezTo>
                    <a:pt x="228" y="259"/>
                    <a:pt x="209" y="289"/>
                    <a:pt x="195" y="320"/>
                  </a:cubicBezTo>
                  <a:cubicBezTo>
                    <a:pt x="181" y="353"/>
                    <a:pt x="175" y="392"/>
                    <a:pt x="175" y="431"/>
                  </a:cubicBezTo>
                  <a:cubicBezTo>
                    <a:pt x="175" y="475"/>
                    <a:pt x="181" y="514"/>
                    <a:pt x="197" y="547"/>
                  </a:cubicBezTo>
                  <a:cubicBezTo>
                    <a:pt x="211" y="578"/>
                    <a:pt x="231" y="606"/>
                    <a:pt x="253" y="631"/>
                  </a:cubicBezTo>
                  <a:cubicBezTo>
                    <a:pt x="278" y="653"/>
                    <a:pt x="309" y="670"/>
                    <a:pt x="339" y="681"/>
                  </a:cubicBezTo>
                  <a:cubicBezTo>
                    <a:pt x="372" y="692"/>
                    <a:pt x="406" y="697"/>
                    <a:pt x="442" y="697"/>
                  </a:cubicBezTo>
                  <a:cubicBezTo>
                    <a:pt x="478" y="697"/>
                    <a:pt x="514" y="692"/>
                    <a:pt x="550" y="681"/>
                  </a:cubicBezTo>
                  <a:cubicBezTo>
                    <a:pt x="583" y="670"/>
                    <a:pt x="614" y="647"/>
                    <a:pt x="642" y="620"/>
                  </a:cubicBezTo>
                  <a:lnTo>
                    <a:pt x="761" y="7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1" name="Freeform 18">
              <a:extLst>
                <a:ext uri="{FF2B5EF4-FFF2-40B4-BE49-F238E27FC236}">
                  <a16:creationId xmlns:a16="http://schemas.microsoft.com/office/drawing/2014/main" id="{3566F7C8-94CB-004E-8CF3-366493033F57}"/>
                </a:ext>
              </a:extLst>
            </p:cNvPr>
            <p:cNvSpPr>
              <a:spLocks noChangeArrowheads="1"/>
            </p:cNvSpPr>
            <p:nvPr userDrawn="1"/>
          </p:nvSpPr>
          <p:spPr bwMode="auto">
            <a:xfrm>
              <a:off x="7747000" y="3141663"/>
              <a:ext cx="314325" cy="312737"/>
            </a:xfrm>
            <a:custGeom>
              <a:avLst/>
              <a:gdLst>
                <a:gd name="T0" fmla="*/ 864 w 873"/>
                <a:gd name="T1" fmla="*/ 498 h 868"/>
                <a:gd name="T2" fmla="*/ 864 w 873"/>
                <a:gd name="T3" fmla="*/ 498 h 868"/>
                <a:gd name="T4" fmla="*/ 181 w 873"/>
                <a:gd name="T5" fmla="*/ 498 h 868"/>
                <a:gd name="T6" fmla="*/ 267 w 873"/>
                <a:gd name="T7" fmla="*/ 650 h 868"/>
                <a:gd name="T8" fmla="*/ 456 w 873"/>
                <a:gd name="T9" fmla="*/ 706 h 868"/>
                <a:gd name="T10" fmla="*/ 592 w 873"/>
                <a:gd name="T11" fmla="*/ 684 h 868"/>
                <a:gd name="T12" fmla="*/ 700 w 873"/>
                <a:gd name="T13" fmla="*/ 617 h 868"/>
                <a:gd name="T14" fmla="*/ 817 w 873"/>
                <a:gd name="T15" fmla="*/ 725 h 868"/>
                <a:gd name="T16" fmla="*/ 739 w 873"/>
                <a:gd name="T17" fmla="*/ 786 h 868"/>
                <a:gd name="T18" fmla="*/ 650 w 873"/>
                <a:gd name="T19" fmla="*/ 831 h 868"/>
                <a:gd name="T20" fmla="*/ 553 w 873"/>
                <a:gd name="T21" fmla="*/ 859 h 868"/>
                <a:gd name="T22" fmla="*/ 453 w 873"/>
                <a:gd name="T23" fmla="*/ 867 h 868"/>
                <a:gd name="T24" fmla="*/ 267 w 873"/>
                <a:gd name="T25" fmla="*/ 836 h 868"/>
                <a:gd name="T26" fmla="*/ 122 w 873"/>
                <a:gd name="T27" fmla="*/ 748 h 868"/>
                <a:gd name="T28" fmla="*/ 31 w 873"/>
                <a:gd name="T29" fmla="*/ 609 h 868"/>
                <a:gd name="T30" fmla="*/ 0 w 873"/>
                <a:gd name="T31" fmla="*/ 431 h 868"/>
                <a:gd name="T32" fmla="*/ 31 w 873"/>
                <a:gd name="T33" fmla="*/ 256 h 868"/>
                <a:gd name="T34" fmla="*/ 122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4 w 873"/>
                <a:gd name="T53" fmla="*/ 353 h 868"/>
                <a:gd name="T54" fmla="*/ 619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1" y="498"/>
                    <a:pt x="181" y="498"/>
                    <a:pt x="181" y="498"/>
                  </a:cubicBezTo>
                  <a:cubicBezTo>
                    <a:pt x="189" y="562"/>
                    <a:pt x="219" y="611"/>
                    <a:pt x="267" y="650"/>
                  </a:cubicBezTo>
                  <a:cubicBezTo>
                    <a:pt x="317" y="686"/>
                    <a:pt x="381" y="706"/>
                    <a:pt x="456" y="706"/>
                  </a:cubicBezTo>
                  <a:cubicBezTo>
                    <a:pt x="500" y="706"/>
                    <a:pt x="544" y="698"/>
                    <a:pt x="592" y="684"/>
                  </a:cubicBezTo>
                  <a:cubicBezTo>
                    <a:pt x="639" y="667"/>
                    <a:pt x="675" y="645"/>
                    <a:pt x="700" y="617"/>
                  </a:cubicBezTo>
                  <a:cubicBezTo>
                    <a:pt x="817" y="725"/>
                    <a:pt x="817" y="725"/>
                    <a:pt x="817" y="725"/>
                  </a:cubicBezTo>
                  <a:cubicBezTo>
                    <a:pt x="794" y="750"/>
                    <a:pt x="769" y="770"/>
                    <a:pt x="739" y="786"/>
                  </a:cubicBezTo>
                  <a:cubicBezTo>
                    <a:pt x="711" y="806"/>
                    <a:pt x="681" y="820"/>
                    <a:pt x="650" y="831"/>
                  </a:cubicBezTo>
                  <a:cubicBezTo>
                    <a:pt x="619" y="845"/>
                    <a:pt x="586" y="853"/>
                    <a:pt x="553" y="859"/>
                  </a:cubicBezTo>
                  <a:cubicBezTo>
                    <a:pt x="519" y="864"/>
                    <a:pt x="486" y="867"/>
                    <a:pt x="453" y="867"/>
                  </a:cubicBezTo>
                  <a:cubicBezTo>
                    <a:pt x="383" y="867"/>
                    <a:pt x="322" y="856"/>
                    <a:pt x="267" y="836"/>
                  </a:cubicBezTo>
                  <a:cubicBezTo>
                    <a:pt x="208" y="814"/>
                    <a:pt x="161" y="786"/>
                    <a:pt x="122" y="748"/>
                  </a:cubicBezTo>
                  <a:cubicBezTo>
                    <a:pt x="83" y="709"/>
                    <a:pt x="53" y="664"/>
                    <a:pt x="31" y="609"/>
                  </a:cubicBezTo>
                  <a:cubicBezTo>
                    <a:pt x="11" y="556"/>
                    <a:pt x="0" y="495"/>
                    <a:pt x="0" y="431"/>
                  </a:cubicBezTo>
                  <a:cubicBezTo>
                    <a:pt x="0" y="367"/>
                    <a:pt x="11" y="309"/>
                    <a:pt x="31" y="256"/>
                  </a:cubicBezTo>
                  <a:cubicBezTo>
                    <a:pt x="53" y="203"/>
                    <a:pt x="83" y="159"/>
                    <a:pt x="122" y="120"/>
                  </a:cubicBezTo>
                  <a:cubicBezTo>
                    <a:pt x="161" y="84"/>
                    <a:pt x="208" y="53"/>
                    <a:pt x="261" y="31"/>
                  </a:cubicBezTo>
                  <a:cubicBezTo>
                    <a:pt x="314" y="12"/>
                    <a:pt x="375" y="0"/>
                    <a:pt x="442" y="0"/>
                  </a:cubicBezTo>
                  <a:cubicBezTo>
                    <a:pt x="508" y="0"/>
                    <a:pt x="572" y="12"/>
                    <a:pt x="628" y="31"/>
                  </a:cubicBezTo>
                  <a:cubicBezTo>
                    <a:pt x="681" y="53"/>
                    <a:pt x="728" y="84"/>
                    <a:pt x="767" y="125"/>
                  </a:cubicBezTo>
                  <a:cubicBezTo>
                    <a:pt x="806" y="164"/>
                    <a:pt x="833" y="217"/>
                    <a:pt x="850" y="278"/>
                  </a:cubicBezTo>
                  <a:cubicBezTo>
                    <a:pt x="867" y="342"/>
                    <a:pt x="872" y="414"/>
                    <a:pt x="864" y="498"/>
                  </a:cubicBezTo>
                  <a:lnTo>
                    <a:pt x="186" y="353"/>
                  </a:lnTo>
                  <a:lnTo>
                    <a:pt x="186" y="353"/>
                  </a:lnTo>
                  <a:cubicBezTo>
                    <a:pt x="694" y="353"/>
                    <a:pt x="694" y="353"/>
                    <a:pt x="694" y="353"/>
                  </a:cubicBezTo>
                  <a:cubicBezTo>
                    <a:pt x="689" y="287"/>
                    <a:pt x="664" y="236"/>
                    <a:pt x="619" y="203"/>
                  </a:cubicBezTo>
                  <a:cubicBezTo>
                    <a:pt x="575" y="170"/>
                    <a:pt x="519" y="153"/>
                    <a:pt x="447" y="153"/>
                  </a:cubicBezTo>
                  <a:cubicBezTo>
                    <a:pt x="381"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2" name="Freeform 19">
              <a:extLst>
                <a:ext uri="{FF2B5EF4-FFF2-40B4-BE49-F238E27FC236}">
                  <a16:creationId xmlns:a16="http://schemas.microsoft.com/office/drawing/2014/main" id="{DC3296C0-00C5-BF4D-A6F6-652287B3002A}"/>
                </a:ext>
              </a:extLst>
            </p:cNvPr>
            <p:cNvSpPr>
              <a:spLocks noChangeArrowheads="1"/>
            </p:cNvSpPr>
            <p:nvPr userDrawn="1"/>
          </p:nvSpPr>
          <p:spPr bwMode="auto">
            <a:xfrm>
              <a:off x="1828800" y="3743325"/>
              <a:ext cx="323850" cy="311150"/>
            </a:xfrm>
            <a:custGeom>
              <a:avLst/>
              <a:gdLst>
                <a:gd name="T0" fmla="*/ 722 w 901"/>
                <a:gd name="T1" fmla="*/ 147 h 865"/>
                <a:gd name="T2" fmla="*/ 722 w 901"/>
                <a:gd name="T3" fmla="*/ 147 h 865"/>
                <a:gd name="T4" fmla="*/ 728 w 901"/>
                <a:gd name="T5" fmla="*/ 17 h 865"/>
                <a:gd name="T6" fmla="*/ 900 w 901"/>
                <a:gd name="T7" fmla="*/ 17 h 865"/>
                <a:gd name="T8" fmla="*/ 900 w 901"/>
                <a:gd name="T9" fmla="*/ 842 h 865"/>
                <a:gd name="T10" fmla="*/ 731 w 901"/>
                <a:gd name="T11" fmla="*/ 842 h 865"/>
                <a:gd name="T12" fmla="*/ 722 w 901"/>
                <a:gd name="T13" fmla="*/ 709 h 865"/>
                <a:gd name="T14" fmla="*/ 669 w 901"/>
                <a:gd name="T15" fmla="*/ 778 h 865"/>
                <a:gd name="T16" fmla="*/ 597 w 901"/>
                <a:gd name="T17" fmla="*/ 825 h 865"/>
                <a:gd name="T18" fmla="*/ 514 w 901"/>
                <a:gd name="T19" fmla="*/ 856 h 865"/>
                <a:gd name="T20" fmla="*/ 433 w 901"/>
                <a:gd name="T21" fmla="*/ 864 h 865"/>
                <a:gd name="T22" fmla="*/ 261 w 901"/>
                <a:gd name="T23" fmla="*/ 836 h 865"/>
                <a:gd name="T24" fmla="*/ 125 w 901"/>
                <a:gd name="T25" fmla="*/ 753 h 865"/>
                <a:gd name="T26" fmla="*/ 33 w 901"/>
                <a:gd name="T27" fmla="*/ 617 h 865"/>
                <a:gd name="T28" fmla="*/ 0 w 901"/>
                <a:gd name="T29" fmla="*/ 428 h 865"/>
                <a:gd name="T30" fmla="*/ 36 w 901"/>
                <a:gd name="T31" fmla="*/ 245 h 865"/>
                <a:gd name="T32" fmla="*/ 128 w 901"/>
                <a:gd name="T33" fmla="*/ 111 h 865"/>
                <a:gd name="T34" fmla="*/ 267 w 901"/>
                <a:gd name="T35" fmla="*/ 28 h 865"/>
                <a:gd name="T36" fmla="*/ 436 w 901"/>
                <a:gd name="T37" fmla="*/ 0 h 865"/>
                <a:gd name="T38" fmla="*/ 606 w 901"/>
                <a:gd name="T39" fmla="*/ 39 h 865"/>
                <a:gd name="T40" fmla="*/ 722 w 901"/>
                <a:gd name="T41" fmla="*/ 147 h 865"/>
                <a:gd name="T42" fmla="*/ 450 w 901"/>
                <a:gd name="T43" fmla="*/ 156 h 865"/>
                <a:gd name="T44" fmla="*/ 450 w 901"/>
                <a:gd name="T45" fmla="*/ 156 h 865"/>
                <a:gd name="T46" fmla="*/ 344 w 901"/>
                <a:gd name="T47" fmla="*/ 175 h 865"/>
                <a:gd name="T48" fmla="*/ 258 w 901"/>
                <a:gd name="T49" fmla="*/ 231 h 865"/>
                <a:gd name="T50" fmla="*/ 197 w 901"/>
                <a:gd name="T51" fmla="*/ 317 h 865"/>
                <a:gd name="T52" fmla="*/ 178 w 901"/>
                <a:gd name="T53" fmla="*/ 428 h 865"/>
                <a:gd name="T54" fmla="*/ 197 w 901"/>
                <a:gd name="T55" fmla="*/ 545 h 865"/>
                <a:gd name="T56" fmla="*/ 258 w 901"/>
                <a:gd name="T57" fmla="*/ 631 h 865"/>
                <a:gd name="T58" fmla="*/ 344 w 901"/>
                <a:gd name="T59" fmla="*/ 684 h 865"/>
                <a:gd name="T60" fmla="*/ 450 w 901"/>
                <a:gd name="T61" fmla="*/ 703 h 865"/>
                <a:gd name="T62" fmla="*/ 600 w 901"/>
                <a:gd name="T63" fmla="*/ 664 h 865"/>
                <a:gd name="T64" fmla="*/ 692 w 901"/>
                <a:gd name="T65" fmla="*/ 561 h 865"/>
                <a:gd name="T66" fmla="*/ 722 w 901"/>
                <a:gd name="T67" fmla="*/ 431 h 865"/>
                <a:gd name="T68" fmla="*/ 692 w 901"/>
                <a:gd name="T69" fmla="*/ 298 h 865"/>
                <a:gd name="T70" fmla="*/ 600 w 901"/>
                <a:gd name="T71" fmla="*/ 198 h 865"/>
                <a:gd name="T72" fmla="*/ 450 w 901"/>
                <a:gd name="T73" fmla="*/ 156 h 865"/>
                <a:gd name="T74" fmla="*/ 722 w 901"/>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1" h="865">
                  <a:moveTo>
                    <a:pt x="722" y="147"/>
                  </a:moveTo>
                  <a:lnTo>
                    <a:pt x="722" y="147"/>
                  </a:lnTo>
                  <a:cubicBezTo>
                    <a:pt x="728" y="17"/>
                    <a:pt x="728" y="17"/>
                    <a:pt x="728" y="17"/>
                  </a:cubicBezTo>
                  <a:cubicBezTo>
                    <a:pt x="900" y="17"/>
                    <a:pt x="900" y="17"/>
                    <a:pt x="900" y="17"/>
                  </a:cubicBezTo>
                  <a:cubicBezTo>
                    <a:pt x="900" y="842"/>
                    <a:pt x="900" y="842"/>
                    <a:pt x="900" y="842"/>
                  </a:cubicBezTo>
                  <a:cubicBezTo>
                    <a:pt x="731" y="842"/>
                    <a:pt x="731" y="842"/>
                    <a:pt x="731" y="842"/>
                  </a:cubicBezTo>
                  <a:cubicBezTo>
                    <a:pt x="722" y="709"/>
                    <a:pt x="722" y="709"/>
                    <a:pt x="722" y="709"/>
                  </a:cubicBezTo>
                  <a:cubicBezTo>
                    <a:pt x="708" y="736"/>
                    <a:pt x="692" y="759"/>
                    <a:pt x="669" y="778"/>
                  </a:cubicBezTo>
                  <a:cubicBezTo>
                    <a:pt x="647" y="797"/>
                    <a:pt x="622" y="814"/>
                    <a:pt x="597" y="825"/>
                  </a:cubicBezTo>
                  <a:cubicBezTo>
                    <a:pt x="569" y="839"/>
                    <a:pt x="542" y="847"/>
                    <a:pt x="514" y="856"/>
                  </a:cubicBezTo>
                  <a:cubicBezTo>
                    <a:pt x="486" y="861"/>
                    <a:pt x="458" y="864"/>
                    <a:pt x="433" y="864"/>
                  </a:cubicBezTo>
                  <a:cubicBezTo>
                    <a:pt x="372" y="864"/>
                    <a:pt x="314" y="853"/>
                    <a:pt x="261" y="836"/>
                  </a:cubicBezTo>
                  <a:cubicBezTo>
                    <a:pt x="208" y="817"/>
                    <a:pt x="164" y="789"/>
                    <a:pt x="125" y="753"/>
                  </a:cubicBezTo>
                  <a:cubicBezTo>
                    <a:pt x="86" y="714"/>
                    <a:pt x="56" y="670"/>
                    <a:pt x="33" y="617"/>
                  </a:cubicBezTo>
                  <a:cubicBezTo>
                    <a:pt x="11" y="561"/>
                    <a:pt x="0" y="500"/>
                    <a:pt x="0" y="428"/>
                  </a:cubicBezTo>
                  <a:cubicBezTo>
                    <a:pt x="0" y="361"/>
                    <a:pt x="11" y="300"/>
                    <a:pt x="36" y="245"/>
                  </a:cubicBezTo>
                  <a:cubicBezTo>
                    <a:pt x="58" y="192"/>
                    <a:pt x="89" y="147"/>
                    <a:pt x="128" y="111"/>
                  </a:cubicBezTo>
                  <a:cubicBezTo>
                    <a:pt x="167" y="75"/>
                    <a:pt x="214" y="48"/>
                    <a:pt x="267" y="28"/>
                  </a:cubicBezTo>
                  <a:cubicBezTo>
                    <a:pt x="319" y="9"/>
                    <a:pt x="375" y="0"/>
                    <a:pt x="436" y="0"/>
                  </a:cubicBezTo>
                  <a:cubicBezTo>
                    <a:pt x="497" y="0"/>
                    <a:pt x="553" y="14"/>
                    <a:pt x="606" y="39"/>
                  </a:cubicBezTo>
                  <a:cubicBezTo>
                    <a:pt x="658" y="64"/>
                    <a:pt x="697" y="103"/>
                    <a:pt x="722" y="147"/>
                  </a:cubicBezTo>
                  <a:lnTo>
                    <a:pt x="450" y="156"/>
                  </a:lnTo>
                  <a:lnTo>
                    <a:pt x="450" y="156"/>
                  </a:lnTo>
                  <a:cubicBezTo>
                    <a:pt x="414" y="156"/>
                    <a:pt x="378" y="164"/>
                    <a:pt x="344" y="175"/>
                  </a:cubicBezTo>
                  <a:cubicBezTo>
                    <a:pt x="311" y="189"/>
                    <a:pt x="283" y="206"/>
                    <a:pt x="258" y="231"/>
                  </a:cubicBezTo>
                  <a:cubicBezTo>
                    <a:pt x="233" y="253"/>
                    <a:pt x="211" y="284"/>
                    <a:pt x="197" y="317"/>
                  </a:cubicBezTo>
                  <a:cubicBezTo>
                    <a:pt x="183" y="350"/>
                    <a:pt x="178" y="386"/>
                    <a:pt x="178" y="428"/>
                  </a:cubicBezTo>
                  <a:cubicBezTo>
                    <a:pt x="178" y="472"/>
                    <a:pt x="183" y="509"/>
                    <a:pt x="197" y="545"/>
                  </a:cubicBezTo>
                  <a:cubicBezTo>
                    <a:pt x="211" y="578"/>
                    <a:pt x="233" y="606"/>
                    <a:pt x="258" y="631"/>
                  </a:cubicBezTo>
                  <a:cubicBezTo>
                    <a:pt x="283" y="653"/>
                    <a:pt x="311" y="672"/>
                    <a:pt x="344" y="684"/>
                  </a:cubicBezTo>
                  <a:cubicBezTo>
                    <a:pt x="378" y="698"/>
                    <a:pt x="414" y="703"/>
                    <a:pt x="450" y="703"/>
                  </a:cubicBezTo>
                  <a:cubicBezTo>
                    <a:pt x="511" y="703"/>
                    <a:pt x="561" y="689"/>
                    <a:pt x="600" y="664"/>
                  </a:cubicBezTo>
                  <a:cubicBezTo>
                    <a:pt x="642" y="636"/>
                    <a:pt x="672" y="603"/>
                    <a:pt x="692" y="561"/>
                  </a:cubicBezTo>
                  <a:cubicBezTo>
                    <a:pt x="714" y="522"/>
                    <a:pt x="722" y="478"/>
                    <a:pt x="722" y="431"/>
                  </a:cubicBezTo>
                  <a:cubicBezTo>
                    <a:pt x="722" y="384"/>
                    <a:pt x="714" y="339"/>
                    <a:pt x="692" y="298"/>
                  </a:cubicBezTo>
                  <a:cubicBezTo>
                    <a:pt x="672" y="259"/>
                    <a:pt x="642" y="223"/>
                    <a:pt x="600" y="198"/>
                  </a:cubicBezTo>
                  <a:cubicBezTo>
                    <a:pt x="561" y="170"/>
                    <a:pt x="511"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3" name="Freeform 20">
              <a:extLst>
                <a:ext uri="{FF2B5EF4-FFF2-40B4-BE49-F238E27FC236}">
                  <a16:creationId xmlns:a16="http://schemas.microsoft.com/office/drawing/2014/main" id="{E82F8AD2-BFCD-CE41-BBB0-1559F4962DCA}"/>
                </a:ext>
              </a:extLst>
            </p:cNvPr>
            <p:cNvSpPr>
              <a:spLocks noChangeArrowheads="1"/>
            </p:cNvSpPr>
            <p:nvPr userDrawn="1"/>
          </p:nvSpPr>
          <p:spPr bwMode="auto">
            <a:xfrm>
              <a:off x="2214563" y="3743325"/>
              <a:ext cx="266700" cy="312738"/>
            </a:xfrm>
            <a:custGeom>
              <a:avLst/>
              <a:gdLst>
                <a:gd name="T0" fmla="*/ 603 w 743"/>
                <a:gd name="T1" fmla="*/ 222 h 870"/>
                <a:gd name="T2" fmla="*/ 603 w 743"/>
                <a:gd name="T3" fmla="*/ 222 h 870"/>
                <a:gd name="T4" fmla="*/ 500 w 743"/>
                <a:gd name="T5" fmla="*/ 161 h 870"/>
                <a:gd name="T6" fmla="*/ 381 w 743"/>
                <a:gd name="T7" fmla="*/ 147 h 870"/>
                <a:gd name="T8" fmla="*/ 250 w 743"/>
                <a:gd name="T9" fmla="*/ 169 h 870"/>
                <a:gd name="T10" fmla="*/ 203 w 743"/>
                <a:gd name="T11" fmla="*/ 244 h 870"/>
                <a:gd name="T12" fmla="*/ 253 w 743"/>
                <a:gd name="T13" fmla="*/ 319 h 870"/>
                <a:gd name="T14" fmla="*/ 386 w 743"/>
                <a:gd name="T15" fmla="*/ 349 h 870"/>
                <a:gd name="T16" fmla="*/ 506 w 743"/>
                <a:gd name="T17" fmla="*/ 366 h 870"/>
                <a:gd name="T18" fmla="*/ 622 w 743"/>
                <a:gd name="T19" fmla="*/ 405 h 870"/>
                <a:gd name="T20" fmla="*/ 708 w 743"/>
                <a:gd name="T21" fmla="*/ 480 h 870"/>
                <a:gd name="T22" fmla="*/ 742 w 743"/>
                <a:gd name="T23" fmla="*/ 608 h 870"/>
                <a:gd name="T24" fmla="*/ 717 w 743"/>
                <a:gd name="T25" fmla="*/ 713 h 870"/>
                <a:gd name="T26" fmla="*/ 645 w 743"/>
                <a:gd name="T27" fmla="*/ 797 h 870"/>
                <a:gd name="T28" fmla="*/ 531 w 743"/>
                <a:gd name="T29" fmla="*/ 849 h 870"/>
                <a:gd name="T30" fmla="*/ 383 w 743"/>
                <a:gd name="T31" fmla="*/ 869 h 870"/>
                <a:gd name="T32" fmla="*/ 184 w 743"/>
                <a:gd name="T33" fmla="*/ 838 h 870"/>
                <a:gd name="T34" fmla="*/ 0 w 743"/>
                <a:gd name="T35" fmla="*/ 716 h 870"/>
                <a:gd name="T36" fmla="*/ 92 w 743"/>
                <a:gd name="T37" fmla="*/ 597 h 870"/>
                <a:gd name="T38" fmla="*/ 231 w 743"/>
                <a:gd name="T39" fmla="*/ 688 h 870"/>
                <a:gd name="T40" fmla="*/ 386 w 743"/>
                <a:gd name="T41" fmla="*/ 719 h 870"/>
                <a:gd name="T42" fmla="*/ 450 w 743"/>
                <a:gd name="T43" fmla="*/ 713 h 870"/>
                <a:gd name="T44" fmla="*/ 506 w 743"/>
                <a:gd name="T45" fmla="*/ 694 h 870"/>
                <a:gd name="T46" fmla="*/ 550 w 743"/>
                <a:gd name="T47" fmla="*/ 661 h 870"/>
                <a:gd name="T48" fmla="*/ 567 w 743"/>
                <a:gd name="T49" fmla="*/ 611 h 870"/>
                <a:gd name="T50" fmla="*/ 517 w 743"/>
                <a:gd name="T51" fmla="*/ 530 h 870"/>
                <a:gd name="T52" fmla="*/ 372 w 743"/>
                <a:gd name="T53" fmla="*/ 497 h 870"/>
                <a:gd name="T54" fmla="*/ 250 w 743"/>
                <a:gd name="T55" fmla="*/ 477 h 870"/>
                <a:gd name="T56" fmla="*/ 142 w 743"/>
                <a:gd name="T57" fmla="*/ 436 h 870"/>
                <a:gd name="T58" fmla="*/ 61 w 743"/>
                <a:gd name="T59" fmla="*/ 363 h 870"/>
                <a:gd name="T60" fmla="*/ 28 w 743"/>
                <a:gd name="T61" fmla="*/ 249 h 870"/>
                <a:gd name="T62" fmla="*/ 61 w 743"/>
                <a:gd name="T63" fmla="*/ 133 h 870"/>
                <a:gd name="T64" fmla="*/ 145 w 743"/>
                <a:gd name="T65" fmla="*/ 55 h 870"/>
                <a:gd name="T66" fmla="*/ 258 w 743"/>
                <a:gd name="T67" fmla="*/ 11 h 870"/>
                <a:gd name="T68" fmla="*/ 378 w 743"/>
                <a:gd name="T69" fmla="*/ 0 h 870"/>
                <a:gd name="T70" fmla="*/ 553 w 743"/>
                <a:gd name="T71" fmla="*/ 22 h 870"/>
                <a:gd name="T72" fmla="*/ 703 w 743"/>
                <a:gd name="T73" fmla="*/ 108 h 870"/>
                <a:gd name="T74" fmla="*/ 603 w 743"/>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3" h="870">
                  <a:moveTo>
                    <a:pt x="603" y="222"/>
                  </a:moveTo>
                  <a:lnTo>
                    <a:pt x="603" y="222"/>
                  </a:lnTo>
                  <a:cubicBezTo>
                    <a:pt x="572" y="191"/>
                    <a:pt x="536" y="172"/>
                    <a:pt x="500" y="161"/>
                  </a:cubicBezTo>
                  <a:cubicBezTo>
                    <a:pt x="464" y="149"/>
                    <a:pt x="425" y="147"/>
                    <a:pt x="381" y="147"/>
                  </a:cubicBezTo>
                  <a:cubicBezTo>
                    <a:pt x="328" y="144"/>
                    <a:pt x="284" y="152"/>
                    <a:pt x="250" y="169"/>
                  </a:cubicBezTo>
                  <a:cubicBezTo>
                    <a:pt x="220" y="188"/>
                    <a:pt x="203" y="211"/>
                    <a:pt x="203" y="244"/>
                  </a:cubicBezTo>
                  <a:cubicBezTo>
                    <a:pt x="203" y="280"/>
                    <a:pt x="220" y="302"/>
                    <a:pt x="253" y="319"/>
                  </a:cubicBezTo>
                  <a:cubicBezTo>
                    <a:pt x="286" y="333"/>
                    <a:pt x="331" y="344"/>
                    <a:pt x="386" y="349"/>
                  </a:cubicBezTo>
                  <a:cubicBezTo>
                    <a:pt x="425" y="352"/>
                    <a:pt x="464" y="358"/>
                    <a:pt x="506" y="366"/>
                  </a:cubicBezTo>
                  <a:cubicBezTo>
                    <a:pt x="550" y="372"/>
                    <a:pt x="586" y="386"/>
                    <a:pt x="622" y="405"/>
                  </a:cubicBezTo>
                  <a:cubicBezTo>
                    <a:pt x="658" y="422"/>
                    <a:pt x="686" y="447"/>
                    <a:pt x="708" y="480"/>
                  </a:cubicBezTo>
                  <a:cubicBezTo>
                    <a:pt x="731" y="513"/>
                    <a:pt x="742" y="555"/>
                    <a:pt x="742" y="608"/>
                  </a:cubicBezTo>
                  <a:cubicBezTo>
                    <a:pt x="742" y="647"/>
                    <a:pt x="733" y="683"/>
                    <a:pt x="717" y="713"/>
                  </a:cubicBezTo>
                  <a:cubicBezTo>
                    <a:pt x="700" y="747"/>
                    <a:pt x="675" y="774"/>
                    <a:pt x="645" y="797"/>
                  </a:cubicBezTo>
                  <a:cubicBezTo>
                    <a:pt x="614" y="819"/>
                    <a:pt x="575" y="838"/>
                    <a:pt x="531" y="849"/>
                  </a:cubicBezTo>
                  <a:cubicBezTo>
                    <a:pt x="486" y="863"/>
                    <a:pt x="439" y="869"/>
                    <a:pt x="383" y="869"/>
                  </a:cubicBezTo>
                  <a:cubicBezTo>
                    <a:pt x="317" y="869"/>
                    <a:pt x="247" y="858"/>
                    <a:pt x="184" y="838"/>
                  </a:cubicBezTo>
                  <a:cubicBezTo>
                    <a:pt x="117" y="819"/>
                    <a:pt x="56" y="777"/>
                    <a:pt x="0" y="716"/>
                  </a:cubicBezTo>
                  <a:cubicBezTo>
                    <a:pt x="92" y="597"/>
                    <a:pt x="92" y="597"/>
                    <a:pt x="92" y="597"/>
                  </a:cubicBezTo>
                  <a:cubicBezTo>
                    <a:pt x="131" y="638"/>
                    <a:pt x="178" y="669"/>
                    <a:pt x="231" y="688"/>
                  </a:cubicBezTo>
                  <a:cubicBezTo>
                    <a:pt x="286" y="708"/>
                    <a:pt x="336" y="719"/>
                    <a:pt x="386" y="719"/>
                  </a:cubicBezTo>
                  <a:cubicBezTo>
                    <a:pt x="408" y="719"/>
                    <a:pt x="428" y="716"/>
                    <a:pt x="450" y="713"/>
                  </a:cubicBezTo>
                  <a:cubicBezTo>
                    <a:pt x="470" y="708"/>
                    <a:pt x="489" y="702"/>
                    <a:pt x="506" y="694"/>
                  </a:cubicBezTo>
                  <a:cubicBezTo>
                    <a:pt x="522" y="686"/>
                    <a:pt x="539" y="674"/>
                    <a:pt x="550" y="661"/>
                  </a:cubicBezTo>
                  <a:cubicBezTo>
                    <a:pt x="561" y="647"/>
                    <a:pt x="567" y="630"/>
                    <a:pt x="567" y="611"/>
                  </a:cubicBezTo>
                  <a:cubicBezTo>
                    <a:pt x="567" y="574"/>
                    <a:pt x="550" y="547"/>
                    <a:pt x="517" y="530"/>
                  </a:cubicBezTo>
                  <a:cubicBezTo>
                    <a:pt x="483" y="513"/>
                    <a:pt x="433" y="502"/>
                    <a:pt x="372" y="497"/>
                  </a:cubicBezTo>
                  <a:cubicBezTo>
                    <a:pt x="331" y="494"/>
                    <a:pt x="292" y="486"/>
                    <a:pt x="250" y="477"/>
                  </a:cubicBezTo>
                  <a:cubicBezTo>
                    <a:pt x="211" y="469"/>
                    <a:pt x="175" y="455"/>
                    <a:pt x="142" y="436"/>
                  </a:cubicBezTo>
                  <a:cubicBezTo>
                    <a:pt x="109" y="416"/>
                    <a:pt x="81" y="394"/>
                    <a:pt x="61" y="363"/>
                  </a:cubicBezTo>
                  <a:cubicBezTo>
                    <a:pt x="39" y="333"/>
                    <a:pt x="28" y="294"/>
                    <a:pt x="28" y="249"/>
                  </a:cubicBezTo>
                  <a:cubicBezTo>
                    <a:pt x="28" y="202"/>
                    <a:pt x="39" y="166"/>
                    <a:pt x="61" y="133"/>
                  </a:cubicBezTo>
                  <a:cubicBezTo>
                    <a:pt x="84" y="102"/>
                    <a:pt x="111" y="74"/>
                    <a:pt x="145" y="55"/>
                  </a:cubicBezTo>
                  <a:cubicBezTo>
                    <a:pt x="178" y="36"/>
                    <a:pt x="217" y="22"/>
                    <a:pt x="258" y="11"/>
                  </a:cubicBezTo>
                  <a:cubicBezTo>
                    <a:pt x="297" y="2"/>
                    <a:pt x="339" y="0"/>
                    <a:pt x="378" y="0"/>
                  </a:cubicBezTo>
                  <a:cubicBezTo>
                    <a:pt x="445" y="0"/>
                    <a:pt x="503" y="8"/>
                    <a:pt x="553" y="22"/>
                  </a:cubicBezTo>
                  <a:cubicBezTo>
                    <a:pt x="606" y="38"/>
                    <a:pt x="656" y="66"/>
                    <a:pt x="703" y="108"/>
                  </a:cubicBezTo>
                  <a:lnTo>
                    <a:pt x="603"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4" name="Freeform 21">
              <a:extLst>
                <a:ext uri="{FF2B5EF4-FFF2-40B4-BE49-F238E27FC236}">
                  <a16:creationId xmlns:a16="http://schemas.microsoft.com/office/drawing/2014/main" id="{61AB1DB2-E43E-514B-92CA-CEB287F6494F}"/>
                </a:ext>
              </a:extLst>
            </p:cNvPr>
            <p:cNvSpPr>
              <a:spLocks noChangeArrowheads="1"/>
            </p:cNvSpPr>
            <p:nvPr userDrawn="1"/>
          </p:nvSpPr>
          <p:spPr bwMode="auto">
            <a:xfrm>
              <a:off x="2698750" y="3749675"/>
              <a:ext cx="63500" cy="298450"/>
            </a:xfrm>
            <a:custGeom>
              <a:avLst/>
              <a:gdLst>
                <a:gd name="T0" fmla="*/ 175 w 176"/>
                <a:gd name="T1" fmla="*/ 828 h 829"/>
                <a:gd name="T2" fmla="*/ 0 w 176"/>
                <a:gd name="T3" fmla="*/ 828 h 829"/>
                <a:gd name="T4" fmla="*/ 0 w 176"/>
                <a:gd name="T5" fmla="*/ 0 h 829"/>
                <a:gd name="T6" fmla="*/ 175 w 176"/>
                <a:gd name="T7" fmla="*/ 0 h 829"/>
                <a:gd name="T8" fmla="*/ 175 w 176"/>
                <a:gd name="T9" fmla="*/ 828 h 829"/>
              </a:gdLst>
              <a:ahLst/>
              <a:cxnLst>
                <a:cxn ang="0">
                  <a:pos x="T0" y="T1"/>
                </a:cxn>
                <a:cxn ang="0">
                  <a:pos x="T2" y="T3"/>
                </a:cxn>
                <a:cxn ang="0">
                  <a:pos x="T4" y="T5"/>
                </a:cxn>
                <a:cxn ang="0">
                  <a:pos x="T6" y="T7"/>
                </a:cxn>
                <a:cxn ang="0">
                  <a:pos x="T8" y="T9"/>
                </a:cxn>
              </a:cxnLst>
              <a:rect l="0" t="0" r="r" b="b"/>
              <a:pathLst>
                <a:path w="176" h="829">
                  <a:moveTo>
                    <a:pt x="175" y="828"/>
                  </a:moveTo>
                  <a:lnTo>
                    <a:pt x="0" y="828"/>
                  </a:lnTo>
                  <a:lnTo>
                    <a:pt x="0" y="0"/>
                  </a:lnTo>
                  <a:lnTo>
                    <a:pt x="175" y="0"/>
                  </a:lnTo>
                  <a:lnTo>
                    <a:pt x="175" y="82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5" name="Freeform 22">
              <a:extLst>
                <a:ext uri="{FF2B5EF4-FFF2-40B4-BE49-F238E27FC236}">
                  <a16:creationId xmlns:a16="http://schemas.microsoft.com/office/drawing/2014/main" id="{CFCAC116-9040-2F48-B9AB-C7BCC5BA35A9}"/>
                </a:ext>
              </a:extLst>
            </p:cNvPr>
            <p:cNvSpPr>
              <a:spLocks noChangeArrowheads="1"/>
            </p:cNvSpPr>
            <p:nvPr userDrawn="1"/>
          </p:nvSpPr>
          <p:spPr bwMode="auto">
            <a:xfrm>
              <a:off x="2822575" y="3665538"/>
              <a:ext cx="223838" cy="385762"/>
            </a:xfrm>
            <a:custGeom>
              <a:avLst/>
              <a:gdLst>
                <a:gd name="T0" fmla="*/ 342 w 620"/>
                <a:gd name="T1" fmla="*/ 0 h 1073"/>
                <a:gd name="T2" fmla="*/ 342 w 620"/>
                <a:gd name="T3" fmla="*/ 0 h 1073"/>
                <a:gd name="T4" fmla="*/ 342 w 620"/>
                <a:gd name="T5" fmla="*/ 239 h 1073"/>
                <a:gd name="T6" fmla="*/ 586 w 620"/>
                <a:gd name="T7" fmla="*/ 239 h 1073"/>
                <a:gd name="T8" fmla="*/ 586 w 620"/>
                <a:gd name="T9" fmla="*/ 389 h 1073"/>
                <a:gd name="T10" fmla="*/ 339 w 620"/>
                <a:gd name="T11" fmla="*/ 389 h 1073"/>
                <a:gd name="T12" fmla="*/ 339 w 620"/>
                <a:gd name="T13" fmla="*/ 780 h 1073"/>
                <a:gd name="T14" fmla="*/ 369 w 620"/>
                <a:gd name="T15" fmla="*/ 880 h 1073"/>
                <a:gd name="T16" fmla="*/ 461 w 620"/>
                <a:gd name="T17" fmla="*/ 917 h 1073"/>
                <a:gd name="T18" fmla="*/ 514 w 620"/>
                <a:gd name="T19" fmla="*/ 908 h 1073"/>
                <a:gd name="T20" fmla="*/ 566 w 620"/>
                <a:gd name="T21" fmla="*/ 886 h 1073"/>
                <a:gd name="T22" fmla="*/ 619 w 620"/>
                <a:gd name="T23" fmla="*/ 1033 h 1073"/>
                <a:gd name="T24" fmla="*/ 533 w 620"/>
                <a:gd name="T25" fmla="*/ 1061 h 1073"/>
                <a:gd name="T26" fmla="*/ 450 w 620"/>
                <a:gd name="T27" fmla="*/ 1072 h 1073"/>
                <a:gd name="T28" fmla="*/ 236 w 620"/>
                <a:gd name="T29" fmla="*/ 1000 h 1073"/>
                <a:gd name="T30" fmla="*/ 164 w 620"/>
                <a:gd name="T31" fmla="*/ 780 h 1073"/>
                <a:gd name="T32" fmla="*/ 164 w 620"/>
                <a:gd name="T33" fmla="*/ 389 h 1073"/>
                <a:gd name="T34" fmla="*/ 0 w 620"/>
                <a:gd name="T35" fmla="*/ 389 h 1073"/>
                <a:gd name="T36" fmla="*/ 0 w 620"/>
                <a:gd name="T37" fmla="*/ 239 h 1073"/>
                <a:gd name="T38" fmla="*/ 164 w 620"/>
                <a:gd name="T39" fmla="*/ 239 h 1073"/>
                <a:gd name="T40" fmla="*/ 164 w 620"/>
                <a:gd name="T41" fmla="*/ 19 h 1073"/>
                <a:gd name="T42" fmla="*/ 342 w 620"/>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0" h="1073">
                  <a:moveTo>
                    <a:pt x="342" y="0"/>
                  </a:moveTo>
                  <a:lnTo>
                    <a:pt x="342" y="0"/>
                  </a:lnTo>
                  <a:cubicBezTo>
                    <a:pt x="342" y="239"/>
                    <a:pt x="342" y="239"/>
                    <a:pt x="342" y="239"/>
                  </a:cubicBezTo>
                  <a:cubicBezTo>
                    <a:pt x="586" y="239"/>
                    <a:pt x="586" y="239"/>
                    <a:pt x="586" y="239"/>
                  </a:cubicBezTo>
                  <a:cubicBezTo>
                    <a:pt x="586" y="389"/>
                    <a:pt x="586" y="389"/>
                    <a:pt x="586" y="389"/>
                  </a:cubicBezTo>
                  <a:cubicBezTo>
                    <a:pt x="339" y="389"/>
                    <a:pt x="339" y="389"/>
                    <a:pt x="339" y="389"/>
                  </a:cubicBezTo>
                  <a:cubicBezTo>
                    <a:pt x="339" y="780"/>
                    <a:pt x="339" y="780"/>
                    <a:pt x="339" y="780"/>
                  </a:cubicBezTo>
                  <a:cubicBezTo>
                    <a:pt x="339" y="825"/>
                    <a:pt x="350" y="858"/>
                    <a:pt x="369" y="880"/>
                  </a:cubicBezTo>
                  <a:cubicBezTo>
                    <a:pt x="389" y="905"/>
                    <a:pt x="419" y="917"/>
                    <a:pt x="461" y="917"/>
                  </a:cubicBezTo>
                  <a:cubicBezTo>
                    <a:pt x="478" y="917"/>
                    <a:pt x="494" y="914"/>
                    <a:pt x="514" y="908"/>
                  </a:cubicBezTo>
                  <a:cubicBezTo>
                    <a:pt x="533" y="903"/>
                    <a:pt x="550" y="897"/>
                    <a:pt x="566" y="886"/>
                  </a:cubicBezTo>
                  <a:cubicBezTo>
                    <a:pt x="619" y="1033"/>
                    <a:pt x="619" y="1033"/>
                    <a:pt x="619" y="1033"/>
                  </a:cubicBezTo>
                  <a:cubicBezTo>
                    <a:pt x="589" y="1047"/>
                    <a:pt x="561" y="1055"/>
                    <a:pt x="533" y="1061"/>
                  </a:cubicBezTo>
                  <a:cubicBezTo>
                    <a:pt x="508" y="1069"/>
                    <a:pt x="480" y="1072"/>
                    <a:pt x="450" y="1072"/>
                  </a:cubicBezTo>
                  <a:cubicBezTo>
                    <a:pt x="358" y="1072"/>
                    <a:pt x="286" y="1050"/>
                    <a:pt x="236" y="1000"/>
                  </a:cubicBezTo>
                  <a:cubicBezTo>
                    <a:pt x="189" y="953"/>
                    <a:pt x="164" y="878"/>
                    <a:pt x="164" y="780"/>
                  </a:cubicBezTo>
                  <a:cubicBezTo>
                    <a:pt x="164" y="389"/>
                    <a:pt x="164" y="389"/>
                    <a:pt x="164" y="389"/>
                  </a:cubicBezTo>
                  <a:cubicBezTo>
                    <a:pt x="0" y="389"/>
                    <a:pt x="0" y="389"/>
                    <a:pt x="0" y="389"/>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6" name="Freeform 23">
              <a:extLst>
                <a:ext uri="{FF2B5EF4-FFF2-40B4-BE49-F238E27FC236}">
                  <a16:creationId xmlns:a16="http://schemas.microsoft.com/office/drawing/2014/main" id="{61F6BBC5-E2A1-1344-BAA4-D2A101D1E8E2}"/>
                </a:ext>
              </a:extLst>
            </p:cNvPr>
            <p:cNvSpPr>
              <a:spLocks noChangeArrowheads="1"/>
            </p:cNvSpPr>
            <p:nvPr userDrawn="1"/>
          </p:nvSpPr>
          <p:spPr bwMode="auto">
            <a:xfrm>
              <a:off x="3208338" y="3749675"/>
              <a:ext cx="492125" cy="298450"/>
            </a:xfrm>
            <a:custGeom>
              <a:avLst/>
              <a:gdLst>
                <a:gd name="T0" fmla="*/ 761 w 1368"/>
                <a:gd name="T1" fmla="*/ 0 h 829"/>
                <a:gd name="T2" fmla="*/ 961 w 1368"/>
                <a:gd name="T3" fmla="*/ 647 h 829"/>
                <a:gd name="T4" fmla="*/ 1169 w 1368"/>
                <a:gd name="T5" fmla="*/ 0 h 829"/>
                <a:gd name="T6" fmla="*/ 1367 w 1368"/>
                <a:gd name="T7" fmla="*/ 0 h 829"/>
                <a:gd name="T8" fmla="*/ 1072 w 1368"/>
                <a:gd name="T9" fmla="*/ 828 h 829"/>
                <a:gd name="T10" fmla="*/ 867 w 1368"/>
                <a:gd name="T11" fmla="*/ 828 h 829"/>
                <a:gd name="T12" fmla="*/ 767 w 1368"/>
                <a:gd name="T13" fmla="*/ 555 h 829"/>
                <a:gd name="T14" fmla="*/ 686 w 1368"/>
                <a:gd name="T15" fmla="*/ 267 h 829"/>
                <a:gd name="T16" fmla="*/ 603 w 1368"/>
                <a:gd name="T17" fmla="*/ 555 h 829"/>
                <a:gd name="T18" fmla="*/ 503 w 1368"/>
                <a:gd name="T19" fmla="*/ 828 h 829"/>
                <a:gd name="T20" fmla="*/ 297 w 1368"/>
                <a:gd name="T21" fmla="*/ 828 h 829"/>
                <a:gd name="T22" fmla="*/ 0 w 1368"/>
                <a:gd name="T23" fmla="*/ 0 h 829"/>
                <a:gd name="T24" fmla="*/ 200 w 1368"/>
                <a:gd name="T25" fmla="*/ 0 h 829"/>
                <a:gd name="T26" fmla="*/ 408 w 1368"/>
                <a:gd name="T27" fmla="*/ 647 h 829"/>
                <a:gd name="T28" fmla="*/ 608 w 1368"/>
                <a:gd name="T29" fmla="*/ 0 h 829"/>
                <a:gd name="T30" fmla="*/ 761 w 1368"/>
                <a:gd name="T31" fmla="*/ 0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8" h="829">
                  <a:moveTo>
                    <a:pt x="761" y="0"/>
                  </a:moveTo>
                  <a:lnTo>
                    <a:pt x="961" y="647"/>
                  </a:lnTo>
                  <a:lnTo>
                    <a:pt x="1169" y="0"/>
                  </a:lnTo>
                  <a:lnTo>
                    <a:pt x="1367" y="0"/>
                  </a:lnTo>
                  <a:lnTo>
                    <a:pt x="1072" y="828"/>
                  </a:lnTo>
                  <a:lnTo>
                    <a:pt x="867" y="828"/>
                  </a:lnTo>
                  <a:lnTo>
                    <a:pt x="767" y="555"/>
                  </a:lnTo>
                  <a:lnTo>
                    <a:pt x="686" y="267"/>
                  </a:lnTo>
                  <a:lnTo>
                    <a:pt x="603" y="555"/>
                  </a:lnTo>
                  <a:lnTo>
                    <a:pt x="503" y="828"/>
                  </a:lnTo>
                  <a:lnTo>
                    <a:pt x="297" y="828"/>
                  </a:lnTo>
                  <a:lnTo>
                    <a:pt x="0" y="0"/>
                  </a:lnTo>
                  <a:lnTo>
                    <a:pt x="200" y="0"/>
                  </a:lnTo>
                  <a:lnTo>
                    <a:pt x="408" y="647"/>
                  </a:lnTo>
                  <a:lnTo>
                    <a:pt x="608" y="0"/>
                  </a:lnTo>
                  <a:lnTo>
                    <a:pt x="761"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7" name="Freeform 24">
              <a:extLst>
                <a:ext uri="{FF2B5EF4-FFF2-40B4-BE49-F238E27FC236}">
                  <a16:creationId xmlns:a16="http://schemas.microsoft.com/office/drawing/2014/main" id="{9D996C5A-C3DD-2E4B-8AA7-D5749EE2521F}"/>
                </a:ext>
              </a:extLst>
            </p:cNvPr>
            <p:cNvSpPr>
              <a:spLocks noChangeArrowheads="1"/>
            </p:cNvSpPr>
            <p:nvPr userDrawn="1"/>
          </p:nvSpPr>
          <p:spPr bwMode="auto">
            <a:xfrm>
              <a:off x="37322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3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8" y="147"/>
                    <a:pt x="127" y="111"/>
                  </a:cubicBezTo>
                  <a:cubicBezTo>
                    <a:pt x="166" y="75"/>
                    <a:pt x="211" y="48"/>
                    <a:pt x="263"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38" y="636"/>
                    <a:pt x="669" y="603"/>
                    <a:pt x="691" y="561"/>
                  </a:cubicBezTo>
                  <a:cubicBezTo>
                    <a:pt x="711" y="522"/>
                    <a:pt x="722" y="478"/>
                    <a:pt x="722" y="431"/>
                  </a:cubicBezTo>
                  <a:cubicBezTo>
                    <a:pt x="722" y="384"/>
                    <a:pt x="711" y="339"/>
                    <a:pt x="691" y="298"/>
                  </a:cubicBezTo>
                  <a:cubicBezTo>
                    <a:pt x="669" y="259"/>
                    <a:pt x="638"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8" name="Freeform 25">
              <a:extLst>
                <a:ext uri="{FF2B5EF4-FFF2-40B4-BE49-F238E27FC236}">
                  <a16:creationId xmlns:a16="http://schemas.microsoft.com/office/drawing/2014/main" id="{FA0F66E9-1CA9-BB45-BCA8-FB287A85103C}"/>
                </a:ext>
              </a:extLst>
            </p:cNvPr>
            <p:cNvSpPr>
              <a:spLocks noChangeArrowheads="1"/>
            </p:cNvSpPr>
            <p:nvPr userDrawn="1"/>
          </p:nvSpPr>
          <p:spPr bwMode="auto">
            <a:xfrm>
              <a:off x="4116388" y="3743325"/>
              <a:ext cx="268287" cy="312738"/>
            </a:xfrm>
            <a:custGeom>
              <a:avLst/>
              <a:gdLst>
                <a:gd name="T0" fmla="*/ 605 w 745"/>
                <a:gd name="T1" fmla="*/ 222 h 870"/>
                <a:gd name="T2" fmla="*/ 605 w 745"/>
                <a:gd name="T3" fmla="*/ 222 h 870"/>
                <a:gd name="T4" fmla="*/ 500 w 745"/>
                <a:gd name="T5" fmla="*/ 161 h 870"/>
                <a:gd name="T6" fmla="*/ 383 w 745"/>
                <a:gd name="T7" fmla="*/ 147 h 870"/>
                <a:gd name="T8" fmla="*/ 253 w 745"/>
                <a:gd name="T9" fmla="*/ 169 h 870"/>
                <a:gd name="T10" fmla="*/ 203 w 745"/>
                <a:gd name="T11" fmla="*/ 244 h 870"/>
                <a:gd name="T12" fmla="*/ 256 w 745"/>
                <a:gd name="T13" fmla="*/ 319 h 870"/>
                <a:gd name="T14" fmla="*/ 386 w 745"/>
                <a:gd name="T15" fmla="*/ 349 h 870"/>
                <a:gd name="T16" fmla="*/ 508 w 745"/>
                <a:gd name="T17" fmla="*/ 366 h 870"/>
                <a:gd name="T18" fmla="*/ 625 w 745"/>
                <a:gd name="T19" fmla="*/ 405 h 870"/>
                <a:gd name="T20" fmla="*/ 711 w 745"/>
                <a:gd name="T21" fmla="*/ 480 h 870"/>
                <a:gd name="T22" fmla="*/ 744 w 745"/>
                <a:gd name="T23" fmla="*/ 608 h 870"/>
                <a:gd name="T24" fmla="*/ 717 w 745"/>
                <a:gd name="T25" fmla="*/ 713 h 870"/>
                <a:gd name="T26" fmla="*/ 644 w 745"/>
                <a:gd name="T27" fmla="*/ 797 h 870"/>
                <a:gd name="T28" fmla="*/ 533 w 745"/>
                <a:gd name="T29" fmla="*/ 849 h 870"/>
                <a:gd name="T30" fmla="*/ 386 w 745"/>
                <a:gd name="T31" fmla="*/ 869 h 870"/>
                <a:gd name="T32" fmla="*/ 183 w 745"/>
                <a:gd name="T33" fmla="*/ 838 h 870"/>
                <a:gd name="T34" fmla="*/ 0 w 745"/>
                <a:gd name="T35" fmla="*/ 716 h 870"/>
                <a:gd name="T36" fmla="*/ 92 w 745"/>
                <a:gd name="T37" fmla="*/ 597 h 870"/>
                <a:gd name="T38" fmla="*/ 233 w 745"/>
                <a:gd name="T39" fmla="*/ 688 h 870"/>
                <a:gd name="T40" fmla="*/ 389 w 745"/>
                <a:gd name="T41" fmla="*/ 719 h 870"/>
                <a:gd name="T42" fmla="*/ 450 w 745"/>
                <a:gd name="T43" fmla="*/ 713 h 870"/>
                <a:gd name="T44" fmla="*/ 508 w 745"/>
                <a:gd name="T45" fmla="*/ 694 h 870"/>
                <a:gd name="T46" fmla="*/ 550 w 745"/>
                <a:gd name="T47" fmla="*/ 661 h 870"/>
                <a:gd name="T48" fmla="*/ 567 w 745"/>
                <a:gd name="T49" fmla="*/ 611 h 870"/>
                <a:gd name="T50" fmla="*/ 519 w 745"/>
                <a:gd name="T51" fmla="*/ 530 h 870"/>
                <a:gd name="T52" fmla="*/ 372 w 745"/>
                <a:gd name="T53" fmla="*/ 497 h 870"/>
                <a:gd name="T54" fmla="*/ 253 w 745"/>
                <a:gd name="T55" fmla="*/ 477 h 870"/>
                <a:gd name="T56" fmla="*/ 142 w 745"/>
                <a:gd name="T57" fmla="*/ 436 h 870"/>
                <a:gd name="T58" fmla="*/ 61 w 745"/>
                <a:gd name="T59" fmla="*/ 363 h 870"/>
                <a:gd name="T60" fmla="*/ 30 w 745"/>
                <a:gd name="T61" fmla="*/ 249 h 870"/>
                <a:gd name="T62" fmla="*/ 61 w 745"/>
                <a:gd name="T63" fmla="*/ 133 h 870"/>
                <a:gd name="T64" fmla="*/ 147 w 745"/>
                <a:gd name="T65" fmla="*/ 55 h 870"/>
                <a:gd name="T66" fmla="*/ 258 w 745"/>
                <a:gd name="T67" fmla="*/ 11 h 870"/>
                <a:gd name="T68" fmla="*/ 381 w 745"/>
                <a:gd name="T69" fmla="*/ 0 h 870"/>
                <a:gd name="T70" fmla="*/ 556 w 745"/>
                <a:gd name="T71" fmla="*/ 22 h 870"/>
                <a:gd name="T72" fmla="*/ 705 w 745"/>
                <a:gd name="T73" fmla="*/ 108 h 870"/>
                <a:gd name="T74" fmla="*/ 605 w 745"/>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5" h="870">
                  <a:moveTo>
                    <a:pt x="605" y="222"/>
                  </a:moveTo>
                  <a:lnTo>
                    <a:pt x="605" y="222"/>
                  </a:lnTo>
                  <a:cubicBezTo>
                    <a:pt x="572" y="191"/>
                    <a:pt x="536" y="172"/>
                    <a:pt x="500" y="161"/>
                  </a:cubicBezTo>
                  <a:cubicBezTo>
                    <a:pt x="464" y="149"/>
                    <a:pt x="425" y="147"/>
                    <a:pt x="383" y="147"/>
                  </a:cubicBezTo>
                  <a:cubicBezTo>
                    <a:pt x="328" y="144"/>
                    <a:pt x="286" y="152"/>
                    <a:pt x="253" y="169"/>
                  </a:cubicBezTo>
                  <a:cubicBezTo>
                    <a:pt x="219" y="188"/>
                    <a:pt x="203" y="211"/>
                    <a:pt x="203" y="244"/>
                  </a:cubicBezTo>
                  <a:cubicBezTo>
                    <a:pt x="206" y="280"/>
                    <a:pt x="222" y="302"/>
                    <a:pt x="256" y="319"/>
                  </a:cubicBezTo>
                  <a:cubicBezTo>
                    <a:pt x="289" y="333"/>
                    <a:pt x="333" y="344"/>
                    <a:pt x="386" y="349"/>
                  </a:cubicBezTo>
                  <a:cubicBezTo>
                    <a:pt x="425" y="352"/>
                    <a:pt x="467" y="358"/>
                    <a:pt x="508" y="366"/>
                  </a:cubicBezTo>
                  <a:cubicBezTo>
                    <a:pt x="550" y="372"/>
                    <a:pt x="589" y="386"/>
                    <a:pt x="625" y="405"/>
                  </a:cubicBezTo>
                  <a:cubicBezTo>
                    <a:pt x="658" y="422"/>
                    <a:pt x="689" y="447"/>
                    <a:pt x="711" y="480"/>
                  </a:cubicBezTo>
                  <a:cubicBezTo>
                    <a:pt x="733" y="513"/>
                    <a:pt x="744" y="555"/>
                    <a:pt x="744" y="608"/>
                  </a:cubicBezTo>
                  <a:cubicBezTo>
                    <a:pt x="744" y="647"/>
                    <a:pt x="736" y="683"/>
                    <a:pt x="717" y="713"/>
                  </a:cubicBezTo>
                  <a:cubicBezTo>
                    <a:pt x="700" y="747"/>
                    <a:pt x="678" y="774"/>
                    <a:pt x="644" y="797"/>
                  </a:cubicBezTo>
                  <a:cubicBezTo>
                    <a:pt x="614" y="819"/>
                    <a:pt x="578" y="838"/>
                    <a:pt x="533" y="849"/>
                  </a:cubicBezTo>
                  <a:cubicBezTo>
                    <a:pt x="489" y="863"/>
                    <a:pt x="439" y="869"/>
                    <a:pt x="386" y="869"/>
                  </a:cubicBezTo>
                  <a:cubicBezTo>
                    <a:pt x="317" y="869"/>
                    <a:pt x="250" y="858"/>
                    <a:pt x="183" y="838"/>
                  </a:cubicBezTo>
                  <a:cubicBezTo>
                    <a:pt x="117" y="819"/>
                    <a:pt x="56" y="777"/>
                    <a:pt x="0" y="716"/>
                  </a:cubicBezTo>
                  <a:cubicBezTo>
                    <a:pt x="92" y="597"/>
                    <a:pt x="92" y="597"/>
                    <a:pt x="92" y="597"/>
                  </a:cubicBezTo>
                  <a:cubicBezTo>
                    <a:pt x="133" y="638"/>
                    <a:pt x="181" y="669"/>
                    <a:pt x="233" y="688"/>
                  </a:cubicBezTo>
                  <a:cubicBezTo>
                    <a:pt x="286" y="708"/>
                    <a:pt x="339" y="719"/>
                    <a:pt x="389" y="719"/>
                  </a:cubicBezTo>
                  <a:cubicBezTo>
                    <a:pt x="408" y="719"/>
                    <a:pt x="430" y="716"/>
                    <a:pt x="450" y="713"/>
                  </a:cubicBezTo>
                  <a:cubicBezTo>
                    <a:pt x="472" y="708"/>
                    <a:pt x="492" y="702"/>
                    <a:pt x="508" y="694"/>
                  </a:cubicBezTo>
                  <a:cubicBezTo>
                    <a:pt x="525" y="686"/>
                    <a:pt x="539" y="674"/>
                    <a:pt x="550" y="661"/>
                  </a:cubicBezTo>
                  <a:cubicBezTo>
                    <a:pt x="561" y="647"/>
                    <a:pt x="567" y="630"/>
                    <a:pt x="567" y="611"/>
                  </a:cubicBezTo>
                  <a:cubicBezTo>
                    <a:pt x="569" y="574"/>
                    <a:pt x="553" y="547"/>
                    <a:pt x="519" y="530"/>
                  </a:cubicBezTo>
                  <a:cubicBezTo>
                    <a:pt x="483" y="513"/>
                    <a:pt x="436" y="502"/>
                    <a:pt x="372" y="497"/>
                  </a:cubicBezTo>
                  <a:cubicBezTo>
                    <a:pt x="333" y="494"/>
                    <a:pt x="292" y="486"/>
                    <a:pt x="253" y="477"/>
                  </a:cubicBezTo>
                  <a:cubicBezTo>
                    <a:pt x="211" y="469"/>
                    <a:pt x="175" y="455"/>
                    <a:pt x="142" y="436"/>
                  </a:cubicBezTo>
                  <a:cubicBezTo>
                    <a:pt x="108" y="416"/>
                    <a:pt x="83" y="394"/>
                    <a:pt x="61" y="363"/>
                  </a:cubicBezTo>
                  <a:cubicBezTo>
                    <a:pt x="42" y="333"/>
                    <a:pt x="30" y="294"/>
                    <a:pt x="30" y="249"/>
                  </a:cubicBezTo>
                  <a:cubicBezTo>
                    <a:pt x="30" y="202"/>
                    <a:pt x="42" y="166"/>
                    <a:pt x="61" y="133"/>
                  </a:cubicBezTo>
                  <a:cubicBezTo>
                    <a:pt x="83" y="102"/>
                    <a:pt x="111" y="74"/>
                    <a:pt x="147" y="55"/>
                  </a:cubicBezTo>
                  <a:cubicBezTo>
                    <a:pt x="181" y="36"/>
                    <a:pt x="217" y="22"/>
                    <a:pt x="258" y="11"/>
                  </a:cubicBezTo>
                  <a:cubicBezTo>
                    <a:pt x="300" y="2"/>
                    <a:pt x="339" y="0"/>
                    <a:pt x="381" y="0"/>
                  </a:cubicBezTo>
                  <a:cubicBezTo>
                    <a:pt x="444" y="0"/>
                    <a:pt x="503" y="8"/>
                    <a:pt x="556" y="22"/>
                  </a:cubicBezTo>
                  <a:cubicBezTo>
                    <a:pt x="605" y="38"/>
                    <a:pt x="656" y="66"/>
                    <a:pt x="705" y="108"/>
                  </a:cubicBezTo>
                  <a:lnTo>
                    <a:pt x="605"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9" name="Freeform 26">
              <a:extLst>
                <a:ext uri="{FF2B5EF4-FFF2-40B4-BE49-F238E27FC236}">
                  <a16:creationId xmlns:a16="http://schemas.microsoft.com/office/drawing/2014/main" id="{A07ADD3F-5315-224B-972A-2FB32B6B6B0E}"/>
                </a:ext>
              </a:extLst>
            </p:cNvPr>
            <p:cNvSpPr>
              <a:spLocks noChangeArrowheads="1"/>
            </p:cNvSpPr>
            <p:nvPr userDrawn="1"/>
          </p:nvSpPr>
          <p:spPr bwMode="auto">
            <a:xfrm>
              <a:off x="4600575" y="3744913"/>
              <a:ext cx="476250" cy="301625"/>
            </a:xfrm>
            <a:custGeom>
              <a:avLst/>
              <a:gdLst>
                <a:gd name="T0" fmla="*/ 575 w 1322"/>
                <a:gd name="T1" fmla="*/ 839 h 840"/>
                <a:gd name="T2" fmla="*/ 575 w 1322"/>
                <a:gd name="T3" fmla="*/ 839 h 840"/>
                <a:gd name="T4" fmla="*/ 575 w 1322"/>
                <a:gd name="T5" fmla="*/ 386 h 840"/>
                <a:gd name="T6" fmla="*/ 564 w 1322"/>
                <a:gd name="T7" fmla="*/ 300 h 840"/>
                <a:gd name="T8" fmla="*/ 525 w 1322"/>
                <a:gd name="T9" fmla="*/ 228 h 840"/>
                <a:gd name="T10" fmla="*/ 461 w 1322"/>
                <a:gd name="T11" fmla="*/ 178 h 840"/>
                <a:gd name="T12" fmla="*/ 381 w 1322"/>
                <a:gd name="T13" fmla="*/ 161 h 840"/>
                <a:gd name="T14" fmla="*/ 295 w 1322"/>
                <a:gd name="T15" fmla="*/ 178 h 840"/>
                <a:gd name="T16" fmla="*/ 231 w 1322"/>
                <a:gd name="T17" fmla="*/ 228 h 840"/>
                <a:gd name="T18" fmla="*/ 192 w 1322"/>
                <a:gd name="T19" fmla="*/ 300 h 840"/>
                <a:gd name="T20" fmla="*/ 175 w 1322"/>
                <a:gd name="T21" fmla="*/ 386 h 840"/>
                <a:gd name="T22" fmla="*/ 175 w 1322"/>
                <a:gd name="T23" fmla="*/ 839 h 840"/>
                <a:gd name="T24" fmla="*/ 0 w 1322"/>
                <a:gd name="T25" fmla="*/ 839 h 840"/>
                <a:gd name="T26" fmla="*/ 0 w 1322"/>
                <a:gd name="T27" fmla="*/ 14 h 840"/>
                <a:gd name="T28" fmla="*/ 164 w 1322"/>
                <a:gd name="T29" fmla="*/ 14 h 840"/>
                <a:gd name="T30" fmla="*/ 175 w 1322"/>
                <a:gd name="T31" fmla="*/ 125 h 840"/>
                <a:gd name="T32" fmla="*/ 278 w 1322"/>
                <a:gd name="T33" fmla="*/ 28 h 840"/>
                <a:gd name="T34" fmla="*/ 411 w 1322"/>
                <a:gd name="T35" fmla="*/ 0 h 840"/>
                <a:gd name="T36" fmla="*/ 492 w 1322"/>
                <a:gd name="T37" fmla="*/ 8 h 840"/>
                <a:gd name="T38" fmla="*/ 567 w 1322"/>
                <a:gd name="T39" fmla="*/ 36 h 840"/>
                <a:gd name="T40" fmla="*/ 631 w 1322"/>
                <a:gd name="T41" fmla="*/ 89 h 840"/>
                <a:gd name="T42" fmla="*/ 675 w 1322"/>
                <a:gd name="T43" fmla="*/ 167 h 840"/>
                <a:gd name="T44" fmla="*/ 803 w 1322"/>
                <a:gd name="T45" fmla="*/ 39 h 840"/>
                <a:gd name="T46" fmla="*/ 964 w 1322"/>
                <a:gd name="T47" fmla="*/ 3 h 840"/>
                <a:gd name="T48" fmla="*/ 1230 w 1322"/>
                <a:gd name="T49" fmla="*/ 103 h 840"/>
                <a:gd name="T50" fmla="*/ 1321 w 1322"/>
                <a:gd name="T51" fmla="*/ 383 h 840"/>
                <a:gd name="T52" fmla="*/ 1321 w 1322"/>
                <a:gd name="T53" fmla="*/ 839 h 840"/>
                <a:gd name="T54" fmla="*/ 1145 w 1322"/>
                <a:gd name="T55" fmla="*/ 839 h 840"/>
                <a:gd name="T56" fmla="*/ 1145 w 1322"/>
                <a:gd name="T57" fmla="*/ 381 h 840"/>
                <a:gd name="T58" fmla="*/ 1134 w 1322"/>
                <a:gd name="T59" fmla="*/ 297 h 840"/>
                <a:gd name="T60" fmla="*/ 1097 w 1322"/>
                <a:gd name="T61" fmla="*/ 225 h 840"/>
                <a:gd name="T62" fmla="*/ 1039 w 1322"/>
                <a:gd name="T63" fmla="*/ 178 h 840"/>
                <a:gd name="T64" fmla="*/ 959 w 1322"/>
                <a:gd name="T65" fmla="*/ 161 h 840"/>
                <a:gd name="T66" fmla="*/ 872 w 1322"/>
                <a:gd name="T67" fmla="*/ 181 h 840"/>
                <a:gd name="T68" fmla="*/ 809 w 1322"/>
                <a:gd name="T69" fmla="*/ 228 h 840"/>
                <a:gd name="T70" fmla="*/ 767 w 1322"/>
                <a:gd name="T71" fmla="*/ 300 h 840"/>
                <a:gd name="T72" fmla="*/ 753 w 1322"/>
                <a:gd name="T73" fmla="*/ 386 h 840"/>
                <a:gd name="T74" fmla="*/ 753 w 1322"/>
                <a:gd name="T75" fmla="*/ 839 h 840"/>
                <a:gd name="T76" fmla="*/ 575 w 1322"/>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2" h="840">
                  <a:moveTo>
                    <a:pt x="575" y="839"/>
                  </a:moveTo>
                  <a:lnTo>
                    <a:pt x="575" y="839"/>
                  </a:lnTo>
                  <a:cubicBezTo>
                    <a:pt x="575" y="386"/>
                    <a:pt x="575" y="386"/>
                    <a:pt x="575" y="386"/>
                  </a:cubicBezTo>
                  <a:cubicBezTo>
                    <a:pt x="575" y="356"/>
                    <a:pt x="572" y="325"/>
                    <a:pt x="564" y="300"/>
                  </a:cubicBezTo>
                  <a:cubicBezTo>
                    <a:pt x="556" y="272"/>
                    <a:pt x="542" y="247"/>
                    <a:pt x="525" y="228"/>
                  </a:cubicBezTo>
                  <a:cubicBezTo>
                    <a:pt x="509" y="206"/>
                    <a:pt x="486" y="189"/>
                    <a:pt x="461" y="178"/>
                  </a:cubicBezTo>
                  <a:cubicBezTo>
                    <a:pt x="436" y="167"/>
                    <a:pt x="411" y="161"/>
                    <a:pt x="381" y="161"/>
                  </a:cubicBezTo>
                  <a:cubicBezTo>
                    <a:pt x="347" y="161"/>
                    <a:pt x="320" y="167"/>
                    <a:pt x="295" y="178"/>
                  </a:cubicBezTo>
                  <a:cubicBezTo>
                    <a:pt x="270" y="189"/>
                    <a:pt x="250" y="206"/>
                    <a:pt x="231" y="228"/>
                  </a:cubicBezTo>
                  <a:cubicBezTo>
                    <a:pt x="214" y="247"/>
                    <a:pt x="200" y="272"/>
                    <a:pt x="192" y="300"/>
                  </a:cubicBezTo>
                  <a:cubicBezTo>
                    <a:pt x="181" y="325"/>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200" y="78"/>
                    <a:pt x="234" y="47"/>
                    <a:pt x="278" y="28"/>
                  </a:cubicBezTo>
                  <a:cubicBezTo>
                    <a:pt x="323" y="8"/>
                    <a:pt x="367" y="0"/>
                    <a:pt x="411" y="0"/>
                  </a:cubicBezTo>
                  <a:cubicBezTo>
                    <a:pt x="439" y="0"/>
                    <a:pt x="467" y="3"/>
                    <a:pt x="492" y="8"/>
                  </a:cubicBezTo>
                  <a:cubicBezTo>
                    <a:pt x="520" y="14"/>
                    <a:pt x="542" y="22"/>
                    <a:pt x="567" y="36"/>
                  </a:cubicBezTo>
                  <a:cubicBezTo>
                    <a:pt x="589" y="50"/>
                    <a:pt x="611" y="67"/>
                    <a:pt x="631" y="89"/>
                  </a:cubicBezTo>
                  <a:cubicBezTo>
                    <a:pt x="647" y="111"/>
                    <a:pt x="664" y="136"/>
                    <a:pt x="675" y="167"/>
                  </a:cubicBezTo>
                  <a:cubicBezTo>
                    <a:pt x="711" y="106"/>
                    <a:pt x="753" y="61"/>
                    <a:pt x="803" y="39"/>
                  </a:cubicBezTo>
                  <a:cubicBezTo>
                    <a:pt x="853" y="14"/>
                    <a:pt x="906" y="3"/>
                    <a:pt x="964" y="3"/>
                  </a:cubicBezTo>
                  <a:cubicBezTo>
                    <a:pt x="1084" y="3"/>
                    <a:pt x="1172" y="36"/>
                    <a:pt x="1230" y="103"/>
                  </a:cubicBezTo>
                  <a:cubicBezTo>
                    <a:pt x="1291" y="169"/>
                    <a:pt x="1321" y="264"/>
                    <a:pt x="1321" y="383"/>
                  </a:cubicBezTo>
                  <a:cubicBezTo>
                    <a:pt x="1321" y="839"/>
                    <a:pt x="1321" y="839"/>
                    <a:pt x="1321" y="839"/>
                  </a:cubicBezTo>
                  <a:cubicBezTo>
                    <a:pt x="1145" y="839"/>
                    <a:pt x="1145" y="839"/>
                    <a:pt x="1145" y="839"/>
                  </a:cubicBezTo>
                  <a:cubicBezTo>
                    <a:pt x="1145" y="381"/>
                    <a:pt x="1145" y="381"/>
                    <a:pt x="1145" y="381"/>
                  </a:cubicBezTo>
                  <a:cubicBezTo>
                    <a:pt x="1145" y="353"/>
                    <a:pt x="1139" y="322"/>
                    <a:pt x="1134" y="297"/>
                  </a:cubicBezTo>
                  <a:cubicBezTo>
                    <a:pt x="1125" y="269"/>
                    <a:pt x="1114" y="247"/>
                    <a:pt x="1097" y="225"/>
                  </a:cubicBezTo>
                  <a:cubicBezTo>
                    <a:pt x="1081" y="206"/>
                    <a:pt x="1061" y="189"/>
                    <a:pt x="1039" y="178"/>
                  </a:cubicBezTo>
                  <a:cubicBezTo>
                    <a:pt x="1017" y="167"/>
                    <a:pt x="989" y="161"/>
                    <a:pt x="959" y="161"/>
                  </a:cubicBezTo>
                  <a:cubicBezTo>
                    <a:pt x="928" y="161"/>
                    <a:pt x="900" y="169"/>
                    <a:pt x="872" y="181"/>
                  </a:cubicBezTo>
                  <a:cubicBezTo>
                    <a:pt x="847" y="192"/>
                    <a:pt x="825" y="208"/>
                    <a:pt x="809" y="228"/>
                  </a:cubicBezTo>
                  <a:cubicBezTo>
                    <a:pt x="792" y="247"/>
                    <a:pt x="778" y="272"/>
                    <a:pt x="767" y="300"/>
                  </a:cubicBezTo>
                  <a:cubicBezTo>
                    <a:pt x="759" y="325"/>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0" name="Freeform 27">
              <a:extLst>
                <a:ext uri="{FF2B5EF4-FFF2-40B4-BE49-F238E27FC236}">
                  <a16:creationId xmlns:a16="http://schemas.microsoft.com/office/drawing/2014/main" id="{1B6B39AC-8529-C84D-9CD3-6DD82AF32DF8}"/>
                </a:ext>
              </a:extLst>
            </p:cNvPr>
            <p:cNvSpPr>
              <a:spLocks noChangeArrowheads="1"/>
            </p:cNvSpPr>
            <p:nvPr userDrawn="1"/>
          </p:nvSpPr>
          <p:spPr bwMode="auto">
            <a:xfrm>
              <a:off x="5138738" y="3743325"/>
              <a:ext cx="315912"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2 w 876"/>
                <a:gd name="T11" fmla="*/ 680 h 864"/>
                <a:gd name="T12" fmla="*/ 703 w 876"/>
                <a:gd name="T13" fmla="*/ 616 h 864"/>
                <a:gd name="T14" fmla="*/ 817 w 876"/>
                <a:gd name="T15" fmla="*/ 724 h 864"/>
                <a:gd name="T16" fmla="*/ 742 w 876"/>
                <a:gd name="T17" fmla="*/ 786 h 864"/>
                <a:gd name="T18" fmla="*/ 653 w 876"/>
                <a:gd name="T19" fmla="*/ 830 h 864"/>
                <a:gd name="T20" fmla="*/ 553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3 w 876"/>
                <a:gd name="T35" fmla="*/ 119 h 864"/>
                <a:gd name="T36" fmla="*/ 261 w 876"/>
                <a:gd name="T37" fmla="*/ 30 h 864"/>
                <a:gd name="T38" fmla="*/ 442 w 876"/>
                <a:gd name="T39" fmla="*/ 0 h 864"/>
                <a:gd name="T40" fmla="*/ 628 w 876"/>
                <a:gd name="T41" fmla="*/ 30 h 864"/>
                <a:gd name="T42" fmla="*/ 767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2 w 876"/>
                <a:gd name="T55" fmla="*/ 202 h 864"/>
                <a:gd name="T56" fmla="*/ 448 w 876"/>
                <a:gd name="T57" fmla="*/ 152 h 864"/>
                <a:gd name="T58" fmla="*/ 278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17" y="686"/>
                    <a:pt x="381" y="705"/>
                    <a:pt x="459" y="705"/>
                  </a:cubicBezTo>
                  <a:cubicBezTo>
                    <a:pt x="500" y="705"/>
                    <a:pt x="548" y="697"/>
                    <a:pt x="592" y="680"/>
                  </a:cubicBezTo>
                  <a:cubicBezTo>
                    <a:pt x="639" y="666"/>
                    <a:pt x="675" y="644"/>
                    <a:pt x="703" y="616"/>
                  </a:cubicBezTo>
                  <a:cubicBezTo>
                    <a:pt x="817" y="724"/>
                    <a:pt x="817" y="724"/>
                    <a:pt x="817" y="724"/>
                  </a:cubicBezTo>
                  <a:cubicBezTo>
                    <a:pt x="795" y="747"/>
                    <a:pt x="770" y="769"/>
                    <a:pt x="742" y="786"/>
                  </a:cubicBezTo>
                  <a:cubicBezTo>
                    <a:pt x="714" y="802"/>
                    <a:pt x="684" y="819"/>
                    <a:pt x="653" y="830"/>
                  </a:cubicBezTo>
                  <a:cubicBezTo>
                    <a:pt x="620" y="841"/>
                    <a:pt x="589" y="849"/>
                    <a:pt x="553" y="855"/>
                  </a:cubicBezTo>
                  <a:cubicBezTo>
                    <a:pt x="520" y="861"/>
                    <a:pt x="486" y="863"/>
                    <a:pt x="456" y="863"/>
                  </a:cubicBezTo>
                  <a:cubicBezTo>
                    <a:pt x="386" y="863"/>
                    <a:pt x="323" y="855"/>
                    <a:pt x="267" y="833"/>
                  </a:cubicBezTo>
                  <a:cubicBezTo>
                    <a:pt x="211" y="813"/>
                    <a:pt x="164" y="783"/>
                    <a:pt x="125" y="747"/>
                  </a:cubicBezTo>
                  <a:cubicBezTo>
                    <a:pt x="86" y="708"/>
                    <a:pt x="56" y="661"/>
                    <a:pt x="34" y="608"/>
                  </a:cubicBezTo>
                  <a:cubicBezTo>
                    <a:pt x="11" y="552"/>
                    <a:pt x="0" y="494"/>
                    <a:pt x="0" y="427"/>
                  </a:cubicBezTo>
                  <a:cubicBezTo>
                    <a:pt x="0" y="366"/>
                    <a:pt x="11" y="308"/>
                    <a:pt x="34" y="255"/>
                  </a:cubicBezTo>
                  <a:cubicBezTo>
                    <a:pt x="56" y="202"/>
                    <a:pt x="84" y="158"/>
                    <a:pt x="123" y="119"/>
                  </a:cubicBezTo>
                  <a:cubicBezTo>
                    <a:pt x="161" y="80"/>
                    <a:pt x="209" y="52"/>
                    <a:pt x="261" y="30"/>
                  </a:cubicBezTo>
                  <a:cubicBezTo>
                    <a:pt x="317" y="8"/>
                    <a:pt x="378" y="0"/>
                    <a:pt x="442" y="0"/>
                  </a:cubicBezTo>
                  <a:cubicBezTo>
                    <a:pt x="511" y="0"/>
                    <a:pt x="573" y="8"/>
                    <a:pt x="628" y="30"/>
                  </a:cubicBezTo>
                  <a:cubicBezTo>
                    <a:pt x="684" y="50"/>
                    <a:pt x="731" y="80"/>
                    <a:pt x="767" y="122"/>
                  </a:cubicBezTo>
                  <a:cubicBezTo>
                    <a:pt x="806" y="163"/>
                    <a:pt x="834" y="216"/>
                    <a:pt x="853" y="277"/>
                  </a:cubicBezTo>
                  <a:cubicBezTo>
                    <a:pt x="870" y="341"/>
                    <a:pt x="875" y="413"/>
                    <a:pt x="867" y="497"/>
                  </a:cubicBezTo>
                  <a:lnTo>
                    <a:pt x="186" y="352"/>
                  </a:lnTo>
                  <a:lnTo>
                    <a:pt x="186" y="352"/>
                  </a:lnTo>
                  <a:cubicBezTo>
                    <a:pt x="698" y="352"/>
                    <a:pt x="698" y="352"/>
                    <a:pt x="698" y="352"/>
                  </a:cubicBezTo>
                  <a:cubicBezTo>
                    <a:pt x="692" y="286"/>
                    <a:pt x="667" y="236"/>
                    <a:pt x="622" y="202"/>
                  </a:cubicBezTo>
                  <a:cubicBezTo>
                    <a:pt x="578" y="169"/>
                    <a:pt x="520" y="152"/>
                    <a:pt x="448" y="152"/>
                  </a:cubicBezTo>
                  <a:cubicBezTo>
                    <a:pt x="384" y="152"/>
                    <a:pt x="328" y="169"/>
                    <a:pt x="278"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1" name="Freeform 28">
              <a:extLst>
                <a:ext uri="{FF2B5EF4-FFF2-40B4-BE49-F238E27FC236}">
                  <a16:creationId xmlns:a16="http://schemas.microsoft.com/office/drawing/2014/main" id="{A0B688E5-E880-494C-A7E2-965EBD02B269}"/>
                </a:ext>
              </a:extLst>
            </p:cNvPr>
            <p:cNvSpPr>
              <a:spLocks noChangeArrowheads="1"/>
            </p:cNvSpPr>
            <p:nvPr userDrawn="1"/>
          </p:nvSpPr>
          <p:spPr bwMode="auto">
            <a:xfrm>
              <a:off x="54975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4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9" y="147"/>
                    <a:pt x="127" y="111"/>
                  </a:cubicBezTo>
                  <a:cubicBezTo>
                    <a:pt x="166" y="75"/>
                    <a:pt x="211" y="48"/>
                    <a:pt x="264"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41" y="636"/>
                    <a:pt x="669" y="603"/>
                    <a:pt x="691" y="561"/>
                  </a:cubicBezTo>
                  <a:cubicBezTo>
                    <a:pt x="711" y="522"/>
                    <a:pt x="722" y="478"/>
                    <a:pt x="722" y="431"/>
                  </a:cubicBezTo>
                  <a:cubicBezTo>
                    <a:pt x="722" y="384"/>
                    <a:pt x="711" y="339"/>
                    <a:pt x="691" y="298"/>
                  </a:cubicBezTo>
                  <a:cubicBezTo>
                    <a:pt x="669" y="259"/>
                    <a:pt x="641"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2" name="Freeform 29">
              <a:extLst>
                <a:ext uri="{FF2B5EF4-FFF2-40B4-BE49-F238E27FC236}">
                  <a16:creationId xmlns:a16="http://schemas.microsoft.com/office/drawing/2014/main" id="{39472782-B9C9-C849-8527-BCD0B682C440}"/>
                </a:ext>
              </a:extLst>
            </p:cNvPr>
            <p:cNvSpPr>
              <a:spLocks noChangeArrowheads="1"/>
            </p:cNvSpPr>
            <p:nvPr userDrawn="1"/>
          </p:nvSpPr>
          <p:spPr bwMode="auto">
            <a:xfrm>
              <a:off x="5905500" y="3746500"/>
              <a:ext cx="293688" cy="301625"/>
            </a:xfrm>
            <a:custGeom>
              <a:avLst/>
              <a:gdLst>
                <a:gd name="T0" fmla="*/ 639 w 817"/>
                <a:gd name="T1" fmla="*/ 836 h 837"/>
                <a:gd name="T2" fmla="*/ 639 w 817"/>
                <a:gd name="T3" fmla="*/ 836 h 837"/>
                <a:gd name="T4" fmla="*/ 639 w 817"/>
                <a:gd name="T5" fmla="*/ 397 h 837"/>
                <a:gd name="T6" fmla="*/ 580 w 817"/>
                <a:gd name="T7" fmla="*/ 225 h 837"/>
                <a:gd name="T8" fmla="*/ 411 w 817"/>
                <a:gd name="T9" fmla="*/ 158 h 837"/>
                <a:gd name="T10" fmla="*/ 316 w 817"/>
                <a:gd name="T11" fmla="*/ 178 h 837"/>
                <a:gd name="T12" fmla="*/ 241 w 817"/>
                <a:gd name="T13" fmla="*/ 230 h 837"/>
                <a:gd name="T14" fmla="*/ 194 w 817"/>
                <a:gd name="T15" fmla="*/ 311 h 837"/>
                <a:gd name="T16" fmla="*/ 177 w 817"/>
                <a:gd name="T17" fmla="*/ 405 h 837"/>
                <a:gd name="T18" fmla="*/ 177 w 817"/>
                <a:gd name="T19" fmla="*/ 836 h 837"/>
                <a:gd name="T20" fmla="*/ 0 w 817"/>
                <a:gd name="T21" fmla="*/ 836 h 837"/>
                <a:gd name="T22" fmla="*/ 0 w 817"/>
                <a:gd name="T23" fmla="*/ 11 h 837"/>
                <a:gd name="T24" fmla="*/ 161 w 817"/>
                <a:gd name="T25" fmla="*/ 11 h 837"/>
                <a:gd name="T26" fmla="*/ 172 w 817"/>
                <a:gd name="T27" fmla="*/ 130 h 837"/>
                <a:gd name="T28" fmla="*/ 455 w 817"/>
                <a:gd name="T29" fmla="*/ 0 h 837"/>
                <a:gd name="T30" fmla="*/ 597 w 817"/>
                <a:gd name="T31" fmla="*/ 25 h 837"/>
                <a:gd name="T32" fmla="*/ 711 w 817"/>
                <a:gd name="T33" fmla="*/ 100 h 837"/>
                <a:gd name="T34" fmla="*/ 789 w 817"/>
                <a:gd name="T35" fmla="*/ 225 h 837"/>
                <a:gd name="T36" fmla="*/ 816 w 817"/>
                <a:gd name="T37" fmla="*/ 394 h 837"/>
                <a:gd name="T38" fmla="*/ 816 w 817"/>
                <a:gd name="T39" fmla="*/ 836 h 837"/>
                <a:gd name="T40" fmla="*/ 639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9" y="836"/>
                  </a:moveTo>
                  <a:lnTo>
                    <a:pt x="639" y="836"/>
                  </a:lnTo>
                  <a:cubicBezTo>
                    <a:pt x="639" y="397"/>
                    <a:pt x="639" y="397"/>
                    <a:pt x="639" y="397"/>
                  </a:cubicBezTo>
                  <a:cubicBezTo>
                    <a:pt x="639" y="325"/>
                    <a:pt x="619" y="266"/>
                    <a:pt x="580" y="225"/>
                  </a:cubicBezTo>
                  <a:cubicBezTo>
                    <a:pt x="541" y="180"/>
                    <a:pt x="486" y="158"/>
                    <a:pt x="411" y="158"/>
                  </a:cubicBezTo>
                  <a:cubicBezTo>
                    <a:pt x="377" y="158"/>
                    <a:pt x="344" y="166"/>
                    <a:pt x="316" y="178"/>
                  </a:cubicBezTo>
                  <a:cubicBezTo>
                    <a:pt x="286" y="192"/>
                    <a:pt x="261" y="208"/>
                    <a:pt x="241" y="230"/>
                  </a:cubicBezTo>
                  <a:cubicBezTo>
                    <a:pt x="222" y="255"/>
                    <a:pt x="205" y="280"/>
                    <a:pt x="194" y="311"/>
                  </a:cubicBezTo>
                  <a:cubicBezTo>
                    <a:pt x="183" y="341"/>
                    <a:pt x="177" y="372"/>
                    <a:pt x="177" y="405"/>
                  </a:cubicBezTo>
                  <a:cubicBezTo>
                    <a:pt x="177" y="836"/>
                    <a:pt x="177" y="836"/>
                    <a:pt x="177" y="836"/>
                  </a:cubicBezTo>
                  <a:cubicBezTo>
                    <a:pt x="0" y="836"/>
                    <a:pt x="0" y="836"/>
                    <a:pt x="0" y="836"/>
                  </a:cubicBezTo>
                  <a:cubicBezTo>
                    <a:pt x="0" y="11"/>
                    <a:pt x="0" y="11"/>
                    <a:pt x="0" y="11"/>
                  </a:cubicBezTo>
                  <a:cubicBezTo>
                    <a:pt x="161" y="11"/>
                    <a:pt x="161" y="11"/>
                    <a:pt x="161" y="11"/>
                  </a:cubicBezTo>
                  <a:cubicBezTo>
                    <a:pt x="172" y="130"/>
                    <a:pt x="172" y="130"/>
                    <a:pt x="172" y="130"/>
                  </a:cubicBezTo>
                  <a:cubicBezTo>
                    <a:pt x="250" y="42"/>
                    <a:pt x="344" y="0"/>
                    <a:pt x="455" y="0"/>
                  </a:cubicBezTo>
                  <a:cubicBezTo>
                    <a:pt x="505" y="0"/>
                    <a:pt x="552" y="8"/>
                    <a:pt x="597" y="25"/>
                  </a:cubicBezTo>
                  <a:cubicBezTo>
                    <a:pt x="641" y="42"/>
                    <a:pt x="680" y="66"/>
                    <a:pt x="711" y="100"/>
                  </a:cubicBezTo>
                  <a:cubicBezTo>
                    <a:pt x="744" y="133"/>
                    <a:pt x="769" y="175"/>
                    <a:pt x="789" y="225"/>
                  </a:cubicBezTo>
                  <a:cubicBezTo>
                    <a:pt x="808" y="275"/>
                    <a:pt x="816" y="330"/>
                    <a:pt x="816" y="394"/>
                  </a:cubicBezTo>
                  <a:cubicBezTo>
                    <a:pt x="816" y="836"/>
                    <a:pt x="816" y="836"/>
                    <a:pt x="816" y="836"/>
                  </a:cubicBezTo>
                  <a:lnTo>
                    <a:pt x="639"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3" name="Freeform 30">
              <a:extLst>
                <a:ext uri="{FF2B5EF4-FFF2-40B4-BE49-F238E27FC236}">
                  <a16:creationId xmlns:a16="http://schemas.microsoft.com/office/drawing/2014/main" id="{8F11BFC9-4076-B740-8CE4-34A4B1E5C4AA}"/>
                </a:ext>
              </a:extLst>
            </p:cNvPr>
            <p:cNvSpPr>
              <a:spLocks noChangeArrowheads="1"/>
            </p:cNvSpPr>
            <p:nvPr userDrawn="1"/>
          </p:nvSpPr>
          <p:spPr bwMode="auto">
            <a:xfrm>
              <a:off x="6251575"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4" name="Freeform 31">
              <a:extLst>
                <a:ext uri="{FF2B5EF4-FFF2-40B4-BE49-F238E27FC236}">
                  <a16:creationId xmlns:a16="http://schemas.microsoft.com/office/drawing/2014/main" id="{24B40F44-AAD1-F643-9711-673A0A45D8F3}"/>
                </a:ext>
              </a:extLst>
            </p:cNvPr>
            <p:cNvSpPr>
              <a:spLocks noChangeArrowheads="1"/>
            </p:cNvSpPr>
            <p:nvPr userDrawn="1"/>
          </p:nvSpPr>
          <p:spPr bwMode="auto">
            <a:xfrm>
              <a:off x="6643688"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5" name="Freeform 32">
              <a:extLst>
                <a:ext uri="{FF2B5EF4-FFF2-40B4-BE49-F238E27FC236}">
                  <a16:creationId xmlns:a16="http://schemas.microsoft.com/office/drawing/2014/main" id="{8E0C36A3-BC82-984B-A39A-002214E497EA}"/>
                </a:ext>
              </a:extLst>
            </p:cNvPr>
            <p:cNvSpPr>
              <a:spLocks noChangeArrowheads="1"/>
            </p:cNvSpPr>
            <p:nvPr userDrawn="1"/>
          </p:nvSpPr>
          <p:spPr bwMode="auto">
            <a:xfrm>
              <a:off x="6897688" y="3743325"/>
              <a:ext cx="314325" cy="309563"/>
            </a:xfrm>
            <a:custGeom>
              <a:avLst/>
              <a:gdLst>
                <a:gd name="T0" fmla="*/ 436 w 873"/>
                <a:gd name="T1" fmla="*/ 0 h 860"/>
                <a:gd name="T2" fmla="*/ 436 w 873"/>
                <a:gd name="T3" fmla="*/ 0 h 860"/>
                <a:gd name="T4" fmla="*/ 611 w 873"/>
                <a:gd name="T5" fmla="*/ 34 h 860"/>
                <a:gd name="T6" fmla="*/ 750 w 873"/>
                <a:gd name="T7" fmla="*/ 125 h 860"/>
                <a:gd name="T8" fmla="*/ 842 w 873"/>
                <a:gd name="T9" fmla="*/ 261 h 860"/>
                <a:gd name="T10" fmla="*/ 872 w 873"/>
                <a:gd name="T11" fmla="*/ 431 h 860"/>
                <a:gd name="T12" fmla="*/ 842 w 873"/>
                <a:gd name="T13" fmla="*/ 600 h 860"/>
                <a:gd name="T14" fmla="*/ 753 w 873"/>
                <a:gd name="T15" fmla="*/ 736 h 860"/>
                <a:gd name="T16" fmla="*/ 614 w 873"/>
                <a:gd name="T17" fmla="*/ 825 h 860"/>
                <a:gd name="T18" fmla="*/ 436 w 873"/>
                <a:gd name="T19" fmla="*/ 859 h 860"/>
                <a:gd name="T20" fmla="*/ 256 w 873"/>
                <a:gd name="T21" fmla="*/ 825 h 860"/>
                <a:gd name="T22" fmla="*/ 119 w 873"/>
                <a:gd name="T23" fmla="*/ 736 h 860"/>
                <a:gd name="T24" fmla="*/ 31 w 873"/>
                <a:gd name="T25" fmla="*/ 600 h 860"/>
                <a:gd name="T26" fmla="*/ 0 w 873"/>
                <a:gd name="T27" fmla="*/ 431 h 860"/>
                <a:gd name="T28" fmla="*/ 31 w 873"/>
                <a:gd name="T29" fmla="*/ 261 h 860"/>
                <a:gd name="T30" fmla="*/ 119 w 873"/>
                <a:gd name="T31" fmla="*/ 125 h 860"/>
                <a:gd name="T32" fmla="*/ 258 w 873"/>
                <a:gd name="T33" fmla="*/ 34 h 860"/>
                <a:gd name="T34" fmla="*/ 436 w 873"/>
                <a:gd name="T35" fmla="*/ 0 h 860"/>
                <a:gd name="T36" fmla="*/ 436 w 873"/>
                <a:gd name="T37" fmla="*/ 161 h 860"/>
                <a:gd name="T38" fmla="*/ 436 w 873"/>
                <a:gd name="T39" fmla="*/ 161 h 860"/>
                <a:gd name="T40" fmla="*/ 328 w 873"/>
                <a:gd name="T41" fmla="*/ 184 h 860"/>
                <a:gd name="T42" fmla="*/ 247 w 873"/>
                <a:gd name="T43" fmla="*/ 242 h 860"/>
                <a:gd name="T44" fmla="*/ 194 w 873"/>
                <a:gd name="T45" fmla="*/ 328 h 860"/>
                <a:gd name="T46" fmla="*/ 178 w 873"/>
                <a:gd name="T47" fmla="*/ 431 h 860"/>
                <a:gd name="T48" fmla="*/ 194 w 873"/>
                <a:gd name="T49" fmla="*/ 536 h 860"/>
                <a:gd name="T50" fmla="*/ 247 w 873"/>
                <a:gd name="T51" fmla="*/ 620 h 860"/>
                <a:gd name="T52" fmla="*/ 328 w 873"/>
                <a:gd name="T53" fmla="*/ 678 h 860"/>
                <a:gd name="T54" fmla="*/ 436 w 873"/>
                <a:gd name="T55" fmla="*/ 698 h 860"/>
                <a:gd name="T56" fmla="*/ 544 w 873"/>
                <a:gd name="T57" fmla="*/ 678 h 860"/>
                <a:gd name="T58" fmla="*/ 625 w 873"/>
                <a:gd name="T59" fmla="*/ 620 h 860"/>
                <a:gd name="T60" fmla="*/ 678 w 873"/>
                <a:gd name="T61" fmla="*/ 536 h 860"/>
                <a:gd name="T62" fmla="*/ 694 w 873"/>
                <a:gd name="T63" fmla="*/ 431 h 860"/>
                <a:gd name="T64" fmla="*/ 675 w 873"/>
                <a:gd name="T65" fmla="*/ 328 h 860"/>
                <a:gd name="T66" fmla="*/ 622 w 873"/>
                <a:gd name="T67" fmla="*/ 242 h 860"/>
                <a:gd name="T68" fmla="*/ 542 w 873"/>
                <a:gd name="T69" fmla="*/ 184 h 860"/>
                <a:gd name="T70" fmla="*/ 436 w 873"/>
                <a:gd name="T71" fmla="*/ 161 h 860"/>
                <a:gd name="T72" fmla="*/ 436 w 873"/>
                <a:gd name="T73"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60">
                  <a:moveTo>
                    <a:pt x="436" y="0"/>
                  </a:moveTo>
                  <a:lnTo>
                    <a:pt x="436" y="0"/>
                  </a:lnTo>
                  <a:cubicBezTo>
                    <a:pt x="500" y="0"/>
                    <a:pt x="558" y="11"/>
                    <a:pt x="611" y="34"/>
                  </a:cubicBezTo>
                  <a:cubicBezTo>
                    <a:pt x="667" y="59"/>
                    <a:pt x="711" y="86"/>
                    <a:pt x="750" y="125"/>
                  </a:cubicBezTo>
                  <a:cubicBezTo>
                    <a:pt x="789" y="164"/>
                    <a:pt x="819" y="209"/>
                    <a:pt x="842" y="261"/>
                  </a:cubicBezTo>
                  <a:cubicBezTo>
                    <a:pt x="861" y="314"/>
                    <a:pt x="872" y="370"/>
                    <a:pt x="872" y="431"/>
                  </a:cubicBezTo>
                  <a:cubicBezTo>
                    <a:pt x="872" y="492"/>
                    <a:pt x="861" y="547"/>
                    <a:pt x="842" y="600"/>
                  </a:cubicBezTo>
                  <a:cubicBezTo>
                    <a:pt x="819" y="653"/>
                    <a:pt x="792" y="698"/>
                    <a:pt x="753" y="736"/>
                  </a:cubicBezTo>
                  <a:cubicBezTo>
                    <a:pt x="714" y="775"/>
                    <a:pt x="669" y="806"/>
                    <a:pt x="614" y="825"/>
                  </a:cubicBezTo>
                  <a:cubicBezTo>
                    <a:pt x="561" y="847"/>
                    <a:pt x="500" y="859"/>
                    <a:pt x="436" y="859"/>
                  </a:cubicBezTo>
                  <a:cubicBezTo>
                    <a:pt x="369" y="859"/>
                    <a:pt x="308" y="847"/>
                    <a:pt x="256" y="825"/>
                  </a:cubicBezTo>
                  <a:cubicBezTo>
                    <a:pt x="203" y="806"/>
                    <a:pt x="156" y="775"/>
                    <a:pt x="119" y="736"/>
                  </a:cubicBezTo>
                  <a:cubicBezTo>
                    <a:pt x="80" y="698"/>
                    <a:pt x="53" y="653"/>
                    <a:pt x="31" y="600"/>
                  </a:cubicBezTo>
                  <a:cubicBezTo>
                    <a:pt x="11" y="547"/>
                    <a:pt x="0" y="492"/>
                    <a:pt x="0" y="431"/>
                  </a:cubicBezTo>
                  <a:cubicBezTo>
                    <a:pt x="0" y="370"/>
                    <a:pt x="11" y="314"/>
                    <a:pt x="31" y="261"/>
                  </a:cubicBezTo>
                  <a:cubicBezTo>
                    <a:pt x="53" y="209"/>
                    <a:pt x="80" y="164"/>
                    <a:pt x="119" y="125"/>
                  </a:cubicBezTo>
                  <a:cubicBezTo>
                    <a:pt x="158" y="86"/>
                    <a:pt x="203" y="59"/>
                    <a:pt x="258" y="34"/>
                  </a:cubicBezTo>
                  <a:cubicBezTo>
                    <a:pt x="311" y="11"/>
                    <a:pt x="369" y="0"/>
                    <a:pt x="436" y="0"/>
                  </a:cubicBezTo>
                  <a:lnTo>
                    <a:pt x="436" y="161"/>
                  </a:lnTo>
                  <a:lnTo>
                    <a:pt x="436" y="161"/>
                  </a:lnTo>
                  <a:cubicBezTo>
                    <a:pt x="394" y="161"/>
                    <a:pt x="358" y="170"/>
                    <a:pt x="328" y="184"/>
                  </a:cubicBezTo>
                  <a:cubicBezTo>
                    <a:pt x="294" y="198"/>
                    <a:pt x="269" y="217"/>
                    <a:pt x="247" y="242"/>
                  </a:cubicBezTo>
                  <a:cubicBezTo>
                    <a:pt x="225" y="267"/>
                    <a:pt x="206" y="298"/>
                    <a:pt x="194" y="328"/>
                  </a:cubicBezTo>
                  <a:cubicBezTo>
                    <a:pt x="183" y="361"/>
                    <a:pt x="178" y="395"/>
                    <a:pt x="178" y="431"/>
                  </a:cubicBezTo>
                  <a:cubicBezTo>
                    <a:pt x="178" y="470"/>
                    <a:pt x="183" y="503"/>
                    <a:pt x="194" y="536"/>
                  </a:cubicBezTo>
                  <a:cubicBezTo>
                    <a:pt x="206" y="567"/>
                    <a:pt x="225" y="595"/>
                    <a:pt x="247" y="620"/>
                  </a:cubicBezTo>
                  <a:cubicBezTo>
                    <a:pt x="269" y="645"/>
                    <a:pt x="294" y="664"/>
                    <a:pt x="328" y="678"/>
                  </a:cubicBezTo>
                  <a:cubicBezTo>
                    <a:pt x="358" y="692"/>
                    <a:pt x="394" y="698"/>
                    <a:pt x="436" y="698"/>
                  </a:cubicBezTo>
                  <a:cubicBezTo>
                    <a:pt x="475" y="698"/>
                    <a:pt x="511" y="692"/>
                    <a:pt x="544" y="678"/>
                  </a:cubicBezTo>
                  <a:cubicBezTo>
                    <a:pt x="575" y="664"/>
                    <a:pt x="603" y="645"/>
                    <a:pt x="625" y="620"/>
                  </a:cubicBezTo>
                  <a:cubicBezTo>
                    <a:pt x="647" y="595"/>
                    <a:pt x="664" y="567"/>
                    <a:pt x="678" y="536"/>
                  </a:cubicBezTo>
                  <a:cubicBezTo>
                    <a:pt x="689" y="503"/>
                    <a:pt x="694" y="470"/>
                    <a:pt x="694" y="431"/>
                  </a:cubicBezTo>
                  <a:cubicBezTo>
                    <a:pt x="694" y="395"/>
                    <a:pt x="689" y="361"/>
                    <a:pt x="675" y="328"/>
                  </a:cubicBezTo>
                  <a:cubicBezTo>
                    <a:pt x="664" y="298"/>
                    <a:pt x="644" y="267"/>
                    <a:pt x="622" y="242"/>
                  </a:cubicBezTo>
                  <a:cubicBezTo>
                    <a:pt x="600" y="217"/>
                    <a:pt x="572" y="198"/>
                    <a:pt x="542" y="184"/>
                  </a:cubicBezTo>
                  <a:cubicBezTo>
                    <a:pt x="508" y="170"/>
                    <a:pt x="472" y="161"/>
                    <a:pt x="436" y="161"/>
                  </a:cubicBezTo>
                  <a:lnTo>
                    <a:pt x="43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6" name="Freeform 33">
              <a:extLst>
                <a:ext uri="{FF2B5EF4-FFF2-40B4-BE49-F238E27FC236}">
                  <a16:creationId xmlns:a16="http://schemas.microsoft.com/office/drawing/2014/main" id="{5CF4A206-F53D-1944-A7FE-2F43061F8665}"/>
                </a:ext>
              </a:extLst>
            </p:cNvPr>
            <p:cNvSpPr>
              <a:spLocks noChangeArrowheads="1"/>
            </p:cNvSpPr>
            <p:nvPr userDrawn="1"/>
          </p:nvSpPr>
          <p:spPr bwMode="auto">
            <a:xfrm>
              <a:off x="7431088" y="3627438"/>
              <a:ext cx="323850" cy="427037"/>
            </a:xfrm>
            <a:custGeom>
              <a:avLst/>
              <a:gdLst>
                <a:gd name="T0" fmla="*/ 175 w 898"/>
                <a:gd name="T1" fmla="*/ 0 h 1185"/>
                <a:gd name="T2" fmla="*/ 175 w 898"/>
                <a:gd name="T3" fmla="*/ 0 h 1185"/>
                <a:gd name="T4" fmla="*/ 175 w 898"/>
                <a:gd name="T5" fmla="*/ 472 h 1185"/>
                <a:gd name="T6" fmla="*/ 231 w 898"/>
                <a:gd name="T7" fmla="*/ 409 h 1185"/>
                <a:gd name="T8" fmla="*/ 306 w 898"/>
                <a:gd name="T9" fmla="*/ 361 h 1185"/>
                <a:gd name="T10" fmla="*/ 389 w 898"/>
                <a:gd name="T11" fmla="*/ 334 h 1185"/>
                <a:gd name="T12" fmla="*/ 472 w 898"/>
                <a:gd name="T13" fmla="*/ 325 h 1185"/>
                <a:gd name="T14" fmla="*/ 639 w 898"/>
                <a:gd name="T15" fmla="*/ 353 h 1185"/>
                <a:gd name="T16" fmla="*/ 775 w 898"/>
                <a:gd name="T17" fmla="*/ 434 h 1185"/>
                <a:gd name="T18" fmla="*/ 867 w 898"/>
                <a:gd name="T19" fmla="*/ 570 h 1185"/>
                <a:gd name="T20" fmla="*/ 897 w 898"/>
                <a:gd name="T21" fmla="*/ 753 h 1185"/>
                <a:gd name="T22" fmla="*/ 864 w 898"/>
                <a:gd name="T23" fmla="*/ 936 h 1185"/>
                <a:gd name="T24" fmla="*/ 775 w 898"/>
                <a:gd name="T25" fmla="*/ 1072 h 1185"/>
                <a:gd name="T26" fmla="*/ 639 w 898"/>
                <a:gd name="T27" fmla="*/ 1156 h 1185"/>
                <a:gd name="T28" fmla="*/ 467 w 898"/>
                <a:gd name="T29" fmla="*/ 1184 h 1185"/>
                <a:gd name="T30" fmla="*/ 303 w 898"/>
                <a:gd name="T31" fmla="*/ 1150 h 1185"/>
                <a:gd name="T32" fmla="*/ 175 w 898"/>
                <a:gd name="T33" fmla="*/ 1036 h 1185"/>
                <a:gd name="T34" fmla="*/ 167 w 898"/>
                <a:gd name="T35" fmla="*/ 1167 h 1185"/>
                <a:gd name="T36" fmla="*/ 0 w 898"/>
                <a:gd name="T37" fmla="*/ 1167 h 1185"/>
                <a:gd name="T38" fmla="*/ 0 w 898"/>
                <a:gd name="T39" fmla="*/ 0 h 1185"/>
                <a:gd name="T40" fmla="*/ 175 w 898"/>
                <a:gd name="T41" fmla="*/ 0 h 1185"/>
                <a:gd name="T42" fmla="*/ 456 w 898"/>
                <a:gd name="T43" fmla="*/ 486 h 1185"/>
                <a:gd name="T44" fmla="*/ 456 w 898"/>
                <a:gd name="T45" fmla="*/ 486 h 1185"/>
                <a:gd name="T46" fmla="*/ 353 w 898"/>
                <a:gd name="T47" fmla="*/ 506 h 1185"/>
                <a:gd name="T48" fmla="*/ 267 w 898"/>
                <a:gd name="T49" fmla="*/ 559 h 1185"/>
                <a:gd name="T50" fmla="*/ 208 w 898"/>
                <a:gd name="T51" fmla="*/ 645 h 1185"/>
                <a:gd name="T52" fmla="*/ 186 w 898"/>
                <a:gd name="T53" fmla="*/ 753 h 1185"/>
                <a:gd name="T54" fmla="*/ 208 w 898"/>
                <a:gd name="T55" fmla="*/ 864 h 1185"/>
                <a:gd name="T56" fmla="*/ 267 w 898"/>
                <a:gd name="T57" fmla="*/ 950 h 1185"/>
                <a:gd name="T58" fmla="*/ 350 w 898"/>
                <a:gd name="T59" fmla="*/ 1003 h 1185"/>
                <a:gd name="T60" fmla="*/ 456 w 898"/>
                <a:gd name="T61" fmla="*/ 1023 h 1185"/>
                <a:gd name="T62" fmla="*/ 558 w 898"/>
                <a:gd name="T63" fmla="*/ 1006 h 1185"/>
                <a:gd name="T64" fmla="*/ 645 w 898"/>
                <a:gd name="T65" fmla="*/ 950 h 1185"/>
                <a:gd name="T66" fmla="*/ 700 w 898"/>
                <a:gd name="T67" fmla="*/ 867 h 1185"/>
                <a:gd name="T68" fmla="*/ 722 w 898"/>
                <a:gd name="T69" fmla="*/ 753 h 1185"/>
                <a:gd name="T70" fmla="*/ 700 w 898"/>
                <a:gd name="T71" fmla="*/ 639 h 1185"/>
                <a:gd name="T72" fmla="*/ 645 w 898"/>
                <a:gd name="T73" fmla="*/ 556 h 1185"/>
                <a:gd name="T74" fmla="*/ 558 w 898"/>
                <a:gd name="T75" fmla="*/ 503 h 1185"/>
                <a:gd name="T76" fmla="*/ 456 w 898"/>
                <a:gd name="T77" fmla="*/ 48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8" h="1185">
                  <a:moveTo>
                    <a:pt x="175" y="0"/>
                  </a:moveTo>
                  <a:lnTo>
                    <a:pt x="175" y="0"/>
                  </a:lnTo>
                  <a:cubicBezTo>
                    <a:pt x="175" y="472"/>
                    <a:pt x="175" y="472"/>
                    <a:pt x="175" y="472"/>
                  </a:cubicBezTo>
                  <a:cubicBezTo>
                    <a:pt x="189" y="448"/>
                    <a:pt x="208" y="425"/>
                    <a:pt x="231" y="409"/>
                  </a:cubicBezTo>
                  <a:cubicBezTo>
                    <a:pt x="253" y="389"/>
                    <a:pt x="278" y="373"/>
                    <a:pt x="306" y="361"/>
                  </a:cubicBezTo>
                  <a:cubicBezTo>
                    <a:pt x="334" y="350"/>
                    <a:pt x="361" y="339"/>
                    <a:pt x="389" y="334"/>
                  </a:cubicBezTo>
                  <a:cubicBezTo>
                    <a:pt x="417" y="328"/>
                    <a:pt x="445" y="325"/>
                    <a:pt x="472" y="325"/>
                  </a:cubicBezTo>
                  <a:cubicBezTo>
                    <a:pt x="531" y="325"/>
                    <a:pt x="589" y="334"/>
                    <a:pt x="639" y="353"/>
                  </a:cubicBezTo>
                  <a:cubicBezTo>
                    <a:pt x="692" y="370"/>
                    <a:pt x="739" y="397"/>
                    <a:pt x="775" y="434"/>
                  </a:cubicBezTo>
                  <a:cubicBezTo>
                    <a:pt x="814" y="470"/>
                    <a:pt x="845" y="514"/>
                    <a:pt x="867" y="570"/>
                  </a:cubicBezTo>
                  <a:cubicBezTo>
                    <a:pt x="886" y="623"/>
                    <a:pt x="897" y="684"/>
                    <a:pt x="897" y="753"/>
                  </a:cubicBezTo>
                  <a:cubicBezTo>
                    <a:pt x="897" y="823"/>
                    <a:pt x="886" y="884"/>
                    <a:pt x="864" y="936"/>
                  </a:cubicBezTo>
                  <a:cubicBezTo>
                    <a:pt x="842" y="989"/>
                    <a:pt x="811" y="1036"/>
                    <a:pt x="775" y="1072"/>
                  </a:cubicBezTo>
                  <a:cubicBezTo>
                    <a:pt x="736" y="1109"/>
                    <a:pt x="692" y="1136"/>
                    <a:pt x="639" y="1156"/>
                  </a:cubicBezTo>
                  <a:cubicBezTo>
                    <a:pt x="586" y="1175"/>
                    <a:pt x="531" y="1184"/>
                    <a:pt x="467" y="1184"/>
                  </a:cubicBezTo>
                  <a:cubicBezTo>
                    <a:pt x="411" y="1184"/>
                    <a:pt x="356" y="1172"/>
                    <a:pt x="303" y="1150"/>
                  </a:cubicBezTo>
                  <a:cubicBezTo>
                    <a:pt x="253" y="1128"/>
                    <a:pt x="208" y="1089"/>
                    <a:pt x="175" y="1036"/>
                  </a:cubicBezTo>
                  <a:cubicBezTo>
                    <a:pt x="167" y="1167"/>
                    <a:pt x="167" y="1167"/>
                    <a:pt x="167" y="1167"/>
                  </a:cubicBezTo>
                  <a:cubicBezTo>
                    <a:pt x="0" y="1167"/>
                    <a:pt x="0" y="1167"/>
                    <a:pt x="0" y="1167"/>
                  </a:cubicBezTo>
                  <a:cubicBezTo>
                    <a:pt x="0" y="0"/>
                    <a:pt x="0" y="0"/>
                    <a:pt x="0" y="0"/>
                  </a:cubicBezTo>
                  <a:lnTo>
                    <a:pt x="175" y="0"/>
                  </a:lnTo>
                  <a:close/>
                  <a:moveTo>
                    <a:pt x="456" y="486"/>
                  </a:moveTo>
                  <a:lnTo>
                    <a:pt x="456" y="486"/>
                  </a:lnTo>
                  <a:cubicBezTo>
                    <a:pt x="420" y="486"/>
                    <a:pt x="383" y="492"/>
                    <a:pt x="353" y="506"/>
                  </a:cubicBezTo>
                  <a:cubicBezTo>
                    <a:pt x="320" y="517"/>
                    <a:pt x="289" y="536"/>
                    <a:pt x="267" y="559"/>
                  </a:cubicBezTo>
                  <a:cubicBezTo>
                    <a:pt x="242" y="584"/>
                    <a:pt x="222" y="611"/>
                    <a:pt x="208" y="645"/>
                  </a:cubicBezTo>
                  <a:cubicBezTo>
                    <a:pt x="195" y="678"/>
                    <a:pt x="186" y="714"/>
                    <a:pt x="186" y="753"/>
                  </a:cubicBezTo>
                  <a:cubicBezTo>
                    <a:pt x="186" y="795"/>
                    <a:pt x="195" y="831"/>
                    <a:pt x="208" y="864"/>
                  </a:cubicBezTo>
                  <a:cubicBezTo>
                    <a:pt x="222" y="897"/>
                    <a:pt x="242" y="925"/>
                    <a:pt x="267" y="950"/>
                  </a:cubicBezTo>
                  <a:cubicBezTo>
                    <a:pt x="289" y="972"/>
                    <a:pt x="320" y="992"/>
                    <a:pt x="350" y="1003"/>
                  </a:cubicBezTo>
                  <a:cubicBezTo>
                    <a:pt x="383" y="1017"/>
                    <a:pt x="420" y="1023"/>
                    <a:pt x="456" y="1023"/>
                  </a:cubicBezTo>
                  <a:cubicBezTo>
                    <a:pt x="492" y="1023"/>
                    <a:pt x="528" y="1017"/>
                    <a:pt x="558" y="1006"/>
                  </a:cubicBezTo>
                  <a:cubicBezTo>
                    <a:pt x="592" y="992"/>
                    <a:pt x="620" y="975"/>
                    <a:pt x="645" y="950"/>
                  </a:cubicBezTo>
                  <a:cubicBezTo>
                    <a:pt x="667" y="928"/>
                    <a:pt x="686" y="900"/>
                    <a:pt x="700" y="867"/>
                  </a:cubicBezTo>
                  <a:cubicBezTo>
                    <a:pt x="714" y="834"/>
                    <a:pt x="722" y="795"/>
                    <a:pt x="722" y="753"/>
                  </a:cubicBezTo>
                  <a:cubicBezTo>
                    <a:pt x="722" y="711"/>
                    <a:pt x="714" y="672"/>
                    <a:pt x="700" y="639"/>
                  </a:cubicBezTo>
                  <a:cubicBezTo>
                    <a:pt x="686" y="609"/>
                    <a:pt x="667" y="581"/>
                    <a:pt x="645" y="556"/>
                  </a:cubicBezTo>
                  <a:cubicBezTo>
                    <a:pt x="620" y="534"/>
                    <a:pt x="592" y="517"/>
                    <a:pt x="558" y="503"/>
                  </a:cubicBezTo>
                  <a:cubicBezTo>
                    <a:pt x="528" y="492"/>
                    <a:pt x="492" y="486"/>
                    <a:pt x="456" y="486"/>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7" name="Freeform 34">
              <a:extLst>
                <a:ext uri="{FF2B5EF4-FFF2-40B4-BE49-F238E27FC236}">
                  <a16:creationId xmlns:a16="http://schemas.microsoft.com/office/drawing/2014/main" id="{721AEE28-67D2-9249-97C2-EEF0842E5ECE}"/>
                </a:ext>
              </a:extLst>
            </p:cNvPr>
            <p:cNvSpPr>
              <a:spLocks noChangeArrowheads="1"/>
            </p:cNvSpPr>
            <p:nvPr userDrawn="1"/>
          </p:nvSpPr>
          <p:spPr bwMode="auto">
            <a:xfrm>
              <a:off x="7804150" y="3743325"/>
              <a:ext cx="315913"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5 w 876"/>
                <a:gd name="T11" fmla="*/ 680 h 864"/>
                <a:gd name="T12" fmla="*/ 703 w 876"/>
                <a:gd name="T13" fmla="*/ 616 h 864"/>
                <a:gd name="T14" fmla="*/ 817 w 876"/>
                <a:gd name="T15" fmla="*/ 724 h 864"/>
                <a:gd name="T16" fmla="*/ 742 w 876"/>
                <a:gd name="T17" fmla="*/ 786 h 864"/>
                <a:gd name="T18" fmla="*/ 653 w 876"/>
                <a:gd name="T19" fmla="*/ 830 h 864"/>
                <a:gd name="T20" fmla="*/ 556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5 w 876"/>
                <a:gd name="T35" fmla="*/ 119 h 864"/>
                <a:gd name="T36" fmla="*/ 264 w 876"/>
                <a:gd name="T37" fmla="*/ 30 h 864"/>
                <a:gd name="T38" fmla="*/ 445 w 876"/>
                <a:gd name="T39" fmla="*/ 0 h 864"/>
                <a:gd name="T40" fmla="*/ 628 w 876"/>
                <a:gd name="T41" fmla="*/ 30 h 864"/>
                <a:gd name="T42" fmla="*/ 770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3 w 876"/>
                <a:gd name="T55" fmla="*/ 202 h 864"/>
                <a:gd name="T56" fmla="*/ 450 w 876"/>
                <a:gd name="T57" fmla="*/ 152 h 864"/>
                <a:gd name="T58" fmla="*/ 281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20" y="686"/>
                    <a:pt x="381" y="705"/>
                    <a:pt x="459" y="705"/>
                  </a:cubicBezTo>
                  <a:cubicBezTo>
                    <a:pt x="503" y="705"/>
                    <a:pt x="548" y="697"/>
                    <a:pt x="595" y="680"/>
                  </a:cubicBezTo>
                  <a:cubicBezTo>
                    <a:pt x="642" y="666"/>
                    <a:pt x="678" y="644"/>
                    <a:pt x="703" y="616"/>
                  </a:cubicBezTo>
                  <a:cubicBezTo>
                    <a:pt x="817" y="724"/>
                    <a:pt x="817" y="724"/>
                    <a:pt x="817" y="724"/>
                  </a:cubicBezTo>
                  <a:cubicBezTo>
                    <a:pt x="798" y="747"/>
                    <a:pt x="770" y="769"/>
                    <a:pt x="742" y="786"/>
                  </a:cubicBezTo>
                  <a:cubicBezTo>
                    <a:pt x="714" y="802"/>
                    <a:pt x="684" y="819"/>
                    <a:pt x="653" y="830"/>
                  </a:cubicBezTo>
                  <a:cubicBezTo>
                    <a:pt x="623" y="841"/>
                    <a:pt x="589" y="849"/>
                    <a:pt x="556" y="855"/>
                  </a:cubicBezTo>
                  <a:cubicBezTo>
                    <a:pt x="520" y="861"/>
                    <a:pt x="486" y="863"/>
                    <a:pt x="456" y="863"/>
                  </a:cubicBezTo>
                  <a:cubicBezTo>
                    <a:pt x="386" y="863"/>
                    <a:pt x="323" y="855"/>
                    <a:pt x="267" y="833"/>
                  </a:cubicBezTo>
                  <a:cubicBezTo>
                    <a:pt x="212" y="813"/>
                    <a:pt x="164" y="783"/>
                    <a:pt x="125" y="747"/>
                  </a:cubicBezTo>
                  <a:cubicBezTo>
                    <a:pt x="86" y="708"/>
                    <a:pt x="56" y="661"/>
                    <a:pt x="34" y="608"/>
                  </a:cubicBezTo>
                  <a:cubicBezTo>
                    <a:pt x="12" y="552"/>
                    <a:pt x="0" y="494"/>
                    <a:pt x="0" y="427"/>
                  </a:cubicBezTo>
                  <a:cubicBezTo>
                    <a:pt x="0" y="366"/>
                    <a:pt x="12" y="308"/>
                    <a:pt x="34" y="255"/>
                  </a:cubicBezTo>
                  <a:cubicBezTo>
                    <a:pt x="56" y="202"/>
                    <a:pt x="86" y="158"/>
                    <a:pt x="125" y="119"/>
                  </a:cubicBezTo>
                  <a:cubicBezTo>
                    <a:pt x="164" y="80"/>
                    <a:pt x="209" y="52"/>
                    <a:pt x="264" y="30"/>
                  </a:cubicBezTo>
                  <a:cubicBezTo>
                    <a:pt x="317" y="8"/>
                    <a:pt x="378" y="0"/>
                    <a:pt x="445" y="0"/>
                  </a:cubicBezTo>
                  <a:cubicBezTo>
                    <a:pt x="511" y="0"/>
                    <a:pt x="573" y="8"/>
                    <a:pt x="628" y="30"/>
                  </a:cubicBezTo>
                  <a:cubicBezTo>
                    <a:pt x="684" y="50"/>
                    <a:pt x="731" y="80"/>
                    <a:pt x="770" y="122"/>
                  </a:cubicBezTo>
                  <a:cubicBezTo>
                    <a:pt x="809" y="163"/>
                    <a:pt x="836" y="216"/>
                    <a:pt x="853" y="277"/>
                  </a:cubicBezTo>
                  <a:cubicBezTo>
                    <a:pt x="870" y="341"/>
                    <a:pt x="875" y="413"/>
                    <a:pt x="867" y="497"/>
                  </a:cubicBezTo>
                  <a:lnTo>
                    <a:pt x="186" y="352"/>
                  </a:lnTo>
                  <a:lnTo>
                    <a:pt x="186" y="352"/>
                  </a:lnTo>
                  <a:cubicBezTo>
                    <a:pt x="698" y="352"/>
                    <a:pt x="698" y="352"/>
                    <a:pt x="698" y="352"/>
                  </a:cubicBezTo>
                  <a:cubicBezTo>
                    <a:pt x="692" y="286"/>
                    <a:pt x="667" y="236"/>
                    <a:pt x="623" y="202"/>
                  </a:cubicBezTo>
                  <a:cubicBezTo>
                    <a:pt x="578" y="169"/>
                    <a:pt x="520" y="152"/>
                    <a:pt x="450" y="152"/>
                  </a:cubicBezTo>
                  <a:cubicBezTo>
                    <a:pt x="384" y="152"/>
                    <a:pt x="328" y="169"/>
                    <a:pt x="281"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9" name="Freeform 36">
              <a:extLst>
                <a:ext uri="{FF2B5EF4-FFF2-40B4-BE49-F238E27FC236}">
                  <a16:creationId xmlns:a16="http://schemas.microsoft.com/office/drawing/2014/main" id="{94F82546-F7D5-734A-8AE0-05FA12E572B7}"/>
                </a:ext>
              </a:extLst>
            </p:cNvPr>
            <p:cNvSpPr>
              <a:spLocks noChangeArrowheads="1"/>
            </p:cNvSpPr>
            <p:nvPr userDrawn="1"/>
          </p:nvSpPr>
          <p:spPr bwMode="auto">
            <a:xfrm>
              <a:off x="6570663" y="3024188"/>
              <a:ext cx="77787" cy="76200"/>
            </a:xfrm>
            <a:custGeom>
              <a:avLst/>
              <a:gdLst>
                <a:gd name="T0" fmla="*/ 0 w 218"/>
                <a:gd name="T1" fmla="*/ 106 h 213"/>
                <a:gd name="T2" fmla="*/ 0 w 218"/>
                <a:gd name="T3" fmla="*/ 106 h 213"/>
                <a:gd name="T4" fmla="*/ 33 w 218"/>
                <a:gd name="T5" fmla="*/ 25 h 213"/>
                <a:gd name="T6" fmla="*/ 108 w 218"/>
                <a:gd name="T7" fmla="*/ 0 h 213"/>
                <a:gd name="T8" fmla="*/ 183 w 218"/>
                <a:gd name="T9" fmla="*/ 25 h 213"/>
                <a:gd name="T10" fmla="*/ 217 w 218"/>
                <a:gd name="T11" fmla="*/ 106 h 213"/>
                <a:gd name="T12" fmla="*/ 183 w 218"/>
                <a:gd name="T13" fmla="*/ 184 h 213"/>
                <a:gd name="T14" fmla="*/ 108 w 218"/>
                <a:gd name="T15" fmla="*/ 212 h 213"/>
                <a:gd name="T16" fmla="*/ 33 w 218"/>
                <a:gd name="T17" fmla="*/ 184 h 213"/>
                <a:gd name="T18" fmla="*/ 0 w 218"/>
                <a:gd name="T19" fmla="*/ 10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3">
                  <a:moveTo>
                    <a:pt x="0" y="106"/>
                  </a:moveTo>
                  <a:lnTo>
                    <a:pt x="0" y="106"/>
                  </a:lnTo>
                  <a:cubicBezTo>
                    <a:pt x="0" y="70"/>
                    <a:pt x="11" y="42"/>
                    <a:pt x="33" y="25"/>
                  </a:cubicBezTo>
                  <a:cubicBezTo>
                    <a:pt x="56" y="9"/>
                    <a:pt x="80" y="0"/>
                    <a:pt x="108" y="0"/>
                  </a:cubicBezTo>
                  <a:cubicBezTo>
                    <a:pt x="136" y="0"/>
                    <a:pt x="161" y="9"/>
                    <a:pt x="183" y="25"/>
                  </a:cubicBezTo>
                  <a:cubicBezTo>
                    <a:pt x="206" y="42"/>
                    <a:pt x="217" y="70"/>
                    <a:pt x="217" y="106"/>
                  </a:cubicBezTo>
                  <a:cubicBezTo>
                    <a:pt x="217" y="139"/>
                    <a:pt x="206" y="167"/>
                    <a:pt x="183" y="184"/>
                  </a:cubicBezTo>
                  <a:cubicBezTo>
                    <a:pt x="161" y="203"/>
                    <a:pt x="136" y="212"/>
                    <a:pt x="108" y="212"/>
                  </a:cubicBezTo>
                  <a:cubicBezTo>
                    <a:pt x="80" y="212"/>
                    <a:pt x="56" y="203"/>
                    <a:pt x="33" y="184"/>
                  </a:cubicBezTo>
                  <a:cubicBezTo>
                    <a:pt x="11" y="167"/>
                    <a:pt x="0" y="139"/>
                    <a:pt x="0" y="106"/>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0" name="Freeform 37">
              <a:extLst>
                <a:ext uri="{FF2B5EF4-FFF2-40B4-BE49-F238E27FC236}">
                  <a16:creationId xmlns:a16="http://schemas.microsoft.com/office/drawing/2014/main" id="{F32F4CFE-B218-A640-BC61-78FC631429B0}"/>
                </a:ext>
              </a:extLst>
            </p:cNvPr>
            <p:cNvSpPr>
              <a:spLocks noChangeArrowheads="1"/>
            </p:cNvSpPr>
            <p:nvPr userDrawn="1"/>
          </p:nvSpPr>
          <p:spPr bwMode="auto">
            <a:xfrm>
              <a:off x="2690813" y="3625850"/>
              <a:ext cx="79375" cy="77788"/>
            </a:xfrm>
            <a:custGeom>
              <a:avLst/>
              <a:gdLst>
                <a:gd name="T0" fmla="*/ 0 w 221"/>
                <a:gd name="T1" fmla="*/ 105 h 215"/>
                <a:gd name="T2" fmla="*/ 0 w 221"/>
                <a:gd name="T3" fmla="*/ 105 h 215"/>
                <a:gd name="T4" fmla="*/ 34 w 221"/>
                <a:gd name="T5" fmla="*/ 28 h 215"/>
                <a:gd name="T6" fmla="*/ 111 w 221"/>
                <a:gd name="T7" fmla="*/ 0 h 215"/>
                <a:gd name="T8" fmla="*/ 186 w 221"/>
                <a:gd name="T9" fmla="*/ 28 h 215"/>
                <a:gd name="T10" fmla="*/ 220 w 221"/>
                <a:gd name="T11" fmla="*/ 105 h 215"/>
                <a:gd name="T12" fmla="*/ 186 w 221"/>
                <a:gd name="T13" fmla="*/ 186 h 215"/>
                <a:gd name="T14" fmla="*/ 111 w 221"/>
                <a:gd name="T15" fmla="*/ 214 h 215"/>
                <a:gd name="T16" fmla="*/ 34 w 221"/>
                <a:gd name="T17" fmla="*/ 186 h 215"/>
                <a:gd name="T18" fmla="*/ 0 w 221"/>
                <a:gd name="T19" fmla="*/ 10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215">
                  <a:moveTo>
                    <a:pt x="0" y="105"/>
                  </a:moveTo>
                  <a:lnTo>
                    <a:pt x="0" y="105"/>
                  </a:lnTo>
                  <a:cubicBezTo>
                    <a:pt x="0" y="69"/>
                    <a:pt x="11" y="44"/>
                    <a:pt x="34" y="28"/>
                  </a:cubicBezTo>
                  <a:cubicBezTo>
                    <a:pt x="59" y="8"/>
                    <a:pt x="84" y="0"/>
                    <a:pt x="111" y="0"/>
                  </a:cubicBezTo>
                  <a:cubicBezTo>
                    <a:pt x="136" y="0"/>
                    <a:pt x="161" y="8"/>
                    <a:pt x="186" y="28"/>
                  </a:cubicBezTo>
                  <a:cubicBezTo>
                    <a:pt x="209" y="44"/>
                    <a:pt x="220" y="69"/>
                    <a:pt x="220" y="105"/>
                  </a:cubicBezTo>
                  <a:cubicBezTo>
                    <a:pt x="220" y="141"/>
                    <a:pt x="209" y="169"/>
                    <a:pt x="186" y="186"/>
                  </a:cubicBezTo>
                  <a:cubicBezTo>
                    <a:pt x="161" y="202"/>
                    <a:pt x="136" y="214"/>
                    <a:pt x="111" y="214"/>
                  </a:cubicBezTo>
                  <a:cubicBezTo>
                    <a:pt x="84" y="214"/>
                    <a:pt x="59" y="202"/>
                    <a:pt x="34" y="186"/>
                  </a:cubicBezTo>
                  <a:cubicBezTo>
                    <a:pt x="11" y="169"/>
                    <a:pt x="0" y="141"/>
                    <a:pt x="0" y="105"/>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Tree>
    <p:extLst>
      <p:ext uri="{BB962C8B-B14F-4D97-AF65-F5344CB8AC3E}">
        <p14:creationId xmlns:p14="http://schemas.microsoft.com/office/powerpoint/2010/main" val="2567203824"/>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Odigo-Cover_Ogo-dark">
    <p:bg>
      <p:bgRef idx="1001">
        <a:schemeClr val="bg2"/>
      </p:bgRef>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68A49DF-FC25-2C4E-949A-9101A5224E03}"/>
              </a:ext>
            </a:extLst>
          </p:cNvPr>
          <p:cNvSpPr>
            <a:spLocks noGrp="1"/>
          </p:cNvSpPr>
          <p:nvPr>
            <p:ph type="pic" sz="quarter" idx="11"/>
          </p:nvPr>
        </p:nvSpPr>
        <p:spPr>
          <a:xfrm>
            <a:off x="4465448" y="1144708"/>
            <a:ext cx="3852324" cy="3998792"/>
          </a:xfrm>
          <a:prstGeom prst="round2DiagRect">
            <a:avLst>
              <a:gd name="adj1" fmla="val 38994"/>
              <a:gd name="adj2" fmla="val 0"/>
            </a:avLst>
          </a:prstGeom>
          <a:solidFill>
            <a:schemeClr val="bg2"/>
          </a:solidFill>
        </p:spPr>
        <p:txBody>
          <a:bodyPr/>
          <a:lstStyle/>
          <a:p>
            <a:endParaRPr lang="en-US" noProof="0"/>
          </a:p>
        </p:txBody>
      </p:sp>
      <p:sp>
        <p:nvSpPr>
          <p:cNvPr id="22" name="Freeform 1">
            <a:extLst>
              <a:ext uri="{FF2B5EF4-FFF2-40B4-BE49-F238E27FC236}">
                <a16:creationId xmlns:a16="http://schemas.microsoft.com/office/drawing/2014/main" id="{012B1637-88AD-2745-83B2-27BC58FFD203}"/>
              </a:ext>
            </a:extLst>
          </p:cNvPr>
          <p:cNvSpPr>
            <a:spLocks noChangeArrowheads="1"/>
          </p:cNvSpPr>
          <p:nvPr userDrawn="1"/>
        </p:nvSpPr>
        <p:spPr bwMode="auto">
          <a:xfrm>
            <a:off x="6800654" y="0"/>
            <a:ext cx="2747903" cy="2612855"/>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4" name="Title 1">
            <a:extLst>
              <a:ext uri="{FF2B5EF4-FFF2-40B4-BE49-F238E27FC236}">
                <a16:creationId xmlns:a16="http://schemas.microsoft.com/office/drawing/2014/main" id="{FCFEA4AF-DDE1-3B4C-85B8-C1A1D78F60B0}"/>
              </a:ext>
            </a:extLst>
          </p:cNvPr>
          <p:cNvSpPr>
            <a:spLocks noGrp="1"/>
          </p:cNvSpPr>
          <p:nvPr>
            <p:ph type="title" hasCustomPrompt="1"/>
          </p:nvPr>
        </p:nvSpPr>
        <p:spPr>
          <a:xfrm>
            <a:off x="1" y="1508558"/>
            <a:ext cx="3455988" cy="1187449"/>
          </a:xfrm>
          <a:prstGeom prst="rect">
            <a:avLst/>
          </a:prstGeom>
        </p:spPr>
        <p:txBody>
          <a:bodyPr lIns="432000" tIns="180000" rIns="72000" bIns="0"/>
          <a:lstStyle>
            <a:lvl1pPr>
              <a:defRPr lang="pl-PL" dirty="0"/>
            </a:lvl1pPr>
          </a:lstStyle>
          <a:p>
            <a:pPr lvl="0"/>
            <a:r>
              <a:rPr lang="en-US" noProof="0"/>
              <a:t>Presentation title</a:t>
            </a:r>
          </a:p>
        </p:txBody>
      </p:sp>
      <p:grpSp>
        <p:nvGrpSpPr>
          <p:cNvPr id="25" name="Group 24">
            <a:extLst>
              <a:ext uri="{FF2B5EF4-FFF2-40B4-BE49-F238E27FC236}">
                <a16:creationId xmlns:a16="http://schemas.microsoft.com/office/drawing/2014/main" id="{2FBD87C8-6045-0D47-9EBA-9EFCD740A2A0}"/>
              </a:ext>
            </a:extLst>
          </p:cNvPr>
          <p:cNvGrpSpPr/>
          <p:nvPr userDrawn="1"/>
        </p:nvGrpSpPr>
        <p:grpSpPr>
          <a:xfrm>
            <a:off x="431799" y="411163"/>
            <a:ext cx="1336166" cy="539307"/>
            <a:chOff x="2286000" y="2193925"/>
            <a:chExt cx="6835775" cy="2759075"/>
          </a:xfrm>
          <a:solidFill>
            <a:schemeClr val="tx1"/>
          </a:solidFill>
        </p:grpSpPr>
        <p:sp>
          <p:nvSpPr>
            <p:cNvPr id="26" name="Freeform 1">
              <a:extLst>
                <a:ext uri="{FF2B5EF4-FFF2-40B4-BE49-F238E27FC236}">
                  <a16:creationId xmlns:a16="http://schemas.microsoft.com/office/drawing/2014/main" id="{C3B29DF1-FA04-F34B-BF4C-56B3967A2EA2}"/>
                </a:ext>
              </a:extLst>
            </p:cNvPr>
            <p:cNvSpPr>
              <a:spLocks noChangeArrowheads="1"/>
            </p:cNvSpPr>
            <p:nvPr/>
          </p:nvSpPr>
          <p:spPr bwMode="auto">
            <a:xfrm>
              <a:off x="8378825" y="2471738"/>
              <a:ext cx="742950" cy="706437"/>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7" name="Freeform 2">
              <a:extLst>
                <a:ext uri="{FF2B5EF4-FFF2-40B4-BE49-F238E27FC236}">
                  <a16:creationId xmlns:a16="http://schemas.microsoft.com/office/drawing/2014/main" id="{8FD16FF3-416F-8040-8694-1A05511B1A32}"/>
                </a:ext>
              </a:extLst>
            </p:cNvPr>
            <p:cNvSpPr>
              <a:spLocks noChangeArrowheads="1"/>
            </p:cNvSpPr>
            <p:nvPr/>
          </p:nvSpPr>
          <p:spPr bwMode="auto">
            <a:xfrm>
              <a:off x="5299075" y="2781300"/>
              <a:ext cx="333375" cy="1349375"/>
            </a:xfrm>
            <a:custGeom>
              <a:avLst/>
              <a:gdLst>
                <a:gd name="T0" fmla="*/ 0 w 927"/>
                <a:gd name="T1" fmla="*/ 3749 h 3750"/>
                <a:gd name="T2" fmla="*/ 926 w 927"/>
                <a:gd name="T3" fmla="*/ 3749 h 3750"/>
                <a:gd name="T4" fmla="*/ 926 w 927"/>
                <a:gd name="T5" fmla="*/ 0 h 3750"/>
                <a:gd name="T6" fmla="*/ 0 w 927"/>
                <a:gd name="T7" fmla="*/ 0 h 3750"/>
                <a:gd name="T8" fmla="*/ 0 w 927"/>
                <a:gd name="T9" fmla="*/ 3749 h 3750"/>
              </a:gdLst>
              <a:ahLst/>
              <a:cxnLst>
                <a:cxn ang="0">
                  <a:pos x="T0" y="T1"/>
                </a:cxn>
                <a:cxn ang="0">
                  <a:pos x="T2" y="T3"/>
                </a:cxn>
                <a:cxn ang="0">
                  <a:pos x="T4" y="T5"/>
                </a:cxn>
                <a:cxn ang="0">
                  <a:pos x="T6" y="T7"/>
                </a:cxn>
                <a:cxn ang="0">
                  <a:pos x="T8" y="T9"/>
                </a:cxn>
              </a:cxnLst>
              <a:rect l="0" t="0" r="r" b="b"/>
              <a:pathLst>
                <a:path w="927" h="3750">
                  <a:moveTo>
                    <a:pt x="0" y="3749"/>
                  </a:moveTo>
                  <a:lnTo>
                    <a:pt x="926" y="3749"/>
                  </a:lnTo>
                  <a:lnTo>
                    <a:pt x="926" y="0"/>
                  </a:lnTo>
                  <a:lnTo>
                    <a:pt x="0" y="0"/>
                  </a:lnTo>
                  <a:lnTo>
                    <a:pt x="0" y="374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8" name="Freeform 3">
              <a:extLst>
                <a:ext uri="{FF2B5EF4-FFF2-40B4-BE49-F238E27FC236}">
                  <a16:creationId xmlns:a16="http://schemas.microsoft.com/office/drawing/2014/main" id="{50FA5CEE-F71C-524F-9F01-6BC30F520AA7}"/>
                </a:ext>
              </a:extLst>
            </p:cNvPr>
            <p:cNvSpPr>
              <a:spLocks noChangeArrowheads="1"/>
            </p:cNvSpPr>
            <p:nvPr/>
          </p:nvSpPr>
          <p:spPr bwMode="auto">
            <a:xfrm>
              <a:off x="3781425" y="2193925"/>
              <a:ext cx="1206500" cy="1973263"/>
            </a:xfrm>
            <a:custGeom>
              <a:avLst/>
              <a:gdLst>
                <a:gd name="T0" fmla="*/ 2426 w 3353"/>
                <a:gd name="T1" fmla="*/ 1631 h 5480"/>
                <a:gd name="T2" fmla="*/ 2426 w 3353"/>
                <a:gd name="T3" fmla="*/ 1631 h 5480"/>
                <a:gd name="T4" fmla="*/ 2459 w 3353"/>
                <a:gd name="T5" fmla="*/ 1940 h 5480"/>
                <a:gd name="T6" fmla="*/ 1290 w 3353"/>
                <a:gd name="T7" fmla="*/ 1532 h 5480"/>
                <a:gd name="T8" fmla="*/ 0 w 3353"/>
                <a:gd name="T9" fmla="*/ 1995 h 5480"/>
                <a:gd name="T10" fmla="*/ 463 w 3353"/>
                <a:gd name="T11" fmla="*/ 2833 h 5480"/>
                <a:gd name="T12" fmla="*/ 1323 w 3353"/>
                <a:gd name="T13" fmla="*/ 2403 h 5480"/>
                <a:gd name="T14" fmla="*/ 2393 w 3353"/>
                <a:gd name="T15" fmla="*/ 3506 h 5480"/>
                <a:gd name="T16" fmla="*/ 1323 w 3353"/>
                <a:gd name="T17" fmla="*/ 4619 h 5480"/>
                <a:gd name="T18" fmla="*/ 485 w 3353"/>
                <a:gd name="T19" fmla="*/ 4178 h 5480"/>
                <a:gd name="T20" fmla="*/ 0 w 3353"/>
                <a:gd name="T21" fmla="*/ 5049 h 5480"/>
                <a:gd name="T22" fmla="*/ 1290 w 3353"/>
                <a:gd name="T23" fmla="*/ 5479 h 5480"/>
                <a:gd name="T24" fmla="*/ 2459 w 3353"/>
                <a:gd name="T25" fmla="*/ 5071 h 5480"/>
                <a:gd name="T26" fmla="*/ 2492 w 3353"/>
                <a:gd name="T27" fmla="*/ 5380 h 5480"/>
                <a:gd name="T28" fmla="*/ 3352 w 3353"/>
                <a:gd name="T29" fmla="*/ 5380 h 5480"/>
                <a:gd name="T30" fmla="*/ 3352 w 3353"/>
                <a:gd name="T31" fmla="*/ 0 h 5480"/>
                <a:gd name="T32" fmla="*/ 2426 w 3353"/>
                <a:gd name="T33" fmla="*/ 0 h 5480"/>
                <a:gd name="T34" fmla="*/ 2426 w 3353"/>
                <a:gd name="T35" fmla="*/ 1631 h 5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53" h="5480">
                  <a:moveTo>
                    <a:pt x="2426" y="1631"/>
                  </a:moveTo>
                  <a:lnTo>
                    <a:pt x="2426" y="1631"/>
                  </a:lnTo>
                  <a:cubicBezTo>
                    <a:pt x="2426" y="1819"/>
                    <a:pt x="2459" y="1940"/>
                    <a:pt x="2459" y="1940"/>
                  </a:cubicBezTo>
                  <a:cubicBezTo>
                    <a:pt x="2150" y="1720"/>
                    <a:pt x="1786" y="1532"/>
                    <a:pt x="1290" y="1532"/>
                  </a:cubicBezTo>
                  <a:cubicBezTo>
                    <a:pt x="794" y="1532"/>
                    <a:pt x="364" y="1720"/>
                    <a:pt x="0" y="1995"/>
                  </a:cubicBezTo>
                  <a:cubicBezTo>
                    <a:pt x="210" y="2249"/>
                    <a:pt x="364" y="2524"/>
                    <a:pt x="463" y="2833"/>
                  </a:cubicBezTo>
                  <a:cubicBezTo>
                    <a:pt x="673" y="2557"/>
                    <a:pt x="948" y="2403"/>
                    <a:pt x="1323" y="2403"/>
                  </a:cubicBezTo>
                  <a:cubicBezTo>
                    <a:pt x="1963" y="2403"/>
                    <a:pt x="2393" y="2833"/>
                    <a:pt x="2393" y="3506"/>
                  </a:cubicBezTo>
                  <a:cubicBezTo>
                    <a:pt x="2393" y="4211"/>
                    <a:pt x="1941" y="4619"/>
                    <a:pt x="1323" y="4619"/>
                  </a:cubicBezTo>
                  <a:cubicBezTo>
                    <a:pt x="982" y="4619"/>
                    <a:pt x="673" y="4465"/>
                    <a:pt x="485" y="4178"/>
                  </a:cubicBezTo>
                  <a:cubicBezTo>
                    <a:pt x="397" y="4520"/>
                    <a:pt x="210" y="4795"/>
                    <a:pt x="0" y="5049"/>
                  </a:cubicBezTo>
                  <a:cubicBezTo>
                    <a:pt x="364" y="5325"/>
                    <a:pt x="794" y="5479"/>
                    <a:pt x="1290" y="5479"/>
                  </a:cubicBezTo>
                  <a:cubicBezTo>
                    <a:pt x="1753" y="5479"/>
                    <a:pt x="2183" y="5292"/>
                    <a:pt x="2459" y="5071"/>
                  </a:cubicBezTo>
                  <a:cubicBezTo>
                    <a:pt x="2492" y="5380"/>
                    <a:pt x="2492" y="5380"/>
                    <a:pt x="2492" y="5380"/>
                  </a:cubicBezTo>
                  <a:cubicBezTo>
                    <a:pt x="3352" y="5380"/>
                    <a:pt x="3352" y="5380"/>
                    <a:pt x="3352" y="5380"/>
                  </a:cubicBezTo>
                  <a:cubicBezTo>
                    <a:pt x="3352" y="0"/>
                    <a:pt x="3352" y="0"/>
                    <a:pt x="3352" y="0"/>
                  </a:cubicBezTo>
                  <a:cubicBezTo>
                    <a:pt x="2426" y="0"/>
                    <a:pt x="2426" y="0"/>
                    <a:pt x="2426" y="0"/>
                  </a:cubicBezTo>
                  <a:lnTo>
                    <a:pt x="2426" y="163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9" name="Freeform 4">
              <a:extLst>
                <a:ext uri="{FF2B5EF4-FFF2-40B4-BE49-F238E27FC236}">
                  <a16:creationId xmlns:a16="http://schemas.microsoft.com/office/drawing/2014/main" id="{1843977D-768B-CE49-9799-E3974D3C4002}"/>
                </a:ext>
              </a:extLst>
            </p:cNvPr>
            <p:cNvSpPr>
              <a:spLocks noChangeArrowheads="1"/>
            </p:cNvSpPr>
            <p:nvPr/>
          </p:nvSpPr>
          <p:spPr bwMode="auto">
            <a:xfrm>
              <a:off x="2286000" y="2746375"/>
              <a:ext cx="1441450" cy="1420813"/>
            </a:xfrm>
            <a:custGeom>
              <a:avLst/>
              <a:gdLst>
                <a:gd name="T0" fmla="*/ 1995 w 4003"/>
                <a:gd name="T1" fmla="*/ 0 h 3948"/>
                <a:gd name="T2" fmla="*/ 1995 w 4003"/>
                <a:gd name="T3" fmla="*/ 0 h 3948"/>
                <a:gd name="T4" fmla="*/ 0 w 4003"/>
                <a:gd name="T5" fmla="*/ 1974 h 3948"/>
                <a:gd name="T6" fmla="*/ 1995 w 4003"/>
                <a:gd name="T7" fmla="*/ 3947 h 3948"/>
                <a:gd name="T8" fmla="*/ 4002 w 4003"/>
                <a:gd name="T9" fmla="*/ 1974 h 3948"/>
                <a:gd name="T10" fmla="*/ 1995 w 4003"/>
                <a:gd name="T11" fmla="*/ 0 h 3948"/>
                <a:gd name="T12" fmla="*/ 1995 w 4003"/>
                <a:gd name="T13" fmla="*/ 3087 h 3948"/>
                <a:gd name="T14" fmla="*/ 1995 w 4003"/>
                <a:gd name="T15" fmla="*/ 3087 h 3948"/>
                <a:gd name="T16" fmla="*/ 926 w 4003"/>
                <a:gd name="T17" fmla="*/ 1974 h 3948"/>
                <a:gd name="T18" fmla="*/ 1995 w 4003"/>
                <a:gd name="T19" fmla="*/ 871 h 3948"/>
                <a:gd name="T20" fmla="*/ 3076 w 4003"/>
                <a:gd name="T21" fmla="*/ 1974 h 3948"/>
                <a:gd name="T22" fmla="*/ 1995 w 4003"/>
                <a:gd name="T23" fmla="*/ 3087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3" h="3948">
                  <a:moveTo>
                    <a:pt x="1995" y="0"/>
                  </a:moveTo>
                  <a:lnTo>
                    <a:pt x="1995" y="0"/>
                  </a:lnTo>
                  <a:cubicBezTo>
                    <a:pt x="860" y="0"/>
                    <a:pt x="0" y="893"/>
                    <a:pt x="0" y="1974"/>
                  </a:cubicBezTo>
                  <a:cubicBezTo>
                    <a:pt x="0" y="3109"/>
                    <a:pt x="860" y="3947"/>
                    <a:pt x="1995" y="3947"/>
                  </a:cubicBezTo>
                  <a:cubicBezTo>
                    <a:pt x="3142" y="3947"/>
                    <a:pt x="4002" y="3109"/>
                    <a:pt x="4002" y="1974"/>
                  </a:cubicBezTo>
                  <a:cubicBezTo>
                    <a:pt x="4002" y="893"/>
                    <a:pt x="3142" y="0"/>
                    <a:pt x="1995" y="0"/>
                  </a:cubicBezTo>
                  <a:close/>
                  <a:moveTo>
                    <a:pt x="1995" y="3087"/>
                  </a:moveTo>
                  <a:lnTo>
                    <a:pt x="1995" y="3087"/>
                  </a:lnTo>
                  <a:cubicBezTo>
                    <a:pt x="1389" y="3087"/>
                    <a:pt x="926" y="2624"/>
                    <a:pt x="926" y="1974"/>
                  </a:cubicBezTo>
                  <a:cubicBezTo>
                    <a:pt x="926" y="1356"/>
                    <a:pt x="1356" y="871"/>
                    <a:pt x="1995" y="871"/>
                  </a:cubicBezTo>
                  <a:cubicBezTo>
                    <a:pt x="2646" y="871"/>
                    <a:pt x="3076" y="1356"/>
                    <a:pt x="3076" y="1974"/>
                  </a:cubicBezTo>
                  <a:cubicBezTo>
                    <a:pt x="3076" y="2624"/>
                    <a:pt x="2613" y="3087"/>
                    <a:pt x="1995" y="308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0" name="Freeform 5">
              <a:extLst>
                <a:ext uri="{FF2B5EF4-FFF2-40B4-BE49-F238E27FC236}">
                  <a16:creationId xmlns:a16="http://schemas.microsoft.com/office/drawing/2014/main" id="{D3C33316-F0B6-7847-932F-F67B9F07C687}"/>
                </a:ext>
              </a:extLst>
            </p:cNvPr>
            <p:cNvSpPr>
              <a:spLocks noChangeArrowheads="1"/>
            </p:cNvSpPr>
            <p:nvPr/>
          </p:nvSpPr>
          <p:spPr bwMode="auto">
            <a:xfrm>
              <a:off x="5862638" y="2627313"/>
              <a:ext cx="1420812" cy="2325687"/>
            </a:xfrm>
            <a:custGeom>
              <a:avLst/>
              <a:gdLst>
                <a:gd name="T0" fmla="*/ 3914 w 3948"/>
                <a:gd name="T1" fmla="*/ 2216 h 6462"/>
                <a:gd name="T2" fmla="*/ 3914 w 3948"/>
                <a:gd name="T3" fmla="*/ 2216 h 6462"/>
                <a:gd name="T4" fmla="*/ 3517 w 3948"/>
                <a:gd name="T5" fmla="*/ 1048 h 6462"/>
                <a:gd name="T6" fmla="*/ 3947 w 3948"/>
                <a:gd name="T7" fmla="*/ 519 h 6462"/>
                <a:gd name="T8" fmla="*/ 3263 w 3948"/>
                <a:gd name="T9" fmla="*/ 0 h 6462"/>
                <a:gd name="T10" fmla="*/ 2800 w 3948"/>
                <a:gd name="T11" fmla="*/ 519 h 6462"/>
                <a:gd name="T12" fmla="*/ 1940 w 3948"/>
                <a:gd name="T13" fmla="*/ 331 h 6462"/>
                <a:gd name="T14" fmla="*/ 0 w 3948"/>
                <a:gd name="T15" fmla="*/ 2305 h 6462"/>
                <a:gd name="T16" fmla="*/ 1510 w 3948"/>
                <a:gd name="T17" fmla="*/ 4057 h 6462"/>
                <a:gd name="T18" fmla="*/ 2954 w 3948"/>
                <a:gd name="T19" fmla="*/ 4895 h 6462"/>
                <a:gd name="T20" fmla="*/ 2061 w 3948"/>
                <a:gd name="T21" fmla="*/ 5568 h 6462"/>
                <a:gd name="T22" fmla="*/ 1080 w 3948"/>
                <a:gd name="T23" fmla="*/ 4829 h 6462"/>
                <a:gd name="T24" fmla="*/ 1080 w 3948"/>
                <a:gd name="T25" fmla="*/ 4741 h 6462"/>
                <a:gd name="T26" fmla="*/ 132 w 3948"/>
                <a:gd name="T27" fmla="*/ 4741 h 6462"/>
                <a:gd name="T28" fmla="*/ 132 w 3948"/>
                <a:gd name="T29" fmla="*/ 4829 h 6462"/>
                <a:gd name="T30" fmla="*/ 2039 w 3948"/>
                <a:gd name="T31" fmla="*/ 6461 h 6462"/>
                <a:gd name="T32" fmla="*/ 3914 w 3948"/>
                <a:gd name="T33" fmla="*/ 4951 h 6462"/>
                <a:gd name="T34" fmla="*/ 3021 w 3948"/>
                <a:gd name="T35" fmla="*/ 3694 h 6462"/>
                <a:gd name="T36" fmla="*/ 3914 w 3948"/>
                <a:gd name="T37" fmla="*/ 2216 h 6462"/>
                <a:gd name="T38" fmla="*/ 1940 w 3948"/>
                <a:gd name="T39" fmla="*/ 3286 h 6462"/>
                <a:gd name="T40" fmla="*/ 1940 w 3948"/>
                <a:gd name="T41" fmla="*/ 3286 h 6462"/>
                <a:gd name="T42" fmla="*/ 959 w 3948"/>
                <a:gd name="T43" fmla="*/ 2238 h 6462"/>
                <a:gd name="T44" fmla="*/ 1940 w 3948"/>
                <a:gd name="T45" fmla="*/ 1202 h 6462"/>
                <a:gd name="T46" fmla="*/ 2954 w 3948"/>
                <a:gd name="T47" fmla="*/ 2238 h 6462"/>
                <a:gd name="T48" fmla="*/ 1940 w 3948"/>
                <a:gd name="T49" fmla="*/ 3286 h 6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8" h="6462">
                  <a:moveTo>
                    <a:pt x="3914" y="2216"/>
                  </a:moveTo>
                  <a:lnTo>
                    <a:pt x="3914" y="2216"/>
                  </a:lnTo>
                  <a:cubicBezTo>
                    <a:pt x="3914" y="1786"/>
                    <a:pt x="3759" y="1356"/>
                    <a:pt x="3517" y="1048"/>
                  </a:cubicBezTo>
                  <a:cubicBezTo>
                    <a:pt x="3947" y="519"/>
                    <a:pt x="3947" y="519"/>
                    <a:pt x="3947" y="519"/>
                  </a:cubicBezTo>
                  <a:cubicBezTo>
                    <a:pt x="3263" y="0"/>
                    <a:pt x="3263" y="0"/>
                    <a:pt x="3263" y="0"/>
                  </a:cubicBezTo>
                  <a:cubicBezTo>
                    <a:pt x="2800" y="519"/>
                    <a:pt x="2800" y="519"/>
                    <a:pt x="2800" y="519"/>
                  </a:cubicBezTo>
                  <a:cubicBezTo>
                    <a:pt x="2558" y="397"/>
                    <a:pt x="2282" y="331"/>
                    <a:pt x="1940" y="331"/>
                  </a:cubicBezTo>
                  <a:cubicBezTo>
                    <a:pt x="805" y="331"/>
                    <a:pt x="0" y="1202"/>
                    <a:pt x="0" y="2305"/>
                  </a:cubicBezTo>
                  <a:cubicBezTo>
                    <a:pt x="0" y="3286"/>
                    <a:pt x="595" y="3903"/>
                    <a:pt x="1510" y="4057"/>
                  </a:cubicBezTo>
                  <a:cubicBezTo>
                    <a:pt x="2128" y="4179"/>
                    <a:pt x="2954" y="4157"/>
                    <a:pt x="2954" y="4895"/>
                  </a:cubicBezTo>
                  <a:cubicBezTo>
                    <a:pt x="2954" y="5292"/>
                    <a:pt x="2679" y="5568"/>
                    <a:pt x="2061" y="5568"/>
                  </a:cubicBezTo>
                  <a:cubicBezTo>
                    <a:pt x="1422" y="5568"/>
                    <a:pt x="1080" y="5193"/>
                    <a:pt x="1080" y="4829"/>
                  </a:cubicBezTo>
                  <a:cubicBezTo>
                    <a:pt x="1080" y="4796"/>
                    <a:pt x="1080" y="4763"/>
                    <a:pt x="1080" y="4741"/>
                  </a:cubicBezTo>
                  <a:cubicBezTo>
                    <a:pt x="132" y="4741"/>
                    <a:pt x="132" y="4741"/>
                    <a:pt x="132" y="4741"/>
                  </a:cubicBezTo>
                  <a:cubicBezTo>
                    <a:pt x="132" y="4763"/>
                    <a:pt x="132" y="4796"/>
                    <a:pt x="132" y="4829"/>
                  </a:cubicBezTo>
                  <a:cubicBezTo>
                    <a:pt x="132" y="5689"/>
                    <a:pt x="871" y="6461"/>
                    <a:pt x="2039" y="6461"/>
                  </a:cubicBezTo>
                  <a:cubicBezTo>
                    <a:pt x="3329" y="6461"/>
                    <a:pt x="3914" y="5689"/>
                    <a:pt x="3914" y="4951"/>
                  </a:cubicBezTo>
                  <a:cubicBezTo>
                    <a:pt x="3914" y="4245"/>
                    <a:pt x="3539" y="3870"/>
                    <a:pt x="3021" y="3694"/>
                  </a:cubicBezTo>
                  <a:cubicBezTo>
                    <a:pt x="3539" y="3440"/>
                    <a:pt x="3914" y="2889"/>
                    <a:pt x="3914" y="2216"/>
                  </a:cubicBezTo>
                  <a:close/>
                  <a:moveTo>
                    <a:pt x="1940" y="3286"/>
                  </a:moveTo>
                  <a:lnTo>
                    <a:pt x="1940" y="3286"/>
                  </a:lnTo>
                  <a:cubicBezTo>
                    <a:pt x="1356" y="3286"/>
                    <a:pt x="959" y="2889"/>
                    <a:pt x="959" y="2238"/>
                  </a:cubicBezTo>
                  <a:cubicBezTo>
                    <a:pt x="959" y="1632"/>
                    <a:pt x="1334" y="1202"/>
                    <a:pt x="1940" y="1202"/>
                  </a:cubicBezTo>
                  <a:cubicBezTo>
                    <a:pt x="2591" y="1202"/>
                    <a:pt x="2954" y="1632"/>
                    <a:pt x="2954" y="2238"/>
                  </a:cubicBezTo>
                  <a:cubicBezTo>
                    <a:pt x="2954" y="2889"/>
                    <a:pt x="2624" y="3286"/>
                    <a:pt x="1940" y="32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1" name="Freeform 6">
              <a:extLst>
                <a:ext uri="{FF2B5EF4-FFF2-40B4-BE49-F238E27FC236}">
                  <a16:creationId xmlns:a16="http://schemas.microsoft.com/office/drawing/2014/main" id="{0B7E5FCE-40AB-6242-8B57-E5960B64EB87}"/>
                </a:ext>
              </a:extLst>
            </p:cNvPr>
            <p:cNvSpPr>
              <a:spLocks noChangeArrowheads="1"/>
            </p:cNvSpPr>
            <p:nvPr/>
          </p:nvSpPr>
          <p:spPr bwMode="auto">
            <a:xfrm>
              <a:off x="5299075" y="2193925"/>
              <a:ext cx="333375" cy="322263"/>
            </a:xfrm>
            <a:custGeom>
              <a:avLst/>
              <a:gdLst>
                <a:gd name="T0" fmla="*/ 0 w 927"/>
                <a:gd name="T1" fmla="*/ 893 h 894"/>
                <a:gd name="T2" fmla="*/ 926 w 927"/>
                <a:gd name="T3" fmla="*/ 893 h 894"/>
                <a:gd name="T4" fmla="*/ 926 w 927"/>
                <a:gd name="T5" fmla="*/ 0 h 894"/>
                <a:gd name="T6" fmla="*/ 0 w 927"/>
                <a:gd name="T7" fmla="*/ 0 h 894"/>
                <a:gd name="T8" fmla="*/ 0 w 927"/>
                <a:gd name="T9" fmla="*/ 893 h 894"/>
              </a:gdLst>
              <a:ahLst/>
              <a:cxnLst>
                <a:cxn ang="0">
                  <a:pos x="T0" y="T1"/>
                </a:cxn>
                <a:cxn ang="0">
                  <a:pos x="T2" y="T3"/>
                </a:cxn>
                <a:cxn ang="0">
                  <a:pos x="T4" y="T5"/>
                </a:cxn>
                <a:cxn ang="0">
                  <a:pos x="T6" y="T7"/>
                </a:cxn>
                <a:cxn ang="0">
                  <a:pos x="T8" y="T9"/>
                </a:cxn>
              </a:cxnLst>
              <a:rect l="0" t="0" r="r" b="b"/>
              <a:pathLst>
                <a:path w="927" h="894">
                  <a:moveTo>
                    <a:pt x="0" y="893"/>
                  </a:moveTo>
                  <a:lnTo>
                    <a:pt x="926" y="893"/>
                  </a:lnTo>
                  <a:lnTo>
                    <a:pt x="926" y="0"/>
                  </a:lnTo>
                  <a:lnTo>
                    <a:pt x="0" y="0"/>
                  </a:lnTo>
                  <a:lnTo>
                    <a:pt x="0" y="8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2" name="Freeform 7">
              <a:extLst>
                <a:ext uri="{FF2B5EF4-FFF2-40B4-BE49-F238E27FC236}">
                  <a16:creationId xmlns:a16="http://schemas.microsoft.com/office/drawing/2014/main" id="{7C5AAB3B-78AE-2D42-BAA2-4F84F9672947}"/>
                </a:ext>
              </a:extLst>
            </p:cNvPr>
            <p:cNvSpPr>
              <a:spLocks noChangeArrowheads="1"/>
            </p:cNvSpPr>
            <p:nvPr/>
          </p:nvSpPr>
          <p:spPr bwMode="auto">
            <a:xfrm>
              <a:off x="7458075" y="2746375"/>
              <a:ext cx="1452563" cy="1420813"/>
            </a:xfrm>
            <a:custGeom>
              <a:avLst/>
              <a:gdLst>
                <a:gd name="T0" fmla="*/ 3076 w 4036"/>
                <a:gd name="T1" fmla="*/ 1764 h 3948"/>
                <a:gd name="T2" fmla="*/ 3076 w 4036"/>
                <a:gd name="T3" fmla="*/ 1764 h 3948"/>
                <a:gd name="T4" fmla="*/ 3076 w 4036"/>
                <a:gd name="T5" fmla="*/ 1974 h 3948"/>
                <a:gd name="T6" fmla="*/ 2007 w 4036"/>
                <a:gd name="T7" fmla="*/ 3087 h 3948"/>
                <a:gd name="T8" fmla="*/ 959 w 4036"/>
                <a:gd name="T9" fmla="*/ 1974 h 3948"/>
                <a:gd name="T10" fmla="*/ 2007 w 4036"/>
                <a:gd name="T11" fmla="*/ 871 h 3948"/>
                <a:gd name="T12" fmla="*/ 2062 w 4036"/>
                <a:gd name="T13" fmla="*/ 871 h 3948"/>
                <a:gd name="T14" fmla="*/ 2062 w 4036"/>
                <a:gd name="T15" fmla="*/ 0 h 3948"/>
                <a:gd name="T16" fmla="*/ 2007 w 4036"/>
                <a:gd name="T17" fmla="*/ 0 h 3948"/>
                <a:gd name="T18" fmla="*/ 0 w 4036"/>
                <a:gd name="T19" fmla="*/ 1974 h 3948"/>
                <a:gd name="T20" fmla="*/ 2007 w 4036"/>
                <a:gd name="T21" fmla="*/ 3947 h 3948"/>
                <a:gd name="T22" fmla="*/ 4035 w 4036"/>
                <a:gd name="T23" fmla="*/ 1974 h 3948"/>
                <a:gd name="T24" fmla="*/ 4002 w 4036"/>
                <a:gd name="T25" fmla="*/ 1764 h 3948"/>
                <a:gd name="T26" fmla="*/ 3076 w 4036"/>
                <a:gd name="T27" fmla="*/ 1764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6" h="3948">
                  <a:moveTo>
                    <a:pt x="3076" y="1764"/>
                  </a:moveTo>
                  <a:lnTo>
                    <a:pt x="3076" y="1764"/>
                  </a:lnTo>
                  <a:cubicBezTo>
                    <a:pt x="3076" y="1852"/>
                    <a:pt x="3076" y="1907"/>
                    <a:pt x="3076" y="1974"/>
                  </a:cubicBezTo>
                  <a:cubicBezTo>
                    <a:pt x="3076" y="2624"/>
                    <a:pt x="2624" y="3087"/>
                    <a:pt x="2007" y="3087"/>
                  </a:cubicBezTo>
                  <a:cubicBezTo>
                    <a:pt x="1422" y="3087"/>
                    <a:pt x="959" y="2624"/>
                    <a:pt x="959" y="1974"/>
                  </a:cubicBezTo>
                  <a:cubicBezTo>
                    <a:pt x="959" y="1356"/>
                    <a:pt x="1389" y="871"/>
                    <a:pt x="2007" y="871"/>
                  </a:cubicBezTo>
                  <a:cubicBezTo>
                    <a:pt x="2040" y="871"/>
                    <a:pt x="2040" y="871"/>
                    <a:pt x="2062" y="871"/>
                  </a:cubicBezTo>
                  <a:cubicBezTo>
                    <a:pt x="2062" y="0"/>
                    <a:pt x="2062" y="0"/>
                    <a:pt x="2062" y="0"/>
                  </a:cubicBezTo>
                  <a:cubicBezTo>
                    <a:pt x="2040" y="0"/>
                    <a:pt x="2040" y="0"/>
                    <a:pt x="2007" y="0"/>
                  </a:cubicBezTo>
                  <a:cubicBezTo>
                    <a:pt x="871" y="0"/>
                    <a:pt x="0" y="893"/>
                    <a:pt x="0" y="1974"/>
                  </a:cubicBezTo>
                  <a:cubicBezTo>
                    <a:pt x="0" y="3109"/>
                    <a:pt x="871" y="3947"/>
                    <a:pt x="2007" y="3947"/>
                  </a:cubicBezTo>
                  <a:cubicBezTo>
                    <a:pt x="3175" y="3947"/>
                    <a:pt x="4035" y="3109"/>
                    <a:pt x="4035" y="1974"/>
                  </a:cubicBezTo>
                  <a:cubicBezTo>
                    <a:pt x="4035" y="1907"/>
                    <a:pt x="4035" y="1852"/>
                    <a:pt x="4002" y="1764"/>
                  </a:cubicBezTo>
                  <a:lnTo>
                    <a:pt x="3076" y="17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grpSp>
        <p:nvGrpSpPr>
          <p:cNvPr id="33" name="Group 32">
            <a:extLst>
              <a:ext uri="{FF2B5EF4-FFF2-40B4-BE49-F238E27FC236}">
                <a16:creationId xmlns:a16="http://schemas.microsoft.com/office/drawing/2014/main" id="{4B2B9ED4-4DFA-EB49-939D-3F245C247D48}"/>
              </a:ext>
            </a:extLst>
          </p:cNvPr>
          <p:cNvGrpSpPr/>
          <p:nvPr userDrawn="1"/>
        </p:nvGrpSpPr>
        <p:grpSpPr>
          <a:xfrm>
            <a:off x="434640" y="4447762"/>
            <a:ext cx="1692983" cy="279387"/>
            <a:chOff x="1828800" y="3017838"/>
            <a:chExt cx="6291263" cy="1038225"/>
          </a:xfrm>
          <a:solidFill>
            <a:schemeClr val="tx1"/>
          </a:solidFill>
        </p:grpSpPr>
        <p:sp>
          <p:nvSpPr>
            <p:cNvPr id="34" name="Freeform 1">
              <a:extLst>
                <a:ext uri="{FF2B5EF4-FFF2-40B4-BE49-F238E27FC236}">
                  <a16:creationId xmlns:a16="http://schemas.microsoft.com/office/drawing/2014/main" id="{668DE3C6-9435-F84B-8EE5-06AB30A25176}"/>
                </a:ext>
              </a:extLst>
            </p:cNvPr>
            <p:cNvSpPr>
              <a:spLocks noChangeArrowheads="1"/>
            </p:cNvSpPr>
            <p:nvPr userDrawn="1"/>
          </p:nvSpPr>
          <p:spPr bwMode="auto">
            <a:xfrm>
              <a:off x="1831975" y="3017838"/>
              <a:ext cx="388938" cy="438150"/>
            </a:xfrm>
            <a:custGeom>
              <a:avLst/>
              <a:gdLst>
                <a:gd name="T0" fmla="*/ 1081 w 1082"/>
                <a:gd name="T1" fmla="*/ 1042 h 1215"/>
                <a:gd name="T2" fmla="*/ 1081 w 1082"/>
                <a:gd name="T3" fmla="*/ 1042 h 1215"/>
                <a:gd name="T4" fmla="*/ 873 w 1082"/>
                <a:gd name="T5" fmla="*/ 1172 h 1215"/>
                <a:gd name="T6" fmla="*/ 631 w 1082"/>
                <a:gd name="T7" fmla="*/ 1214 h 1215"/>
                <a:gd name="T8" fmla="*/ 350 w 1082"/>
                <a:gd name="T9" fmla="*/ 1164 h 1215"/>
                <a:gd name="T10" fmla="*/ 153 w 1082"/>
                <a:gd name="T11" fmla="*/ 1028 h 1215"/>
                <a:gd name="T12" fmla="*/ 39 w 1082"/>
                <a:gd name="T13" fmla="*/ 836 h 1215"/>
                <a:gd name="T14" fmla="*/ 0 w 1082"/>
                <a:gd name="T15" fmla="*/ 614 h 1215"/>
                <a:gd name="T16" fmla="*/ 39 w 1082"/>
                <a:gd name="T17" fmla="*/ 389 h 1215"/>
                <a:gd name="T18" fmla="*/ 156 w 1082"/>
                <a:gd name="T19" fmla="*/ 192 h 1215"/>
                <a:gd name="T20" fmla="*/ 353 w 1082"/>
                <a:gd name="T21" fmla="*/ 53 h 1215"/>
                <a:gd name="T22" fmla="*/ 631 w 1082"/>
                <a:gd name="T23" fmla="*/ 0 h 1215"/>
                <a:gd name="T24" fmla="*/ 864 w 1082"/>
                <a:gd name="T25" fmla="*/ 44 h 1215"/>
                <a:gd name="T26" fmla="*/ 1070 w 1082"/>
                <a:gd name="T27" fmla="*/ 178 h 1215"/>
                <a:gd name="T28" fmla="*/ 942 w 1082"/>
                <a:gd name="T29" fmla="*/ 297 h 1215"/>
                <a:gd name="T30" fmla="*/ 795 w 1082"/>
                <a:gd name="T31" fmla="*/ 206 h 1215"/>
                <a:gd name="T32" fmla="*/ 631 w 1082"/>
                <a:gd name="T33" fmla="*/ 178 h 1215"/>
                <a:gd name="T34" fmla="*/ 434 w 1082"/>
                <a:gd name="T35" fmla="*/ 214 h 1215"/>
                <a:gd name="T36" fmla="*/ 298 w 1082"/>
                <a:gd name="T37" fmla="*/ 314 h 1215"/>
                <a:gd name="T38" fmla="*/ 217 w 1082"/>
                <a:gd name="T39" fmla="*/ 453 h 1215"/>
                <a:gd name="T40" fmla="*/ 192 w 1082"/>
                <a:gd name="T41" fmla="*/ 614 h 1215"/>
                <a:gd name="T42" fmla="*/ 217 w 1082"/>
                <a:gd name="T43" fmla="*/ 769 h 1215"/>
                <a:gd name="T44" fmla="*/ 295 w 1082"/>
                <a:gd name="T45" fmla="*/ 906 h 1215"/>
                <a:gd name="T46" fmla="*/ 434 w 1082"/>
                <a:gd name="T47" fmla="*/ 1003 h 1215"/>
                <a:gd name="T48" fmla="*/ 631 w 1082"/>
                <a:gd name="T49" fmla="*/ 1039 h 1215"/>
                <a:gd name="T50" fmla="*/ 800 w 1082"/>
                <a:gd name="T51" fmla="*/ 1008 h 1215"/>
                <a:gd name="T52" fmla="*/ 950 w 1082"/>
                <a:gd name="T53" fmla="*/ 911 h 1215"/>
                <a:gd name="T54" fmla="*/ 1081 w 1082"/>
                <a:gd name="T55" fmla="*/ 1042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2" h="1215">
                  <a:moveTo>
                    <a:pt x="1081" y="1042"/>
                  </a:moveTo>
                  <a:lnTo>
                    <a:pt x="1081" y="1042"/>
                  </a:lnTo>
                  <a:cubicBezTo>
                    <a:pt x="1020" y="1100"/>
                    <a:pt x="950" y="1144"/>
                    <a:pt x="873" y="1172"/>
                  </a:cubicBezTo>
                  <a:cubicBezTo>
                    <a:pt x="798" y="1200"/>
                    <a:pt x="717" y="1214"/>
                    <a:pt x="631" y="1214"/>
                  </a:cubicBezTo>
                  <a:cubicBezTo>
                    <a:pt x="523" y="1214"/>
                    <a:pt x="431" y="1197"/>
                    <a:pt x="350" y="1164"/>
                  </a:cubicBezTo>
                  <a:cubicBezTo>
                    <a:pt x="273" y="1130"/>
                    <a:pt x="206" y="1086"/>
                    <a:pt x="153" y="1028"/>
                  </a:cubicBezTo>
                  <a:cubicBezTo>
                    <a:pt x="103" y="972"/>
                    <a:pt x="64" y="908"/>
                    <a:pt x="39" y="836"/>
                  </a:cubicBezTo>
                  <a:cubicBezTo>
                    <a:pt x="14" y="764"/>
                    <a:pt x="0" y="692"/>
                    <a:pt x="0" y="614"/>
                  </a:cubicBezTo>
                  <a:cubicBezTo>
                    <a:pt x="0" y="536"/>
                    <a:pt x="14" y="461"/>
                    <a:pt x="39" y="389"/>
                  </a:cubicBezTo>
                  <a:cubicBezTo>
                    <a:pt x="67" y="314"/>
                    <a:pt x="103" y="250"/>
                    <a:pt x="156" y="192"/>
                  </a:cubicBezTo>
                  <a:cubicBezTo>
                    <a:pt x="209" y="133"/>
                    <a:pt x="273" y="89"/>
                    <a:pt x="353" y="53"/>
                  </a:cubicBezTo>
                  <a:cubicBezTo>
                    <a:pt x="431" y="17"/>
                    <a:pt x="525" y="0"/>
                    <a:pt x="631" y="0"/>
                  </a:cubicBezTo>
                  <a:cubicBezTo>
                    <a:pt x="711" y="0"/>
                    <a:pt x="789" y="14"/>
                    <a:pt x="864" y="44"/>
                  </a:cubicBezTo>
                  <a:cubicBezTo>
                    <a:pt x="939" y="72"/>
                    <a:pt x="1009" y="117"/>
                    <a:pt x="1070" y="178"/>
                  </a:cubicBezTo>
                  <a:cubicBezTo>
                    <a:pt x="942" y="297"/>
                    <a:pt x="942" y="297"/>
                    <a:pt x="942" y="297"/>
                  </a:cubicBezTo>
                  <a:cubicBezTo>
                    <a:pt x="898" y="256"/>
                    <a:pt x="850" y="225"/>
                    <a:pt x="795" y="206"/>
                  </a:cubicBezTo>
                  <a:cubicBezTo>
                    <a:pt x="742" y="186"/>
                    <a:pt x="686" y="178"/>
                    <a:pt x="631" y="178"/>
                  </a:cubicBezTo>
                  <a:cubicBezTo>
                    <a:pt x="556" y="178"/>
                    <a:pt x="489" y="189"/>
                    <a:pt x="434" y="214"/>
                  </a:cubicBezTo>
                  <a:cubicBezTo>
                    <a:pt x="378" y="239"/>
                    <a:pt x="334" y="272"/>
                    <a:pt x="298" y="314"/>
                  </a:cubicBezTo>
                  <a:cubicBezTo>
                    <a:pt x="261" y="356"/>
                    <a:pt x="234" y="400"/>
                    <a:pt x="217" y="453"/>
                  </a:cubicBezTo>
                  <a:cubicBezTo>
                    <a:pt x="200" y="506"/>
                    <a:pt x="192" y="558"/>
                    <a:pt x="192" y="614"/>
                  </a:cubicBezTo>
                  <a:cubicBezTo>
                    <a:pt x="192" y="667"/>
                    <a:pt x="200" y="719"/>
                    <a:pt x="217" y="769"/>
                  </a:cubicBezTo>
                  <a:cubicBezTo>
                    <a:pt x="234" y="822"/>
                    <a:pt x="261" y="867"/>
                    <a:pt x="295" y="906"/>
                  </a:cubicBezTo>
                  <a:cubicBezTo>
                    <a:pt x="331" y="947"/>
                    <a:pt x="378" y="978"/>
                    <a:pt x="434" y="1003"/>
                  </a:cubicBezTo>
                  <a:cubicBezTo>
                    <a:pt x="489" y="1028"/>
                    <a:pt x="553" y="1039"/>
                    <a:pt x="631" y="1039"/>
                  </a:cubicBezTo>
                  <a:cubicBezTo>
                    <a:pt x="686" y="1039"/>
                    <a:pt x="745" y="1028"/>
                    <a:pt x="800" y="1008"/>
                  </a:cubicBezTo>
                  <a:cubicBezTo>
                    <a:pt x="859" y="986"/>
                    <a:pt x="906" y="953"/>
                    <a:pt x="950" y="911"/>
                  </a:cubicBezTo>
                  <a:lnTo>
                    <a:pt x="1081" y="104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5" name="Freeform 2">
              <a:extLst>
                <a:ext uri="{FF2B5EF4-FFF2-40B4-BE49-F238E27FC236}">
                  <a16:creationId xmlns:a16="http://schemas.microsoft.com/office/drawing/2014/main" id="{C493F1EF-D6F4-6D4E-A1FD-6E3D9CD1D6D4}"/>
                </a:ext>
              </a:extLst>
            </p:cNvPr>
            <p:cNvSpPr>
              <a:spLocks noChangeArrowheads="1"/>
            </p:cNvSpPr>
            <p:nvPr userDrawn="1"/>
          </p:nvSpPr>
          <p:spPr bwMode="auto">
            <a:xfrm>
              <a:off x="2268538" y="3149600"/>
              <a:ext cx="293687" cy="301625"/>
            </a:xfrm>
            <a:custGeom>
              <a:avLst/>
              <a:gdLst>
                <a:gd name="T0" fmla="*/ 175 w 815"/>
                <a:gd name="T1" fmla="*/ 0 h 837"/>
                <a:gd name="T2" fmla="*/ 175 w 815"/>
                <a:gd name="T3" fmla="*/ 0 h 837"/>
                <a:gd name="T4" fmla="*/ 175 w 815"/>
                <a:gd name="T5" fmla="*/ 439 h 837"/>
                <a:gd name="T6" fmla="*/ 233 w 815"/>
                <a:gd name="T7" fmla="*/ 611 h 837"/>
                <a:gd name="T8" fmla="*/ 406 w 815"/>
                <a:gd name="T9" fmla="*/ 675 h 837"/>
                <a:gd name="T10" fmla="*/ 500 w 815"/>
                <a:gd name="T11" fmla="*/ 658 h 837"/>
                <a:gd name="T12" fmla="*/ 572 w 815"/>
                <a:gd name="T13" fmla="*/ 602 h 837"/>
                <a:gd name="T14" fmla="*/ 622 w 815"/>
                <a:gd name="T15" fmla="*/ 525 h 837"/>
                <a:gd name="T16" fmla="*/ 639 w 815"/>
                <a:gd name="T17" fmla="*/ 427 h 837"/>
                <a:gd name="T18" fmla="*/ 639 w 815"/>
                <a:gd name="T19" fmla="*/ 0 h 837"/>
                <a:gd name="T20" fmla="*/ 814 w 815"/>
                <a:gd name="T21" fmla="*/ 0 h 837"/>
                <a:gd name="T22" fmla="*/ 814 w 815"/>
                <a:gd name="T23" fmla="*/ 825 h 837"/>
                <a:gd name="T24" fmla="*/ 656 w 815"/>
                <a:gd name="T25" fmla="*/ 825 h 837"/>
                <a:gd name="T26" fmla="*/ 645 w 815"/>
                <a:gd name="T27" fmla="*/ 702 h 837"/>
                <a:gd name="T28" fmla="*/ 514 w 815"/>
                <a:gd name="T29" fmla="*/ 805 h 837"/>
                <a:gd name="T30" fmla="*/ 356 w 815"/>
                <a:gd name="T31" fmla="*/ 836 h 837"/>
                <a:gd name="T32" fmla="*/ 211 w 815"/>
                <a:gd name="T33" fmla="*/ 811 h 837"/>
                <a:gd name="T34" fmla="*/ 100 w 815"/>
                <a:gd name="T35" fmla="*/ 733 h 837"/>
                <a:gd name="T36" fmla="*/ 25 w 815"/>
                <a:gd name="T37" fmla="*/ 608 h 837"/>
                <a:gd name="T38" fmla="*/ 0 w 815"/>
                <a:gd name="T39" fmla="*/ 441 h 837"/>
                <a:gd name="T40" fmla="*/ 0 w 815"/>
                <a:gd name="T41" fmla="*/ 0 h 837"/>
                <a:gd name="T42" fmla="*/ 175 w 815"/>
                <a:gd name="T43" fmla="*/ 0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5" h="837">
                  <a:moveTo>
                    <a:pt x="175" y="0"/>
                  </a:moveTo>
                  <a:lnTo>
                    <a:pt x="175" y="0"/>
                  </a:lnTo>
                  <a:cubicBezTo>
                    <a:pt x="175" y="439"/>
                    <a:pt x="175" y="439"/>
                    <a:pt x="175" y="439"/>
                  </a:cubicBezTo>
                  <a:cubicBezTo>
                    <a:pt x="175" y="508"/>
                    <a:pt x="195" y="566"/>
                    <a:pt x="233" y="611"/>
                  </a:cubicBezTo>
                  <a:cubicBezTo>
                    <a:pt x="275" y="655"/>
                    <a:pt x="331" y="675"/>
                    <a:pt x="406" y="675"/>
                  </a:cubicBezTo>
                  <a:cubicBezTo>
                    <a:pt x="439" y="675"/>
                    <a:pt x="470" y="669"/>
                    <a:pt x="500" y="658"/>
                  </a:cubicBezTo>
                  <a:cubicBezTo>
                    <a:pt x="528" y="644"/>
                    <a:pt x="553" y="627"/>
                    <a:pt x="572" y="602"/>
                  </a:cubicBezTo>
                  <a:cubicBezTo>
                    <a:pt x="595" y="580"/>
                    <a:pt x="611" y="555"/>
                    <a:pt x="622" y="525"/>
                  </a:cubicBezTo>
                  <a:cubicBezTo>
                    <a:pt x="633" y="494"/>
                    <a:pt x="639" y="461"/>
                    <a:pt x="639" y="427"/>
                  </a:cubicBezTo>
                  <a:cubicBezTo>
                    <a:pt x="639" y="0"/>
                    <a:pt x="639" y="0"/>
                    <a:pt x="639" y="0"/>
                  </a:cubicBezTo>
                  <a:cubicBezTo>
                    <a:pt x="814" y="0"/>
                    <a:pt x="814" y="0"/>
                    <a:pt x="814" y="0"/>
                  </a:cubicBezTo>
                  <a:cubicBezTo>
                    <a:pt x="814" y="825"/>
                    <a:pt x="814" y="825"/>
                    <a:pt x="814" y="825"/>
                  </a:cubicBezTo>
                  <a:cubicBezTo>
                    <a:pt x="656" y="825"/>
                    <a:pt x="656" y="825"/>
                    <a:pt x="656" y="825"/>
                  </a:cubicBezTo>
                  <a:cubicBezTo>
                    <a:pt x="645" y="702"/>
                    <a:pt x="645" y="702"/>
                    <a:pt x="645" y="702"/>
                  </a:cubicBezTo>
                  <a:cubicBezTo>
                    <a:pt x="603" y="750"/>
                    <a:pt x="561" y="783"/>
                    <a:pt x="514" y="805"/>
                  </a:cubicBezTo>
                  <a:cubicBezTo>
                    <a:pt x="467" y="825"/>
                    <a:pt x="414" y="836"/>
                    <a:pt x="356" y="836"/>
                  </a:cubicBezTo>
                  <a:cubicBezTo>
                    <a:pt x="303" y="836"/>
                    <a:pt x="256" y="827"/>
                    <a:pt x="211" y="811"/>
                  </a:cubicBezTo>
                  <a:cubicBezTo>
                    <a:pt x="170" y="791"/>
                    <a:pt x="131" y="766"/>
                    <a:pt x="100" y="733"/>
                  </a:cubicBezTo>
                  <a:cubicBezTo>
                    <a:pt x="70" y="700"/>
                    <a:pt x="45" y="658"/>
                    <a:pt x="25" y="608"/>
                  </a:cubicBezTo>
                  <a:cubicBezTo>
                    <a:pt x="8" y="561"/>
                    <a:pt x="0" y="505"/>
                    <a:pt x="0" y="441"/>
                  </a:cubicBezTo>
                  <a:cubicBezTo>
                    <a:pt x="0" y="0"/>
                    <a:pt x="0" y="0"/>
                    <a:pt x="0" y="0"/>
                  </a:cubicBezTo>
                  <a:lnTo>
                    <a:pt x="17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6" name="Freeform 3">
              <a:extLst>
                <a:ext uri="{FF2B5EF4-FFF2-40B4-BE49-F238E27FC236}">
                  <a16:creationId xmlns:a16="http://schemas.microsoft.com/office/drawing/2014/main" id="{C9C84F0E-3548-014E-A8C1-5C7A30B4D79E}"/>
                </a:ext>
              </a:extLst>
            </p:cNvPr>
            <p:cNvSpPr>
              <a:spLocks noChangeArrowheads="1"/>
            </p:cNvSpPr>
            <p:nvPr userDrawn="1"/>
          </p:nvSpPr>
          <p:spPr bwMode="auto">
            <a:xfrm>
              <a:off x="2624138" y="3141663"/>
              <a:ext cx="268287" cy="314325"/>
            </a:xfrm>
            <a:custGeom>
              <a:avLst/>
              <a:gdLst>
                <a:gd name="T0" fmla="*/ 606 w 746"/>
                <a:gd name="T1" fmla="*/ 225 h 871"/>
                <a:gd name="T2" fmla="*/ 606 w 746"/>
                <a:gd name="T3" fmla="*/ 225 h 871"/>
                <a:gd name="T4" fmla="*/ 500 w 746"/>
                <a:gd name="T5" fmla="*/ 164 h 871"/>
                <a:gd name="T6" fmla="*/ 383 w 746"/>
                <a:gd name="T7" fmla="*/ 148 h 871"/>
                <a:gd name="T8" fmla="*/ 253 w 746"/>
                <a:gd name="T9" fmla="*/ 173 h 871"/>
                <a:gd name="T10" fmla="*/ 203 w 746"/>
                <a:gd name="T11" fmla="*/ 245 h 871"/>
                <a:gd name="T12" fmla="*/ 256 w 746"/>
                <a:gd name="T13" fmla="*/ 320 h 871"/>
                <a:gd name="T14" fmla="*/ 386 w 746"/>
                <a:gd name="T15" fmla="*/ 350 h 871"/>
                <a:gd name="T16" fmla="*/ 508 w 746"/>
                <a:gd name="T17" fmla="*/ 367 h 871"/>
                <a:gd name="T18" fmla="*/ 625 w 746"/>
                <a:gd name="T19" fmla="*/ 406 h 871"/>
                <a:gd name="T20" fmla="*/ 711 w 746"/>
                <a:gd name="T21" fmla="*/ 481 h 871"/>
                <a:gd name="T22" fmla="*/ 745 w 746"/>
                <a:gd name="T23" fmla="*/ 611 h 871"/>
                <a:gd name="T24" fmla="*/ 717 w 746"/>
                <a:gd name="T25" fmla="*/ 717 h 871"/>
                <a:gd name="T26" fmla="*/ 645 w 746"/>
                <a:gd name="T27" fmla="*/ 798 h 871"/>
                <a:gd name="T28" fmla="*/ 533 w 746"/>
                <a:gd name="T29" fmla="*/ 853 h 871"/>
                <a:gd name="T30" fmla="*/ 383 w 746"/>
                <a:gd name="T31" fmla="*/ 870 h 871"/>
                <a:gd name="T32" fmla="*/ 183 w 746"/>
                <a:gd name="T33" fmla="*/ 842 h 871"/>
                <a:gd name="T34" fmla="*/ 0 w 746"/>
                <a:gd name="T35" fmla="*/ 720 h 871"/>
                <a:gd name="T36" fmla="*/ 92 w 746"/>
                <a:gd name="T37" fmla="*/ 598 h 871"/>
                <a:gd name="T38" fmla="*/ 233 w 746"/>
                <a:gd name="T39" fmla="*/ 689 h 871"/>
                <a:gd name="T40" fmla="*/ 389 w 746"/>
                <a:gd name="T41" fmla="*/ 720 h 871"/>
                <a:gd name="T42" fmla="*/ 450 w 746"/>
                <a:gd name="T43" fmla="*/ 714 h 871"/>
                <a:gd name="T44" fmla="*/ 508 w 746"/>
                <a:gd name="T45" fmla="*/ 698 h 871"/>
                <a:gd name="T46" fmla="*/ 550 w 746"/>
                <a:gd name="T47" fmla="*/ 662 h 871"/>
                <a:gd name="T48" fmla="*/ 567 w 746"/>
                <a:gd name="T49" fmla="*/ 614 h 871"/>
                <a:gd name="T50" fmla="*/ 517 w 746"/>
                <a:gd name="T51" fmla="*/ 531 h 871"/>
                <a:gd name="T52" fmla="*/ 372 w 746"/>
                <a:gd name="T53" fmla="*/ 498 h 871"/>
                <a:gd name="T54" fmla="*/ 253 w 746"/>
                <a:gd name="T55" fmla="*/ 478 h 871"/>
                <a:gd name="T56" fmla="*/ 142 w 746"/>
                <a:gd name="T57" fmla="*/ 436 h 871"/>
                <a:gd name="T58" fmla="*/ 61 w 746"/>
                <a:gd name="T59" fmla="*/ 364 h 871"/>
                <a:gd name="T60" fmla="*/ 31 w 746"/>
                <a:gd name="T61" fmla="*/ 250 h 871"/>
                <a:gd name="T62" fmla="*/ 61 w 746"/>
                <a:gd name="T63" fmla="*/ 134 h 871"/>
                <a:gd name="T64" fmla="*/ 145 w 746"/>
                <a:gd name="T65" fmla="*/ 56 h 871"/>
                <a:gd name="T66" fmla="*/ 259 w 746"/>
                <a:gd name="T67" fmla="*/ 14 h 871"/>
                <a:gd name="T68" fmla="*/ 381 w 746"/>
                <a:gd name="T69" fmla="*/ 0 h 871"/>
                <a:gd name="T70" fmla="*/ 556 w 746"/>
                <a:gd name="T71" fmla="*/ 25 h 871"/>
                <a:gd name="T72" fmla="*/ 703 w 746"/>
                <a:gd name="T73" fmla="*/ 112 h 871"/>
                <a:gd name="T74" fmla="*/ 606 w 746"/>
                <a:gd name="T75" fmla="*/ 225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6" h="871">
                  <a:moveTo>
                    <a:pt x="606" y="225"/>
                  </a:moveTo>
                  <a:lnTo>
                    <a:pt x="606" y="225"/>
                  </a:lnTo>
                  <a:cubicBezTo>
                    <a:pt x="572" y="195"/>
                    <a:pt x="536" y="173"/>
                    <a:pt x="500" y="164"/>
                  </a:cubicBezTo>
                  <a:cubicBezTo>
                    <a:pt x="464" y="153"/>
                    <a:pt x="425" y="148"/>
                    <a:pt x="383" y="148"/>
                  </a:cubicBezTo>
                  <a:cubicBezTo>
                    <a:pt x="328" y="148"/>
                    <a:pt x="286" y="153"/>
                    <a:pt x="253" y="173"/>
                  </a:cubicBezTo>
                  <a:cubicBezTo>
                    <a:pt x="220" y="189"/>
                    <a:pt x="203" y="214"/>
                    <a:pt x="203" y="245"/>
                  </a:cubicBezTo>
                  <a:cubicBezTo>
                    <a:pt x="206" y="281"/>
                    <a:pt x="222" y="306"/>
                    <a:pt x="256" y="320"/>
                  </a:cubicBezTo>
                  <a:cubicBezTo>
                    <a:pt x="289" y="336"/>
                    <a:pt x="331" y="345"/>
                    <a:pt x="386" y="350"/>
                  </a:cubicBezTo>
                  <a:cubicBezTo>
                    <a:pt x="425" y="356"/>
                    <a:pt x="467" y="359"/>
                    <a:pt x="508" y="367"/>
                  </a:cubicBezTo>
                  <a:cubicBezTo>
                    <a:pt x="550" y="375"/>
                    <a:pt x="589" y="387"/>
                    <a:pt x="625" y="406"/>
                  </a:cubicBezTo>
                  <a:cubicBezTo>
                    <a:pt x="658" y="425"/>
                    <a:pt x="689" y="450"/>
                    <a:pt x="711" y="481"/>
                  </a:cubicBezTo>
                  <a:cubicBezTo>
                    <a:pt x="733" y="514"/>
                    <a:pt x="745" y="556"/>
                    <a:pt x="745" y="611"/>
                  </a:cubicBezTo>
                  <a:cubicBezTo>
                    <a:pt x="745" y="650"/>
                    <a:pt x="736" y="684"/>
                    <a:pt x="717" y="717"/>
                  </a:cubicBezTo>
                  <a:cubicBezTo>
                    <a:pt x="700" y="748"/>
                    <a:pt x="675" y="775"/>
                    <a:pt x="645" y="798"/>
                  </a:cubicBezTo>
                  <a:cubicBezTo>
                    <a:pt x="614" y="823"/>
                    <a:pt x="575" y="839"/>
                    <a:pt x="533" y="853"/>
                  </a:cubicBezTo>
                  <a:cubicBezTo>
                    <a:pt x="489" y="864"/>
                    <a:pt x="439" y="870"/>
                    <a:pt x="383" y="870"/>
                  </a:cubicBezTo>
                  <a:cubicBezTo>
                    <a:pt x="317" y="870"/>
                    <a:pt x="250" y="862"/>
                    <a:pt x="183" y="842"/>
                  </a:cubicBezTo>
                  <a:cubicBezTo>
                    <a:pt x="117" y="820"/>
                    <a:pt x="56" y="781"/>
                    <a:pt x="0" y="720"/>
                  </a:cubicBezTo>
                  <a:cubicBezTo>
                    <a:pt x="92" y="598"/>
                    <a:pt x="92" y="598"/>
                    <a:pt x="92" y="598"/>
                  </a:cubicBezTo>
                  <a:cubicBezTo>
                    <a:pt x="133" y="639"/>
                    <a:pt x="181" y="673"/>
                    <a:pt x="233" y="689"/>
                  </a:cubicBezTo>
                  <a:cubicBezTo>
                    <a:pt x="286" y="709"/>
                    <a:pt x="339" y="720"/>
                    <a:pt x="389" y="720"/>
                  </a:cubicBezTo>
                  <a:cubicBezTo>
                    <a:pt x="408" y="720"/>
                    <a:pt x="431" y="720"/>
                    <a:pt x="450" y="714"/>
                  </a:cubicBezTo>
                  <a:cubicBezTo>
                    <a:pt x="472" y="711"/>
                    <a:pt x="492" y="706"/>
                    <a:pt x="508" y="698"/>
                  </a:cubicBezTo>
                  <a:cubicBezTo>
                    <a:pt x="525" y="686"/>
                    <a:pt x="539" y="675"/>
                    <a:pt x="550" y="662"/>
                  </a:cubicBezTo>
                  <a:cubicBezTo>
                    <a:pt x="561" y="648"/>
                    <a:pt x="567" y="631"/>
                    <a:pt x="567" y="614"/>
                  </a:cubicBezTo>
                  <a:cubicBezTo>
                    <a:pt x="570" y="575"/>
                    <a:pt x="553" y="548"/>
                    <a:pt x="517" y="531"/>
                  </a:cubicBezTo>
                  <a:cubicBezTo>
                    <a:pt x="483" y="514"/>
                    <a:pt x="436" y="503"/>
                    <a:pt x="372" y="498"/>
                  </a:cubicBezTo>
                  <a:cubicBezTo>
                    <a:pt x="333" y="495"/>
                    <a:pt x="292" y="489"/>
                    <a:pt x="253" y="478"/>
                  </a:cubicBezTo>
                  <a:cubicBezTo>
                    <a:pt x="211" y="470"/>
                    <a:pt x="175" y="456"/>
                    <a:pt x="142" y="436"/>
                  </a:cubicBezTo>
                  <a:cubicBezTo>
                    <a:pt x="108" y="420"/>
                    <a:pt x="84" y="395"/>
                    <a:pt x="61" y="364"/>
                  </a:cubicBezTo>
                  <a:cubicBezTo>
                    <a:pt x="39" y="334"/>
                    <a:pt x="31" y="298"/>
                    <a:pt x="31" y="250"/>
                  </a:cubicBezTo>
                  <a:cubicBezTo>
                    <a:pt x="31" y="206"/>
                    <a:pt x="42" y="167"/>
                    <a:pt x="61" y="134"/>
                  </a:cubicBezTo>
                  <a:cubicBezTo>
                    <a:pt x="84" y="103"/>
                    <a:pt x="111" y="78"/>
                    <a:pt x="145" y="56"/>
                  </a:cubicBezTo>
                  <a:cubicBezTo>
                    <a:pt x="181" y="37"/>
                    <a:pt x="217" y="23"/>
                    <a:pt x="259" y="14"/>
                  </a:cubicBezTo>
                  <a:cubicBezTo>
                    <a:pt x="300" y="6"/>
                    <a:pt x="339" y="0"/>
                    <a:pt x="381" y="0"/>
                  </a:cubicBezTo>
                  <a:cubicBezTo>
                    <a:pt x="445" y="0"/>
                    <a:pt x="503" y="9"/>
                    <a:pt x="556" y="25"/>
                  </a:cubicBezTo>
                  <a:cubicBezTo>
                    <a:pt x="606" y="42"/>
                    <a:pt x="656" y="70"/>
                    <a:pt x="703" y="112"/>
                  </a:cubicBezTo>
                  <a:lnTo>
                    <a:pt x="606" y="22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7" name="Freeform 4">
              <a:extLst>
                <a:ext uri="{FF2B5EF4-FFF2-40B4-BE49-F238E27FC236}">
                  <a16:creationId xmlns:a16="http://schemas.microsoft.com/office/drawing/2014/main" id="{BFDBDE14-7DDA-BC4B-8B26-0D40258509DE}"/>
                </a:ext>
              </a:extLst>
            </p:cNvPr>
            <p:cNvSpPr>
              <a:spLocks noChangeArrowheads="1"/>
            </p:cNvSpPr>
            <p:nvPr userDrawn="1"/>
          </p:nvSpPr>
          <p:spPr bwMode="auto">
            <a:xfrm>
              <a:off x="2928938" y="3063875"/>
              <a:ext cx="223837" cy="387350"/>
            </a:xfrm>
            <a:custGeom>
              <a:avLst/>
              <a:gdLst>
                <a:gd name="T0" fmla="*/ 342 w 621"/>
                <a:gd name="T1" fmla="*/ 0 h 1076"/>
                <a:gd name="T2" fmla="*/ 342 w 621"/>
                <a:gd name="T3" fmla="*/ 0 h 1076"/>
                <a:gd name="T4" fmla="*/ 342 w 621"/>
                <a:gd name="T5" fmla="*/ 239 h 1076"/>
                <a:gd name="T6" fmla="*/ 586 w 621"/>
                <a:gd name="T7" fmla="*/ 239 h 1076"/>
                <a:gd name="T8" fmla="*/ 586 w 621"/>
                <a:gd name="T9" fmla="*/ 391 h 1076"/>
                <a:gd name="T10" fmla="*/ 339 w 621"/>
                <a:gd name="T11" fmla="*/ 391 h 1076"/>
                <a:gd name="T12" fmla="*/ 339 w 621"/>
                <a:gd name="T13" fmla="*/ 780 h 1076"/>
                <a:gd name="T14" fmla="*/ 369 w 621"/>
                <a:gd name="T15" fmla="*/ 880 h 1076"/>
                <a:gd name="T16" fmla="*/ 461 w 621"/>
                <a:gd name="T17" fmla="*/ 916 h 1076"/>
                <a:gd name="T18" fmla="*/ 514 w 621"/>
                <a:gd name="T19" fmla="*/ 908 h 1076"/>
                <a:gd name="T20" fmla="*/ 567 w 621"/>
                <a:gd name="T21" fmla="*/ 889 h 1076"/>
                <a:gd name="T22" fmla="*/ 620 w 621"/>
                <a:gd name="T23" fmla="*/ 1036 h 1076"/>
                <a:gd name="T24" fmla="*/ 533 w 621"/>
                <a:gd name="T25" fmla="*/ 1064 h 1076"/>
                <a:gd name="T26" fmla="*/ 450 w 621"/>
                <a:gd name="T27" fmla="*/ 1072 h 1076"/>
                <a:gd name="T28" fmla="*/ 236 w 621"/>
                <a:gd name="T29" fmla="*/ 1002 h 1076"/>
                <a:gd name="T30" fmla="*/ 164 w 621"/>
                <a:gd name="T31" fmla="*/ 783 h 1076"/>
                <a:gd name="T32" fmla="*/ 164 w 621"/>
                <a:gd name="T33" fmla="*/ 391 h 1076"/>
                <a:gd name="T34" fmla="*/ 0 w 621"/>
                <a:gd name="T35" fmla="*/ 391 h 1076"/>
                <a:gd name="T36" fmla="*/ 0 w 621"/>
                <a:gd name="T37" fmla="*/ 239 h 1076"/>
                <a:gd name="T38" fmla="*/ 164 w 621"/>
                <a:gd name="T39" fmla="*/ 239 h 1076"/>
                <a:gd name="T40" fmla="*/ 164 w 621"/>
                <a:gd name="T41" fmla="*/ 19 h 1076"/>
                <a:gd name="T42" fmla="*/ 342 w 621"/>
                <a:gd name="T43" fmla="*/ 0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1" h="1076">
                  <a:moveTo>
                    <a:pt x="342" y="0"/>
                  </a:moveTo>
                  <a:lnTo>
                    <a:pt x="342" y="0"/>
                  </a:lnTo>
                  <a:cubicBezTo>
                    <a:pt x="342" y="239"/>
                    <a:pt x="342" y="239"/>
                    <a:pt x="342" y="239"/>
                  </a:cubicBezTo>
                  <a:cubicBezTo>
                    <a:pt x="586" y="239"/>
                    <a:pt x="586" y="239"/>
                    <a:pt x="586" y="239"/>
                  </a:cubicBezTo>
                  <a:cubicBezTo>
                    <a:pt x="586" y="391"/>
                    <a:pt x="586" y="391"/>
                    <a:pt x="586" y="391"/>
                  </a:cubicBezTo>
                  <a:cubicBezTo>
                    <a:pt x="339" y="391"/>
                    <a:pt x="339" y="391"/>
                    <a:pt x="339" y="391"/>
                  </a:cubicBezTo>
                  <a:cubicBezTo>
                    <a:pt x="339" y="780"/>
                    <a:pt x="339" y="780"/>
                    <a:pt x="339" y="780"/>
                  </a:cubicBezTo>
                  <a:cubicBezTo>
                    <a:pt x="339" y="825"/>
                    <a:pt x="350" y="858"/>
                    <a:pt x="369" y="880"/>
                  </a:cubicBezTo>
                  <a:cubicBezTo>
                    <a:pt x="389" y="905"/>
                    <a:pt x="420" y="916"/>
                    <a:pt x="461" y="916"/>
                  </a:cubicBezTo>
                  <a:cubicBezTo>
                    <a:pt x="478" y="916"/>
                    <a:pt x="494" y="914"/>
                    <a:pt x="514" y="908"/>
                  </a:cubicBezTo>
                  <a:cubicBezTo>
                    <a:pt x="533" y="905"/>
                    <a:pt x="550" y="897"/>
                    <a:pt x="567" y="889"/>
                  </a:cubicBezTo>
                  <a:cubicBezTo>
                    <a:pt x="620" y="1036"/>
                    <a:pt x="620" y="1036"/>
                    <a:pt x="620" y="1036"/>
                  </a:cubicBezTo>
                  <a:cubicBezTo>
                    <a:pt x="589" y="1047"/>
                    <a:pt x="561" y="1058"/>
                    <a:pt x="533" y="1064"/>
                  </a:cubicBezTo>
                  <a:cubicBezTo>
                    <a:pt x="508" y="1069"/>
                    <a:pt x="481" y="1072"/>
                    <a:pt x="450" y="1072"/>
                  </a:cubicBezTo>
                  <a:cubicBezTo>
                    <a:pt x="358" y="1075"/>
                    <a:pt x="286" y="1050"/>
                    <a:pt x="236" y="1002"/>
                  </a:cubicBezTo>
                  <a:cubicBezTo>
                    <a:pt x="189" y="952"/>
                    <a:pt x="164" y="880"/>
                    <a:pt x="164" y="783"/>
                  </a:cubicBezTo>
                  <a:cubicBezTo>
                    <a:pt x="164" y="391"/>
                    <a:pt x="164" y="391"/>
                    <a:pt x="164" y="391"/>
                  </a:cubicBezTo>
                  <a:cubicBezTo>
                    <a:pt x="0" y="391"/>
                    <a:pt x="0" y="391"/>
                    <a:pt x="0" y="391"/>
                  </a:cubicBezTo>
                  <a:cubicBezTo>
                    <a:pt x="0" y="239"/>
                    <a:pt x="0" y="239"/>
                    <a:pt x="0" y="239"/>
                  </a:cubicBezTo>
                  <a:cubicBezTo>
                    <a:pt x="164" y="239"/>
                    <a:pt x="164" y="239"/>
                    <a:pt x="164" y="239"/>
                  </a:cubicBezTo>
                  <a:cubicBezTo>
                    <a:pt x="164" y="19"/>
                    <a:pt x="164" y="19"/>
                    <a:pt x="164" y="19"/>
                  </a:cubicBezTo>
                  <a:lnTo>
                    <a:pt x="34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8" name="Freeform 5">
              <a:extLst>
                <a:ext uri="{FF2B5EF4-FFF2-40B4-BE49-F238E27FC236}">
                  <a16:creationId xmlns:a16="http://schemas.microsoft.com/office/drawing/2014/main" id="{4F4686AA-F632-E543-BF95-BA90F74EB178}"/>
                </a:ext>
              </a:extLst>
            </p:cNvPr>
            <p:cNvSpPr>
              <a:spLocks noChangeArrowheads="1"/>
            </p:cNvSpPr>
            <p:nvPr userDrawn="1"/>
          </p:nvSpPr>
          <p:spPr bwMode="auto">
            <a:xfrm>
              <a:off x="3186113" y="3143250"/>
              <a:ext cx="314325" cy="307975"/>
            </a:xfrm>
            <a:custGeom>
              <a:avLst/>
              <a:gdLst>
                <a:gd name="T0" fmla="*/ 433 w 873"/>
                <a:gd name="T1" fmla="*/ 0 h 857"/>
                <a:gd name="T2" fmla="*/ 433 w 873"/>
                <a:gd name="T3" fmla="*/ 0 h 857"/>
                <a:gd name="T4" fmla="*/ 611 w 873"/>
                <a:gd name="T5" fmla="*/ 33 h 857"/>
                <a:gd name="T6" fmla="*/ 750 w 873"/>
                <a:gd name="T7" fmla="*/ 125 h 857"/>
                <a:gd name="T8" fmla="*/ 839 w 873"/>
                <a:gd name="T9" fmla="*/ 261 h 857"/>
                <a:gd name="T10" fmla="*/ 872 w 873"/>
                <a:gd name="T11" fmla="*/ 428 h 857"/>
                <a:gd name="T12" fmla="*/ 839 w 873"/>
                <a:gd name="T13" fmla="*/ 597 h 857"/>
                <a:gd name="T14" fmla="*/ 753 w 873"/>
                <a:gd name="T15" fmla="*/ 733 h 857"/>
                <a:gd name="T16" fmla="*/ 614 w 873"/>
                <a:gd name="T17" fmla="*/ 825 h 857"/>
                <a:gd name="T18" fmla="*/ 433 w 873"/>
                <a:gd name="T19" fmla="*/ 856 h 857"/>
                <a:gd name="T20" fmla="*/ 256 w 873"/>
                <a:gd name="T21" fmla="*/ 825 h 857"/>
                <a:gd name="T22" fmla="*/ 117 w 873"/>
                <a:gd name="T23" fmla="*/ 733 h 857"/>
                <a:gd name="T24" fmla="*/ 31 w 873"/>
                <a:gd name="T25" fmla="*/ 597 h 857"/>
                <a:gd name="T26" fmla="*/ 0 w 873"/>
                <a:gd name="T27" fmla="*/ 428 h 857"/>
                <a:gd name="T28" fmla="*/ 31 w 873"/>
                <a:gd name="T29" fmla="*/ 261 h 857"/>
                <a:gd name="T30" fmla="*/ 120 w 873"/>
                <a:gd name="T31" fmla="*/ 125 h 857"/>
                <a:gd name="T32" fmla="*/ 256 w 873"/>
                <a:gd name="T33" fmla="*/ 33 h 857"/>
                <a:gd name="T34" fmla="*/ 433 w 873"/>
                <a:gd name="T35" fmla="*/ 0 h 857"/>
                <a:gd name="T36" fmla="*/ 433 w 873"/>
                <a:gd name="T37" fmla="*/ 161 h 857"/>
                <a:gd name="T38" fmla="*/ 433 w 873"/>
                <a:gd name="T39" fmla="*/ 161 h 857"/>
                <a:gd name="T40" fmla="*/ 325 w 873"/>
                <a:gd name="T41" fmla="*/ 181 h 857"/>
                <a:gd name="T42" fmla="*/ 245 w 873"/>
                <a:gd name="T43" fmla="*/ 242 h 857"/>
                <a:gd name="T44" fmla="*/ 195 w 873"/>
                <a:gd name="T45" fmla="*/ 328 h 857"/>
                <a:gd name="T46" fmla="*/ 175 w 873"/>
                <a:gd name="T47" fmla="*/ 430 h 857"/>
                <a:gd name="T48" fmla="*/ 195 w 873"/>
                <a:gd name="T49" fmla="*/ 533 h 857"/>
                <a:gd name="T50" fmla="*/ 245 w 873"/>
                <a:gd name="T51" fmla="*/ 617 h 857"/>
                <a:gd name="T52" fmla="*/ 325 w 873"/>
                <a:gd name="T53" fmla="*/ 675 h 857"/>
                <a:gd name="T54" fmla="*/ 433 w 873"/>
                <a:gd name="T55" fmla="*/ 697 h 857"/>
                <a:gd name="T56" fmla="*/ 542 w 873"/>
                <a:gd name="T57" fmla="*/ 675 h 857"/>
                <a:gd name="T58" fmla="*/ 625 w 873"/>
                <a:gd name="T59" fmla="*/ 617 h 857"/>
                <a:gd name="T60" fmla="*/ 675 w 873"/>
                <a:gd name="T61" fmla="*/ 533 h 857"/>
                <a:gd name="T62" fmla="*/ 694 w 873"/>
                <a:gd name="T63" fmla="*/ 430 h 857"/>
                <a:gd name="T64" fmla="*/ 675 w 873"/>
                <a:gd name="T65" fmla="*/ 328 h 857"/>
                <a:gd name="T66" fmla="*/ 622 w 873"/>
                <a:gd name="T67" fmla="*/ 242 h 857"/>
                <a:gd name="T68" fmla="*/ 539 w 873"/>
                <a:gd name="T69" fmla="*/ 181 h 857"/>
                <a:gd name="T70" fmla="*/ 433 w 873"/>
                <a:gd name="T71" fmla="*/ 161 h 857"/>
                <a:gd name="T72" fmla="*/ 433 w 873"/>
                <a:gd name="T73"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57">
                  <a:moveTo>
                    <a:pt x="433" y="0"/>
                  </a:moveTo>
                  <a:lnTo>
                    <a:pt x="433" y="0"/>
                  </a:lnTo>
                  <a:cubicBezTo>
                    <a:pt x="500" y="0"/>
                    <a:pt x="558" y="11"/>
                    <a:pt x="611" y="33"/>
                  </a:cubicBezTo>
                  <a:cubicBezTo>
                    <a:pt x="664" y="56"/>
                    <a:pt x="711" y="86"/>
                    <a:pt x="750" y="125"/>
                  </a:cubicBezTo>
                  <a:cubicBezTo>
                    <a:pt x="789" y="161"/>
                    <a:pt x="820" y="208"/>
                    <a:pt x="839" y="261"/>
                  </a:cubicBezTo>
                  <a:cubicBezTo>
                    <a:pt x="861" y="314"/>
                    <a:pt x="872" y="369"/>
                    <a:pt x="872" y="428"/>
                  </a:cubicBezTo>
                  <a:cubicBezTo>
                    <a:pt x="872" y="489"/>
                    <a:pt x="861" y="547"/>
                    <a:pt x="839" y="597"/>
                  </a:cubicBezTo>
                  <a:cubicBezTo>
                    <a:pt x="820" y="650"/>
                    <a:pt x="792" y="694"/>
                    <a:pt x="753" y="733"/>
                  </a:cubicBezTo>
                  <a:cubicBezTo>
                    <a:pt x="714" y="772"/>
                    <a:pt x="667" y="803"/>
                    <a:pt x="614" y="825"/>
                  </a:cubicBezTo>
                  <a:cubicBezTo>
                    <a:pt x="561" y="847"/>
                    <a:pt x="500" y="856"/>
                    <a:pt x="433" y="856"/>
                  </a:cubicBezTo>
                  <a:cubicBezTo>
                    <a:pt x="367" y="856"/>
                    <a:pt x="308" y="847"/>
                    <a:pt x="256" y="825"/>
                  </a:cubicBezTo>
                  <a:cubicBezTo>
                    <a:pt x="200" y="803"/>
                    <a:pt x="156" y="772"/>
                    <a:pt x="117" y="733"/>
                  </a:cubicBezTo>
                  <a:cubicBezTo>
                    <a:pt x="81" y="694"/>
                    <a:pt x="50" y="650"/>
                    <a:pt x="31" y="597"/>
                  </a:cubicBezTo>
                  <a:cubicBezTo>
                    <a:pt x="11" y="547"/>
                    <a:pt x="0" y="489"/>
                    <a:pt x="0" y="428"/>
                  </a:cubicBezTo>
                  <a:cubicBezTo>
                    <a:pt x="0" y="369"/>
                    <a:pt x="11" y="314"/>
                    <a:pt x="31" y="261"/>
                  </a:cubicBezTo>
                  <a:cubicBezTo>
                    <a:pt x="50" y="208"/>
                    <a:pt x="81" y="161"/>
                    <a:pt x="120" y="125"/>
                  </a:cubicBezTo>
                  <a:cubicBezTo>
                    <a:pt x="156" y="86"/>
                    <a:pt x="203" y="56"/>
                    <a:pt x="256" y="33"/>
                  </a:cubicBezTo>
                  <a:cubicBezTo>
                    <a:pt x="308" y="11"/>
                    <a:pt x="370" y="0"/>
                    <a:pt x="433" y="0"/>
                  </a:cubicBezTo>
                  <a:lnTo>
                    <a:pt x="433" y="161"/>
                  </a:lnTo>
                  <a:lnTo>
                    <a:pt x="433" y="161"/>
                  </a:lnTo>
                  <a:cubicBezTo>
                    <a:pt x="394" y="161"/>
                    <a:pt x="358" y="167"/>
                    <a:pt x="325" y="181"/>
                  </a:cubicBezTo>
                  <a:cubicBezTo>
                    <a:pt x="295" y="197"/>
                    <a:pt x="267" y="217"/>
                    <a:pt x="245" y="242"/>
                  </a:cubicBezTo>
                  <a:cubicBezTo>
                    <a:pt x="222" y="267"/>
                    <a:pt x="206" y="294"/>
                    <a:pt x="195" y="328"/>
                  </a:cubicBezTo>
                  <a:cubicBezTo>
                    <a:pt x="181" y="358"/>
                    <a:pt x="175" y="394"/>
                    <a:pt x="175" y="430"/>
                  </a:cubicBezTo>
                  <a:cubicBezTo>
                    <a:pt x="175" y="467"/>
                    <a:pt x="181" y="500"/>
                    <a:pt x="195" y="533"/>
                  </a:cubicBezTo>
                  <a:cubicBezTo>
                    <a:pt x="206" y="567"/>
                    <a:pt x="222" y="594"/>
                    <a:pt x="245" y="617"/>
                  </a:cubicBezTo>
                  <a:cubicBezTo>
                    <a:pt x="267" y="642"/>
                    <a:pt x="295" y="661"/>
                    <a:pt x="325" y="675"/>
                  </a:cubicBezTo>
                  <a:cubicBezTo>
                    <a:pt x="358" y="689"/>
                    <a:pt x="394" y="697"/>
                    <a:pt x="433" y="697"/>
                  </a:cubicBezTo>
                  <a:cubicBezTo>
                    <a:pt x="475" y="697"/>
                    <a:pt x="511" y="689"/>
                    <a:pt x="542" y="675"/>
                  </a:cubicBezTo>
                  <a:cubicBezTo>
                    <a:pt x="575" y="661"/>
                    <a:pt x="603" y="642"/>
                    <a:pt x="625" y="617"/>
                  </a:cubicBezTo>
                  <a:cubicBezTo>
                    <a:pt x="647" y="594"/>
                    <a:pt x="664" y="567"/>
                    <a:pt x="675" y="533"/>
                  </a:cubicBezTo>
                  <a:cubicBezTo>
                    <a:pt x="686" y="500"/>
                    <a:pt x="694" y="467"/>
                    <a:pt x="694" y="430"/>
                  </a:cubicBezTo>
                  <a:cubicBezTo>
                    <a:pt x="694" y="394"/>
                    <a:pt x="686" y="358"/>
                    <a:pt x="675" y="328"/>
                  </a:cubicBezTo>
                  <a:cubicBezTo>
                    <a:pt x="661" y="294"/>
                    <a:pt x="645" y="267"/>
                    <a:pt x="622" y="242"/>
                  </a:cubicBezTo>
                  <a:cubicBezTo>
                    <a:pt x="600" y="217"/>
                    <a:pt x="572" y="197"/>
                    <a:pt x="539" y="181"/>
                  </a:cubicBezTo>
                  <a:cubicBezTo>
                    <a:pt x="508" y="167"/>
                    <a:pt x="472" y="161"/>
                    <a:pt x="433" y="161"/>
                  </a:cubicBezTo>
                  <a:lnTo>
                    <a:pt x="4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9" name="Freeform 6">
              <a:extLst>
                <a:ext uri="{FF2B5EF4-FFF2-40B4-BE49-F238E27FC236}">
                  <a16:creationId xmlns:a16="http://schemas.microsoft.com/office/drawing/2014/main" id="{1AFF59FE-12B4-6D4D-B799-C1D0C79BBC9D}"/>
                </a:ext>
              </a:extLst>
            </p:cNvPr>
            <p:cNvSpPr>
              <a:spLocks noChangeArrowheads="1"/>
            </p:cNvSpPr>
            <p:nvPr userDrawn="1"/>
          </p:nvSpPr>
          <p:spPr bwMode="auto">
            <a:xfrm>
              <a:off x="3567113" y="3143250"/>
              <a:ext cx="476250" cy="301625"/>
            </a:xfrm>
            <a:custGeom>
              <a:avLst/>
              <a:gdLst>
                <a:gd name="T0" fmla="*/ 575 w 1321"/>
                <a:gd name="T1" fmla="*/ 839 h 840"/>
                <a:gd name="T2" fmla="*/ 575 w 1321"/>
                <a:gd name="T3" fmla="*/ 839 h 840"/>
                <a:gd name="T4" fmla="*/ 575 w 1321"/>
                <a:gd name="T5" fmla="*/ 386 h 840"/>
                <a:gd name="T6" fmla="*/ 561 w 1321"/>
                <a:gd name="T7" fmla="*/ 300 h 840"/>
                <a:gd name="T8" fmla="*/ 523 w 1321"/>
                <a:gd name="T9" fmla="*/ 228 h 840"/>
                <a:gd name="T10" fmla="*/ 461 w 1321"/>
                <a:gd name="T11" fmla="*/ 181 h 840"/>
                <a:gd name="T12" fmla="*/ 378 w 1321"/>
                <a:gd name="T13" fmla="*/ 161 h 840"/>
                <a:gd name="T14" fmla="*/ 295 w 1321"/>
                <a:gd name="T15" fmla="*/ 181 h 840"/>
                <a:gd name="T16" fmla="*/ 231 w 1321"/>
                <a:gd name="T17" fmla="*/ 228 h 840"/>
                <a:gd name="T18" fmla="*/ 189 w 1321"/>
                <a:gd name="T19" fmla="*/ 300 h 840"/>
                <a:gd name="T20" fmla="*/ 175 w 1321"/>
                <a:gd name="T21" fmla="*/ 386 h 840"/>
                <a:gd name="T22" fmla="*/ 175 w 1321"/>
                <a:gd name="T23" fmla="*/ 839 h 840"/>
                <a:gd name="T24" fmla="*/ 0 w 1321"/>
                <a:gd name="T25" fmla="*/ 839 h 840"/>
                <a:gd name="T26" fmla="*/ 0 w 1321"/>
                <a:gd name="T27" fmla="*/ 14 h 840"/>
                <a:gd name="T28" fmla="*/ 164 w 1321"/>
                <a:gd name="T29" fmla="*/ 14 h 840"/>
                <a:gd name="T30" fmla="*/ 175 w 1321"/>
                <a:gd name="T31" fmla="*/ 125 h 840"/>
                <a:gd name="T32" fmla="*/ 278 w 1321"/>
                <a:gd name="T33" fmla="*/ 28 h 840"/>
                <a:gd name="T34" fmla="*/ 411 w 1321"/>
                <a:gd name="T35" fmla="*/ 0 h 840"/>
                <a:gd name="T36" fmla="*/ 492 w 1321"/>
                <a:gd name="T37" fmla="*/ 8 h 840"/>
                <a:gd name="T38" fmla="*/ 564 w 1321"/>
                <a:gd name="T39" fmla="*/ 39 h 840"/>
                <a:gd name="T40" fmla="*/ 628 w 1321"/>
                <a:gd name="T41" fmla="*/ 89 h 840"/>
                <a:gd name="T42" fmla="*/ 675 w 1321"/>
                <a:gd name="T43" fmla="*/ 167 h 840"/>
                <a:gd name="T44" fmla="*/ 800 w 1321"/>
                <a:gd name="T45" fmla="*/ 39 h 840"/>
                <a:gd name="T46" fmla="*/ 964 w 1321"/>
                <a:gd name="T47" fmla="*/ 3 h 840"/>
                <a:gd name="T48" fmla="*/ 1231 w 1321"/>
                <a:gd name="T49" fmla="*/ 103 h 840"/>
                <a:gd name="T50" fmla="*/ 1320 w 1321"/>
                <a:gd name="T51" fmla="*/ 383 h 840"/>
                <a:gd name="T52" fmla="*/ 1320 w 1321"/>
                <a:gd name="T53" fmla="*/ 839 h 840"/>
                <a:gd name="T54" fmla="*/ 1142 w 1321"/>
                <a:gd name="T55" fmla="*/ 839 h 840"/>
                <a:gd name="T56" fmla="*/ 1142 w 1321"/>
                <a:gd name="T57" fmla="*/ 383 h 840"/>
                <a:gd name="T58" fmla="*/ 1131 w 1321"/>
                <a:gd name="T59" fmla="*/ 297 h 840"/>
                <a:gd name="T60" fmla="*/ 1095 w 1321"/>
                <a:gd name="T61" fmla="*/ 228 h 840"/>
                <a:gd name="T62" fmla="*/ 1039 w 1321"/>
                <a:gd name="T63" fmla="*/ 181 h 840"/>
                <a:gd name="T64" fmla="*/ 956 w 1321"/>
                <a:gd name="T65" fmla="*/ 164 h 840"/>
                <a:gd name="T66" fmla="*/ 873 w 1321"/>
                <a:gd name="T67" fmla="*/ 181 h 840"/>
                <a:gd name="T68" fmla="*/ 809 w 1321"/>
                <a:gd name="T69" fmla="*/ 228 h 840"/>
                <a:gd name="T70" fmla="*/ 767 w 1321"/>
                <a:gd name="T71" fmla="*/ 300 h 840"/>
                <a:gd name="T72" fmla="*/ 753 w 1321"/>
                <a:gd name="T73" fmla="*/ 386 h 840"/>
                <a:gd name="T74" fmla="*/ 753 w 1321"/>
                <a:gd name="T75" fmla="*/ 839 h 840"/>
                <a:gd name="T76" fmla="*/ 575 w 1321"/>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1" h="840">
                  <a:moveTo>
                    <a:pt x="575" y="839"/>
                  </a:moveTo>
                  <a:lnTo>
                    <a:pt x="575" y="839"/>
                  </a:lnTo>
                  <a:cubicBezTo>
                    <a:pt x="575" y="386"/>
                    <a:pt x="575" y="386"/>
                    <a:pt x="575" y="386"/>
                  </a:cubicBezTo>
                  <a:cubicBezTo>
                    <a:pt x="575" y="356"/>
                    <a:pt x="570" y="328"/>
                    <a:pt x="561" y="300"/>
                  </a:cubicBezTo>
                  <a:cubicBezTo>
                    <a:pt x="553" y="272"/>
                    <a:pt x="539" y="247"/>
                    <a:pt x="523" y="228"/>
                  </a:cubicBezTo>
                  <a:cubicBezTo>
                    <a:pt x="506" y="208"/>
                    <a:pt x="486" y="192"/>
                    <a:pt x="461" y="181"/>
                  </a:cubicBezTo>
                  <a:cubicBezTo>
                    <a:pt x="436" y="167"/>
                    <a:pt x="409" y="161"/>
                    <a:pt x="378" y="161"/>
                  </a:cubicBezTo>
                  <a:cubicBezTo>
                    <a:pt x="348" y="161"/>
                    <a:pt x="320" y="167"/>
                    <a:pt x="295" y="181"/>
                  </a:cubicBezTo>
                  <a:cubicBezTo>
                    <a:pt x="270" y="192"/>
                    <a:pt x="248" y="208"/>
                    <a:pt x="231" y="228"/>
                  </a:cubicBezTo>
                  <a:cubicBezTo>
                    <a:pt x="211" y="247"/>
                    <a:pt x="200" y="272"/>
                    <a:pt x="189" y="300"/>
                  </a:cubicBezTo>
                  <a:cubicBezTo>
                    <a:pt x="181" y="328"/>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198" y="78"/>
                    <a:pt x="234" y="47"/>
                    <a:pt x="278" y="28"/>
                  </a:cubicBezTo>
                  <a:cubicBezTo>
                    <a:pt x="323" y="11"/>
                    <a:pt x="367" y="0"/>
                    <a:pt x="411" y="0"/>
                  </a:cubicBezTo>
                  <a:cubicBezTo>
                    <a:pt x="439" y="0"/>
                    <a:pt x="464" y="3"/>
                    <a:pt x="492" y="8"/>
                  </a:cubicBezTo>
                  <a:cubicBezTo>
                    <a:pt x="517" y="14"/>
                    <a:pt x="542" y="25"/>
                    <a:pt x="564" y="39"/>
                  </a:cubicBezTo>
                  <a:cubicBezTo>
                    <a:pt x="589" y="50"/>
                    <a:pt x="609" y="69"/>
                    <a:pt x="628" y="89"/>
                  </a:cubicBezTo>
                  <a:cubicBezTo>
                    <a:pt x="647" y="111"/>
                    <a:pt x="661" y="136"/>
                    <a:pt x="675" y="167"/>
                  </a:cubicBezTo>
                  <a:cubicBezTo>
                    <a:pt x="709" y="106"/>
                    <a:pt x="750" y="64"/>
                    <a:pt x="800" y="39"/>
                  </a:cubicBezTo>
                  <a:cubicBezTo>
                    <a:pt x="850" y="14"/>
                    <a:pt x="906" y="3"/>
                    <a:pt x="964" y="3"/>
                  </a:cubicBezTo>
                  <a:cubicBezTo>
                    <a:pt x="1081" y="3"/>
                    <a:pt x="1170" y="36"/>
                    <a:pt x="1231" y="103"/>
                  </a:cubicBezTo>
                  <a:cubicBezTo>
                    <a:pt x="1289" y="172"/>
                    <a:pt x="1320" y="264"/>
                    <a:pt x="1320" y="383"/>
                  </a:cubicBezTo>
                  <a:cubicBezTo>
                    <a:pt x="1320" y="839"/>
                    <a:pt x="1320" y="839"/>
                    <a:pt x="1320" y="839"/>
                  </a:cubicBezTo>
                  <a:cubicBezTo>
                    <a:pt x="1142" y="839"/>
                    <a:pt x="1142" y="839"/>
                    <a:pt x="1142" y="839"/>
                  </a:cubicBezTo>
                  <a:cubicBezTo>
                    <a:pt x="1142" y="383"/>
                    <a:pt x="1142" y="383"/>
                    <a:pt x="1142" y="383"/>
                  </a:cubicBezTo>
                  <a:cubicBezTo>
                    <a:pt x="1142" y="353"/>
                    <a:pt x="1139" y="325"/>
                    <a:pt x="1131" y="297"/>
                  </a:cubicBezTo>
                  <a:cubicBezTo>
                    <a:pt x="1122" y="269"/>
                    <a:pt x="1111" y="247"/>
                    <a:pt x="1095" y="228"/>
                  </a:cubicBezTo>
                  <a:cubicBezTo>
                    <a:pt x="1081" y="206"/>
                    <a:pt x="1061" y="192"/>
                    <a:pt x="1039" y="181"/>
                  </a:cubicBezTo>
                  <a:cubicBezTo>
                    <a:pt x="1014" y="169"/>
                    <a:pt x="986" y="164"/>
                    <a:pt x="956" y="164"/>
                  </a:cubicBezTo>
                  <a:cubicBezTo>
                    <a:pt x="925" y="164"/>
                    <a:pt x="897" y="169"/>
                    <a:pt x="873" y="181"/>
                  </a:cubicBezTo>
                  <a:cubicBezTo>
                    <a:pt x="847" y="192"/>
                    <a:pt x="825" y="208"/>
                    <a:pt x="809" y="228"/>
                  </a:cubicBezTo>
                  <a:cubicBezTo>
                    <a:pt x="789" y="250"/>
                    <a:pt x="775" y="272"/>
                    <a:pt x="767" y="300"/>
                  </a:cubicBezTo>
                  <a:cubicBezTo>
                    <a:pt x="756" y="328"/>
                    <a:pt x="753" y="356"/>
                    <a:pt x="753" y="386"/>
                  </a:cubicBezTo>
                  <a:cubicBezTo>
                    <a:pt x="753" y="839"/>
                    <a:pt x="753" y="839"/>
                    <a:pt x="753" y="839"/>
                  </a:cubicBezTo>
                  <a:lnTo>
                    <a:pt x="575" y="83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0" name="Freeform 7">
              <a:extLst>
                <a:ext uri="{FF2B5EF4-FFF2-40B4-BE49-F238E27FC236}">
                  <a16:creationId xmlns:a16="http://schemas.microsoft.com/office/drawing/2014/main" id="{F46638B0-F40C-B24A-93C9-6E1B70739452}"/>
                </a:ext>
              </a:extLst>
            </p:cNvPr>
            <p:cNvSpPr>
              <a:spLocks noChangeArrowheads="1"/>
            </p:cNvSpPr>
            <p:nvPr userDrawn="1"/>
          </p:nvSpPr>
          <p:spPr bwMode="auto">
            <a:xfrm>
              <a:off x="4105275" y="3141663"/>
              <a:ext cx="314325" cy="312737"/>
            </a:xfrm>
            <a:custGeom>
              <a:avLst/>
              <a:gdLst>
                <a:gd name="T0" fmla="*/ 864 w 874"/>
                <a:gd name="T1" fmla="*/ 498 h 868"/>
                <a:gd name="T2" fmla="*/ 864 w 874"/>
                <a:gd name="T3" fmla="*/ 498 h 868"/>
                <a:gd name="T4" fmla="*/ 181 w 874"/>
                <a:gd name="T5" fmla="*/ 498 h 868"/>
                <a:gd name="T6" fmla="*/ 267 w 874"/>
                <a:gd name="T7" fmla="*/ 650 h 868"/>
                <a:gd name="T8" fmla="*/ 456 w 874"/>
                <a:gd name="T9" fmla="*/ 706 h 868"/>
                <a:gd name="T10" fmla="*/ 592 w 874"/>
                <a:gd name="T11" fmla="*/ 684 h 868"/>
                <a:gd name="T12" fmla="*/ 700 w 874"/>
                <a:gd name="T13" fmla="*/ 617 h 868"/>
                <a:gd name="T14" fmla="*/ 814 w 874"/>
                <a:gd name="T15" fmla="*/ 725 h 868"/>
                <a:gd name="T16" fmla="*/ 739 w 874"/>
                <a:gd name="T17" fmla="*/ 786 h 868"/>
                <a:gd name="T18" fmla="*/ 650 w 874"/>
                <a:gd name="T19" fmla="*/ 831 h 868"/>
                <a:gd name="T20" fmla="*/ 553 w 874"/>
                <a:gd name="T21" fmla="*/ 859 h 868"/>
                <a:gd name="T22" fmla="*/ 453 w 874"/>
                <a:gd name="T23" fmla="*/ 867 h 868"/>
                <a:gd name="T24" fmla="*/ 267 w 874"/>
                <a:gd name="T25" fmla="*/ 836 h 868"/>
                <a:gd name="T26" fmla="*/ 123 w 874"/>
                <a:gd name="T27" fmla="*/ 748 h 868"/>
                <a:gd name="T28" fmla="*/ 31 w 874"/>
                <a:gd name="T29" fmla="*/ 609 h 868"/>
                <a:gd name="T30" fmla="*/ 0 w 874"/>
                <a:gd name="T31" fmla="*/ 431 h 868"/>
                <a:gd name="T32" fmla="*/ 31 w 874"/>
                <a:gd name="T33" fmla="*/ 256 h 868"/>
                <a:gd name="T34" fmla="*/ 123 w 874"/>
                <a:gd name="T35" fmla="*/ 120 h 868"/>
                <a:gd name="T36" fmla="*/ 261 w 874"/>
                <a:gd name="T37" fmla="*/ 31 h 868"/>
                <a:gd name="T38" fmla="*/ 442 w 874"/>
                <a:gd name="T39" fmla="*/ 0 h 868"/>
                <a:gd name="T40" fmla="*/ 628 w 874"/>
                <a:gd name="T41" fmla="*/ 31 h 868"/>
                <a:gd name="T42" fmla="*/ 767 w 874"/>
                <a:gd name="T43" fmla="*/ 125 h 868"/>
                <a:gd name="T44" fmla="*/ 850 w 874"/>
                <a:gd name="T45" fmla="*/ 278 h 868"/>
                <a:gd name="T46" fmla="*/ 864 w 874"/>
                <a:gd name="T47" fmla="*/ 498 h 868"/>
                <a:gd name="T48" fmla="*/ 187 w 874"/>
                <a:gd name="T49" fmla="*/ 353 h 868"/>
                <a:gd name="T50" fmla="*/ 187 w 874"/>
                <a:gd name="T51" fmla="*/ 353 h 868"/>
                <a:gd name="T52" fmla="*/ 695 w 874"/>
                <a:gd name="T53" fmla="*/ 353 h 868"/>
                <a:gd name="T54" fmla="*/ 620 w 874"/>
                <a:gd name="T55" fmla="*/ 203 h 868"/>
                <a:gd name="T56" fmla="*/ 448 w 874"/>
                <a:gd name="T57" fmla="*/ 153 h 868"/>
                <a:gd name="T58" fmla="*/ 278 w 874"/>
                <a:gd name="T59" fmla="*/ 203 h 868"/>
                <a:gd name="T60" fmla="*/ 187 w 874"/>
                <a:gd name="T61" fmla="*/ 353 h 868"/>
                <a:gd name="T62" fmla="*/ 864 w 874"/>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4" h="868">
                  <a:moveTo>
                    <a:pt x="864" y="498"/>
                  </a:moveTo>
                  <a:lnTo>
                    <a:pt x="864" y="498"/>
                  </a:lnTo>
                  <a:cubicBezTo>
                    <a:pt x="181" y="498"/>
                    <a:pt x="181" y="498"/>
                    <a:pt x="181" y="498"/>
                  </a:cubicBezTo>
                  <a:cubicBezTo>
                    <a:pt x="189" y="562"/>
                    <a:pt x="217" y="611"/>
                    <a:pt x="267" y="650"/>
                  </a:cubicBezTo>
                  <a:cubicBezTo>
                    <a:pt x="317" y="686"/>
                    <a:pt x="378" y="706"/>
                    <a:pt x="456" y="706"/>
                  </a:cubicBezTo>
                  <a:cubicBezTo>
                    <a:pt x="500" y="706"/>
                    <a:pt x="545" y="698"/>
                    <a:pt x="592" y="684"/>
                  </a:cubicBezTo>
                  <a:cubicBezTo>
                    <a:pt x="639" y="667"/>
                    <a:pt x="675" y="645"/>
                    <a:pt x="700" y="617"/>
                  </a:cubicBezTo>
                  <a:cubicBezTo>
                    <a:pt x="814" y="725"/>
                    <a:pt x="814" y="725"/>
                    <a:pt x="814" y="725"/>
                  </a:cubicBezTo>
                  <a:cubicBezTo>
                    <a:pt x="795" y="750"/>
                    <a:pt x="770" y="770"/>
                    <a:pt x="739" y="786"/>
                  </a:cubicBezTo>
                  <a:cubicBezTo>
                    <a:pt x="711" y="806"/>
                    <a:pt x="681" y="820"/>
                    <a:pt x="650" y="831"/>
                  </a:cubicBezTo>
                  <a:cubicBezTo>
                    <a:pt x="620" y="845"/>
                    <a:pt x="587" y="853"/>
                    <a:pt x="553" y="859"/>
                  </a:cubicBezTo>
                  <a:cubicBezTo>
                    <a:pt x="517" y="864"/>
                    <a:pt x="487" y="867"/>
                    <a:pt x="453" y="867"/>
                  </a:cubicBezTo>
                  <a:cubicBezTo>
                    <a:pt x="384" y="867"/>
                    <a:pt x="323" y="856"/>
                    <a:pt x="267" y="836"/>
                  </a:cubicBezTo>
                  <a:cubicBezTo>
                    <a:pt x="209" y="814"/>
                    <a:pt x="161" y="786"/>
                    <a:pt x="123" y="748"/>
                  </a:cubicBezTo>
                  <a:cubicBezTo>
                    <a:pt x="84" y="709"/>
                    <a:pt x="53" y="664"/>
                    <a:pt x="31" y="609"/>
                  </a:cubicBezTo>
                  <a:cubicBezTo>
                    <a:pt x="12" y="556"/>
                    <a:pt x="0" y="495"/>
                    <a:pt x="0" y="431"/>
                  </a:cubicBezTo>
                  <a:cubicBezTo>
                    <a:pt x="0" y="367"/>
                    <a:pt x="12" y="309"/>
                    <a:pt x="31" y="256"/>
                  </a:cubicBezTo>
                  <a:cubicBezTo>
                    <a:pt x="53" y="203"/>
                    <a:pt x="84" y="159"/>
                    <a:pt x="123" y="120"/>
                  </a:cubicBezTo>
                  <a:cubicBezTo>
                    <a:pt x="161" y="84"/>
                    <a:pt x="209" y="53"/>
                    <a:pt x="261" y="31"/>
                  </a:cubicBezTo>
                  <a:cubicBezTo>
                    <a:pt x="314" y="12"/>
                    <a:pt x="375" y="0"/>
                    <a:pt x="442" y="0"/>
                  </a:cubicBezTo>
                  <a:cubicBezTo>
                    <a:pt x="509" y="0"/>
                    <a:pt x="573" y="12"/>
                    <a:pt x="628" y="31"/>
                  </a:cubicBezTo>
                  <a:cubicBezTo>
                    <a:pt x="681" y="53"/>
                    <a:pt x="728" y="84"/>
                    <a:pt x="767" y="125"/>
                  </a:cubicBezTo>
                  <a:cubicBezTo>
                    <a:pt x="806" y="164"/>
                    <a:pt x="834" y="217"/>
                    <a:pt x="850" y="278"/>
                  </a:cubicBezTo>
                  <a:cubicBezTo>
                    <a:pt x="867" y="342"/>
                    <a:pt x="873" y="414"/>
                    <a:pt x="864" y="498"/>
                  </a:cubicBezTo>
                  <a:lnTo>
                    <a:pt x="187" y="353"/>
                  </a:lnTo>
                  <a:lnTo>
                    <a:pt x="187" y="353"/>
                  </a:lnTo>
                  <a:cubicBezTo>
                    <a:pt x="695" y="353"/>
                    <a:pt x="695" y="353"/>
                    <a:pt x="695" y="353"/>
                  </a:cubicBezTo>
                  <a:cubicBezTo>
                    <a:pt x="689" y="287"/>
                    <a:pt x="664" y="236"/>
                    <a:pt x="620" y="203"/>
                  </a:cubicBezTo>
                  <a:cubicBezTo>
                    <a:pt x="575" y="170"/>
                    <a:pt x="517" y="153"/>
                    <a:pt x="448" y="153"/>
                  </a:cubicBezTo>
                  <a:cubicBezTo>
                    <a:pt x="381" y="153"/>
                    <a:pt x="325" y="170"/>
                    <a:pt x="278" y="203"/>
                  </a:cubicBezTo>
                  <a:cubicBezTo>
                    <a:pt x="231" y="236"/>
                    <a:pt x="200" y="287"/>
                    <a:pt x="187" y="353"/>
                  </a:cubicBezTo>
                  <a:lnTo>
                    <a:pt x="864"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1" name="Freeform 8">
              <a:extLst>
                <a:ext uri="{FF2B5EF4-FFF2-40B4-BE49-F238E27FC236}">
                  <a16:creationId xmlns:a16="http://schemas.microsoft.com/office/drawing/2014/main" id="{6730F715-DAA9-4C4F-9015-64A34444B963}"/>
                </a:ext>
              </a:extLst>
            </p:cNvPr>
            <p:cNvSpPr>
              <a:spLocks noChangeArrowheads="1"/>
            </p:cNvSpPr>
            <p:nvPr userDrawn="1"/>
          </p:nvSpPr>
          <p:spPr bwMode="auto">
            <a:xfrm>
              <a:off x="4481513" y="3141663"/>
              <a:ext cx="227012" cy="303212"/>
            </a:xfrm>
            <a:custGeom>
              <a:avLst/>
              <a:gdLst>
                <a:gd name="T0" fmla="*/ 164 w 631"/>
                <a:gd name="T1" fmla="*/ 20 h 843"/>
                <a:gd name="T2" fmla="*/ 164 w 631"/>
                <a:gd name="T3" fmla="*/ 20 h 843"/>
                <a:gd name="T4" fmla="*/ 175 w 631"/>
                <a:gd name="T5" fmla="*/ 128 h 843"/>
                <a:gd name="T6" fmla="*/ 289 w 631"/>
                <a:gd name="T7" fmla="*/ 25 h 843"/>
                <a:gd name="T8" fmla="*/ 422 w 631"/>
                <a:gd name="T9" fmla="*/ 0 h 843"/>
                <a:gd name="T10" fmla="*/ 539 w 631"/>
                <a:gd name="T11" fmla="*/ 20 h 843"/>
                <a:gd name="T12" fmla="*/ 630 w 631"/>
                <a:gd name="T13" fmla="*/ 70 h 843"/>
                <a:gd name="T14" fmla="*/ 550 w 631"/>
                <a:gd name="T15" fmla="*/ 222 h 843"/>
                <a:gd name="T16" fmla="*/ 486 w 631"/>
                <a:gd name="T17" fmla="*/ 184 h 843"/>
                <a:gd name="T18" fmla="*/ 402 w 631"/>
                <a:gd name="T19" fmla="*/ 172 h 843"/>
                <a:gd name="T20" fmla="*/ 316 w 631"/>
                <a:gd name="T21" fmla="*/ 186 h 843"/>
                <a:gd name="T22" fmla="*/ 244 w 631"/>
                <a:gd name="T23" fmla="*/ 228 h 843"/>
                <a:gd name="T24" fmla="*/ 194 w 631"/>
                <a:gd name="T25" fmla="*/ 297 h 843"/>
                <a:gd name="T26" fmla="*/ 175 w 631"/>
                <a:gd name="T27" fmla="*/ 397 h 843"/>
                <a:gd name="T28" fmla="*/ 175 w 631"/>
                <a:gd name="T29" fmla="*/ 842 h 843"/>
                <a:gd name="T30" fmla="*/ 0 w 631"/>
                <a:gd name="T31" fmla="*/ 842 h 843"/>
                <a:gd name="T32" fmla="*/ 0 w 631"/>
                <a:gd name="T33" fmla="*/ 20 h 843"/>
                <a:gd name="T34" fmla="*/ 164 w 631"/>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1" h="843">
                  <a:moveTo>
                    <a:pt x="164" y="20"/>
                  </a:moveTo>
                  <a:lnTo>
                    <a:pt x="164" y="20"/>
                  </a:lnTo>
                  <a:cubicBezTo>
                    <a:pt x="175" y="128"/>
                    <a:pt x="175" y="128"/>
                    <a:pt x="175" y="128"/>
                  </a:cubicBezTo>
                  <a:cubicBezTo>
                    <a:pt x="205" y="75"/>
                    <a:pt x="244" y="42"/>
                    <a:pt x="289" y="25"/>
                  </a:cubicBezTo>
                  <a:cubicBezTo>
                    <a:pt x="333" y="9"/>
                    <a:pt x="378" y="0"/>
                    <a:pt x="422" y="0"/>
                  </a:cubicBezTo>
                  <a:cubicBezTo>
                    <a:pt x="464" y="0"/>
                    <a:pt x="502" y="9"/>
                    <a:pt x="539" y="20"/>
                  </a:cubicBezTo>
                  <a:cubicBezTo>
                    <a:pt x="577" y="34"/>
                    <a:pt x="608" y="50"/>
                    <a:pt x="630" y="70"/>
                  </a:cubicBezTo>
                  <a:cubicBezTo>
                    <a:pt x="550" y="222"/>
                    <a:pt x="550" y="222"/>
                    <a:pt x="550" y="222"/>
                  </a:cubicBezTo>
                  <a:cubicBezTo>
                    <a:pt x="530" y="206"/>
                    <a:pt x="508" y="192"/>
                    <a:pt x="486" y="184"/>
                  </a:cubicBezTo>
                  <a:cubicBezTo>
                    <a:pt x="464" y="175"/>
                    <a:pt x="436" y="172"/>
                    <a:pt x="402" y="172"/>
                  </a:cubicBezTo>
                  <a:cubicBezTo>
                    <a:pt x="372" y="172"/>
                    <a:pt x="341" y="175"/>
                    <a:pt x="316" y="186"/>
                  </a:cubicBezTo>
                  <a:cubicBezTo>
                    <a:pt x="289" y="195"/>
                    <a:pt x="264" y="209"/>
                    <a:pt x="244" y="228"/>
                  </a:cubicBezTo>
                  <a:cubicBezTo>
                    <a:pt x="222" y="245"/>
                    <a:pt x="205" y="270"/>
                    <a:pt x="194" y="297"/>
                  </a:cubicBezTo>
                  <a:cubicBezTo>
                    <a:pt x="180" y="325"/>
                    <a:pt x="175" y="359"/>
                    <a:pt x="175" y="397"/>
                  </a:cubicBezTo>
                  <a:cubicBezTo>
                    <a:pt x="175" y="842"/>
                    <a:pt x="175" y="842"/>
                    <a:pt x="175" y="842"/>
                  </a:cubicBezTo>
                  <a:cubicBezTo>
                    <a:pt x="0" y="842"/>
                    <a:pt x="0" y="842"/>
                    <a:pt x="0" y="842"/>
                  </a:cubicBezTo>
                  <a:cubicBezTo>
                    <a:pt x="0" y="20"/>
                    <a:pt x="0" y="20"/>
                    <a:pt x="0" y="20"/>
                  </a:cubicBezTo>
                  <a:lnTo>
                    <a:pt x="164" y="2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2" name="Freeform 9">
              <a:extLst>
                <a:ext uri="{FF2B5EF4-FFF2-40B4-BE49-F238E27FC236}">
                  <a16:creationId xmlns:a16="http://schemas.microsoft.com/office/drawing/2014/main" id="{597932D4-682B-CC44-977C-859F9F960C77}"/>
                </a:ext>
              </a:extLst>
            </p:cNvPr>
            <p:cNvSpPr>
              <a:spLocks noChangeArrowheads="1"/>
            </p:cNvSpPr>
            <p:nvPr userDrawn="1"/>
          </p:nvSpPr>
          <p:spPr bwMode="auto">
            <a:xfrm>
              <a:off x="4872038" y="3141663"/>
              <a:ext cx="314325" cy="312737"/>
            </a:xfrm>
            <a:custGeom>
              <a:avLst/>
              <a:gdLst>
                <a:gd name="T0" fmla="*/ 863 w 872"/>
                <a:gd name="T1" fmla="*/ 498 h 868"/>
                <a:gd name="T2" fmla="*/ 863 w 872"/>
                <a:gd name="T3" fmla="*/ 498 h 868"/>
                <a:gd name="T4" fmla="*/ 183 w 872"/>
                <a:gd name="T5" fmla="*/ 498 h 868"/>
                <a:gd name="T6" fmla="*/ 266 w 872"/>
                <a:gd name="T7" fmla="*/ 650 h 868"/>
                <a:gd name="T8" fmla="*/ 458 w 872"/>
                <a:gd name="T9" fmla="*/ 706 h 868"/>
                <a:gd name="T10" fmla="*/ 590 w 872"/>
                <a:gd name="T11" fmla="*/ 684 h 868"/>
                <a:gd name="T12" fmla="*/ 699 w 872"/>
                <a:gd name="T13" fmla="*/ 617 h 868"/>
                <a:gd name="T14" fmla="*/ 815 w 872"/>
                <a:gd name="T15" fmla="*/ 725 h 868"/>
                <a:gd name="T16" fmla="*/ 740 w 872"/>
                <a:gd name="T17" fmla="*/ 786 h 868"/>
                <a:gd name="T18" fmla="*/ 649 w 872"/>
                <a:gd name="T19" fmla="*/ 831 h 868"/>
                <a:gd name="T20" fmla="*/ 551 w 872"/>
                <a:gd name="T21" fmla="*/ 859 h 868"/>
                <a:gd name="T22" fmla="*/ 452 w 872"/>
                <a:gd name="T23" fmla="*/ 867 h 868"/>
                <a:gd name="T24" fmla="*/ 266 w 872"/>
                <a:gd name="T25" fmla="*/ 836 h 868"/>
                <a:gd name="T26" fmla="*/ 122 w 872"/>
                <a:gd name="T27" fmla="*/ 748 h 868"/>
                <a:gd name="T28" fmla="*/ 30 w 872"/>
                <a:gd name="T29" fmla="*/ 609 h 868"/>
                <a:gd name="T30" fmla="*/ 0 w 872"/>
                <a:gd name="T31" fmla="*/ 431 h 868"/>
                <a:gd name="T32" fmla="*/ 30 w 872"/>
                <a:gd name="T33" fmla="*/ 256 h 868"/>
                <a:gd name="T34" fmla="*/ 122 w 872"/>
                <a:gd name="T35" fmla="*/ 120 h 868"/>
                <a:gd name="T36" fmla="*/ 261 w 872"/>
                <a:gd name="T37" fmla="*/ 31 h 868"/>
                <a:gd name="T38" fmla="*/ 441 w 872"/>
                <a:gd name="T39" fmla="*/ 0 h 868"/>
                <a:gd name="T40" fmla="*/ 626 w 872"/>
                <a:gd name="T41" fmla="*/ 31 h 868"/>
                <a:gd name="T42" fmla="*/ 765 w 872"/>
                <a:gd name="T43" fmla="*/ 125 h 868"/>
                <a:gd name="T44" fmla="*/ 849 w 872"/>
                <a:gd name="T45" fmla="*/ 278 h 868"/>
                <a:gd name="T46" fmla="*/ 863 w 872"/>
                <a:gd name="T47" fmla="*/ 498 h 868"/>
                <a:gd name="T48" fmla="*/ 186 w 872"/>
                <a:gd name="T49" fmla="*/ 353 h 868"/>
                <a:gd name="T50" fmla="*/ 186 w 872"/>
                <a:gd name="T51" fmla="*/ 353 h 868"/>
                <a:gd name="T52" fmla="*/ 696 w 872"/>
                <a:gd name="T53" fmla="*/ 353 h 868"/>
                <a:gd name="T54" fmla="*/ 621 w 872"/>
                <a:gd name="T55" fmla="*/ 203 h 868"/>
                <a:gd name="T56" fmla="*/ 447 w 872"/>
                <a:gd name="T57" fmla="*/ 153 h 868"/>
                <a:gd name="T58" fmla="*/ 278 w 872"/>
                <a:gd name="T59" fmla="*/ 203 h 868"/>
                <a:gd name="T60" fmla="*/ 186 w 872"/>
                <a:gd name="T61" fmla="*/ 353 h 868"/>
                <a:gd name="T62" fmla="*/ 863 w 872"/>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2" h="868">
                  <a:moveTo>
                    <a:pt x="863" y="498"/>
                  </a:moveTo>
                  <a:lnTo>
                    <a:pt x="863" y="498"/>
                  </a:lnTo>
                  <a:cubicBezTo>
                    <a:pt x="183" y="498"/>
                    <a:pt x="183" y="498"/>
                    <a:pt x="183" y="498"/>
                  </a:cubicBezTo>
                  <a:cubicBezTo>
                    <a:pt x="189" y="562"/>
                    <a:pt x="219" y="611"/>
                    <a:pt x="266" y="650"/>
                  </a:cubicBezTo>
                  <a:cubicBezTo>
                    <a:pt x="316" y="686"/>
                    <a:pt x="380" y="706"/>
                    <a:pt x="458" y="706"/>
                  </a:cubicBezTo>
                  <a:cubicBezTo>
                    <a:pt x="499" y="706"/>
                    <a:pt x="543" y="698"/>
                    <a:pt x="590" y="684"/>
                  </a:cubicBezTo>
                  <a:cubicBezTo>
                    <a:pt x="638" y="667"/>
                    <a:pt x="674" y="645"/>
                    <a:pt x="699" y="617"/>
                  </a:cubicBezTo>
                  <a:cubicBezTo>
                    <a:pt x="815" y="725"/>
                    <a:pt x="815" y="725"/>
                    <a:pt x="815" y="725"/>
                  </a:cubicBezTo>
                  <a:cubicBezTo>
                    <a:pt x="793" y="750"/>
                    <a:pt x="768" y="770"/>
                    <a:pt x="740" y="786"/>
                  </a:cubicBezTo>
                  <a:cubicBezTo>
                    <a:pt x="710" y="806"/>
                    <a:pt x="682" y="820"/>
                    <a:pt x="649" y="831"/>
                  </a:cubicBezTo>
                  <a:cubicBezTo>
                    <a:pt x="618" y="845"/>
                    <a:pt x="585" y="853"/>
                    <a:pt x="551" y="859"/>
                  </a:cubicBezTo>
                  <a:cubicBezTo>
                    <a:pt x="518" y="864"/>
                    <a:pt x="485" y="867"/>
                    <a:pt x="452" y="867"/>
                  </a:cubicBezTo>
                  <a:cubicBezTo>
                    <a:pt x="383" y="867"/>
                    <a:pt x="322" y="856"/>
                    <a:pt x="266" y="836"/>
                  </a:cubicBezTo>
                  <a:cubicBezTo>
                    <a:pt x="211" y="814"/>
                    <a:pt x="161" y="786"/>
                    <a:pt x="122" y="748"/>
                  </a:cubicBezTo>
                  <a:cubicBezTo>
                    <a:pt x="83" y="709"/>
                    <a:pt x="53" y="664"/>
                    <a:pt x="30" y="609"/>
                  </a:cubicBezTo>
                  <a:cubicBezTo>
                    <a:pt x="11" y="556"/>
                    <a:pt x="0" y="495"/>
                    <a:pt x="0" y="431"/>
                  </a:cubicBezTo>
                  <a:cubicBezTo>
                    <a:pt x="0" y="367"/>
                    <a:pt x="11" y="309"/>
                    <a:pt x="30" y="256"/>
                  </a:cubicBezTo>
                  <a:cubicBezTo>
                    <a:pt x="53" y="203"/>
                    <a:pt x="83" y="159"/>
                    <a:pt x="122" y="120"/>
                  </a:cubicBezTo>
                  <a:cubicBezTo>
                    <a:pt x="161" y="84"/>
                    <a:pt x="208" y="53"/>
                    <a:pt x="261" y="31"/>
                  </a:cubicBezTo>
                  <a:cubicBezTo>
                    <a:pt x="316" y="12"/>
                    <a:pt x="375" y="0"/>
                    <a:pt x="441" y="0"/>
                  </a:cubicBezTo>
                  <a:cubicBezTo>
                    <a:pt x="510" y="0"/>
                    <a:pt x="571" y="12"/>
                    <a:pt x="626" y="31"/>
                  </a:cubicBezTo>
                  <a:cubicBezTo>
                    <a:pt x="682" y="53"/>
                    <a:pt x="726" y="84"/>
                    <a:pt x="765" y="125"/>
                  </a:cubicBezTo>
                  <a:cubicBezTo>
                    <a:pt x="804" y="164"/>
                    <a:pt x="832" y="217"/>
                    <a:pt x="849" y="278"/>
                  </a:cubicBezTo>
                  <a:cubicBezTo>
                    <a:pt x="868" y="342"/>
                    <a:pt x="871" y="414"/>
                    <a:pt x="863" y="498"/>
                  </a:cubicBezTo>
                  <a:lnTo>
                    <a:pt x="186" y="353"/>
                  </a:lnTo>
                  <a:lnTo>
                    <a:pt x="186" y="353"/>
                  </a:lnTo>
                  <a:cubicBezTo>
                    <a:pt x="696" y="353"/>
                    <a:pt x="696" y="353"/>
                    <a:pt x="696" y="353"/>
                  </a:cubicBezTo>
                  <a:cubicBezTo>
                    <a:pt x="690" y="287"/>
                    <a:pt x="663" y="236"/>
                    <a:pt x="621" y="203"/>
                  </a:cubicBezTo>
                  <a:cubicBezTo>
                    <a:pt x="577" y="170"/>
                    <a:pt x="518" y="153"/>
                    <a:pt x="447" y="153"/>
                  </a:cubicBezTo>
                  <a:cubicBezTo>
                    <a:pt x="380" y="153"/>
                    <a:pt x="325" y="170"/>
                    <a:pt x="278" y="203"/>
                  </a:cubicBezTo>
                  <a:cubicBezTo>
                    <a:pt x="230" y="236"/>
                    <a:pt x="200" y="287"/>
                    <a:pt x="186" y="353"/>
                  </a:cubicBezTo>
                  <a:lnTo>
                    <a:pt x="863"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3" name="Freeform 10">
              <a:extLst>
                <a:ext uri="{FF2B5EF4-FFF2-40B4-BE49-F238E27FC236}">
                  <a16:creationId xmlns:a16="http://schemas.microsoft.com/office/drawing/2014/main" id="{96065675-A273-F046-BBBD-BF5AD455AD2C}"/>
                </a:ext>
              </a:extLst>
            </p:cNvPr>
            <p:cNvSpPr>
              <a:spLocks noChangeArrowheads="1"/>
            </p:cNvSpPr>
            <p:nvPr userDrawn="1"/>
          </p:nvSpPr>
          <p:spPr bwMode="auto">
            <a:xfrm>
              <a:off x="5205413" y="3149600"/>
              <a:ext cx="301625" cy="296863"/>
            </a:xfrm>
            <a:custGeom>
              <a:avLst/>
              <a:gdLst>
                <a:gd name="T0" fmla="*/ 606 w 837"/>
                <a:gd name="T1" fmla="*/ 0 h 823"/>
                <a:gd name="T2" fmla="*/ 820 w 837"/>
                <a:gd name="T3" fmla="*/ 0 h 823"/>
                <a:gd name="T4" fmla="*/ 820 w 837"/>
                <a:gd name="T5" fmla="*/ 5 h 823"/>
                <a:gd name="T6" fmla="*/ 536 w 837"/>
                <a:gd name="T7" fmla="*/ 402 h 823"/>
                <a:gd name="T8" fmla="*/ 836 w 837"/>
                <a:gd name="T9" fmla="*/ 819 h 823"/>
                <a:gd name="T10" fmla="*/ 836 w 837"/>
                <a:gd name="T11" fmla="*/ 822 h 823"/>
                <a:gd name="T12" fmla="*/ 625 w 837"/>
                <a:gd name="T13" fmla="*/ 822 h 823"/>
                <a:gd name="T14" fmla="*/ 420 w 837"/>
                <a:gd name="T15" fmla="*/ 525 h 823"/>
                <a:gd name="T16" fmla="*/ 212 w 837"/>
                <a:gd name="T17" fmla="*/ 822 h 823"/>
                <a:gd name="T18" fmla="*/ 0 w 837"/>
                <a:gd name="T19" fmla="*/ 822 h 823"/>
                <a:gd name="T20" fmla="*/ 0 w 837"/>
                <a:gd name="T21" fmla="*/ 819 h 823"/>
                <a:gd name="T22" fmla="*/ 303 w 837"/>
                <a:gd name="T23" fmla="*/ 402 h 823"/>
                <a:gd name="T24" fmla="*/ 20 w 837"/>
                <a:gd name="T25" fmla="*/ 5 h 823"/>
                <a:gd name="T26" fmla="*/ 20 w 837"/>
                <a:gd name="T27" fmla="*/ 0 h 823"/>
                <a:gd name="T28" fmla="*/ 231 w 837"/>
                <a:gd name="T29" fmla="*/ 0 h 823"/>
                <a:gd name="T30" fmla="*/ 420 w 837"/>
                <a:gd name="T31" fmla="*/ 294 h 823"/>
                <a:gd name="T32" fmla="*/ 606 w 837"/>
                <a:gd name="T33"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7" h="823">
                  <a:moveTo>
                    <a:pt x="606" y="0"/>
                  </a:moveTo>
                  <a:lnTo>
                    <a:pt x="820" y="0"/>
                  </a:lnTo>
                  <a:lnTo>
                    <a:pt x="820" y="5"/>
                  </a:lnTo>
                  <a:lnTo>
                    <a:pt x="536" y="402"/>
                  </a:lnTo>
                  <a:lnTo>
                    <a:pt x="836" y="819"/>
                  </a:lnTo>
                  <a:lnTo>
                    <a:pt x="836" y="822"/>
                  </a:lnTo>
                  <a:lnTo>
                    <a:pt x="625" y="822"/>
                  </a:lnTo>
                  <a:lnTo>
                    <a:pt x="420" y="525"/>
                  </a:lnTo>
                  <a:lnTo>
                    <a:pt x="212" y="822"/>
                  </a:lnTo>
                  <a:lnTo>
                    <a:pt x="0" y="822"/>
                  </a:lnTo>
                  <a:lnTo>
                    <a:pt x="0" y="819"/>
                  </a:lnTo>
                  <a:lnTo>
                    <a:pt x="303" y="402"/>
                  </a:lnTo>
                  <a:lnTo>
                    <a:pt x="20" y="5"/>
                  </a:lnTo>
                  <a:lnTo>
                    <a:pt x="20" y="0"/>
                  </a:lnTo>
                  <a:lnTo>
                    <a:pt x="231" y="0"/>
                  </a:lnTo>
                  <a:lnTo>
                    <a:pt x="420" y="294"/>
                  </a:lnTo>
                  <a:lnTo>
                    <a:pt x="60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4" name="Freeform 11">
              <a:extLst>
                <a:ext uri="{FF2B5EF4-FFF2-40B4-BE49-F238E27FC236}">
                  <a16:creationId xmlns:a16="http://schemas.microsoft.com/office/drawing/2014/main" id="{CFBF11F7-13DF-164C-9B41-A5A9A575E6B7}"/>
                </a:ext>
              </a:extLst>
            </p:cNvPr>
            <p:cNvSpPr>
              <a:spLocks noChangeArrowheads="1"/>
            </p:cNvSpPr>
            <p:nvPr userDrawn="1"/>
          </p:nvSpPr>
          <p:spPr bwMode="auto">
            <a:xfrm>
              <a:off x="5557838" y="3143250"/>
              <a:ext cx="323850" cy="439738"/>
            </a:xfrm>
            <a:custGeom>
              <a:avLst/>
              <a:gdLst>
                <a:gd name="T0" fmla="*/ 0 w 898"/>
                <a:gd name="T1" fmla="*/ 1221 h 1222"/>
                <a:gd name="T2" fmla="*/ 0 w 898"/>
                <a:gd name="T3" fmla="*/ 1221 h 1222"/>
                <a:gd name="T4" fmla="*/ 0 w 898"/>
                <a:gd name="T5" fmla="*/ 17 h 1222"/>
                <a:gd name="T6" fmla="*/ 164 w 898"/>
                <a:gd name="T7" fmla="*/ 17 h 1222"/>
                <a:gd name="T8" fmla="*/ 175 w 898"/>
                <a:gd name="T9" fmla="*/ 150 h 1222"/>
                <a:gd name="T10" fmla="*/ 306 w 898"/>
                <a:gd name="T11" fmla="*/ 36 h 1222"/>
                <a:gd name="T12" fmla="*/ 472 w 898"/>
                <a:gd name="T13" fmla="*/ 0 h 1222"/>
                <a:gd name="T14" fmla="*/ 645 w 898"/>
                <a:gd name="T15" fmla="*/ 33 h 1222"/>
                <a:gd name="T16" fmla="*/ 781 w 898"/>
                <a:gd name="T17" fmla="*/ 122 h 1222"/>
                <a:gd name="T18" fmla="*/ 867 w 898"/>
                <a:gd name="T19" fmla="*/ 256 h 1222"/>
                <a:gd name="T20" fmla="*/ 897 w 898"/>
                <a:gd name="T21" fmla="*/ 428 h 1222"/>
                <a:gd name="T22" fmla="*/ 867 w 898"/>
                <a:gd name="T23" fmla="*/ 600 h 1222"/>
                <a:gd name="T24" fmla="*/ 783 w 898"/>
                <a:gd name="T25" fmla="*/ 736 h 1222"/>
                <a:gd name="T26" fmla="*/ 650 w 898"/>
                <a:gd name="T27" fmla="*/ 828 h 1222"/>
                <a:gd name="T28" fmla="*/ 472 w 898"/>
                <a:gd name="T29" fmla="*/ 858 h 1222"/>
                <a:gd name="T30" fmla="*/ 392 w 898"/>
                <a:gd name="T31" fmla="*/ 850 h 1222"/>
                <a:gd name="T32" fmla="*/ 308 w 898"/>
                <a:gd name="T33" fmla="*/ 828 h 1222"/>
                <a:gd name="T34" fmla="*/ 233 w 898"/>
                <a:gd name="T35" fmla="*/ 786 h 1222"/>
                <a:gd name="T36" fmla="*/ 175 w 898"/>
                <a:gd name="T37" fmla="*/ 719 h 1222"/>
                <a:gd name="T38" fmla="*/ 175 w 898"/>
                <a:gd name="T39" fmla="*/ 1221 h 1222"/>
                <a:gd name="T40" fmla="*/ 0 w 898"/>
                <a:gd name="T41" fmla="*/ 1221 h 1222"/>
                <a:gd name="T42" fmla="*/ 456 w 898"/>
                <a:gd name="T43" fmla="*/ 692 h 1222"/>
                <a:gd name="T44" fmla="*/ 456 w 898"/>
                <a:gd name="T45" fmla="*/ 692 h 1222"/>
                <a:gd name="T46" fmla="*/ 561 w 898"/>
                <a:gd name="T47" fmla="*/ 672 h 1222"/>
                <a:gd name="T48" fmla="*/ 647 w 898"/>
                <a:gd name="T49" fmla="*/ 617 h 1222"/>
                <a:gd name="T50" fmla="*/ 703 w 898"/>
                <a:gd name="T51" fmla="*/ 536 h 1222"/>
                <a:gd name="T52" fmla="*/ 722 w 898"/>
                <a:gd name="T53" fmla="*/ 428 h 1222"/>
                <a:gd name="T54" fmla="*/ 650 w 898"/>
                <a:gd name="T55" fmla="*/ 239 h 1222"/>
                <a:gd name="T56" fmla="*/ 456 w 898"/>
                <a:gd name="T57" fmla="*/ 167 h 1222"/>
                <a:gd name="T58" fmla="*/ 345 w 898"/>
                <a:gd name="T59" fmla="*/ 186 h 1222"/>
                <a:gd name="T60" fmla="*/ 261 w 898"/>
                <a:gd name="T61" fmla="*/ 242 h 1222"/>
                <a:gd name="T62" fmla="*/ 208 w 898"/>
                <a:gd name="T63" fmla="*/ 325 h 1222"/>
                <a:gd name="T64" fmla="*/ 192 w 898"/>
                <a:gd name="T65" fmla="*/ 428 h 1222"/>
                <a:gd name="T66" fmla="*/ 211 w 898"/>
                <a:gd name="T67" fmla="*/ 530 h 1222"/>
                <a:gd name="T68" fmla="*/ 264 w 898"/>
                <a:gd name="T69" fmla="*/ 617 h 1222"/>
                <a:gd name="T70" fmla="*/ 347 w 898"/>
                <a:gd name="T71" fmla="*/ 672 h 1222"/>
                <a:gd name="T72" fmla="*/ 456 w 898"/>
                <a:gd name="T73" fmla="*/ 69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8" h="1222">
                  <a:moveTo>
                    <a:pt x="0" y="1221"/>
                  </a:moveTo>
                  <a:lnTo>
                    <a:pt x="0" y="1221"/>
                  </a:lnTo>
                  <a:cubicBezTo>
                    <a:pt x="0" y="17"/>
                    <a:pt x="0" y="17"/>
                    <a:pt x="0" y="17"/>
                  </a:cubicBezTo>
                  <a:cubicBezTo>
                    <a:pt x="164" y="17"/>
                    <a:pt x="164" y="17"/>
                    <a:pt x="164" y="17"/>
                  </a:cubicBezTo>
                  <a:cubicBezTo>
                    <a:pt x="175" y="150"/>
                    <a:pt x="175" y="150"/>
                    <a:pt x="175" y="150"/>
                  </a:cubicBezTo>
                  <a:cubicBezTo>
                    <a:pt x="208" y="100"/>
                    <a:pt x="253" y="61"/>
                    <a:pt x="306" y="36"/>
                  </a:cubicBezTo>
                  <a:cubicBezTo>
                    <a:pt x="361" y="11"/>
                    <a:pt x="417" y="0"/>
                    <a:pt x="472" y="0"/>
                  </a:cubicBezTo>
                  <a:cubicBezTo>
                    <a:pt x="536" y="0"/>
                    <a:pt x="592" y="11"/>
                    <a:pt x="645" y="33"/>
                  </a:cubicBezTo>
                  <a:cubicBezTo>
                    <a:pt x="697" y="53"/>
                    <a:pt x="742" y="83"/>
                    <a:pt x="781" y="122"/>
                  </a:cubicBezTo>
                  <a:cubicBezTo>
                    <a:pt x="817" y="158"/>
                    <a:pt x="847" y="206"/>
                    <a:pt x="867" y="256"/>
                  </a:cubicBezTo>
                  <a:cubicBezTo>
                    <a:pt x="886" y="308"/>
                    <a:pt x="897" y="367"/>
                    <a:pt x="897" y="428"/>
                  </a:cubicBezTo>
                  <a:cubicBezTo>
                    <a:pt x="897" y="492"/>
                    <a:pt x="886" y="550"/>
                    <a:pt x="867" y="600"/>
                  </a:cubicBezTo>
                  <a:cubicBezTo>
                    <a:pt x="847" y="653"/>
                    <a:pt x="820" y="700"/>
                    <a:pt x="783" y="736"/>
                  </a:cubicBezTo>
                  <a:cubicBezTo>
                    <a:pt x="747" y="775"/>
                    <a:pt x="703" y="805"/>
                    <a:pt x="650" y="828"/>
                  </a:cubicBezTo>
                  <a:cubicBezTo>
                    <a:pt x="597" y="847"/>
                    <a:pt x="536" y="858"/>
                    <a:pt x="472" y="858"/>
                  </a:cubicBezTo>
                  <a:cubicBezTo>
                    <a:pt x="447" y="858"/>
                    <a:pt x="420" y="856"/>
                    <a:pt x="392" y="850"/>
                  </a:cubicBezTo>
                  <a:cubicBezTo>
                    <a:pt x="364" y="847"/>
                    <a:pt x="336" y="839"/>
                    <a:pt x="308" y="828"/>
                  </a:cubicBezTo>
                  <a:cubicBezTo>
                    <a:pt x="283" y="817"/>
                    <a:pt x="258" y="803"/>
                    <a:pt x="233" y="786"/>
                  </a:cubicBezTo>
                  <a:cubicBezTo>
                    <a:pt x="211" y="767"/>
                    <a:pt x="192" y="744"/>
                    <a:pt x="175" y="719"/>
                  </a:cubicBezTo>
                  <a:cubicBezTo>
                    <a:pt x="175" y="1221"/>
                    <a:pt x="175" y="1221"/>
                    <a:pt x="175" y="1221"/>
                  </a:cubicBezTo>
                  <a:lnTo>
                    <a:pt x="0" y="1221"/>
                  </a:lnTo>
                  <a:close/>
                  <a:moveTo>
                    <a:pt x="456" y="692"/>
                  </a:moveTo>
                  <a:lnTo>
                    <a:pt x="456" y="692"/>
                  </a:lnTo>
                  <a:cubicBezTo>
                    <a:pt x="495" y="692"/>
                    <a:pt x="531" y="686"/>
                    <a:pt x="561" y="672"/>
                  </a:cubicBezTo>
                  <a:cubicBezTo>
                    <a:pt x="595" y="658"/>
                    <a:pt x="622" y="642"/>
                    <a:pt x="647" y="617"/>
                  </a:cubicBezTo>
                  <a:cubicBezTo>
                    <a:pt x="669" y="594"/>
                    <a:pt x="689" y="567"/>
                    <a:pt x="703" y="536"/>
                  </a:cubicBezTo>
                  <a:cubicBezTo>
                    <a:pt x="714" y="503"/>
                    <a:pt x="722" y="467"/>
                    <a:pt x="722" y="428"/>
                  </a:cubicBezTo>
                  <a:cubicBezTo>
                    <a:pt x="722" y="350"/>
                    <a:pt x="697" y="289"/>
                    <a:pt x="650" y="239"/>
                  </a:cubicBezTo>
                  <a:cubicBezTo>
                    <a:pt x="600" y="192"/>
                    <a:pt x="536" y="167"/>
                    <a:pt x="456" y="167"/>
                  </a:cubicBezTo>
                  <a:cubicBezTo>
                    <a:pt x="414" y="167"/>
                    <a:pt x="378" y="172"/>
                    <a:pt x="345" y="186"/>
                  </a:cubicBezTo>
                  <a:cubicBezTo>
                    <a:pt x="314" y="200"/>
                    <a:pt x="286" y="219"/>
                    <a:pt x="261" y="242"/>
                  </a:cubicBezTo>
                  <a:cubicBezTo>
                    <a:pt x="239" y="267"/>
                    <a:pt x="222" y="294"/>
                    <a:pt x="208" y="325"/>
                  </a:cubicBezTo>
                  <a:cubicBezTo>
                    <a:pt x="197" y="358"/>
                    <a:pt x="192" y="392"/>
                    <a:pt x="192" y="428"/>
                  </a:cubicBezTo>
                  <a:cubicBezTo>
                    <a:pt x="192" y="467"/>
                    <a:pt x="197" y="500"/>
                    <a:pt x="211" y="530"/>
                  </a:cubicBezTo>
                  <a:cubicBezTo>
                    <a:pt x="222" y="564"/>
                    <a:pt x="242" y="592"/>
                    <a:pt x="264" y="617"/>
                  </a:cubicBezTo>
                  <a:cubicBezTo>
                    <a:pt x="289" y="639"/>
                    <a:pt x="317" y="658"/>
                    <a:pt x="347" y="672"/>
                  </a:cubicBezTo>
                  <a:cubicBezTo>
                    <a:pt x="381" y="683"/>
                    <a:pt x="417" y="692"/>
                    <a:pt x="456" y="69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5" name="Freeform 12">
              <a:extLst>
                <a:ext uri="{FF2B5EF4-FFF2-40B4-BE49-F238E27FC236}">
                  <a16:creationId xmlns:a16="http://schemas.microsoft.com/office/drawing/2014/main" id="{F56C2BA7-15B0-DA44-BEC3-24CC829F81BF}"/>
                </a:ext>
              </a:extLst>
            </p:cNvPr>
            <p:cNvSpPr>
              <a:spLocks noChangeArrowheads="1"/>
            </p:cNvSpPr>
            <p:nvPr userDrawn="1"/>
          </p:nvSpPr>
          <p:spPr bwMode="auto">
            <a:xfrm>
              <a:off x="5929313" y="3141663"/>
              <a:ext cx="315912" cy="312737"/>
            </a:xfrm>
            <a:custGeom>
              <a:avLst/>
              <a:gdLst>
                <a:gd name="T0" fmla="*/ 867 w 876"/>
                <a:gd name="T1" fmla="*/ 498 h 868"/>
                <a:gd name="T2" fmla="*/ 867 w 876"/>
                <a:gd name="T3" fmla="*/ 498 h 868"/>
                <a:gd name="T4" fmla="*/ 184 w 876"/>
                <a:gd name="T5" fmla="*/ 498 h 868"/>
                <a:gd name="T6" fmla="*/ 270 w 876"/>
                <a:gd name="T7" fmla="*/ 650 h 868"/>
                <a:gd name="T8" fmla="*/ 459 w 876"/>
                <a:gd name="T9" fmla="*/ 706 h 868"/>
                <a:gd name="T10" fmla="*/ 595 w 876"/>
                <a:gd name="T11" fmla="*/ 684 h 868"/>
                <a:gd name="T12" fmla="*/ 703 w 876"/>
                <a:gd name="T13" fmla="*/ 617 h 868"/>
                <a:gd name="T14" fmla="*/ 817 w 876"/>
                <a:gd name="T15" fmla="*/ 725 h 868"/>
                <a:gd name="T16" fmla="*/ 742 w 876"/>
                <a:gd name="T17" fmla="*/ 786 h 868"/>
                <a:gd name="T18" fmla="*/ 653 w 876"/>
                <a:gd name="T19" fmla="*/ 831 h 868"/>
                <a:gd name="T20" fmla="*/ 553 w 876"/>
                <a:gd name="T21" fmla="*/ 859 h 868"/>
                <a:gd name="T22" fmla="*/ 456 w 876"/>
                <a:gd name="T23" fmla="*/ 867 h 868"/>
                <a:gd name="T24" fmla="*/ 267 w 876"/>
                <a:gd name="T25" fmla="*/ 836 h 868"/>
                <a:gd name="T26" fmla="*/ 125 w 876"/>
                <a:gd name="T27" fmla="*/ 748 h 868"/>
                <a:gd name="T28" fmla="*/ 34 w 876"/>
                <a:gd name="T29" fmla="*/ 609 h 868"/>
                <a:gd name="T30" fmla="*/ 0 w 876"/>
                <a:gd name="T31" fmla="*/ 431 h 868"/>
                <a:gd name="T32" fmla="*/ 34 w 876"/>
                <a:gd name="T33" fmla="*/ 256 h 868"/>
                <a:gd name="T34" fmla="*/ 125 w 876"/>
                <a:gd name="T35" fmla="*/ 120 h 868"/>
                <a:gd name="T36" fmla="*/ 264 w 876"/>
                <a:gd name="T37" fmla="*/ 31 h 868"/>
                <a:gd name="T38" fmla="*/ 442 w 876"/>
                <a:gd name="T39" fmla="*/ 0 h 868"/>
                <a:gd name="T40" fmla="*/ 628 w 876"/>
                <a:gd name="T41" fmla="*/ 31 h 868"/>
                <a:gd name="T42" fmla="*/ 770 w 876"/>
                <a:gd name="T43" fmla="*/ 125 h 868"/>
                <a:gd name="T44" fmla="*/ 853 w 876"/>
                <a:gd name="T45" fmla="*/ 278 h 868"/>
                <a:gd name="T46" fmla="*/ 867 w 876"/>
                <a:gd name="T47" fmla="*/ 498 h 868"/>
                <a:gd name="T48" fmla="*/ 186 w 876"/>
                <a:gd name="T49" fmla="*/ 353 h 868"/>
                <a:gd name="T50" fmla="*/ 186 w 876"/>
                <a:gd name="T51" fmla="*/ 353 h 868"/>
                <a:gd name="T52" fmla="*/ 698 w 876"/>
                <a:gd name="T53" fmla="*/ 353 h 868"/>
                <a:gd name="T54" fmla="*/ 623 w 876"/>
                <a:gd name="T55" fmla="*/ 203 h 868"/>
                <a:gd name="T56" fmla="*/ 448 w 876"/>
                <a:gd name="T57" fmla="*/ 153 h 868"/>
                <a:gd name="T58" fmla="*/ 278 w 876"/>
                <a:gd name="T59" fmla="*/ 203 h 868"/>
                <a:gd name="T60" fmla="*/ 186 w 876"/>
                <a:gd name="T61" fmla="*/ 353 h 868"/>
                <a:gd name="T62" fmla="*/ 867 w 876"/>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8">
                  <a:moveTo>
                    <a:pt x="867" y="498"/>
                  </a:moveTo>
                  <a:lnTo>
                    <a:pt x="867" y="498"/>
                  </a:lnTo>
                  <a:cubicBezTo>
                    <a:pt x="184" y="498"/>
                    <a:pt x="184" y="498"/>
                    <a:pt x="184" y="498"/>
                  </a:cubicBezTo>
                  <a:cubicBezTo>
                    <a:pt x="192" y="562"/>
                    <a:pt x="220" y="611"/>
                    <a:pt x="270" y="650"/>
                  </a:cubicBezTo>
                  <a:cubicBezTo>
                    <a:pt x="317" y="686"/>
                    <a:pt x="381" y="706"/>
                    <a:pt x="459" y="706"/>
                  </a:cubicBezTo>
                  <a:cubicBezTo>
                    <a:pt x="503" y="706"/>
                    <a:pt x="547" y="698"/>
                    <a:pt x="595" y="684"/>
                  </a:cubicBezTo>
                  <a:cubicBezTo>
                    <a:pt x="639" y="667"/>
                    <a:pt x="675" y="645"/>
                    <a:pt x="703" y="617"/>
                  </a:cubicBezTo>
                  <a:cubicBezTo>
                    <a:pt x="817" y="725"/>
                    <a:pt x="817" y="725"/>
                    <a:pt x="817" y="725"/>
                  </a:cubicBezTo>
                  <a:cubicBezTo>
                    <a:pt x="795" y="750"/>
                    <a:pt x="770" y="770"/>
                    <a:pt x="742" y="786"/>
                  </a:cubicBezTo>
                  <a:cubicBezTo>
                    <a:pt x="714" y="806"/>
                    <a:pt x="684" y="820"/>
                    <a:pt x="653" y="831"/>
                  </a:cubicBezTo>
                  <a:cubicBezTo>
                    <a:pt x="620" y="845"/>
                    <a:pt x="589" y="853"/>
                    <a:pt x="553" y="859"/>
                  </a:cubicBezTo>
                  <a:cubicBezTo>
                    <a:pt x="520" y="864"/>
                    <a:pt x="486" y="867"/>
                    <a:pt x="456" y="867"/>
                  </a:cubicBezTo>
                  <a:cubicBezTo>
                    <a:pt x="386" y="867"/>
                    <a:pt x="323" y="856"/>
                    <a:pt x="267" y="836"/>
                  </a:cubicBezTo>
                  <a:cubicBezTo>
                    <a:pt x="211" y="814"/>
                    <a:pt x="164" y="786"/>
                    <a:pt x="125" y="748"/>
                  </a:cubicBezTo>
                  <a:cubicBezTo>
                    <a:pt x="86" y="709"/>
                    <a:pt x="56" y="664"/>
                    <a:pt x="34" y="609"/>
                  </a:cubicBezTo>
                  <a:cubicBezTo>
                    <a:pt x="11" y="556"/>
                    <a:pt x="0" y="495"/>
                    <a:pt x="0" y="431"/>
                  </a:cubicBezTo>
                  <a:cubicBezTo>
                    <a:pt x="0" y="367"/>
                    <a:pt x="11" y="309"/>
                    <a:pt x="34" y="256"/>
                  </a:cubicBezTo>
                  <a:cubicBezTo>
                    <a:pt x="56" y="203"/>
                    <a:pt x="86" y="159"/>
                    <a:pt x="125" y="120"/>
                  </a:cubicBezTo>
                  <a:cubicBezTo>
                    <a:pt x="161" y="84"/>
                    <a:pt x="209" y="53"/>
                    <a:pt x="264" y="31"/>
                  </a:cubicBezTo>
                  <a:cubicBezTo>
                    <a:pt x="317" y="12"/>
                    <a:pt x="378" y="0"/>
                    <a:pt x="442" y="0"/>
                  </a:cubicBezTo>
                  <a:cubicBezTo>
                    <a:pt x="511" y="0"/>
                    <a:pt x="573" y="12"/>
                    <a:pt x="628" y="31"/>
                  </a:cubicBezTo>
                  <a:cubicBezTo>
                    <a:pt x="684" y="53"/>
                    <a:pt x="731" y="84"/>
                    <a:pt x="770" y="125"/>
                  </a:cubicBezTo>
                  <a:cubicBezTo>
                    <a:pt x="806" y="164"/>
                    <a:pt x="834" y="217"/>
                    <a:pt x="853" y="278"/>
                  </a:cubicBezTo>
                  <a:cubicBezTo>
                    <a:pt x="870" y="342"/>
                    <a:pt x="875" y="414"/>
                    <a:pt x="867" y="498"/>
                  </a:cubicBezTo>
                  <a:lnTo>
                    <a:pt x="186" y="353"/>
                  </a:lnTo>
                  <a:lnTo>
                    <a:pt x="186" y="353"/>
                  </a:lnTo>
                  <a:cubicBezTo>
                    <a:pt x="698" y="353"/>
                    <a:pt x="698" y="353"/>
                    <a:pt x="698" y="353"/>
                  </a:cubicBezTo>
                  <a:cubicBezTo>
                    <a:pt x="692" y="287"/>
                    <a:pt x="667" y="236"/>
                    <a:pt x="623" y="203"/>
                  </a:cubicBezTo>
                  <a:cubicBezTo>
                    <a:pt x="578" y="170"/>
                    <a:pt x="520" y="153"/>
                    <a:pt x="448" y="153"/>
                  </a:cubicBezTo>
                  <a:cubicBezTo>
                    <a:pt x="384" y="153"/>
                    <a:pt x="328" y="170"/>
                    <a:pt x="278" y="203"/>
                  </a:cubicBezTo>
                  <a:cubicBezTo>
                    <a:pt x="231" y="236"/>
                    <a:pt x="200" y="287"/>
                    <a:pt x="186" y="353"/>
                  </a:cubicBezTo>
                  <a:lnTo>
                    <a:pt x="867"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6" name="Freeform 13">
              <a:extLst>
                <a:ext uri="{FF2B5EF4-FFF2-40B4-BE49-F238E27FC236}">
                  <a16:creationId xmlns:a16="http://schemas.microsoft.com/office/drawing/2014/main" id="{B56F7B07-2A5C-5740-9E94-CE949459735B}"/>
                </a:ext>
              </a:extLst>
            </p:cNvPr>
            <p:cNvSpPr>
              <a:spLocks noChangeArrowheads="1"/>
            </p:cNvSpPr>
            <p:nvPr userDrawn="1"/>
          </p:nvSpPr>
          <p:spPr bwMode="auto">
            <a:xfrm>
              <a:off x="6305550" y="3141663"/>
              <a:ext cx="228600" cy="303212"/>
            </a:xfrm>
            <a:custGeom>
              <a:avLst/>
              <a:gdLst>
                <a:gd name="T0" fmla="*/ 164 w 634"/>
                <a:gd name="T1" fmla="*/ 20 h 843"/>
                <a:gd name="T2" fmla="*/ 164 w 634"/>
                <a:gd name="T3" fmla="*/ 20 h 843"/>
                <a:gd name="T4" fmla="*/ 177 w 634"/>
                <a:gd name="T5" fmla="*/ 128 h 843"/>
                <a:gd name="T6" fmla="*/ 289 w 634"/>
                <a:gd name="T7" fmla="*/ 25 h 843"/>
                <a:gd name="T8" fmla="*/ 425 w 634"/>
                <a:gd name="T9" fmla="*/ 0 h 843"/>
                <a:gd name="T10" fmla="*/ 541 w 634"/>
                <a:gd name="T11" fmla="*/ 20 h 843"/>
                <a:gd name="T12" fmla="*/ 633 w 634"/>
                <a:gd name="T13" fmla="*/ 70 h 843"/>
                <a:gd name="T14" fmla="*/ 552 w 634"/>
                <a:gd name="T15" fmla="*/ 222 h 843"/>
                <a:gd name="T16" fmla="*/ 486 w 634"/>
                <a:gd name="T17" fmla="*/ 184 h 843"/>
                <a:gd name="T18" fmla="*/ 405 w 634"/>
                <a:gd name="T19" fmla="*/ 172 h 843"/>
                <a:gd name="T20" fmla="*/ 316 w 634"/>
                <a:gd name="T21" fmla="*/ 186 h 843"/>
                <a:gd name="T22" fmla="*/ 244 w 634"/>
                <a:gd name="T23" fmla="*/ 228 h 843"/>
                <a:gd name="T24" fmla="*/ 197 w 634"/>
                <a:gd name="T25" fmla="*/ 297 h 843"/>
                <a:gd name="T26" fmla="*/ 177 w 634"/>
                <a:gd name="T27" fmla="*/ 397 h 843"/>
                <a:gd name="T28" fmla="*/ 177 w 634"/>
                <a:gd name="T29" fmla="*/ 842 h 843"/>
                <a:gd name="T30" fmla="*/ 0 w 634"/>
                <a:gd name="T31" fmla="*/ 842 h 843"/>
                <a:gd name="T32" fmla="*/ 0 w 634"/>
                <a:gd name="T33" fmla="*/ 20 h 843"/>
                <a:gd name="T34" fmla="*/ 164 w 634"/>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4" h="843">
                  <a:moveTo>
                    <a:pt x="164" y="20"/>
                  </a:moveTo>
                  <a:lnTo>
                    <a:pt x="164" y="20"/>
                  </a:lnTo>
                  <a:cubicBezTo>
                    <a:pt x="177" y="128"/>
                    <a:pt x="177" y="128"/>
                    <a:pt x="177" y="128"/>
                  </a:cubicBezTo>
                  <a:cubicBezTo>
                    <a:pt x="208" y="75"/>
                    <a:pt x="244" y="42"/>
                    <a:pt x="289" y="25"/>
                  </a:cubicBezTo>
                  <a:cubicBezTo>
                    <a:pt x="333" y="9"/>
                    <a:pt x="380" y="0"/>
                    <a:pt x="425" y="0"/>
                  </a:cubicBezTo>
                  <a:cubicBezTo>
                    <a:pt x="466" y="0"/>
                    <a:pt x="505" y="9"/>
                    <a:pt x="541" y="20"/>
                  </a:cubicBezTo>
                  <a:cubicBezTo>
                    <a:pt x="577" y="34"/>
                    <a:pt x="608" y="50"/>
                    <a:pt x="633" y="70"/>
                  </a:cubicBezTo>
                  <a:cubicBezTo>
                    <a:pt x="552" y="222"/>
                    <a:pt x="552" y="222"/>
                    <a:pt x="552" y="222"/>
                  </a:cubicBezTo>
                  <a:cubicBezTo>
                    <a:pt x="530" y="206"/>
                    <a:pt x="508" y="192"/>
                    <a:pt x="486" y="184"/>
                  </a:cubicBezTo>
                  <a:cubicBezTo>
                    <a:pt x="464" y="175"/>
                    <a:pt x="436" y="172"/>
                    <a:pt x="405" y="172"/>
                  </a:cubicBezTo>
                  <a:cubicBezTo>
                    <a:pt x="372" y="172"/>
                    <a:pt x="344" y="175"/>
                    <a:pt x="316" y="186"/>
                  </a:cubicBezTo>
                  <a:cubicBezTo>
                    <a:pt x="289" y="195"/>
                    <a:pt x="266" y="209"/>
                    <a:pt x="244" y="228"/>
                  </a:cubicBezTo>
                  <a:cubicBezTo>
                    <a:pt x="225" y="245"/>
                    <a:pt x="208" y="270"/>
                    <a:pt x="197" y="297"/>
                  </a:cubicBezTo>
                  <a:cubicBezTo>
                    <a:pt x="183" y="325"/>
                    <a:pt x="177" y="359"/>
                    <a:pt x="177" y="397"/>
                  </a:cubicBezTo>
                  <a:cubicBezTo>
                    <a:pt x="177" y="842"/>
                    <a:pt x="177" y="842"/>
                    <a:pt x="177" y="842"/>
                  </a:cubicBezTo>
                  <a:cubicBezTo>
                    <a:pt x="0" y="842"/>
                    <a:pt x="0" y="842"/>
                    <a:pt x="0" y="842"/>
                  </a:cubicBezTo>
                  <a:cubicBezTo>
                    <a:pt x="0" y="20"/>
                    <a:pt x="0" y="20"/>
                    <a:pt x="0" y="20"/>
                  </a:cubicBezTo>
                  <a:lnTo>
                    <a:pt x="164" y="2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7" name="Freeform 14">
              <a:extLst>
                <a:ext uri="{FF2B5EF4-FFF2-40B4-BE49-F238E27FC236}">
                  <a16:creationId xmlns:a16="http://schemas.microsoft.com/office/drawing/2014/main" id="{A106F4E9-EEB2-DC41-A93F-38BD6AC491A0}"/>
                </a:ext>
              </a:extLst>
            </p:cNvPr>
            <p:cNvSpPr>
              <a:spLocks noChangeArrowheads="1"/>
            </p:cNvSpPr>
            <p:nvPr userDrawn="1"/>
          </p:nvSpPr>
          <p:spPr bwMode="auto">
            <a:xfrm>
              <a:off x="6577013" y="3148013"/>
              <a:ext cx="63500" cy="296862"/>
            </a:xfrm>
            <a:custGeom>
              <a:avLst/>
              <a:gdLst>
                <a:gd name="T0" fmla="*/ 175 w 176"/>
                <a:gd name="T1" fmla="*/ 825 h 826"/>
                <a:gd name="T2" fmla="*/ 0 w 176"/>
                <a:gd name="T3" fmla="*/ 825 h 826"/>
                <a:gd name="T4" fmla="*/ 0 w 176"/>
                <a:gd name="T5" fmla="*/ 0 h 826"/>
                <a:gd name="T6" fmla="*/ 175 w 176"/>
                <a:gd name="T7" fmla="*/ 0 h 826"/>
                <a:gd name="T8" fmla="*/ 175 w 176"/>
                <a:gd name="T9" fmla="*/ 825 h 826"/>
              </a:gdLst>
              <a:ahLst/>
              <a:cxnLst>
                <a:cxn ang="0">
                  <a:pos x="T0" y="T1"/>
                </a:cxn>
                <a:cxn ang="0">
                  <a:pos x="T2" y="T3"/>
                </a:cxn>
                <a:cxn ang="0">
                  <a:pos x="T4" y="T5"/>
                </a:cxn>
                <a:cxn ang="0">
                  <a:pos x="T6" y="T7"/>
                </a:cxn>
                <a:cxn ang="0">
                  <a:pos x="T8" y="T9"/>
                </a:cxn>
              </a:cxnLst>
              <a:rect l="0" t="0" r="r" b="b"/>
              <a:pathLst>
                <a:path w="176" h="826">
                  <a:moveTo>
                    <a:pt x="175" y="825"/>
                  </a:moveTo>
                  <a:lnTo>
                    <a:pt x="0" y="825"/>
                  </a:lnTo>
                  <a:lnTo>
                    <a:pt x="0" y="0"/>
                  </a:lnTo>
                  <a:lnTo>
                    <a:pt x="175" y="0"/>
                  </a:lnTo>
                  <a:lnTo>
                    <a:pt x="175" y="82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8" name="Freeform 15">
              <a:extLst>
                <a:ext uri="{FF2B5EF4-FFF2-40B4-BE49-F238E27FC236}">
                  <a16:creationId xmlns:a16="http://schemas.microsoft.com/office/drawing/2014/main" id="{7C174984-9E4C-8940-ACB5-80FD2A6E2308}"/>
                </a:ext>
              </a:extLst>
            </p:cNvPr>
            <p:cNvSpPr>
              <a:spLocks noChangeArrowheads="1"/>
            </p:cNvSpPr>
            <p:nvPr userDrawn="1"/>
          </p:nvSpPr>
          <p:spPr bwMode="auto">
            <a:xfrm>
              <a:off x="6707188" y="3141663"/>
              <a:ext cx="314325" cy="312737"/>
            </a:xfrm>
            <a:custGeom>
              <a:avLst/>
              <a:gdLst>
                <a:gd name="T0" fmla="*/ 864 w 873"/>
                <a:gd name="T1" fmla="*/ 498 h 868"/>
                <a:gd name="T2" fmla="*/ 864 w 873"/>
                <a:gd name="T3" fmla="*/ 498 h 868"/>
                <a:gd name="T4" fmla="*/ 184 w 873"/>
                <a:gd name="T5" fmla="*/ 498 h 868"/>
                <a:gd name="T6" fmla="*/ 267 w 873"/>
                <a:gd name="T7" fmla="*/ 650 h 868"/>
                <a:gd name="T8" fmla="*/ 459 w 873"/>
                <a:gd name="T9" fmla="*/ 706 h 868"/>
                <a:gd name="T10" fmla="*/ 592 w 873"/>
                <a:gd name="T11" fmla="*/ 684 h 868"/>
                <a:gd name="T12" fmla="*/ 700 w 873"/>
                <a:gd name="T13" fmla="*/ 617 h 868"/>
                <a:gd name="T14" fmla="*/ 817 w 873"/>
                <a:gd name="T15" fmla="*/ 725 h 868"/>
                <a:gd name="T16" fmla="*/ 742 w 873"/>
                <a:gd name="T17" fmla="*/ 786 h 868"/>
                <a:gd name="T18" fmla="*/ 650 w 873"/>
                <a:gd name="T19" fmla="*/ 831 h 868"/>
                <a:gd name="T20" fmla="*/ 553 w 873"/>
                <a:gd name="T21" fmla="*/ 859 h 868"/>
                <a:gd name="T22" fmla="*/ 453 w 873"/>
                <a:gd name="T23" fmla="*/ 867 h 868"/>
                <a:gd name="T24" fmla="*/ 267 w 873"/>
                <a:gd name="T25" fmla="*/ 836 h 868"/>
                <a:gd name="T26" fmla="*/ 123 w 873"/>
                <a:gd name="T27" fmla="*/ 748 h 868"/>
                <a:gd name="T28" fmla="*/ 34 w 873"/>
                <a:gd name="T29" fmla="*/ 609 h 868"/>
                <a:gd name="T30" fmla="*/ 0 w 873"/>
                <a:gd name="T31" fmla="*/ 431 h 868"/>
                <a:gd name="T32" fmla="*/ 34 w 873"/>
                <a:gd name="T33" fmla="*/ 256 h 868"/>
                <a:gd name="T34" fmla="*/ 123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7 w 873"/>
                <a:gd name="T53" fmla="*/ 353 h 868"/>
                <a:gd name="T54" fmla="*/ 622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4" y="498"/>
                    <a:pt x="184" y="498"/>
                    <a:pt x="184" y="498"/>
                  </a:cubicBezTo>
                  <a:cubicBezTo>
                    <a:pt x="189" y="562"/>
                    <a:pt x="220" y="611"/>
                    <a:pt x="267" y="650"/>
                  </a:cubicBezTo>
                  <a:cubicBezTo>
                    <a:pt x="317" y="686"/>
                    <a:pt x="381" y="706"/>
                    <a:pt x="459" y="706"/>
                  </a:cubicBezTo>
                  <a:cubicBezTo>
                    <a:pt x="500" y="706"/>
                    <a:pt x="545" y="698"/>
                    <a:pt x="592" y="684"/>
                  </a:cubicBezTo>
                  <a:cubicBezTo>
                    <a:pt x="639" y="667"/>
                    <a:pt x="675" y="645"/>
                    <a:pt x="700" y="617"/>
                  </a:cubicBezTo>
                  <a:cubicBezTo>
                    <a:pt x="817" y="725"/>
                    <a:pt x="817" y="725"/>
                    <a:pt x="817" y="725"/>
                  </a:cubicBezTo>
                  <a:cubicBezTo>
                    <a:pt x="795" y="750"/>
                    <a:pt x="770" y="770"/>
                    <a:pt x="742" y="786"/>
                  </a:cubicBezTo>
                  <a:cubicBezTo>
                    <a:pt x="711" y="806"/>
                    <a:pt x="684" y="820"/>
                    <a:pt x="650" y="831"/>
                  </a:cubicBezTo>
                  <a:cubicBezTo>
                    <a:pt x="620" y="845"/>
                    <a:pt x="586" y="853"/>
                    <a:pt x="553" y="859"/>
                  </a:cubicBezTo>
                  <a:cubicBezTo>
                    <a:pt x="520" y="864"/>
                    <a:pt x="486" y="867"/>
                    <a:pt x="453" y="867"/>
                  </a:cubicBezTo>
                  <a:cubicBezTo>
                    <a:pt x="384" y="867"/>
                    <a:pt x="322" y="856"/>
                    <a:pt x="267" y="836"/>
                  </a:cubicBezTo>
                  <a:cubicBezTo>
                    <a:pt x="211" y="814"/>
                    <a:pt x="164" y="786"/>
                    <a:pt x="123" y="748"/>
                  </a:cubicBezTo>
                  <a:cubicBezTo>
                    <a:pt x="84" y="709"/>
                    <a:pt x="53" y="664"/>
                    <a:pt x="34" y="609"/>
                  </a:cubicBezTo>
                  <a:cubicBezTo>
                    <a:pt x="11" y="556"/>
                    <a:pt x="0" y="495"/>
                    <a:pt x="0" y="431"/>
                  </a:cubicBezTo>
                  <a:cubicBezTo>
                    <a:pt x="0" y="367"/>
                    <a:pt x="11" y="309"/>
                    <a:pt x="34" y="256"/>
                  </a:cubicBezTo>
                  <a:cubicBezTo>
                    <a:pt x="53" y="203"/>
                    <a:pt x="84" y="159"/>
                    <a:pt x="123" y="120"/>
                  </a:cubicBezTo>
                  <a:cubicBezTo>
                    <a:pt x="161" y="84"/>
                    <a:pt x="209" y="53"/>
                    <a:pt x="261" y="31"/>
                  </a:cubicBezTo>
                  <a:cubicBezTo>
                    <a:pt x="317" y="12"/>
                    <a:pt x="375" y="0"/>
                    <a:pt x="442" y="0"/>
                  </a:cubicBezTo>
                  <a:cubicBezTo>
                    <a:pt x="511" y="0"/>
                    <a:pt x="572" y="12"/>
                    <a:pt x="628" y="31"/>
                  </a:cubicBezTo>
                  <a:cubicBezTo>
                    <a:pt x="684" y="53"/>
                    <a:pt x="728" y="84"/>
                    <a:pt x="767" y="125"/>
                  </a:cubicBezTo>
                  <a:cubicBezTo>
                    <a:pt x="806" y="164"/>
                    <a:pt x="834" y="217"/>
                    <a:pt x="850" y="278"/>
                  </a:cubicBezTo>
                  <a:cubicBezTo>
                    <a:pt x="870" y="342"/>
                    <a:pt x="872" y="414"/>
                    <a:pt x="864" y="498"/>
                  </a:cubicBezTo>
                  <a:lnTo>
                    <a:pt x="186" y="353"/>
                  </a:lnTo>
                  <a:lnTo>
                    <a:pt x="186" y="353"/>
                  </a:lnTo>
                  <a:cubicBezTo>
                    <a:pt x="697" y="353"/>
                    <a:pt x="697" y="353"/>
                    <a:pt x="697" y="353"/>
                  </a:cubicBezTo>
                  <a:cubicBezTo>
                    <a:pt x="692" y="287"/>
                    <a:pt x="667" y="236"/>
                    <a:pt x="622" y="203"/>
                  </a:cubicBezTo>
                  <a:cubicBezTo>
                    <a:pt x="578" y="170"/>
                    <a:pt x="520" y="153"/>
                    <a:pt x="447" y="153"/>
                  </a:cubicBezTo>
                  <a:cubicBezTo>
                    <a:pt x="384" y="153"/>
                    <a:pt x="325" y="170"/>
                    <a:pt x="278" y="203"/>
                  </a:cubicBezTo>
                  <a:cubicBezTo>
                    <a:pt x="231" y="236"/>
                    <a:pt x="200" y="287"/>
                    <a:pt x="186" y="353"/>
                  </a:cubicBezTo>
                  <a:lnTo>
                    <a:pt x="864"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9" name="Freeform 16">
              <a:extLst>
                <a:ext uri="{FF2B5EF4-FFF2-40B4-BE49-F238E27FC236}">
                  <a16:creationId xmlns:a16="http://schemas.microsoft.com/office/drawing/2014/main" id="{11920894-A1A1-2741-ADAA-8275C1F38D3D}"/>
                </a:ext>
              </a:extLst>
            </p:cNvPr>
            <p:cNvSpPr>
              <a:spLocks noChangeArrowheads="1"/>
            </p:cNvSpPr>
            <p:nvPr userDrawn="1"/>
          </p:nvSpPr>
          <p:spPr bwMode="auto">
            <a:xfrm>
              <a:off x="7083425" y="3144838"/>
              <a:ext cx="293688" cy="301625"/>
            </a:xfrm>
            <a:custGeom>
              <a:avLst/>
              <a:gdLst>
                <a:gd name="T0" fmla="*/ 638 w 817"/>
                <a:gd name="T1" fmla="*/ 836 h 837"/>
                <a:gd name="T2" fmla="*/ 638 w 817"/>
                <a:gd name="T3" fmla="*/ 836 h 837"/>
                <a:gd name="T4" fmla="*/ 638 w 817"/>
                <a:gd name="T5" fmla="*/ 397 h 837"/>
                <a:gd name="T6" fmla="*/ 580 w 817"/>
                <a:gd name="T7" fmla="*/ 225 h 837"/>
                <a:gd name="T8" fmla="*/ 411 w 817"/>
                <a:gd name="T9" fmla="*/ 161 h 837"/>
                <a:gd name="T10" fmla="*/ 313 w 817"/>
                <a:gd name="T11" fmla="*/ 180 h 837"/>
                <a:gd name="T12" fmla="*/ 241 w 817"/>
                <a:gd name="T13" fmla="*/ 233 h 837"/>
                <a:gd name="T14" fmla="*/ 194 w 817"/>
                <a:gd name="T15" fmla="*/ 311 h 837"/>
                <a:gd name="T16" fmla="*/ 175 w 817"/>
                <a:gd name="T17" fmla="*/ 408 h 837"/>
                <a:gd name="T18" fmla="*/ 175 w 817"/>
                <a:gd name="T19" fmla="*/ 836 h 837"/>
                <a:gd name="T20" fmla="*/ 0 w 817"/>
                <a:gd name="T21" fmla="*/ 836 h 837"/>
                <a:gd name="T22" fmla="*/ 0 w 817"/>
                <a:gd name="T23" fmla="*/ 11 h 837"/>
                <a:gd name="T24" fmla="*/ 161 w 817"/>
                <a:gd name="T25" fmla="*/ 11 h 837"/>
                <a:gd name="T26" fmla="*/ 172 w 817"/>
                <a:gd name="T27" fmla="*/ 133 h 837"/>
                <a:gd name="T28" fmla="*/ 455 w 817"/>
                <a:gd name="T29" fmla="*/ 0 h 837"/>
                <a:gd name="T30" fmla="*/ 597 w 817"/>
                <a:gd name="T31" fmla="*/ 25 h 837"/>
                <a:gd name="T32" fmla="*/ 711 w 817"/>
                <a:gd name="T33" fmla="*/ 103 h 837"/>
                <a:gd name="T34" fmla="*/ 788 w 817"/>
                <a:gd name="T35" fmla="*/ 225 h 837"/>
                <a:gd name="T36" fmla="*/ 816 w 817"/>
                <a:gd name="T37" fmla="*/ 394 h 837"/>
                <a:gd name="T38" fmla="*/ 816 w 817"/>
                <a:gd name="T39" fmla="*/ 836 h 837"/>
                <a:gd name="T40" fmla="*/ 638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8" y="836"/>
                  </a:moveTo>
                  <a:lnTo>
                    <a:pt x="638" y="836"/>
                  </a:lnTo>
                  <a:cubicBezTo>
                    <a:pt x="638" y="397"/>
                    <a:pt x="638" y="397"/>
                    <a:pt x="638" y="397"/>
                  </a:cubicBezTo>
                  <a:cubicBezTo>
                    <a:pt x="638" y="325"/>
                    <a:pt x="619" y="269"/>
                    <a:pt x="580" y="225"/>
                  </a:cubicBezTo>
                  <a:cubicBezTo>
                    <a:pt x="541" y="183"/>
                    <a:pt x="483" y="161"/>
                    <a:pt x="411" y="161"/>
                  </a:cubicBezTo>
                  <a:cubicBezTo>
                    <a:pt x="375" y="161"/>
                    <a:pt x="344" y="166"/>
                    <a:pt x="313" y="180"/>
                  </a:cubicBezTo>
                  <a:cubicBezTo>
                    <a:pt x="286" y="191"/>
                    <a:pt x="261" y="211"/>
                    <a:pt x="241" y="233"/>
                  </a:cubicBezTo>
                  <a:cubicBezTo>
                    <a:pt x="219" y="255"/>
                    <a:pt x="205" y="283"/>
                    <a:pt x="194" y="311"/>
                  </a:cubicBezTo>
                  <a:cubicBezTo>
                    <a:pt x="180" y="341"/>
                    <a:pt x="175" y="375"/>
                    <a:pt x="175" y="408"/>
                  </a:cubicBezTo>
                  <a:cubicBezTo>
                    <a:pt x="175" y="836"/>
                    <a:pt x="175" y="836"/>
                    <a:pt x="175" y="836"/>
                  </a:cubicBezTo>
                  <a:cubicBezTo>
                    <a:pt x="0" y="836"/>
                    <a:pt x="0" y="836"/>
                    <a:pt x="0" y="836"/>
                  </a:cubicBezTo>
                  <a:cubicBezTo>
                    <a:pt x="0" y="11"/>
                    <a:pt x="0" y="11"/>
                    <a:pt x="0" y="11"/>
                  </a:cubicBezTo>
                  <a:cubicBezTo>
                    <a:pt x="161" y="11"/>
                    <a:pt x="161" y="11"/>
                    <a:pt x="161" y="11"/>
                  </a:cubicBezTo>
                  <a:cubicBezTo>
                    <a:pt x="172" y="133"/>
                    <a:pt x="172" y="133"/>
                    <a:pt x="172" y="133"/>
                  </a:cubicBezTo>
                  <a:cubicBezTo>
                    <a:pt x="250" y="44"/>
                    <a:pt x="344" y="0"/>
                    <a:pt x="455" y="0"/>
                  </a:cubicBezTo>
                  <a:cubicBezTo>
                    <a:pt x="505" y="0"/>
                    <a:pt x="552" y="8"/>
                    <a:pt x="597" y="25"/>
                  </a:cubicBezTo>
                  <a:cubicBezTo>
                    <a:pt x="641" y="44"/>
                    <a:pt x="677" y="69"/>
                    <a:pt x="711" y="103"/>
                  </a:cubicBezTo>
                  <a:cubicBezTo>
                    <a:pt x="744" y="136"/>
                    <a:pt x="769" y="178"/>
                    <a:pt x="788" y="225"/>
                  </a:cubicBezTo>
                  <a:cubicBezTo>
                    <a:pt x="808" y="275"/>
                    <a:pt x="816" y="330"/>
                    <a:pt x="816" y="394"/>
                  </a:cubicBezTo>
                  <a:cubicBezTo>
                    <a:pt x="816" y="836"/>
                    <a:pt x="816" y="836"/>
                    <a:pt x="816" y="836"/>
                  </a:cubicBezTo>
                  <a:lnTo>
                    <a:pt x="638" y="83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0" name="Freeform 17">
              <a:extLst>
                <a:ext uri="{FF2B5EF4-FFF2-40B4-BE49-F238E27FC236}">
                  <a16:creationId xmlns:a16="http://schemas.microsoft.com/office/drawing/2014/main" id="{1C889C22-C97B-7F4B-838F-9C019CF80E6F}"/>
                </a:ext>
              </a:extLst>
            </p:cNvPr>
            <p:cNvSpPr>
              <a:spLocks noChangeArrowheads="1"/>
            </p:cNvSpPr>
            <p:nvPr userDrawn="1"/>
          </p:nvSpPr>
          <p:spPr bwMode="auto">
            <a:xfrm>
              <a:off x="7440613" y="3141663"/>
              <a:ext cx="274637" cy="311150"/>
            </a:xfrm>
            <a:custGeom>
              <a:avLst/>
              <a:gdLst>
                <a:gd name="T0" fmla="*/ 761 w 762"/>
                <a:gd name="T1" fmla="*/ 736 h 865"/>
                <a:gd name="T2" fmla="*/ 761 w 762"/>
                <a:gd name="T3" fmla="*/ 736 h 865"/>
                <a:gd name="T4" fmla="*/ 614 w 762"/>
                <a:gd name="T5" fmla="*/ 833 h 865"/>
                <a:gd name="T6" fmla="*/ 442 w 762"/>
                <a:gd name="T7" fmla="*/ 864 h 865"/>
                <a:gd name="T8" fmla="*/ 272 w 762"/>
                <a:gd name="T9" fmla="*/ 836 h 865"/>
                <a:gd name="T10" fmla="*/ 131 w 762"/>
                <a:gd name="T11" fmla="*/ 756 h 865"/>
                <a:gd name="T12" fmla="*/ 34 w 762"/>
                <a:gd name="T13" fmla="*/ 620 h 865"/>
                <a:gd name="T14" fmla="*/ 0 w 762"/>
                <a:gd name="T15" fmla="*/ 431 h 865"/>
                <a:gd name="T16" fmla="*/ 34 w 762"/>
                <a:gd name="T17" fmla="*/ 245 h 865"/>
                <a:gd name="T18" fmla="*/ 131 w 762"/>
                <a:gd name="T19" fmla="*/ 109 h 865"/>
                <a:gd name="T20" fmla="*/ 270 w 762"/>
                <a:gd name="T21" fmla="*/ 28 h 865"/>
                <a:gd name="T22" fmla="*/ 442 w 762"/>
                <a:gd name="T23" fmla="*/ 0 h 865"/>
                <a:gd name="T24" fmla="*/ 603 w 762"/>
                <a:gd name="T25" fmla="*/ 28 h 865"/>
                <a:gd name="T26" fmla="*/ 747 w 762"/>
                <a:gd name="T27" fmla="*/ 122 h 865"/>
                <a:gd name="T28" fmla="*/ 633 w 762"/>
                <a:gd name="T29" fmla="*/ 236 h 865"/>
                <a:gd name="T30" fmla="*/ 545 w 762"/>
                <a:gd name="T31" fmla="*/ 181 h 865"/>
                <a:gd name="T32" fmla="*/ 445 w 762"/>
                <a:gd name="T33" fmla="*/ 164 h 865"/>
                <a:gd name="T34" fmla="*/ 339 w 762"/>
                <a:gd name="T35" fmla="*/ 181 h 865"/>
                <a:gd name="T36" fmla="*/ 253 w 762"/>
                <a:gd name="T37" fmla="*/ 236 h 865"/>
                <a:gd name="T38" fmla="*/ 195 w 762"/>
                <a:gd name="T39" fmla="*/ 320 h 865"/>
                <a:gd name="T40" fmla="*/ 175 w 762"/>
                <a:gd name="T41" fmla="*/ 431 h 865"/>
                <a:gd name="T42" fmla="*/ 197 w 762"/>
                <a:gd name="T43" fmla="*/ 547 h 865"/>
                <a:gd name="T44" fmla="*/ 253 w 762"/>
                <a:gd name="T45" fmla="*/ 631 h 865"/>
                <a:gd name="T46" fmla="*/ 339 w 762"/>
                <a:gd name="T47" fmla="*/ 681 h 865"/>
                <a:gd name="T48" fmla="*/ 442 w 762"/>
                <a:gd name="T49" fmla="*/ 697 h 865"/>
                <a:gd name="T50" fmla="*/ 550 w 762"/>
                <a:gd name="T51" fmla="*/ 681 h 865"/>
                <a:gd name="T52" fmla="*/ 642 w 762"/>
                <a:gd name="T53" fmla="*/ 620 h 865"/>
                <a:gd name="T54" fmla="*/ 761 w 762"/>
                <a:gd name="T55" fmla="*/ 736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62" h="865">
                  <a:moveTo>
                    <a:pt x="761" y="736"/>
                  </a:moveTo>
                  <a:lnTo>
                    <a:pt x="761" y="736"/>
                  </a:lnTo>
                  <a:cubicBezTo>
                    <a:pt x="714" y="781"/>
                    <a:pt x="664" y="814"/>
                    <a:pt x="614" y="833"/>
                  </a:cubicBezTo>
                  <a:cubicBezTo>
                    <a:pt x="561" y="856"/>
                    <a:pt x="503" y="864"/>
                    <a:pt x="442" y="864"/>
                  </a:cubicBezTo>
                  <a:cubicBezTo>
                    <a:pt x="383" y="864"/>
                    <a:pt x="325" y="856"/>
                    <a:pt x="272" y="836"/>
                  </a:cubicBezTo>
                  <a:cubicBezTo>
                    <a:pt x="217" y="820"/>
                    <a:pt x="170" y="792"/>
                    <a:pt x="131" y="756"/>
                  </a:cubicBezTo>
                  <a:cubicBezTo>
                    <a:pt x="89" y="720"/>
                    <a:pt x="58" y="675"/>
                    <a:pt x="34" y="620"/>
                  </a:cubicBezTo>
                  <a:cubicBezTo>
                    <a:pt x="11" y="567"/>
                    <a:pt x="0" y="503"/>
                    <a:pt x="0" y="431"/>
                  </a:cubicBezTo>
                  <a:cubicBezTo>
                    <a:pt x="0" y="361"/>
                    <a:pt x="11" y="297"/>
                    <a:pt x="34" y="245"/>
                  </a:cubicBezTo>
                  <a:cubicBezTo>
                    <a:pt x="58" y="189"/>
                    <a:pt x="89" y="145"/>
                    <a:pt x="131" y="109"/>
                  </a:cubicBezTo>
                  <a:cubicBezTo>
                    <a:pt x="170" y="72"/>
                    <a:pt x="217" y="45"/>
                    <a:pt x="270" y="28"/>
                  </a:cubicBezTo>
                  <a:cubicBezTo>
                    <a:pt x="325" y="9"/>
                    <a:pt x="381" y="0"/>
                    <a:pt x="442" y="0"/>
                  </a:cubicBezTo>
                  <a:cubicBezTo>
                    <a:pt x="500" y="0"/>
                    <a:pt x="556" y="9"/>
                    <a:pt x="603" y="28"/>
                  </a:cubicBezTo>
                  <a:cubicBezTo>
                    <a:pt x="653" y="47"/>
                    <a:pt x="700" y="78"/>
                    <a:pt x="747" y="122"/>
                  </a:cubicBezTo>
                  <a:cubicBezTo>
                    <a:pt x="633" y="236"/>
                    <a:pt x="633" y="236"/>
                    <a:pt x="633" y="236"/>
                  </a:cubicBezTo>
                  <a:cubicBezTo>
                    <a:pt x="608" y="211"/>
                    <a:pt x="578" y="192"/>
                    <a:pt x="545" y="181"/>
                  </a:cubicBezTo>
                  <a:cubicBezTo>
                    <a:pt x="511" y="170"/>
                    <a:pt x="478" y="164"/>
                    <a:pt x="445" y="164"/>
                  </a:cubicBezTo>
                  <a:cubicBezTo>
                    <a:pt x="406" y="164"/>
                    <a:pt x="372" y="170"/>
                    <a:pt x="339" y="181"/>
                  </a:cubicBezTo>
                  <a:cubicBezTo>
                    <a:pt x="306" y="195"/>
                    <a:pt x="278" y="214"/>
                    <a:pt x="253" y="236"/>
                  </a:cubicBezTo>
                  <a:cubicBezTo>
                    <a:pt x="228" y="259"/>
                    <a:pt x="209" y="289"/>
                    <a:pt x="195" y="320"/>
                  </a:cubicBezTo>
                  <a:cubicBezTo>
                    <a:pt x="181" y="353"/>
                    <a:pt x="175" y="392"/>
                    <a:pt x="175" y="431"/>
                  </a:cubicBezTo>
                  <a:cubicBezTo>
                    <a:pt x="175" y="475"/>
                    <a:pt x="181" y="514"/>
                    <a:pt x="197" y="547"/>
                  </a:cubicBezTo>
                  <a:cubicBezTo>
                    <a:pt x="211" y="578"/>
                    <a:pt x="231" y="606"/>
                    <a:pt x="253" y="631"/>
                  </a:cubicBezTo>
                  <a:cubicBezTo>
                    <a:pt x="278" y="653"/>
                    <a:pt x="309" y="670"/>
                    <a:pt x="339" y="681"/>
                  </a:cubicBezTo>
                  <a:cubicBezTo>
                    <a:pt x="372" y="692"/>
                    <a:pt x="406" y="697"/>
                    <a:pt x="442" y="697"/>
                  </a:cubicBezTo>
                  <a:cubicBezTo>
                    <a:pt x="478" y="697"/>
                    <a:pt x="514" y="692"/>
                    <a:pt x="550" y="681"/>
                  </a:cubicBezTo>
                  <a:cubicBezTo>
                    <a:pt x="583" y="670"/>
                    <a:pt x="614" y="647"/>
                    <a:pt x="642" y="620"/>
                  </a:cubicBezTo>
                  <a:lnTo>
                    <a:pt x="761" y="73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1" name="Freeform 18">
              <a:extLst>
                <a:ext uri="{FF2B5EF4-FFF2-40B4-BE49-F238E27FC236}">
                  <a16:creationId xmlns:a16="http://schemas.microsoft.com/office/drawing/2014/main" id="{923E9F78-DC24-3F43-9DC2-655AF0EC2C2B}"/>
                </a:ext>
              </a:extLst>
            </p:cNvPr>
            <p:cNvSpPr>
              <a:spLocks noChangeArrowheads="1"/>
            </p:cNvSpPr>
            <p:nvPr userDrawn="1"/>
          </p:nvSpPr>
          <p:spPr bwMode="auto">
            <a:xfrm>
              <a:off x="7747000" y="3141663"/>
              <a:ext cx="314325" cy="312737"/>
            </a:xfrm>
            <a:custGeom>
              <a:avLst/>
              <a:gdLst>
                <a:gd name="T0" fmla="*/ 864 w 873"/>
                <a:gd name="T1" fmla="*/ 498 h 868"/>
                <a:gd name="T2" fmla="*/ 864 w 873"/>
                <a:gd name="T3" fmla="*/ 498 h 868"/>
                <a:gd name="T4" fmla="*/ 181 w 873"/>
                <a:gd name="T5" fmla="*/ 498 h 868"/>
                <a:gd name="T6" fmla="*/ 267 w 873"/>
                <a:gd name="T7" fmla="*/ 650 h 868"/>
                <a:gd name="T8" fmla="*/ 456 w 873"/>
                <a:gd name="T9" fmla="*/ 706 h 868"/>
                <a:gd name="T10" fmla="*/ 592 w 873"/>
                <a:gd name="T11" fmla="*/ 684 h 868"/>
                <a:gd name="T12" fmla="*/ 700 w 873"/>
                <a:gd name="T13" fmla="*/ 617 h 868"/>
                <a:gd name="T14" fmla="*/ 817 w 873"/>
                <a:gd name="T15" fmla="*/ 725 h 868"/>
                <a:gd name="T16" fmla="*/ 739 w 873"/>
                <a:gd name="T17" fmla="*/ 786 h 868"/>
                <a:gd name="T18" fmla="*/ 650 w 873"/>
                <a:gd name="T19" fmla="*/ 831 h 868"/>
                <a:gd name="T20" fmla="*/ 553 w 873"/>
                <a:gd name="T21" fmla="*/ 859 h 868"/>
                <a:gd name="T22" fmla="*/ 453 w 873"/>
                <a:gd name="T23" fmla="*/ 867 h 868"/>
                <a:gd name="T24" fmla="*/ 267 w 873"/>
                <a:gd name="T25" fmla="*/ 836 h 868"/>
                <a:gd name="T26" fmla="*/ 122 w 873"/>
                <a:gd name="T27" fmla="*/ 748 h 868"/>
                <a:gd name="T28" fmla="*/ 31 w 873"/>
                <a:gd name="T29" fmla="*/ 609 h 868"/>
                <a:gd name="T30" fmla="*/ 0 w 873"/>
                <a:gd name="T31" fmla="*/ 431 h 868"/>
                <a:gd name="T32" fmla="*/ 31 w 873"/>
                <a:gd name="T33" fmla="*/ 256 h 868"/>
                <a:gd name="T34" fmla="*/ 122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4 w 873"/>
                <a:gd name="T53" fmla="*/ 353 h 868"/>
                <a:gd name="T54" fmla="*/ 619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1" y="498"/>
                    <a:pt x="181" y="498"/>
                    <a:pt x="181" y="498"/>
                  </a:cubicBezTo>
                  <a:cubicBezTo>
                    <a:pt x="189" y="562"/>
                    <a:pt x="219" y="611"/>
                    <a:pt x="267" y="650"/>
                  </a:cubicBezTo>
                  <a:cubicBezTo>
                    <a:pt x="317" y="686"/>
                    <a:pt x="381" y="706"/>
                    <a:pt x="456" y="706"/>
                  </a:cubicBezTo>
                  <a:cubicBezTo>
                    <a:pt x="500" y="706"/>
                    <a:pt x="544" y="698"/>
                    <a:pt x="592" y="684"/>
                  </a:cubicBezTo>
                  <a:cubicBezTo>
                    <a:pt x="639" y="667"/>
                    <a:pt x="675" y="645"/>
                    <a:pt x="700" y="617"/>
                  </a:cubicBezTo>
                  <a:cubicBezTo>
                    <a:pt x="817" y="725"/>
                    <a:pt x="817" y="725"/>
                    <a:pt x="817" y="725"/>
                  </a:cubicBezTo>
                  <a:cubicBezTo>
                    <a:pt x="794" y="750"/>
                    <a:pt x="769" y="770"/>
                    <a:pt x="739" y="786"/>
                  </a:cubicBezTo>
                  <a:cubicBezTo>
                    <a:pt x="711" y="806"/>
                    <a:pt x="681" y="820"/>
                    <a:pt x="650" y="831"/>
                  </a:cubicBezTo>
                  <a:cubicBezTo>
                    <a:pt x="619" y="845"/>
                    <a:pt x="586" y="853"/>
                    <a:pt x="553" y="859"/>
                  </a:cubicBezTo>
                  <a:cubicBezTo>
                    <a:pt x="519" y="864"/>
                    <a:pt x="486" y="867"/>
                    <a:pt x="453" y="867"/>
                  </a:cubicBezTo>
                  <a:cubicBezTo>
                    <a:pt x="383" y="867"/>
                    <a:pt x="322" y="856"/>
                    <a:pt x="267" y="836"/>
                  </a:cubicBezTo>
                  <a:cubicBezTo>
                    <a:pt x="208" y="814"/>
                    <a:pt x="161" y="786"/>
                    <a:pt x="122" y="748"/>
                  </a:cubicBezTo>
                  <a:cubicBezTo>
                    <a:pt x="83" y="709"/>
                    <a:pt x="53" y="664"/>
                    <a:pt x="31" y="609"/>
                  </a:cubicBezTo>
                  <a:cubicBezTo>
                    <a:pt x="11" y="556"/>
                    <a:pt x="0" y="495"/>
                    <a:pt x="0" y="431"/>
                  </a:cubicBezTo>
                  <a:cubicBezTo>
                    <a:pt x="0" y="367"/>
                    <a:pt x="11" y="309"/>
                    <a:pt x="31" y="256"/>
                  </a:cubicBezTo>
                  <a:cubicBezTo>
                    <a:pt x="53" y="203"/>
                    <a:pt x="83" y="159"/>
                    <a:pt x="122" y="120"/>
                  </a:cubicBezTo>
                  <a:cubicBezTo>
                    <a:pt x="161" y="84"/>
                    <a:pt x="208" y="53"/>
                    <a:pt x="261" y="31"/>
                  </a:cubicBezTo>
                  <a:cubicBezTo>
                    <a:pt x="314" y="12"/>
                    <a:pt x="375" y="0"/>
                    <a:pt x="442" y="0"/>
                  </a:cubicBezTo>
                  <a:cubicBezTo>
                    <a:pt x="508" y="0"/>
                    <a:pt x="572" y="12"/>
                    <a:pt x="628" y="31"/>
                  </a:cubicBezTo>
                  <a:cubicBezTo>
                    <a:pt x="681" y="53"/>
                    <a:pt x="728" y="84"/>
                    <a:pt x="767" y="125"/>
                  </a:cubicBezTo>
                  <a:cubicBezTo>
                    <a:pt x="806" y="164"/>
                    <a:pt x="833" y="217"/>
                    <a:pt x="850" y="278"/>
                  </a:cubicBezTo>
                  <a:cubicBezTo>
                    <a:pt x="867" y="342"/>
                    <a:pt x="872" y="414"/>
                    <a:pt x="864" y="498"/>
                  </a:cubicBezTo>
                  <a:lnTo>
                    <a:pt x="186" y="353"/>
                  </a:lnTo>
                  <a:lnTo>
                    <a:pt x="186" y="353"/>
                  </a:lnTo>
                  <a:cubicBezTo>
                    <a:pt x="694" y="353"/>
                    <a:pt x="694" y="353"/>
                    <a:pt x="694" y="353"/>
                  </a:cubicBezTo>
                  <a:cubicBezTo>
                    <a:pt x="689" y="287"/>
                    <a:pt x="664" y="236"/>
                    <a:pt x="619" y="203"/>
                  </a:cubicBezTo>
                  <a:cubicBezTo>
                    <a:pt x="575" y="170"/>
                    <a:pt x="519" y="153"/>
                    <a:pt x="447" y="153"/>
                  </a:cubicBezTo>
                  <a:cubicBezTo>
                    <a:pt x="381" y="153"/>
                    <a:pt x="325" y="170"/>
                    <a:pt x="278" y="203"/>
                  </a:cubicBezTo>
                  <a:cubicBezTo>
                    <a:pt x="231" y="236"/>
                    <a:pt x="200" y="287"/>
                    <a:pt x="186" y="353"/>
                  </a:cubicBezTo>
                  <a:lnTo>
                    <a:pt x="864"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2" name="Freeform 19">
              <a:extLst>
                <a:ext uri="{FF2B5EF4-FFF2-40B4-BE49-F238E27FC236}">
                  <a16:creationId xmlns:a16="http://schemas.microsoft.com/office/drawing/2014/main" id="{48AA1122-1D63-FD44-9DBD-CC8788004DA8}"/>
                </a:ext>
              </a:extLst>
            </p:cNvPr>
            <p:cNvSpPr>
              <a:spLocks noChangeArrowheads="1"/>
            </p:cNvSpPr>
            <p:nvPr userDrawn="1"/>
          </p:nvSpPr>
          <p:spPr bwMode="auto">
            <a:xfrm>
              <a:off x="1828800" y="3743325"/>
              <a:ext cx="323850" cy="311150"/>
            </a:xfrm>
            <a:custGeom>
              <a:avLst/>
              <a:gdLst>
                <a:gd name="T0" fmla="*/ 722 w 901"/>
                <a:gd name="T1" fmla="*/ 147 h 865"/>
                <a:gd name="T2" fmla="*/ 722 w 901"/>
                <a:gd name="T3" fmla="*/ 147 h 865"/>
                <a:gd name="T4" fmla="*/ 728 w 901"/>
                <a:gd name="T5" fmla="*/ 17 h 865"/>
                <a:gd name="T6" fmla="*/ 900 w 901"/>
                <a:gd name="T7" fmla="*/ 17 h 865"/>
                <a:gd name="T8" fmla="*/ 900 w 901"/>
                <a:gd name="T9" fmla="*/ 842 h 865"/>
                <a:gd name="T10" fmla="*/ 731 w 901"/>
                <a:gd name="T11" fmla="*/ 842 h 865"/>
                <a:gd name="T12" fmla="*/ 722 w 901"/>
                <a:gd name="T13" fmla="*/ 709 h 865"/>
                <a:gd name="T14" fmla="*/ 669 w 901"/>
                <a:gd name="T15" fmla="*/ 778 h 865"/>
                <a:gd name="T16" fmla="*/ 597 w 901"/>
                <a:gd name="T17" fmla="*/ 825 h 865"/>
                <a:gd name="T18" fmla="*/ 514 w 901"/>
                <a:gd name="T19" fmla="*/ 856 h 865"/>
                <a:gd name="T20" fmla="*/ 433 w 901"/>
                <a:gd name="T21" fmla="*/ 864 h 865"/>
                <a:gd name="T22" fmla="*/ 261 w 901"/>
                <a:gd name="T23" fmla="*/ 836 h 865"/>
                <a:gd name="T24" fmla="*/ 125 w 901"/>
                <a:gd name="T25" fmla="*/ 753 h 865"/>
                <a:gd name="T26" fmla="*/ 33 w 901"/>
                <a:gd name="T27" fmla="*/ 617 h 865"/>
                <a:gd name="T28" fmla="*/ 0 w 901"/>
                <a:gd name="T29" fmla="*/ 428 h 865"/>
                <a:gd name="T30" fmla="*/ 36 w 901"/>
                <a:gd name="T31" fmla="*/ 245 h 865"/>
                <a:gd name="T32" fmla="*/ 128 w 901"/>
                <a:gd name="T33" fmla="*/ 111 h 865"/>
                <a:gd name="T34" fmla="*/ 267 w 901"/>
                <a:gd name="T35" fmla="*/ 28 h 865"/>
                <a:gd name="T36" fmla="*/ 436 w 901"/>
                <a:gd name="T37" fmla="*/ 0 h 865"/>
                <a:gd name="T38" fmla="*/ 606 w 901"/>
                <a:gd name="T39" fmla="*/ 39 h 865"/>
                <a:gd name="T40" fmla="*/ 722 w 901"/>
                <a:gd name="T41" fmla="*/ 147 h 865"/>
                <a:gd name="T42" fmla="*/ 450 w 901"/>
                <a:gd name="T43" fmla="*/ 156 h 865"/>
                <a:gd name="T44" fmla="*/ 450 w 901"/>
                <a:gd name="T45" fmla="*/ 156 h 865"/>
                <a:gd name="T46" fmla="*/ 344 w 901"/>
                <a:gd name="T47" fmla="*/ 175 h 865"/>
                <a:gd name="T48" fmla="*/ 258 w 901"/>
                <a:gd name="T49" fmla="*/ 231 h 865"/>
                <a:gd name="T50" fmla="*/ 197 w 901"/>
                <a:gd name="T51" fmla="*/ 317 h 865"/>
                <a:gd name="T52" fmla="*/ 178 w 901"/>
                <a:gd name="T53" fmla="*/ 428 h 865"/>
                <a:gd name="T54" fmla="*/ 197 w 901"/>
                <a:gd name="T55" fmla="*/ 545 h 865"/>
                <a:gd name="T56" fmla="*/ 258 w 901"/>
                <a:gd name="T57" fmla="*/ 631 h 865"/>
                <a:gd name="T58" fmla="*/ 344 w 901"/>
                <a:gd name="T59" fmla="*/ 684 h 865"/>
                <a:gd name="T60" fmla="*/ 450 w 901"/>
                <a:gd name="T61" fmla="*/ 703 h 865"/>
                <a:gd name="T62" fmla="*/ 600 w 901"/>
                <a:gd name="T63" fmla="*/ 664 h 865"/>
                <a:gd name="T64" fmla="*/ 692 w 901"/>
                <a:gd name="T65" fmla="*/ 561 h 865"/>
                <a:gd name="T66" fmla="*/ 722 w 901"/>
                <a:gd name="T67" fmla="*/ 431 h 865"/>
                <a:gd name="T68" fmla="*/ 692 w 901"/>
                <a:gd name="T69" fmla="*/ 298 h 865"/>
                <a:gd name="T70" fmla="*/ 600 w 901"/>
                <a:gd name="T71" fmla="*/ 198 h 865"/>
                <a:gd name="T72" fmla="*/ 450 w 901"/>
                <a:gd name="T73" fmla="*/ 156 h 865"/>
                <a:gd name="T74" fmla="*/ 722 w 901"/>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1" h="865">
                  <a:moveTo>
                    <a:pt x="722" y="147"/>
                  </a:moveTo>
                  <a:lnTo>
                    <a:pt x="722" y="147"/>
                  </a:lnTo>
                  <a:cubicBezTo>
                    <a:pt x="728" y="17"/>
                    <a:pt x="728" y="17"/>
                    <a:pt x="728" y="17"/>
                  </a:cubicBezTo>
                  <a:cubicBezTo>
                    <a:pt x="900" y="17"/>
                    <a:pt x="900" y="17"/>
                    <a:pt x="900" y="17"/>
                  </a:cubicBezTo>
                  <a:cubicBezTo>
                    <a:pt x="900" y="842"/>
                    <a:pt x="900" y="842"/>
                    <a:pt x="900" y="842"/>
                  </a:cubicBezTo>
                  <a:cubicBezTo>
                    <a:pt x="731" y="842"/>
                    <a:pt x="731" y="842"/>
                    <a:pt x="731" y="842"/>
                  </a:cubicBezTo>
                  <a:cubicBezTo>
                    <a:pt x="722" y="709"/>
                    <a:pt x="722" y="709"/>
                    <a:pt x="722" y="709"/>
                  </a:cubicBezTo>
                  <a:cubicBezTo>
                    <a:pt x="708" y="736"/>
                    <a:pt x="692" y="759"/>
                    <a:pt x="669" y="778"/>
                  </a:cubicBezTo>
                  <a:cubicBezTo>
                    <a:pt x="647" y="797"/>
                    <a:pt x="622" y="814"/>
                    <a:pt x="597" y="825"/>
                  </a:cubicBezTo>
                  <a:cubicBezTo>
                    <a:pt x="569" y="839"/>
                    <a:pt x="542" y="847"/>
                    <a:pt x="514" y="856"/>
                  </a:cubicBezTo>
                  <a:cubicBezTo>
                    <a:pt x="486" y="861"/>
                    <a:pt x="458" y="864"/>
                    <a:pt x="433" y="864"/>
                  </a:cubicBezTo>
                  <a:cubicBezTo>
                    <a:pt x="372" y="864"/>
                    <a:pt x="314" y="853"/>
                    <a:pt x="261" y="836"/>
                  </a:cubicBezTo>
                  <a:cubicBezTo>
                    <a:pt x="208" y="817"/>
                    <a:pt x="164" y="789"/>
                    <a:pt x="125" y="753"/>
                  </a:cubicBezTo>
                  <a:cubicBezTo>
                    <a:pt x="86" y="714"/>
                    <a:pt x="56" y="670"/>
                    <a:pt x="33" y="617"/>
                  </a:cubicBezTo>
                  <a:cubicBezTo>
                    <a:pt x="11" y="561"/>
                    <a:pt x="0" y="500"/>
                    <a:pt x="0" y="428"/>
                  </a:cubicBezTo>
                  <a:cubicBezTo>
                    <a:pt x="0" y="361"/>
                    <a:pt x="11" y="300"/>
                    <a:pt x="36" y="245"/>
                  </a:cubicBezTo>
                  <a:cubicBezTo>
                    <a:pt x="58" y="192"/>
                    <a:pt x="89" y="147"/>
                    <a:pt x="128" y="111"/>
                  </a:cubicBezTo>
                  <a:cubicBezTo>
                    <a:pt x="167" y="75"/>
                    <a:pt x="214" y="48"/>
                    <a:pt x="267" y="28"/>
                  </a:cubicBezTo>
                  <a:cubicBezTo>
                    <a:pt x="319" y="9"/>
                    <a:pt x="375" y="0"/>
                    <a:pt x="436" y="0"/>
                  </a:cubicBezTo>
                  <a:cubicBezTo>
                    <a:pt x="497" y="0"/>
                    <a:pt x="553" y="14"/>
                    <a:pt x="606" y="39"/>
                  </a:cubicBezTo>
                  <a:cubicBezTo>
                    <a:pt x="658" y="64"/>
                    <a:pt x="697" y="103"/>
                    <a:pt x="722" y="147"/>
                  </a:cubicBezTo>
                  <a:lnTo>
                    <a:pt x="450" y="156"/>
                  </a:lnTo>
                  <a:lnTo>
                    <a:pt x="450" y="156"/>
                  </a:lnTo>
                  <a:cubicBezTo>
                    <a:pt x="414" y="156"/>
                    <a:pt x="378" y="164"/>
                    <a:pt x="344" y="175"/>
                  </a:cubicBezTo>
                  <a:cubicBezTo>
                    <a:pt x="311" y="189"/>
                    <a:pt x="283" y="206"/>
                    <a:pt x="258" y="231"/>
                  </a:cubicBezTo>
                  <a:cubicBezTo>
                    <a:pt x="233" y="253"/>
                    <a:pt x="211" y="284"/>
                    <a:pt x="197" y="317"/>
                  </a:cubicBezTo>
                  <a:cubicBezTo>
                    <a:pt x="183" y="350"/>
                    <a:pt x="178" y="386"/>
                    <a:pt x="178" y="428"/>
                  </a:cubicBezTo>
                  <a:cubicBezTo>
                    <a:pt x="178" y="472"/>
                    <a:pt x="183" y="509"/>
                    <a:pt x="197" y="545"/>
                  </a:cubicBezTo>
                  <a:cubicBezTo>
                    <a:pt x="211" y="578"/>
                    <a:pt x="233" y="606"/>
                    <a:pt x="258" y="631"/>
                  </a:cubicBezTo>
                  <a:cubicBezTo>
                    <a:pt x="283" y="653"/>
                    <a:pt x="311" y="672"/>
                    <a:pt x="344" y="684"/>
                  </a:cubicBezTo>
                  <a:cubicBezTo>
                    <a:pt x="378" y="698"/>
                    <a:pt x="414" y="703"/>
                    <a:pt x="450" y="703"/>
                  </a:cubicBezTo>
                  <a:cubicBezTo>
                    <a:pt x="511" y="703"/>
                    <a:pt x="561" y="689"/>
                    <a:pt x="600" y="664"/>
                  </a:cubicBezTo>
                  <a:cubicBezTo>
                    <a:pt x="642" y="636"/>
                    <a:pt x="672" y="603"/>
                    <a:pt x="692" y="561"/>
                  </a:cubicBezTo>
                  <a:cubicBezTo>
                    <a:pt x="714" y="522"/>
                    <a:pt x="722" y="478"/>
                    <a:pt x="722" y="431"/>
                  </a:cubicBezTo>
                  <a:cubicBezTo>
                    <a:pt x="722" y="384"/>
                    <a:pt x="714" y="339"/>
                    <a:pt x="692" y="298"/>
                  </a:cubicBezTo>
                  <a:cubicBezTo>
                    <a:pt x="672" y="259"/>
                    <a:pt x="642" y="223"/>
                    <a:pt x="600" y="198"/>
                  </a:cubicBezTo>
                  <a:cubicBezTo>
                    <a:pt x="561" y="170"/>
                    <a:pt x="511" y="156"/>
                    <a:pt x="450" y="156"/>
                  </a:cubicBezTo>
                  <a:lnTo>
                    <a:pt x="722" y="14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3" name="Freeform 20">
              <a:extLst>
                <a:ext uri="{FF2B5EF4-FFF2-40B4-BE49-F238E27FC236}">
                  <a16:creationId xmlns:a16="http://schemas.microsoft.com/office/drawing/2014/main" id="{2E9B9610-9A08-0447-AD11-5AAA13296216}"/>
                </a:ext>
              </a:extLst>
            </p:cNvPr>
            <p:cNvSpPr>
              <a:spLocks noChangeArrowheads="1"/>
            </p:cNvSpPr>
            <p:nvPr userDrawn="1"/>
          </p:nvSpPr>
          <p:spPr bwMode="auto">
            <a:xfrm>
              <a:off x="2214563" y="3743325"/>
              <a:ext cx="266700" cy="312738"/>
            </a:xfrm>
            <a:custGeom>
              <a:avLst/>
              <a:gdLst>
                <a:gd name="T0" fmla="*/ 603 w 743"/>
                <a:gd name="T1" fmla="*/ 222 h 870"/>
                <a:gd name="T2" fmla="*/ 603 w 743"/>
                <a:gd name="T3" fmla="*/ 222 h 870"/>
                <a:gd name="T4" fmla="*/ 500 w 743"/>
                <a:gd name="T5" fmla="*/ 161 h 870"/>
                <a:gd name="T6" fmla="*/ 381 w 743"/>
                <a:gd name="T7" fmla="*/ 147 h 870"/>
                <a:gd name="T8" fmla="*/ 250 w 743"/>
                <a:gd name="T9" fmla="*/ 169 h 870"/>
                <a:gd name="T10" fmla="*/ 203 w 743"/>
                <a:gd name="T11" fmla="*/ 244 h 870"/>
                <a:gd name="T12" fmla="*/ 253 w 743"/>
                <a:gd name="T13" fmla="*/ 319 h 870"/>
                <a:gd name="T14" fmla="*/ 386 w 743"/>
                <a:gd name="T15" fmla="*/ 349 h 870"/>
                <a:gd name="T16" fmla="*/ 506 w 743"/>
                <a:gd name="T17" fmla="*/ 366 h 870"/>
                <a:gd name="T18" fmla="*/ 622 w 743"/>
                <a:gd name="T19" fmla="*/ 405 h 870"/>
                <a:gd name="T20" fmla="*/ 708 w 743"/>
                <a:gd name="T21" fmla="*/ 480 h 870"/>
                <a:gd name="T22" fmla="*/ 742 w 743"/>
                <a:gd name="T23" fmla="*/ 608 h 870"/>
                <a:gd name="T24" fmla="*/ 717 w 743"/>
                <a:gd name="T25" fmla="*/ 713 h 870"/>
                <a:gd name="T26" fmla="*/ 645 w 743"/>
                <a:gd name="T27" fmla="*/ 797 h 870"/>
                <a:gd name="T28" fmla="*/ 531 w 743"/>
                <a:gd name="T29" fmla="*/ 849 h 870"/>
                <a:gd name="T30" fmla="*/ 383 w 743"/>
                <a:gd name="T31" fmla="*/ 869 h 870"/>
                <a:gd name="T32" fmla="*/ 184 w 743"/>
                <a:gd name="T33" fmla="*/ 838 h 870"/>
                <a:gd name="T34" fmla="*/ 0 w 743"/>
                <a:gd name="T35" fmla="*/ 716 h 870"/>
                <a:gd name="T36" fmla="*/ 92 w 743"/>
                <a:gd name="T37" fmla="*/ 597 h 870"/>
                <a:gd name="T38" fmla="*/ 231 w 743"/>
                <a:gd name="T39" fmla="*/ 688 h 870"/>
                <a:gd name="T40" fmla="*/ 386 w 743"/>
                <a:gd name="T41" fmla="*/ 719 h 870"/>
                <a:gd name="T42" fmla="*/ 450 w 743"/>
                <a:gd name="T43" fmla="*/ 713 h 870"/>
                <a:gd name="T44" fmla="*/ 506 w 743"/>
                <a:gd name="T45" fmla="*/ 694 h 870"/>
                <a:gd name="T46" fmla="*/ 550 w 743"/>
                <a:gd name="T47" fmla="*/ 661 h 870"/>
                <a:gd name="T48" fmla="*/ 567 w 743"/>
                <a:gd name="T49" fmla="*/ 611 h 870"/>
                <a:gd name="T50" fmla="*/ 517 w 743"/>
                <a:gd name="T51" fmla="*/ 530 h 870"/>
                <a:gd name="T52" fmla="*/ 372 w 743"/>
                <a:gd name="T53" fmla="*/ 497 h 870"/>
                <a:gd name="T54" fmla="*/ 250 w 743"/>
                <a:gd name="T55" fmla="*/ 477 h 870"/>
                <a:gd name="T56" fmla="*/ 142 w 743"/>
                <a:gd name="T57" fmla="*/ 436 h 870"/>
                <a:gd name="T58" fmla="*/ 61 w 743"/>
                <a:gd name="T59" fmla="*/ 363 h 870"/>
                <a:gd name="T60" fmla="*/ 28 w 743"/>
                <a:gd name="T61" fmla="*/ 249 h 870"/>
                <a:gd name="T62" fmla="*/ 61 w 743"/>
                <a:gd name="T63" fmla="*/ 133 h 870"/>
                <a:gd name="T64" fmla="*/ 145 w 743"/>
                <a:gd name="T65" fmla="*/ 55 h 870"/>
                <a:gd name="T66" fmla="*/ 258 w 743"/>
                <a:gd name="T67" fmla="*/ 11 h 870"/>
                <a:gd name="T68" fmla="*/ 378 w 743"/>
                <a:gd name="T69" fmla="*/ 0 h 870"/>
                <a:gd name="T70" fmla="*/ 553 w 743"/>
                <a:gd name="T71" fmla="*/ 22 h 870"/>
                <a:gd name="T72" fmla="*/ 703 w 743"/>
                <a:gd name="T73" fmla="*/ 108 h 870"/>
                <a:gd name="T74" fmla="*/ 603 w 743"/>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3" h="870">
                  <a:moveTo>
                    <a:pt x="603" y="222"/>
                  </a:moveTo>
                  <a:lnTo>
                    <a:pt x="603" y="222"/>
                  </a:lnTo>
                  <a:cubicBezTo>
                    <a:pt x="572" y="191"/>
                    <a:pt x="536" y="172"/>
                    <a:pt x="500" y="161"/>
                  </a:cubicBezTo>
                  <a:cubicBezTo>
                    <a:pt x="464" y="149"/>
                    <a:pt x="425" y="147"/>
                    <a:pt x="381" y="147"/>
                  </a:cubicBezTo>
                  <a:cubicBezTo>
                    <a:pt x="328" y="144"/>
                    <a:pt x="284" y="152"/>
                    <a:pt x="250" y="169"/>
                  </a:cubicBezTo>
                  <a:cubicBezTo>
                    <a:pt x="220" y="188"/>
                    <a:pt x="203" y="211"/>
                    <a:pt x="203" y="244"/>
                  </a:cubicBezTo>
                  <a:cubicBezTo>
                    <a:pt x="203" y="280"/>
                    <a:pt x="220" y="302"/>
                    <a:pt x="253" y="319"/>
                  </a:cubicBezTo>
                  <a:cubicBezTo>
                    <a:pt x="286" y="333"/>
                    <a:pt x="331" y="344"/>
                    <a:pt x="386" y="349"/>
                  </a:cubicBezTo>
                  <a:cubicBezTo>
                    <a:pt x="425" y="352"/>
                    <a:pt x="464" y="358"/>
                    <a:pt x="506" y="366"/>
                  </a:cubicBezTo>
                  <a:cubicBezTo>
                    <a:pt x="550" y="372"/>
                    <a:pt x="586" y="386"/>
                    <a:pt x="622" y="405"/>
                  </a:cubicBezTo>
                  <a:cubicBezTo>
                    <a:pt x="658" y="422"/>
                    <a:pt x="686" y="447"/>
                    <a:pt x="708" y="480"/>
                  </a:cubicBezTo>
                  <a:cubicBezTo>
                    <a:pt x="731" y="513"/>
                    <a:pt x="742" y="555"/>
                    <a:pt x="742" y="608"/>
                  </a:cubicBezTo>
                  <a:cubicBezTo>
                    <a:pt x="742" y="647"/>
                    <a:pt x="733" y="683"/>
                    <a:pt x="717" y="713"/>
                  </a:cubicBezTo>
                  <a:cubicBezTo>
                    <a:pt x="700" y="747"/>
                    <a:pt x="675" y="774"/>
                    <a:pt x="645" y="797"/>
                  </a:cubicBezTo>
                  <a:cubicBezTo>
                    <a:pt x="614" y="819"/>
                    <a:pt x="575" y="838"/>
                    <a:pt x="531" y="849"/>
                  </a:cubicBezTo>
                  <a:cubicBezTo>
                    <a:pt x="486" y="863"/>
                    <a:pt x="439" y="869"/>
                    <a:pt x="383" y="869"/>
                  </a:cubicBezTo>
                  <a:cubicBezTo>
                    <a:pt x="317" y="869"/>
                    <a:pt x="247" y="858"/>
                    <a:pt x="184" y="838"/>
                  </a:cubicBezTo>
                  <a:cubicBezTo>
                    <a:pt x="117" y="819"/>
                    <a:pt x="56" y="777"/>
                    <a:pt x="0" y="716"/>
                  </a:cubicBezTo>
                  <a:cubicBezTo>
                    <a:pt x="92" y="597"/>
                    <a:pt x="92" y="597"/>
                    <a:pt x="92" y="597"/>
                  </a:cubicBezTo>
                  <a:cubicBezTo>
                    <a:pt x="131" y="638"/>
                    <a:pt x="178" y="669"/>
                    <a:pt x="231" y="688"/>
                  </a:cubicBezTo>
                  <a:cubicBezTo>
                    <a:pt x="286" y="708"/>
                    <a:pt x="336" y="719"/>
                    <a:pt x="386" y="719"/>
                  </a:cubicBezTo>
                  <a:cubicBezTo>
                    <a:pt x="408" y="719"/>
                    <a:pt x="428" y="716"/>
                    <a:pt x="450" y="713"/>
                  </a:cubicBezTo>
                  <a:cubicBezTo>
                    <a:pt x="470" y="708"/>
                    <a:pt x="489" y="702"/>
                    <a:pt x="506" y="694"/>
                  </a:cubicBezTo>
                  <a:cubicBezTo>
                    <a:pt x="522" y="686"/>
                    <a:pt x="539" y="674"/>
                    <a:pt x="550" y="661"/>
                  </a:cubicBezTo>
                  <a:cubicBezTo>
                    <a:pt x="561" y="647"/>
                    <a:pt x="567" y="630"/>
                    <a:pt x="567" y="611"/>
                  </a:cubicBezTo>
                  <a:cubicBezTo>
                    <a:pt x="567" y="574"/>
                    <a:pt x="550" y="547"/>
                    <a:pt x="517" y="530"/>
                  </a:cubicBezTo>
                  <a:cubicBezTo>
                    <a:pt x="483" y="513"/>
                    <a:pt x="433" y="502"/>
                    <a:pt x="372" y="497"/>
                  </a:cubicBezTo>
                  <a:cubicBezTo>
                    <a:pt x="331" y="494"/>
                    <a:pt x="292" y="486"/>
                    <a:pt x="250" y="477"/>
                  </a:cubicBezTo>
                  <a:cubicBezTo>
                    <a:pt x="211" y="469"/>
                    <a:pt x="175" y="455"/>
                    <a:pt x="142" y="436"/>
                  </a:cubicBezTo>
                  <a:cubicBezTo>
                    <a:pt x="109" y="416"/>
                    <a:pt x="81" y="394"/>
                    <a:pt x="61" y="363"/>
                  </a:cubicBezTo>
                  <a:cubicBezTo>
                    <a:pt x="39" y="333"/>
                    <a:pt x="28" y="294"/>
                    <a:pt x="28" y="249"/>
                  </a:cubicBezTo>
                  <a:cubicBezTo>
                    <a:pt x="28" y="202"/>
                    <a:pt x="39" y="166"/>
                    <a:pt x="61" y="133"/>
                  </a:cubicBezTo>
                  <a:cubicBezTo>
                    <a:pt x="84" y="102"/>
                    <a:pt x="111" y="74"/>
                    <a:pt x="145" y="55"/>
                  </a:cubicBezTo>
                  <a:cubicBezTo>
                    <a:pt x="178" y="36"/>
                    <a:pt x="217" y="22"/>
                    <a:pt x="258" y="11"/>
                  </a:cubicBezTo>
                  <a:cubicBezTo>
                    <a:pt x="297" y="2"/>
                    <a:pt x="339" y="0"/>
                    <a:pt x="378" y="0"/>
                  </a:cubicBezTo>
                  <a:cubicBezTo>
                    <a:pt x="445" y="0"/>
                    <a:pt x="503" y="8"/>
                    <a:pt x="553" y="22"/>
                  </a:cubicBezTo>
                  <a:cubicBezTo>
                    <a:pt x="606" y="38"/>
                    <a:pt x="656" y="66"/>
                    <a:pt x="703" y="108"/>
                  </a:cubicBezTo>
                  <a:lnTo>
                    <a:pt x="603" y="22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4" name="Freeform 21">
              <a:extLst>
                <a:ext uri="{FF2B5EF4-FFF2-40B4-BE49-F238E27FC236}">
                  <a16:creationId xmlns:a16="http://schemas.microsoft.com/office/drawing/2014/main" id="{E70BD038-26E5-9A48-804A-252A946F509E}"/>
                </a:ext>
              </a:extLst>
            </p:cNvPr>
            <p:cNvSpPr>
              <a:spLocks noChangeArrowheads="1"/>
            </p:cNvSpPr>
            <p:nvPr userDrawn="1"/>
          </p:nvSpPr>
          <p:spPr bwMode="auto">
            <a:xfrm>
              <a:off x="2698750" y="3749675"/>
              <a:ext cx="63500" cy="298450"/>
            </a:xfrm>
            <a:custGeom>
              <a:avLst/>
              <a:gdLst>
                <a:gd name="T0" fmla="*/ 175 w 176"/>
                <a:gd name="T1" fmla="*/ 828 h 829"/>
                <a:gd name="T2" fmla="*/ 0 w 176"/>
                <a:gd name="T3" fmla="*/ 828 h 829"/>
                <a:gd name="T4" fmla="*/ 0 w 176"/>
                <a:gd name="T5" fmla="*/ 0 h 829"/>
                <a:gd name="T6" fmla="*/ 175 w 176"/>
                <a:gd name="T7" fmla="*/ 0 h 829"/>
                <a:gd name="T8" fmla="*/ 175 w 176"/>
                <a:gd name="T9" fmla="*/ 828 h 829"/>
              </a:gdLst>
              <a:ahLst/>
              <a:cxnLst>
                <a:cxn ang="0">
                  <a:pos x="T0" y="T1"/>
                </a:cxn>
                <a:cxn ang="0">
                  <a:pos x="T2" y="T3"/>
                </a:cxn>
                <a:cxn ang="0">
                  <a:pos x="T4" y="T5"/>
                </a:cxn>
                <a:cxn ang="0">
                  <a:pos x="T6" y="T7"/>
                </a:cxn>
                <a:cxn ang="0">
                  <a:pos x="T8" y="T9"/>
                </a:cxn>
              </a:cxnLst>
              <a:rect l="0" t="0" r="r" b="b"/>
              <a:pathLst>
                <a:path w="176" h="829">
                  <a:moveTo>
                    <a:pt x="175" y="828"/>
                  </a:moveTo>
                  <a:lnTo>
                    <a:pt x="0" y="828"/>
                  </a:lnTo>
                  <a:lnTo>
                    <a:pt x="0" y="0"/>
                  </a:lnTo>
                  <a:lnTo>
                    <a:pt x="175" y="0"/>
                  </a:lnTo>
                  <a:lnTo>
                    <a:pt x="175" y="82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5" name="Freeform 22">
              <a:extLst>
                <a:ext uri="{FF2B5EF4-FFF2-40B4-BE49-F238E27FC236}">
                  <a16:creationId xmlns:a16="http://schemas.microsoft.com/office/drawing/2014/main" id="{EC45D851-8B05-F549-BB5A-3E56A84A68CF}"/>
                </a:ext>
              </a:extLst>
            </p:cNvPr>
            <p:cNvSpPr>
              <a:spLocks noChangeArrowheads="1"/>
            </p:cNvSpPr>
            <p:nvPr userDrawn="1"/>
          </p:nvSpPr>
          <p:spPr bwMode="auto">
            <a:xfrm>
              <a:off x="2822575" y="3665538"/>
              <a:ext cx="223838" cy="385762"/>
            </a:xfrm>
            <a:custGeom>
              <a:avLst/>
              <a:gdLst>
                <a:gd name="T0" fmla="*/ 342 w 620"/>
                <a:gd name="T1" fmla="*/ 0 h 1073"/>
                <a:gd name="T2" fmla="*/ 342 w 620"/>
                <a:gd name="T3" fmla="*/ 0 h 1073"/>
                <a:gd name="T4" fmla="*/ 342 w 620"/>
                <a:gd name="T5" fmla="*/ 239 h 1073"/>
                <a:gd name="T6" fmla="*/ 586 w 620"/>
                <a:gd name="T7" fmla="*/ 239 h 1073"/>
                <a:gd name="T8" fmla="*/ 586 w 620"/>
                <a:gd name="T9" fmla="*/ 389 h 1073"/>
                <a:gd name="T10" fmla="*/ 339 w 620"/>
                <a:gd name="T11" fmla="*/ 389 h 1073"/>
                <a:gd name="T12" fmla="*/ 339 w 620"/>
                <a:gd name="T13" fmla="*/ 780 h 1073"/>
                <a:gd name="T14" fmla="*/ 369 w 620"/>
                <a:gd name="T15" fmla="*/ 880 h 1073"/>
                <a:gd name="T16" fmla="*/ 461 w 620"/>
                <a:gd name="T17" fmla="*/ 917 h 1073"/>
                <a:gd name="T18" fmla="*/ 514 w 620"/>
                <a:gd name="T19" fmla="*/ 908 h 1073"/>
                <a:gd name="T20" fmla="*/ 566 w 620"/>
                <a:gd name="T21" fmla="*/ 886 h 1073"/>
                <a:gd name="T22" fmla="*/ 619 w 620"/>
                <a:gd name="T23" fmla="*/ 1033 h 1073"/>
                <a:gd name="T24" fmla="*/ 533 w 620"/>
                <a:gd name="T25" fmla="*/ 1061 h 1073"/>
                <a:gd name="T26" fmla="*/ 450 w 620"/>
                <a:gd name="T27" fmla="*/ 1072 h 1073"/>
                <a:gd name="T28" fmla="*/ 236 w 620"/>
                <a:gd name="T29" fmla="*/ 1000 h 1073"/>
                <a:gd name="T30" fmla="*/ 164 w 620"/>
                <a:gd name="T31" fmla="*/ 780 h 1073"/>
                <a:gd name="T32" fmla="*/ 164 w 620"/>
                <a:gd name="T33" fmla="*/ 389 h 1073"/>
                <a:gd name="T34" fmla="*/ 0 w 620"/>
                <a:gd name="T35" fmla="*/ 389 h 1073"/>
                <a:gd name="T36" fmla="*/ 0 w 620"/>
                <a:gd name="T37" fmla="*/ 239 h 1073"/>
                <a:gd name="T38" fmla="*/ 164 w 620"/>
                <a:gd name="T39" fmla="*/ 239 h 1073"/>
                <a:gd name="T40" fmla="*/ 164 w 620"/>
                <a:gd name="T41" fmla="*/ 19 h 1073"/>
                <a:gd name="T42" fmla="*/ 342 w 620"/>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0" h="1073">
                  <a:moveTo>
                    <a:pt x="342" y="0"/>
                  </a:moveTo>
                  <a:lnTo>
                    <a:pt x="342" y="0"/>
                  </a:lnTo>
                  <a:cubicBezTo>
                    <a:pt x="342" y="239"/>
                    <a:pt x="342" y="239"/>
                    <a:pt x="342" y="239"/>
                  </a:cubicBezTo>
                  <a:cubicBezTo>
                    <a:pt x="586" y="239"/>
                    <a:pt x="586" y="239"/>
                    <a:pt x="586" y="239"/>
                  </a:cubicBezTo>
                  <a:cubicBezTo>
                    <a:pt x="586" y="389"/>
                    <a:pt x="586" y="389"/>
                    <a:pt x="586" y="389"/>
                  </a:cubicBezTo>
                  <a:cubicBezTo>
                    <a:pt x="339" y="389"/>
                    <a:pt x="339" y="389"/>
                    <a:pt x="339" y="389"/>
                  </a:cubicBezTo>
                  <a:cubicBezTo>
                    <a:pt x="339" y="780"/>
                    <a:pt x="339" y="780"/>
                    <a:pt x="339" y="780"/>
                  </a:cubicBezTo>
                  <a:cubicBezTo>
                    <a:pt x="339" y="825"/>
                    <a:pt x="350" y="858"/>
                    <a:pt x="369" y="880"/>
                  </a:cubicBezTo>
                  <a:cubicBezTo>
                    <a:pt x="389" y="905"/>
                    <a:pt x="419" y="917"/>
                    <a:pt x="461" y="917"/>
                  </a:cubicBezTo>
                  <a:cubicBezTo>
                    <a:pt x="478" y="917"/>
                    <a:pt x="494" y="914"/>
                    <a:pt x="514" y="908"/>
                  </a:cubicBezTo>
                  <a:cubicBezTo>
                    <a:pt x="533" y="903"/>
                    <a:pt x="550" y="897"/>
                    <a:pt x="566" y="886"/>
                  </a:cubicBezTo>
                  <a:cubicBezTo>
                    <a:pt x="619" y="1033"/>
                    <a:pt x="619" y="1033"/>
                    <a:pt x="619" y="1033"/>
                  </a:cubicBezTo>
                  <a:cubicBezTo>
                    <a:pt x="589" y="1047"/>
                    <a:pt x="561" y="1055"/>
                    <a:pt x="533" y="1061"/>
                  </a:cubicBezTo>
                  <a:cubicBezTo>
                    <a:pt x="508" y="1069"/>
                    <a:pt x="480" y="1072"/>
                    <a:pt x="450" y="1072"/>
                  </a:cubicBezTo>
                  <a:cubicBezTo>
                    <a:pt x="358" y="1072"/>
                    <a:pt x="286" y="1050"/>
                    <a:pt x="236" y="1000"/>
                  </a:cubicBezTo>
                  <a:cubicBezTo>
                    <a:pt x="189" y="953"/>
                    <a:pt x="164" y="878"/>
                    <a:pt x="164" y="780"/>
                  </a:cubicBezTo>
                  <a:cubicBezTo>
                    <a:pt x="164" y="389"/>
                    <a:pt x="164" y="389"/>
                    <a:pt x="164" y="389"/>
                  </a:cubicBezTo>
                  <a:cubicBezTo>
                    <a:pt x="0" y="389"/>
                    <a:pt x="0" y="389"/>
                    <a:pt x="0" y="389"/>
                  </a:cubicBezTo>
                  <a:cubicBezTo>
                    <a:pt x="0" y="239"/>
                    <a:pt x="0" y="239"/>
                    <a:pt x="0" y="239"/>
                  </a:cubicBezTo>
                  <a:cubicBezTo>
                    <a:pt x="164" y="239"/>
                    <a:pt x="164" y="239"/>
                    <a:pt x="164" y="239"/>
                  </a:cubicBezTo>
                  <a:cubicBezTo>
                    <a:pt x="164" y="19"/>
                    <a:pt x="164" y="19"/>
                    <a:pt x="164" y="19"/>
                  </a:cubicBezTo>
                  <a:lnTo>
                    <a:pt x="34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6" name="Freeform 23">
              <a:extLst>
                <a:ext uri="{FF2B5EF4-FFF2-40B4-BE49-F238E27FC236}">
                  <a16:creationId xmlns:a16="http://schemas.microsoft.com/office/drawing/2014/main" id="{AA995A18-2D95-0E43-B94A-3DA3DCDB513C}"/>
                </a:ext>
              </a:extLst>
            </p:cNvPr>
            <p:cNvSpPr>
              <a:spLocks noChangeArrowheads="1"/>
            </p:cNvSpPr>
            <p:nvPr userDrawn="1"/>
          </p:nvSpPr>
          <p:spPr bwMode="auto">
            <a:xfrm>
              <a:off x="3208338" y="3749675"/>
              <a:ext cx="492125" cy="298450"/>
            </a:xfrm>
            <a:custGeom>
              <a:avLst/>
              <a:gdLst>
                <a:gd name="T0" fmla="*/ 761 w 1368"/>
                <a:gd name="T1" fmla="*/ 0 h 829"/>
                <a:gd name="T2" fmla="*/ 961 w 1368"/>
                <a:gd name="T3" fmla="*/ 647 h 829"/>
                <a:gd name="T4" fmla="*/ 1169 w 1368"/>
                <a:gd name="T5" fmla="*/ 0 h 829"/>
                <a:gd name="T6" fmla="*/ 1367 w 1368"/>
                <a:gd name="T7" fmla="*/ 0 h 829"/>
                <a:gd name="T8" fmla="*/ 1072 w 1368"/>
                <a:gd name="T9" fmla="*/ 828 h 829"/>
                <a:gd name="T10" fmla="*/ 867 w 1368"/>
                <a:gd name="T11" fmla="*/ 828 h 829"/>
                <a:gd name="T12" fmla="*/ 767 w 1368"/>
                <a:gd name="T13" fmla="*/ 555 h 829"/>
                <a:gd name="T14" fmla="*/ 686 w 1368"/>
                <a:gd name="T15" fmla="*/ 267 h 829"/>
                <a:gd name="T16" fmla="*/ 603 w 1368"/>
                <a:gd name="T17" fmla="*/ 555 h 829"/>
                <a:gd name="T18" fmla="*/ 503 w 1368"/>
                <a:gd name="T19" fmla="*/ 828 h 829"/>
                <a:gd name="T20" fmla="*/ 297 w 1368"/>
                <a:gd name="T21" fmla="*/ 828 h 829"/>
                <a:gd name="T22" fmla="*/ 0 w 1368"/>
                <a:gd name="T23" fmla="*/ 0 h 829"/>
                <a:gd name="T24" fmla="*/ 200 w 1368"/>
                <a:gd name="T25" fmla="*/ 0 h 829"/>
                <a:gd name="T26" fmla="*/ 408 w 1368"/>
                <a:gd name="T27" fmla="*/ 647 h 829"/>
                <a:gd name="T28" fmla="*/ 608 w 1368"/>
                <a:gd name="T29" fmla="*/ 0 h 829"/>
                <a:gd name="T30" fmla="*/ 761 w 1368"/>
                <a:gd name="T31" fmla="*/ 0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8" h="829">
                  <a:moveTo>
                    <a:pt x="761" y="0"/>
                  </a:moveTo>
                  <a:lnTo>
                    <a:pt x="961" y="647"/>
                  </a:lnTo>
                  <a:lnTo>
                    <a:pt x="1169" y="0"/>
                  </a:lnTo>
                  <a:lnTo>
                    <a:pt x="1367" y="0"/>
                  </a:lnTo>
                  <a:lnTo>
                    <a:pt x="1072" y="828"/>
                  </a:lnTo>
                  <a:lnTo>
                    <a:pt x="867" y="828"/>
                  </a:lnTo>
                  <a:lnTo>
                    <a:pt x="767" y="555"/>
                  </a:lnTo>
                  <a:lnTo>
                    <a:pt x="686" y="267"/>
                  </a:lnTo>
                  <a:lnTo>
                    <a:pt x="603" y="555"/>
                  </a:lnTo>
                  <a:lnTo>
                    <a:pt x="503" y="828"/>
                  </a:lnTo>
                  <a:lnTo>
                    <a:pt x="297" y="828"/>
                  </a:lnTo>
                  <a:lnTo>
                    <a:pt x="0" y="0"/>
                  </a:lnTo>
                  <a:lnTo>
                    <a:pt x="200" y="0"/>
                  </a:lnTo>
                  <a:lnTo>
                    <a:pt x="408" y="647"/>
                  </a:lnTo>
                  <a:lnTo>
                    <a:pt x="608" y="0"/>
                  </a:lnTo>
                  <a:lnTo>
                    <a:pt x="761"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7" name="Freeform 24">
              <a:extLst>
                <a:ext uri="{FF2B5EF4-FFF2-40B4-BE49-F238E27FC236}">
                  <a16:creationId xmlns:a16="http://schemas.microsoft.com/office/drawing/2014/main" id="{70EEA587-2306-EB49-8FE3-42EBD34E90A9}"/>
                </a:ext>
              </a:extLst>
            </p:cNvPr>
            <p:cNvSpPr>
              <a:spLocks noChangeArrowheads="1"/>
            </p:cNvSpPr>
            <p:nvPr userDrawn="1"/>
          </p:nvSpPr>
          <p:spPr bwMode="auto">
            <a:xfrm>
              <a:off x="37322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3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8" y="147"/>
                    <a:pt x="127" y="111"/>
                  </a:cubicBezTo>
                  <a:cubicBezTo>
                    <a:pt x="166" y="75"/>
                    <a:pt x="211" y="48"/>
                    <a:pt x="263"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38" y="636"/>
                    <a:pt x="669" y="603"/>
                    <a:pt x="691" y="561"/>
                  </a:cubicBezTo>
                  <a:cubicBezTo>
                    <a:pt x="711" y="522"/>
                    <a:pt x="722" y="478"/>
                    <a:pt x="722" y="431"/>
                  </a:cubicBezTo>
                  <a:cubicBezTo>
                    <a:pt x="722" y="384"/>
                    <a:pt x="711" y="339"/>
                    <a:pt x="691" y="298"/>
                  </a:cubicBezTo>
                  <a:cubicBezTo>
                    <a:pt x="669" y="259"/>
                    <a:pt x="638" y="223"/>
                    <a:pt x="600" y="198"/>
                  </a:cubicBezTo>
                  <a:cubicBezTo>
                    <a:pt x="558" y="170"/>
                    <a:pt x="508" y="156"/>
                    <a:pt x="450" y="156"/>
                  </a:cubicBezTo>
                  <a:lnTo>
                    <a:pt x="722" y="14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8" name="Freeform 25">
              <a:extLst>
                <a:ext uri="{FF2B5EF4-FFF2-40B4-BE49-F238E27FC236}">
                  <a16:creationId xmlns:a16="http://schemas.microsoft.com/office/drawing/2014/main" id="{72CD9F3A-AD63-334C-8F13-F68D61A86EBC}"/>
                </a:ext>
              </a:extLst>
            </p:cNvPr>
            <p:cNvSpPr>
              <a:spLocks noChangeArrowheads="1"/>
            </p:cNvSpPr>
            <p:nvPr userDrawn="1"/>
          </p:nvSpPr>
          <p:spPr bwMode="auto">
            <a:xfrm>
              <a:off x="4116388" y="3743325"/>
              <a:ext cx="268287" cy="312738"/>
            </a:xfrm>
            <a:custGeom>
              <a:avLst/>
              <a:gdLst>
                <a:gd name="T0" fmla="*/ 605 w 745"/>
                <a:gd name="T1" fmla="*/ 222 h 870"/>
                <a:gd name="T2" fmla="*/ 605 w 745"/>
                <a:gd name="T3" fmla="*/ 222 h 870"/>
                <a:gd name="T4" fmla="*/ 500 w 745"/>
                <a:gd name="T5" fmla="*/ 161 h 870"/>
                <a:gd name="T6" fmla="*/ 383 w 745"/>
                <a:gd name="T7" fmla="*/ 147 h 870"/>
                <a:gd name="T8" fmla="*/ 253 w 745"/>
                <a:gd name="T9" fmla="*/ 169 h 870"/>
                <a:gd name="T10" fmla="*/ 203 w 745"/>
                <a:gd name="T11" fmla="*/ 244 h 870"/>
                <a:gd name="T12" fmla="*/ 256 w 745"/>
                <a:gd name="T13" fmla="*/ 319 h 870"/>
                <a:gd name="T14" fmla="*/ 386 w 745"/>
                <a:gd name="T15" fmla="*/ 349 h 870"/>
                <a:gd name="T16" fmla="*/ 508 w 745"/>
                <a:gd name="T17" fmla="*/ 366 h 870"/>
                <a:gd name="T18" fmla="*/ 625 w 745"/>
                <a:gd name="T19" fmla="*/ 405 h 870"/>
                <a:gd name="T20" fmla="*/ 711 w 745"/>
                <a:gd name="T21" fmla="*/ 480 h 870"/>
                <a:gd name="T22" fmla="*/ 744 w 745"/>
                <a:gd name="T23" fmla="*/ 608 h 870"/>
                <a:gd name="T24" fmla="*/ 717 w 745"/>
                <a:gd name="T25" fmla="*/ 713 h 870"/>
                <a:gd name="T26" fmla="*/ 644 w 745"/>
                <a:gd name="T27" fmla="*/ 797 h 870"/>
                <a:gd name="T28" fmla="*/ 533 w 745"/>
                <a:gd name="T29" fmla="*/ 849 h 870"/>
                <a:gd name="T30" fmla="*/ 386 w 745"/>
                <a:gd name="T31" fmla="*/ 869 h 870"/>
                <a:gd name="T32" fmla="*/ 183 w 745"/>
                <a:gd name="T33" fmla="*/ 838 h 870"/>
                <a:gd name="T34" fmla="*/ 0 w 745"/>
                <a:gd name="T35" fmla="*/ 716 h 870"/>
                <a:gd name="T36" fmla="*/ 92 w 745"/>
                <a:gd name="T37" fmla="*/ 597 h 870"/>
                <a:gd name="T38" fmla="*/ 233 w 745"/>
                <a:gd name="T39" fmla="*/ 688 h 870"/>
                <a:gd name="T40" fmla="*/ 389 w 745"/>
                <a:gd name="T41" fmla="*/ 719 h 870"/>
                <a:gd name="T42" fmla="*/ 450 w 745"/>
                <a:gd name="T43" fmla="*/ 713 h 870"/>
                <a:gd name="T44" fmla="*/ 508 w 745"/>
                <a:gd name="T45" fmla="*/ 694 h 870"/>
                <a:gd name="T46" fmla="*/ 550 w 745"/>
                <a:gd name="T47" fmla="*/ 661 h 870"/>
                <a:gd name="T48" fmla="*/ 567 w 745"/>
                <a:gd name="T49" fmla="*/ 611 h 870"/>
                <a:gd name="T50" fmla="*/ 519 w 745"/>
                <a:gd name="T51" fmla="*/ 530 h 870"/>
                <a:gd name="T52" fmla="*/ 372 w 745"/>
                <a:gd name="T53" fmla="*/ 497 h 870"/>
                <a:gd name="T54" fmla="*/ 253 w 745"/>
                <a:gd name="T55" fmla="*/ 477 h 870"/>
                <a:gd name="T56" fmla="*/ 142 w 745"/>
                <a:gd name="T57" fmla="*/ 436 h 870"/>
                <a:gd name="T58" fmla="*/ 61 w 745"/>
                <a:gd name="T59" fmla="*/ 363 h 870"/>
                <a:gd name="T60" fmla="*/ 30 w 745"/>
                <a:gd name="T61" fmla="*/ 249 h 870"/>
                <a:gd name="T62" fmla="*/ 61 w 745"/>
                <a:gd name="T63" fmla="*/ 133 h 870"/>
                <a:gd name="T64" fmla="*/ 147 w 745"/>
                <a:gd name="T65" fmla="*/ 55 h 870"/>
                <a:gd name="T66" fmla="*/ 258 w 745"/>
                <a:gd name="T67" fmla="*/ 11 h 870"/>
                <a:gd name="T68" fmla="*/ 381 w 745"/>
                <a:gd name="T69" fmla="*/ 0 h 870"/>
                <a:gd name="T70" fmla="*/ 556 w 745"/>
                <a:gd name="T71" fmla="*/ 22 h 870"/>
                <a:gd name="T72" fmla="*/ 705 w 745"/>
                <a:gd name="T73" fmla="*/ 108 h 870"/>
                <a:gd name="T74" fmla="*/ 605 w 745"/>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5" h="870">
                  <a:moveTo>
                    <a:pt x="605" y="222"/>
                  </a:moveTo>
                  <a:lnTo>
                    <a:pt x="605" y="222"/>
                  </a:lnTo>
                  <a:cubicBezTo>
                    <a:pt x="572" y="191"/>
                    <a:pt x="536" y="172"/>
                    <a:pt x="500" y="161"/>
                  </a:cubicBezTo>
                  <a:cubicBezTo>
                    <a:pt x="464" y="149"/>
                    <a:pt x="425" y="147"/>
                    <a:pt x="383" y="147"/>
                  </a:cubicBezTo>
                  <a:cubicBezTo>
                    <a:pt x="328" y="144"/>
                    <a:pt x="286" y="152"/>
                    <a:pt x="253" y="169"/>
                  </a:cubicBezTo>
                  <a:cubicBezTo>
                    <a:pt x="219" y="188"/>
                    <a:pt x="203" y="211"/>
                    <a:pt x="203" y="244"/>
                  </a:cubicBezTo>
                  <a:cubicBezTo>
                    <a:pt x="206" y="280"/>
                    <a:pt x="222" y="302"/>
                    <a:pt x="256" y="319"/>
                  </a:cubicBezTo>
                  <a:cubicBezTo>
                    <a:pt x="289" y="333"/>
                    <a:pt x="333" y="344"/>
                    <a:pt x="386" y="349"/>
                  </a:cubicBezTo>
                  <a:cubicBezTo>
                    <a:pt x="425" y="352"/>
                    <a:pt x="467" y="358"/>
                    <a:pt x="508" y="366"/>
                  </a:cubicBezTo>
                  <a:cubicBezTo>
                    <a:pt x="550" y="372"/>
                    <a:pt x="589" y="386"/>
                    <a:pt x="625" y="405"/>
                  </a:cubicBezTo>
                  <a:cubicBezTo>
                    <a:pt x="658" y="422"/>
                    <a:pt x="689" y="447"/>
                    <a:pt x="711" y="480"/>
                  </a:cubicBezTo>
                  <a:cubicBezTo>
                    <a:pt x="733" y="513"/>
                    <a:pt x="744" y="555"/>
                    <a:pt x="744" y="608"/>
                  </a:cubicBezTo>
                  <a:cubicBezTo>
                    <a:pt x="744" y="647"/>
                    <a:pt x="736" y="683"/>
                    <a:pt x="717" y="713"/>
                  </a:cubicBezTo>
                  <a:cubicBezTo>
                    <a:pt x="700" y="747"/>
                    <a:pt x="678" y="774"/>
                    <a:pt x="644" y="797"/>
                  </a:cubicBezTo>
                  <a:cubicBezTo>
                    <a:pt x="614" y="819"/>
                    <a:pt x="578" y="838"/>
                    <a:pt x="533" y="849"/>
                  </a:cubicBezTo>
                  <a:cubicBezTo>
                    <a:pt x="489" y="863"/>
                    <a:pt x="439" y="869"/>
                    <a:pt x="386" y="869"/>
                  </a:cubicBezTo>
                  <a:cubicBezTo>
                    <a:pt x="317" y="869"/>
                    <a:pt x="250" y="858"/>
                    <a:pt x="183" y="838"/>
                  </a:cubicBezTo>
                  <a:cubicBezTo>
                    <a:pt x="117" y="819"/>
                    <a:pt x="56" y="777"/>
                    <a:pt x="0" y="716"/>
                  </a:cubicBezTo>
                  <a:cubicBezTo>
                    <a:pt x="92" y="597"/>
                    <a:pt x="92" y="597"/>
                    <a:pt x="92" y="597"/>
                  </a:cubicBezTo>
                  <a:cubicBezTo>
                    <a:pt x="133" y="638"/>
                    <a:pt x="181" y="669"/>
                    <a:pt x="233" y="688"/>
                  </a:cubicBezTo>
                  <a:cubicBezTo>
                    <a:pt x="286" y="708"/>
                    <a:pt x="339" y="719"/>
                    <a:pt x="389" y="719"/>
                  </a:cubicBezTo>
                  <a:cubicBezTo>
                    <a:pt x="408" y="719"/>
                    <a:pt x="430" y="716"/>
                    <a:pt x="450" y="713"/>
                  </a:cubicBezTo>
                  <a:cubicBezTo>
                    <a:pt x="472" y="708"/>
                    <a:pt x="492" y="702"/>
                    <a:pt x="508" y="694"/>
                  </a:cubicBezTo>
                  <a:cubicBezTo>
                    <a:pt x="525" y="686"/>
                    <a:pt x="539" y="674"/>
                    <a:pt x="550" y="661"/>
                  </a:cubicBezTo>
                  <a:cubicBezTo>
                    <a:pt x="561" y="647"/>
                    <a:pt x="567" y="630"/>
                    <a:pt x="567" y="611"/>
                  </a:cubicBezTo>
                  <a:cubicBezTo>
                    <a:pt x="569" y="574"/>
                    <a:pt x="553" y="547"/>
                    <a:pt x="519" y="530"/>
                  </a:cubicBezTo>
                  <a:cubicBezTo>
                    <a:pt x="483" y="513"/>
                    <a:pt x="436" y="502"/>
                    <a:pt x="372" y="497"/>
                  </a:cubicBezTo>
                  <a:cubicBezTo>
                    <a:pt x="333" y="494"/>
                    <a:pt x="292" y="486"/>
                    <a:pt x="253" y="477"/>
                  </a:cubicBezTo>
                  <a:cubicBezTo>
                    <a:pt x="211" y="469"/>
                    <a:pt x="175" y="455"/>
                    <a:pt x="142" y="436"/>
                  </a:cubicBezTo>
                  <a:cubicBezTo>
                    <a:pt x="108" y="416"/>
                    <a:pt x="83" y="394"/>
                    <a:pt x="61" y="363"/>
                  </a:cubicBezTo>
                  <a:cubicBezTo>
                    <a:pt x="42" y="333"/>
                    <a:pt x="30" y="294"/>
                    <a:pt x="30" y="249"/>
                  </a:cubicBezTo>
                  <a:cubicBezTo>
                    <a:pt x="30" y="202"/>
                    <a:pt x="42" y="166"/>
                    <a:pt x="61" y="133"/>
                  </a:cubicBezTo>
                  <a:cubicBezTo>
                    <a:pt x="83" y="102"/>
                    <a:pt x="111" y="74"/>
                    <a:pt x="147" y="55"/>
                  </a:cubicBezTo>
                  <a:cubicBezTo>
                    <a:pt x="181" y="36"/>
                    <a:pt x="217" y="22"/>
                    <a:pt x="258" y="11"/>
                  </a:cubicBezTo>
                  <a:cubicBezTo>
                    <a:pt x="300" y="2"/>
                    <a:pt x="339" y="0"/>
                    <a:pt x="381" y="0"/>
                  </a:cubicBezTo>
                  <a:cubicBezTo>
                    <a:pt x="444" y="0"/>
                    <a:pt x="503" y="8"/>
                    <a:pt x="556" y="22"/>
                  </a:cubicBezTo>
                  <a:cubicBezTo>
                    <a:pt x="605" y="38"/>
                    <a:pt x="656" y="66"/>
                    <a:pt x="705" y="108"/>
                  </a:cubicBezTo>
                  <a:lnTo>
                    <a:pt x="605" y="22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9" name="Freeform 26">
              <a:extLst>
                <a:ext uri="{FF2B5EF4-FFF2-40B4-BE49-F238E27FC236}">
                  <a16:creationId xmlns:a16="http://schemas.microsoft.com/office/drawing/2014/main" id="{4AA9266C-9A95-AC43-A5B1-6FB5289A6E70}"/>
                </a:ext>
              </a:extLst>
            </p:cNvPr>
            <p:cNvSpPr>
              <a:spLocks noChangeArrowheads="1"/>
            </p:cNvSpPr>
            <p:nvPr userDrawn="1"/>
          </p:nvSpPr>
          <p:spPr bwMode="auto">
            <a:xfrm>
              <a:off x="4600575" y="3744913"/>
              <a:ext cx="476250" cy="301625"/>
            </a:xfrm>
            <a:custGeom>
              <a:avLst/>
              <a:gdLst>
                <a:gd name="T0" fmla="*/ 575 w 1322"/>
                <a:gd name="T1" fmla="*/ 839 h 840"/>
                <a:gd name="T2" fmla="*/ 575 w 1322"/>
                <a:gd name="T3" fmla="*/ 839 h 840"/>
                <a:gd name="T4" fmla="*/ 575 w 1322"/>
                <a:gd name="T5" fmla="*/ 386 h 840"/>
                <a:gd name="T6" fmla="*/ 564 w 1322"/>
                <a:gd name="T7" fmla="*/ 300 h 840"/>
                <a:gd name="T8" fmla="*/ 525 w 1322"/>
                <a:gd name="T9" fmla="*/ 228 h 840"/>
                <a:gd name="T10" fmla="*/ 461 w 1322"/>
                <a:gd name="T11" fmla="*/ 178 h 840"/>
                <a:gd name="T12" fmla="*/ 381 w 1322"/>
                <a:gd name="T13" fmla="*/ 161 h 840"/>
                <a:gd name="T14" fmla="*/ 295 w 1322"/>
                <a:gd name="T15" fmla="*/ 178 h 840"/>
                <a:gd name="T16" fmla="*/ 231 w 1322"/>
                <a:gd name="T17" fmla="*/ 228 h 840"/>
                <a:gd name="T18" fmla="*/ 192 w 1322"/>
                <a:gd name="T19" fmla="*/ 300 h 840"/>
                <a:gd name="T20" fmla="*/ 175 w 1322"/>
                <a:gd name="T21" fmla="*/ 386 h 840"/>
                <a:gd name="T22" fmla="*/ 175 w 1322"/>
                <a:gd name="T23" fmla="*/ 839 h 840"/>
                <a:gd name="T24" fmla="*/ 0 w 1322"/>
                <a:gd name="T25" fmla="*/ 839 h 840"/>
                <a:gd name="T26" fmla="*/ 0 w 1322"/>
                <a:gd name="T27" fmla="*/ 14 h 840"/>
                <a:gd name="T28" fmla="*/ 164 w 1322"/>
                <a:gd name="T29" fmla="*/ 14 h 840"/>
                <a:gd name="T30" fmla="*/ 175 w 1322"/>
                <a:gd name="T31" fmla="*/ 125 h 840"/>
                <a:gd name="T32" fmla="*/ 278 w 1322"/>
                <a:gd name="T33" fmla="*/ 28 h 840"/>
                <a:gd name="T34" fmla="*/ 411 w 1322"/>
                <a:gd name="T35" fmla="*/ 0 h 840"/>
                <a:gd name="T36" fmla="*/ 492 w 1322"/>
                <a:gd name="T37" fmla="*/ 8 h 840"/>
                <a:gd name="T38" fmla="*/ 567 w 1322"/>
                <a:gd name="T39" fmla="*/ 36 h 840"/>
                <a:gd name="T40" fmla="*/ 631 w 1322"/>
                <a:gd name="T41" fmla="*/ 89 h 840"/>
                <a:gd name="T42" fmla="*/ 675 w 1322"/>
                <a:gd name="T43" fmla="*/ 167 h 840"/>
                <a:gd name="T44" fmla="*/ 803 w 1322"/>
                <a:gd name="T45" fmla="*/ 39 h 840"/>
                <a:gd name="T46" fmla="*/ 964 w 1322"/>
                <a:gd name="T47" fmla="*/ 3 h 840"/>
                <a:gd name="T48" fmla="*/ 1230 w 1322"/>
                <a:gd name="T49" fmla="*/ 103 h 840"/>
                <a:gd name="T50" fmla="*/ 1321 w 1322"/>
                <a:gd name="T51" fmla="*/ 383 h 840"/>
                <a:gd name="T52" fmla="*/ 1321 w 1322"/>
                <a:gd name="T53" fmla="*/ 839 h 840"/>
                <a:gd name="T54" fmla="*/ 1145 w 1322"/>
                <a:gd name="T55" fmla="*/ 839 h 840"/>
                <a:gd name="T56" fmla="*/ 1145 w 1322"/>
                <a:gd name="T57" fmla="*/ 381 h 840"/>
                <a:gd name="T58" fmla="*/ 1134 w 1322"/>
                <a:gd name="T59" fmla="*/ 297 h 840"/>
                <a:gd name="T60" fmla="*/ 1097 w 1322"/>
                <a:gd name="T61" fmla="*/ 225 h 840"/>
                <a:gd name="T62" fmla="*/ 1039 w 1322"/>
                <a:gd name="T63" fmla="*/ 178 h 840"/>
                <a:gd name="T64" fmla="*/ 959 w 1322"/>
                <a:gd name="T65" fmla="*/ 161 h 840"/>
                <a:gd name="T66" fmla="*/ 872 w 1322"/>
                <a:gd name="T67" fmla="*/ 181 h 840"/>
                <a:gd name="T68" fmla="*/ 809 w 1322"/>
                <a:gd name="T69" fmla="*/ 228 h 840"/>
                <a:gd name="T70" fmla="*/ 767 w 1322"/>
                <a:gd name="T71" fmla="*/ 300 h 840"/>
                <a:gd name="T72" fmla="*/ 753 w 1322"/>
                <a:gd name="T73" fmla="*/ 386 h 840"/>
                <a:gd name="T74" fmla="*/ 753 w 1322"/>
                <a:gd name="T75" fmla="*/ 839 h 840"/>
                <a:gd name="T76" fmla="*/ 575 w 1322"/>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2" h="840">
                  <a:moveTo>
                    <a:pt x="575" y="839"/>
                  </a:moveTo>
                  <a:lnTo>
                    <a:pt x="575" y="839"/>
                  </a:lnTo>
                  <a:cubicBezTo>
                    <a:pt x="575" y="386"/>
                    <a:pt x="575" y="386"/>
                    <a:pt x="575" y="386"/>
                  </a:cubicBezTo>
                  <a:cubicBezTo>
                    <a:pt x="575" y="356"/>
                    <a:pt x="572" y="325"/>
                    <a:pt x="564" y="300"/>
                  </a:cubicBezTo>
                  <a:cubicBezTo>
                    <a:pt x="556" y="272"/>
                    <a:pt x="542" y="247"/>
                    <a:pt x="525" y="228"/>
                  </a:cubicBezTo>
                  <a:cubicBezTo>
                    <a:pt x="509" y="206"/>
                    <a:pt x="486" y="189"/>
                    <a:pt x="461" y="178"/>
                  </a:cubicBezTo>
                  <a:cubicBezTo>
                    <a:pt x="436" y="167"/>
                    <a:pt x="411" y="161"/>
                    <a:pt x="381" y="161"/>
                  </a:cubicBezTo>
                  <a:cubicBezTo>
                    <a:pt x="347" y="161"/>
                    <a:pt x="320" y="167"/>
                    <a:pt x="295" y="178"/>
                  </a:cubicBezTo>
                  <a:cubicBezTo>
                    <a:pt x="270" y="189"/>
                    <a:pt x="250" y="206"/>
                    <a:pt x="231" y="228"/>
                  </a:cubicBezTo>
                  <a:cubicBezTo>
                    <a:pt x="214" y="247"/>
                    <a:pt x="200" y="272"/>
                    <a:pt x="192" y="300"/>
                  </a:cubicBezTo>
                  <a:cubicBezTo>
                    <a:pt x="181" y="325"/>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200" y="78"/>
                    <a:pt x="234" y="47"/>
                    <a:pt x="278" y="28"/>
                  </a:cubicBezTo>
                  <a:cubicBezTo>
                    <a:pt x="323" y="8"/>
                    <a:pt x="367" y="0"/>
                    <a:pt x="411" y="0"/>
                  </a:cubicBezTo>
                  <a:cubicBezTo>
                    <a:pt x="439" y="0"/>
                    <a:pt x="467" y="3"/>
                    <a:pt x="492" y="8"/>
                  </a:cubicBezTo>
                  <a:cubicBezTo>
                    <a:pt x="520" y="14"/>
                    <a:pt x="542" y="22"/>
                    <a:pt x="567" y="36"/>
                  </a:cubicBezTo>
                  <a:cubicBezTo>
                    <a:pt x="589" y="50"/>
                    <a:pt x="611" y="67"/>
                    <a:pt x="631" y="89"/>
                  </a:cubicBezTo>
                  <a:cubicBezTo>
                    <a:pt x="647" y="111"/>
                    <a:pt x="664" y="136"/>
                    <a:pt x="675" y="167"/>
                  </a:cubicBezTo>
                  <a:cubicBezTo>
                    <a:pt x="711" y="106"/>
                    <a:pt x="753" y="61"/>
                    <a:pt x="803" y="39"/>
                  </a:cubicBezTo>
                  <a:cubicBezTo>
                    <a:pt x="853" y="14"/>
                    <a:pt x="906" y="3"/>
                    <a:pt x="964" y="3"/>
                  </a:cubicBezTo>
                  <a:cubicBezTo>
                    <a:pt x="1084" y="3"/>
                    <a:pt x="1172" y="36"/>
                    <a:pt x="1230" y="103"/>
                  </a:cubicBezTo>
                  <a:cubicBezTo>
                    <a:pt x="1291" y="169"/>
                    <a:pt x="1321" y="264"/>
                    <a:pt x="1321" y="383"/>
                  </a:cubicBezTo>
                  <a:cubicBezTo>
                    <a:pt x="1321" y="839"/>
                    <a:pt x="1321" y="839"/>
                    <a:pt x="1321" y="839"/>
                  </a:cubicBezTo>
                  <a:cubicBezTo>
                    <a:pt x="1145" y="839"/>
                    <a:pt x="1145" y="839"/>
                    <a:pt x="1145" y="839"/>
                  </a:cubicBezTo>
                  <a:cubicBezTo>
                    <a:pt x="1145" y="381"/>
                    <a:pt x="1145" y="381"/>
                    <a:pt x="1145" y="381"/>
                  </a:cubicBezTo>
                  <a:cubicBezTo>
                    <a:pt x="1145" y="353"/>
                    <a:pt x="1139" y="322"/>
                    <a:pt x="1134" y="297"/>
                  </a:cubicBezTo>
                  <a:cubicBezTo>
                    <a:pt x="1125" y="269"/>
                    <a:pt x="1114" y="247"/>
                    <a:pt x="1097" y="225"/>
                  </a:cubicBezTo>
                  <a:cubicBezTo>
                    <a:pt x="1081" y="206"/>
                    <a:pt x="1061" y="189"/>
                    <a:pt x="1039" y="178"/>
                  </a:cubicBezTo>
                  <a:cubicBezTo>
                    <a:pt x="1017" y="167"/>
                    <a:pt x="989" y="161"/>
                    <a:pt x="959" y="161"/>
                  </a:cubicBezTo>
                  <a:cubicBezTo>
                    <a:pt x="928" y="161"/>
                    <a:pt x="900" y="169"/>
                    <a:pt x="872" y="181"/>
                  </a:cubicBezTo>
                  <a:cubicBezTo>
                    <a:pt x="847" y="192"/>
                    <a:pt x="825" y="208"/>
                    <a:pt x="809" y="228"/>
                  </a:cubicBezTo>
                  <a:cubicBezTo>
                    <a:pt x="792" y="247"/>
                    <a:pt x="778" y="272"/>
                    <a:pt x="767" y="300"/>
                  </a:cubicBezTo>
                  <a:cubicBezTo>
                    <a:pt x="759" y="325"/>
                    <a:pt x="753" y="356"/>
                    <a:pt x="753" y="386"/>
                  </a:cubicBezTo>
                  <a:cubicBezTo>
                    <a:pt x="753" y="839"/>
                    <a:pt x="753" y="839"/>
                    <a:pt x="753" y="839"/>
                  </a:cubicBezTo>
                  <a:lnTo>
                    <a:pt x="575" y="83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0" name="Freeform 27">
              <a:extLst>
                <a:ext uri="{FF2B5EF4-FFF2-40B4-BE49-F238E27FC236}">
                  <a16:creationId xmlns:a16="http://schemas.microsoft.com/office/drawing/2014/main" id="{6745A430-6FAE-ED4D-A55A-AD8B18569B1C}"/>
                </a:ext>
              </a:extLst>
            </p:cNvPr>
            <p:cNvSpPr>
              <a:spLocks noChangeArrowheads="1"/>
            </p:cNvSpPr>
            <p:nvPr userDrawn="1"/>
          </p:nvSpPr>
          <p:spPr bwMode="auto">
            <a:xfrm>
              <a:off x="5138738" y="3743325"/>
              <a:ext cx="315912"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2 w 876"/>
                <a:gd name="T11" fmla="*/ 680 h 864"/>
                <a:gd name="T12" fmla="*/ 703 w 876"/>
                <a:gd name="T13" fmla="*/ 616 h 864"/>
                <a:gd name="T14" fmla="*/ 817 w 876"/>
                <a:gd name="T15" fmla="*/ 724 h 864"/>
                <a:gd name="T16" fmla="*/ 742 w 876"/>
                <a:gd name="T17" fmla="*/ 786 h 864"/>
                <a:gd name="T18" fmla="*/ 653 w 876"/>
                <a:gd name="T19" fmla="*/ 830 h 864"/>
                <a:gd name="T20" fmla="*/ 553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3 w 876"/>
                <a:gd name="T35" fmla="*/ 119 h 864"/>
                <a:gd name="T36" fmla="*/ 261 w 876"/>
                <a:gd name="T37" fmla="*/ 30 h 864"/>
                <a:gd name="T38" fmla="*/ 442 w 876"/>
                <a:gd name="T39" fmla="*/ 0 h 864"/>
                <a:gd name="T40" fmla="*/ 628 w 876"/>
                <a:gd name="T41" fmla="*/ 30 h 864"/>
                <a:gd name="T42" fmla="*/ 767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2 w 876"/>
                <a:gd name="T55" fmla="*/ 202 h 864"/>
                <a:gd name="T56" fmla="*/ 448 w 876"/>
                <a:gd name="T57" fmla="*/ 152 h 864"/>
                <a:gd name="T58" fmla="*/ 278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17" y="686"/>
                    <a:pt x="381" y="705"/>
                    <a:pt x="459" y="705"/>
                  </a:cubicBezTo>
                  <a:cubicBezTo>
                    <a:pt x="500" y="705"/>
                    <a:pt x="548" y="697"/>
                    <a:pt x="592" y="680"/>
                  </a:cubicBezTo>
                  <a:cubicBezTo>
                    <a:pt x="639" y="666"/>
                    <a:pt x="675" y="644"/>
                    <a:pt x="703" y="616"/>
                  </a:cubicBezTo>
                  <a:cubicBezTo>
                    <a:pt x="817" y="724"/>
                    <a:pt x="817" y="724"/>
                    <a:pt x="817" y="724"/>
                  </a:cubicBezTo>
                  <a:cubicBezTo>
                    <a:pt x="795" y="747"/>
                    <a:pt x="770" y="769"/>
                    <a:pt x="742" y="786"/>
                  </a:cubicBezTo>
                  <a:cubicBezTo>
                    <a:pt x="714" y="802"/>
                    <a:pt x="684" y="819"/>
                    <a:pt x="653" y="830"/>
                  </a:cubicBezTo>
                  <a:cubicBezTo>
                    <a:pt x="620" y="841"/>
                    <a:pt x="589" y="849"/>
                    <a:pt x="553" y="855"/>
                  </a:cubicBezTo>
                  <a:cubicBezTo>
                    <a:pt x="520" y="861"/>
                    <a:pt x="486" y="863"/>
                    <a:pt x="456" y="863"/>
                  </a:cubicBezTo>
                  <a:cubicBezTo>
                    <a:pt x="386" y="863"/>
                    <a:pt x="323" y="855"/>
                    <a:pt x="267" y="833"/>
                  </a:cubicBezTo>
                  <a:cubicBezTo>
                    <a:pt x="211" y="813"/>
                    <a:pt x="164" y="783"/>
                    <a:pt x="125" y="747"/>
                  </a:cubicBezTo>
                  <a:cubicBezTo>
                    <a:pt x="86" y="708"/>
                    <a:pt x="56" y="661"/>
                    <a:pt x="34" y="608"/>
                  </a:cubicBezTo>
                  <a:cubicBezTo>
                    <a:pt x="11" y="552"/>
                    <a:pt x="0" y="494"/>
                    <a:pt x="0" y="427"/>
                  </a:cubicBezTo>
                  <a:cubicBezTo>
                    <a:pt x="0" y="366"/>
                    <a:pt x="11" y="308"/>
                    <a:pt x="34" y="255"/>
                  </a:cubicBezTo>
                  <a:cubicBezTo>
                    <a:pt x="56" y="202"/>
                    <a:pt x="84" y="158"/>
                    <a:pt x="123" y="119"/>
                  </a:cubicBezTo>
                  <a:cubicBezTo>
                    <a:pt x="161" y="80"/>
                    <a:pt x="209" y="52"/>
                    <a:pt x="261" y="30"/>
                  </a:cubicBezTo>
                  <a:cubicBezTo>
                    <a:pt x="317" y="8"/>
                    <a:pt x="378" y="0"/>
                    <a:pt x="442" y="0"/>
                  </a:cubicBezTo>
                  <a:cubicBezTo>
                    <a:pt x="511" y="0"/>
                    <a:pt x="573" y="8"/>
                    <a:pt x="628" y="30"/>
                  </a:cubicBezTo>
                  <a:cubicBezTo>
                    <a:pt x="684" y="50"/>
                    <a:pt x="731" y="80"/>
                    <a:pt x="767" y="122"/>
                  </a:cubicBezTo>
                  <a:cubicBezTo>
                    <a:pt x="806" y="163"/>
                    <a:pt x="834" y="216"/>
                    <a:pt x="853" y="277"/>
                  </a:cubicBezTo>
                  <a:cubicBezTo>
                    <a:pt x="870" y="341"/>
                    <a:pt x="875" y="413"/>
                    <a:pt x="867" y="497"/>
                  </a:cubicBezTo>
                  <a:lnTo>
                    <a:pt x="186" y="352"/>
                  </a:lnTo>
                  <a:lnTo>
                    <a:pt x="186" y="352"/>
                  </a:lnTo>
                  <a:cubicBezTo>
                    <a:pt x="698" y="352"/>
                    <a:pt x="698" y="352"/>
                    <a:pt x="698" y="352"/>
                  </a:cubicBezTo>
                  <a:cubicBezTo>
                    <a:pt x="692" y="286"/>
                    <a:pt x="667" y="236"/>
                    <a:pt x="622" y="202"/>
                  </a:cubicBezTo>
                  <a:cubicBezTo>
                    <a:pt x="578" y="169"/>
                    <a:pt x="520" y="152"/>
                    <a:pt x="448" y="152"/>
                  </a:cubicBezTo>
                  <a:cubicBezTo>
                    <a:pt x="384" y="152"/>
                    <a:pt x="328" y="169"/>
                    <a:pt x="278" y="202"/>
                  </a:cubicBezTo>
                  <a:cubicBezTo>
                    <a:pt x="231" y="236"/>
                    <a:pt x="200" y="286"/>
                    <a:pt x="186" y="352"/>
                  </a:cubicBezTo>
                  <a:lnTo>
                    <a:pt x="867" y="49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1" name="Freeform 28">
              <a:extLst>
                <a:ext uri="{FF2B5EF4-FFF2-40B4-BE49-F238E27FC236}">
                  <a16:creationId xmlns:a16="http://schemas.microsoft.com/office/drawing/2014/main" id="{E3E2DFF6-D44B-5F42-95C1-7E783E653E68}"/>
                </a:ext>
              </a:extLst>
            </p:cNvPr>
            <p:cNvSpPr>
              <a:spLocks noChangeArrowheads="1"/>
            </p:cNvSpPr>
            <p:nvPr userDrawn="1"/>
          </p:nvSpPr>
          <p:spPr bwMode="auto">
            <a:xfrm>
              <a:off x="54975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4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9" y="147"/>
                    <a:pt x="127" y="111"/>
                  </a:cubicBezTo>
                  <a:cubicBezTo>
                    <a:pt x="166" y="75"/>
                    <a:pt x="211" y="48"/>
                    <a:pt x="264"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41" y="636"/>
                    <a:pt x="669" y="603"/>
                    <a:pt x="691" y="561"/>
                  </a:cubicBezTo>
                  <a:cubicBezTo>
                    <a:pt x="711" y="522"/>
                    <a:pt x="722" y="478"/>
                    <a:pt x="722" y="431"/>
                  </a:cubicBezTo>
                  <a:cubicBezTo>
                    <a:pt x="722" y="384"/>
                    <a:pt x="711" y="339"/>
                    <a:pt x="691" y="298"/>
                  </a:cubicBezTo>
                  <a:cubicBezTo>
                    <a:pt x="669" y="259"/>
                    <a:pt x="641" y="223"/>
                    <a:pt x="600" y="198"/>
                  </a:cubicBezTo>
                  <a:cubicBezTo>
                    <a:pt x="558" y="170"/>
                    <a:pt x="508" y="156"/>
                    <a:pt x="450" y="156"/>
                  </a:cubicBezTo>
                  <a:lnTo>
                    <a:pt x="722" y="14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2" name="Freeform 29">
              <a:extLst>
                <a:ext uri="{FF2B5EF4-FFF2-40B4-BE49-F238E27FC236}">
                  <a16:creationId xmlns:a16="http://schemas.microsoft.com/office/drawing/2014/main" id="{F1F0A8F6-9229-D949-BA1A-AC62C4C5F933}"/>
                </a:ext>
              </a:extLst>
            </p:cNvPr>
            <p:cNvSpPr>
              <a:spLocks noChangeArrowheads="1"/>
            </p:cNvSpPr>
            <p:nvPr userDrawn="1"/>
          </p:nvSpPr>
          <p:spPr bwMode="auto">
            <a:xfrm>
              <a:off x="5905500" y="3746500"/>
              <a:ext cx="293688" cy="301625"/>
            </a:xfrm>
            <a:custGeom>
              <a:avLst/>
              <a:gdLst>
                <a:gd name="T0" fmla="*/ 639 w 817"/>
                <a:gd name="T1" fmla="*/ 836 h 837"/>
                <a:gd name="T2" fmla="*/ 639 w 817"/>
                <a:gd name="T3" fmla="*/ 836 h 837"/>
                <a:gd name="T4" fmla="*/ 639 w 817"/>
                <a:gd name="T5" fmla="*/ 397 h 837"/>
                <a:gd name="T6" fmla="*/ 580 w 817"/>
                <a:gd name="T7" fmla="*/ 225 h 837"/>
                <a:gd name="T8" fmla="*/ 411 w 817"/>
                <a:gd name="T9" fmla="*/ 158 h 837"/>
                <a:gd name="T10" fmla="*/ 316 w 817"/>
                <a:gd name="T11" fmla="*/ 178 h 837"/>
                <a:gd name="T12" fmla="*/ 241 w 817"/>
                <a:gd name="T13" fmla="*/ 230 h 837"/>
                <a:gd name="T14" fmla="*/ 194 w 817"/>
                <a:gd name="T15" fmla="*/ 311 h 837"/>
                <a:gd name="T16" fmla="*/ 177 w 817"/>
                <a:gd name="T17" fmla="*/ 405 h 837"/>
                <a:gd name="T18" fmla="*/ 177 w 817"/>
                <a:gd name="T19" fmla="*/ 836 h 837"/>
                <a:gd name="T20" fmla="*/ 0 w 817"/>
                <a:gd name="T21" fmla="*/ 836 h 837"/>
                <a:gd name="T22" fmla="*/ 0 w 817"/>
                <a:gd name="T23" fmla="*/ 11 h 837"/>
                <a:gd name="T24" fmla="*/ 161 w 817"/>
                <a:gd name="T25" fmla="*/ 11 h 837"/>
                <a:gd name="T26" fmla="*/ 172 w 817"/>
                <a:gd name="T27" fmla="*/ 130 h 837"/>
                <a:gd name="T28" fmla="*/ 455 w 817"/>
                <a:gd name="T29" fmla="*/ 0 h 837"/>
                <a:gd name="T30" fmla="*/ 597 w 817"/>
                <a:gd name="T31" fmla="*/ 25 h 837"/>
                <a:gd name="T32" fmla="*/ 711 w 817"/>
                <a:gd name="T33" fmla="*/ 100 h 837"/>
                <a:gd name="T34" fmla="*/ 789 w 817"/>
                <a:gd name="T35" fmla="*/ 225 h 837"/>
                <a:gd name="T36" fmla="*/ 816 w 817"/>
                <a:gd name="T37" fmla="*/ 394 h 837"/>
                <a:gd name="T38" fmla="*/ 816 w 817"/>
                <a:gd name="T39" fmla="*/ 836 h 837"/>
                <a:gd name="T40" fmla="*/ 639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9" y="836"/>
                  </a:moveTo>
                  <a:lnTo>
                    <a:pt x="639" y="836"/>
                  </a:lnTo>
                  <a:cubicBezTo>
                    <a:pt x="639" y="397"/>
                    <a:pt x="639" y="397"/>
                    <a:pt x="639" y="397"/>
                  </a:cubicBezTo>
                  <a:cubicBezTo>
                    <a:pt x="639" y="325"/>
                    <a:pt x="619" y="266"/>
                    <a:pt x="580" y="225"/>
                  </a:cubicBezTo>
                  <a:cubicBezTo>
                    <a:pt x="541" y="180"/>
                    <a:pt x="486" y="158"/>
                    <a:pt x="411" y="158"/>
                  </a:cubicBezTo>
                  <a:cubicBezTo>
                    <a:pt x="377" y="158"/>
                    <a:pt x="344" y="166"/>
                    <a:pt x="316" y="178"/>
                  </a:cubicBezTo>
                  <a:cubicBezTo>
                    <a:pt x="286" y="192"/>
                    <a:pt x="261" y="208"/>
                    <a:pt x="241" y="230"/>
                  </a:cubicBezTo>
                  <a:cubicBezTo>
                    <a:pt x="222" y="255"/>
                    <a:pt x="205" y="280"/>
                    <a:pt x="194" y="311"/>
                  </a:cubicBezTo>
                  <a:cubicBezTo>
                    <a:pt x="183" y="341"/>
                    <a:pt x="177" y="372"/>
                    <a:pt x="177" y="405"/>
                  </a:cubicBezTo>
                  <a:cubicBezTo>
                    <a:pt x="177" y="836"/>
                    <a:pt x="177" y="836"/>
                    <a:pt x="177" y="836"/>
                  </a:cubicBezTo>
                  <a:cubicBezTo>
                    <a:pt x="0" y="836"/>
                    <a:pt x="0" y="836"/>
                    <a:pt x="0" y="836"/>
                  </a:cubicBezTo>
                  <a:cubicBezTo>
                    <a:pt x="0" y="11"/>
                    <a:pt x="0" y="11"/>
                    <a:pt x="0" y="11"/>
                  </a:cubicBezTo>
                  <a:cubicBezTo>
                    <a:pt x="161" y="11"/>
                    <a:pt x="161" y="11"/>
                    <a:pt x="161" y="11"/>
                  </a:cubicBezTo>
                  <a:cubicBezTo>
                    <a:pt x="172" y="130"/>
                    <a:pt x="172" y="130"/>
                    <a:pt x="172" y="130"/>
                  </a:cubicBezTo>
                  <a:cubicBezTo>
                    <a:pt x="250" y="42"/>
                    <a:pt x="344" y="0"/>
                    <a:pt x="455" y="0"/>
                  </a:cubicBezTo>
                  <a:cubicBezTo>
                    <a:pt x="505" y="0"/>
                    <a:pt x="552" y="8"/>
                    <a:pt x="597" y="25"/>
                  </a:cubicBezTo>
                  <a:cubicBezTo>
                    <a:pt x="641" y="42"/>
                    <a:pt x="680" y="66"/>
                    <a:pt x="711" y="100"/>
                  </a:cubicBezTo>
                  <a:cubicBezTo>
                    <a:pt x="744" y="133"/>
                    <a:pt x="769" y="175"/>
                    <a:pt x="789" y="225"/>
                  </a:cubicBezTo>
                  <a:cubicBezTo>
                    <a:pt x="808" y="275"/>
                    <a:pt x="816" y="330"/>
                    <a:pt x="816" y="394"/>
                  </a:cubicBezTo>
                  <a:cubicBezTo>
                    <a:pt x="816" y="836"/>
                    <a:pt x="816" y="836"/>
                    <a:pt x="816" y="836"/>
                  </a:cubicBezTo>
                  <a:lnTo>
                    <a:pt x="639" y="83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3" name="Freeform 30">
              <a:extLst>
                <a:ext uri="{FF2B5EF4-FFF2-40B4-BE49-F238E27FC236}">
                  <a16:creationId xmlns:a16="http://schemas.microsoft.com/office/drawing/2014/main" id="{B16A197B-0E17-EF43-80AA-BFBCB40AC761}"/>
                </a:ext>
              </a:extLst>
            </p:cNvPr>
            <p:cNvSpPr>
              <a:spLocks noChangeArrowheads="1"/>
            </p:cNvSpPr>
            <p:nvPr userDrawn="1"/>
          </p:nvSpPr>
          <p:spPr bwMode="auto">
            <a:xfrm>
              <a:off x="6251575"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4" name="Freeform 31">
              <a:extLst>
                <a:ext uri="{FF2B5EF4-FFF2-40B4-BE49-F238E27FC236}">
                  <a16:creationId xmlns:a16="http://schemas.microsoft.com/office/drawing/2014/main" id="{575F5FA7-2A68-E247-8A62-204B7962F005}"/>
                </a:ext>
              </a:extLst>
            </p:cNvPr>
            <p:cNvSpPr>
              <a:spLocks noChangeArrowheads="1"/>
            </p:cNvSpPr>
            <p:nvPr userDrawn="1"/>
          </p:nvSpPr>
          <p:spPr bwMode="auto">
            <a:xfrm>
              <a:off x="6643688"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5" name="Freeform 32">
              <a:extLst>
                <a:ext uri="{FF2B5EF4-FFF2-40B4-BE49-F238E27FC236}">
                  <a16:creationId xmlns:a16="http://schemas.microsoft.com/office/drawing/2014/main" id="{34C098E7-184C-504A-8792-AF18A8E97AEC}"/>
                </a:ext>
              </a:extLst>
            </p:cNvPr>
            <p:cNvSpPr>
              <a:spLocks noChangeArrowheads="1"/>
            </p:cNvSpPr>
            <p:nvPr userDrawn="1"/>
          </p:nvSpPr>
          <p:spPr bwMode="auto">
            <a:xfrm>
              <a:off x="6897688" y="3743325"/>
              <a:ext cx="314325" cy="309563"/>
            </a:xfrm>
            <a:custGeom>
              <a:avLst/>
              <a:gdLst>
                <a:gd name="T0" fmla="*/ 436 w 873"/>
                <a:gd name="T1" fmla="*/ 0 h 860"/>
                <a:gd name="T2" fmla="*/ 436 w 873"/>
                <a:gd name="T3" fmla="*/ 0 h 860"/>
                <a:gd name="T4" fmla="*/ 611 w 873"/>
                <a:gd name="T5" fmla="*/ 34 h 860"/>
                <a:gd name="T6" fmla="*/ 750 w 873"/>
                <a:gd name="T7" fmla="*/ 125 h 860"/>
                <a:gd name="T8" fmla="*/ 842 w 873"/>
                <a:gd name="T9" fmla="*/ 261 h 860"/>
                <a:gd name="T10" fmla="*/ 872 w 873"/>
                <a:gd name="T11" fmla="*/ 431 h 860"/>
                <a:gd name="T12" fmla="*/ 842 w 873"/>
                <a:gd name="T13" fmla="*/ 600 h 860"/>
                <a:gd name="T14" fmla="*/ 753 w 873"/>
                <a:gd name="T15" fmla="*/ 736 h 860"/>
                <a:gd name="T16" fmla="*/ 614 w 873"/>
                <a:gd name="T17" fmla="*/ 825 h 860"/>
                <a:gd name="T18" fmla="*/ 436 w 873"/>
                <a:gd name="T19" fmla="*/ 859 h 860"/>
                <a:gd name="T20" fmla="*/ 256 w 873"/>
                <a:gd name="T21" fmla="*/ 825 h 860"/>
                <a:gd name="T22" fmla="*/ 119 w 873"/>
                <a:gd name="T23" fmla="*/ 736 h 860"/>
                <a:gd name="T24" fmla="*/ 31 w 873"/>
                <a:gd name="T25" fmla="*/ 600 h 860"/>
                <a:gd name="T26" fmla="*/ 0 w 873"/>
                <a:gd name="T27" fmla="*/ 431 h 860"/>
                <a:gd name="T28" fmla="*/ 31 w 873"/>
                <a:gd name="T29" fmla="*/ 261 h 860"/>
                <a:gd name="T30" fmla="*/ 119 w 873"/>
                <a:gd name="T31" fmla="*/ 125 h 860"/>
                <a:gd name="T32" fmla="*/ 258 w 873"/>
                <a:gd name="T33" fmla="*/ 34 h 860"/>
                <a:gd name="T34" fmla="*/ 436 w 873"/>
                <a:gd name="T35" fmla="*/ 0 h 860"/>
                <a:gd name="T36" fmla="*/ 436 w 873"/>
                <a:gd name="T37" fmla="*/ 161 h 860"/>
                <a:gd name="T38" fmla="*/ 436 w 873"/>
                <a:gd name="T39" fmla="*/ 161 h 860"/>
                <a:gd name="T40" fmla="*/ 328 w 873"/>
                <a:gd name="T41" fmla="*/ 184 h 860"/>
                <a:gd name="T42" fmla="*/ 247 w 873"/>
                <a:gd name="T43" fmla="*/ 242 h 860"/>
                <a:gd name="T44" fmla="*/ 194 w 873"/>
                <a:gd name="T45" fmla="*/ 328 h 860"/>
                <a:gd name="T46" fmla="*/ 178 w 873"/>
                <a:gd name="T47" fmla="*/ 431 h 860"/>
                <a:gd name="T48" fmla="*/ 194 w 873"/>
                <a:gd name="T49" fmla="*/ 536 h 860"/>
                <a:gd name="T50" fmla="*/ 247 w 873"/>
                <a:gd name="T51" fmla="*/ 620 h 860"/>
                <a:gd name="T52" fmla="*/ 328 w 873"/>
                <a:gd name="T53" fmla="*/ 678 h 860"/>
                <a:gd name="T54" fmla="*/ 436 w 873"/>
                <a:gd name="T55" fmla="*/ 698 h 860"/>
                <a:gd name="T56" fmla="*/ 544 w 873"/>
                <a:gd name="T57" fmla="*/ 678 h 860"/>
                <a:gd name="T58" fmla="*/ 625 w 873"/>
                <a:gd name="T59" fmla="*/ 620 h 860"/>
                <a:gd name="T60" fmla="*/ 678 w 873"/>
                <a:gd name="T61" fmla="*/ 536 h 860"/>
                <a:gd name="T62" fmla="*/ 694 w 873"/>
                <a:gd name="T63" fmla="*/ 431 h 860"/>
                <a:gd name="T64" fmla="*/ 675 w 873"/>
                <a:gd name="T65" fmla="*/ 328 h 860"/>
                <a:gd name="T66" fmla="*/ 622 w 873"/>
                <a:gd name="T67" fmla="*/ 242 h 860"/>
                <a:gd name="T68" fmla="*/ 542 w 873"/>
                <a:gd name="T69" fmla="*/ 184 h 860"/>
                <a:gd name="T70" fmla="*/ 436 w 873"/>
                <a:gd name="T71" fmla="*/ 161 h 860"/>
                <a:gd name="T72" fmla="*/ 436 w 873"/>
                <a:gd name="T73"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60">
                  <a:moveTo>
                    <a:pt x="436" y="0"/>
                  </a:moveTo>
                  <a:lnTo>
                    <a:pt x="436" y="0"/>
                  </a:lnTo>
                  <a:cubicBezTo>
                    <a:pt x="500" y="0"/>
                    <a:pt x="558" y="11"/>
                    <a:pt x="611" y="34"/>
                  </a:cubicBezTo>
                  <a:cubicBezTo>
                    <a:pt x="667" y="59"/>
                    <a:pt x="711" y="86"/>
                    <a:pt x="750" y="125"/>
                  </a:cubicBezTo>
                  <a:cubicBezTo>
                    <a:pt x="789" y="164"/>
                    <a:pt x="819" y="209"/>
                    <a:pt x="842" y="261"/>
                  </a:cubicBezTo>
                  <a:cubicBezTo>
                    <a:pt x="861" y="314"/>
                    <a:pt x="872" y="370"/>
                    <a:pt x="872" y="431"/>
                  </a:cubicBezTo>
                  <a:cubicBezTo>
                    <a:pt x="872" y="492"/>
                    <a:pt x="861" y="547"/>
                    <a:pt x="842" y="600"/>
                  </a:cubicBezTo>
                  <a:cubicBezTo>
                    <a:pt x="819" y="653"/>
                    <a:pt x="792" y="698"/>
                    <a:pt x="753" y="736"/>
                  </a:cubicBezTo>
                  <a:cubicBezTo>
                    <a:pt x="714" y="775"/>
                    <a:pt x="669" y="806"/>
                    <a:pt x="614" y="825"/>
                  </a:cubicBezTo>
                  <a:cubicBezTo>
                    <a:pt x="561" y="847"/>
                    <a:pt x="500" y="859"/>
                    <a:pt x="436" y="859"/>
                  </a:cubicBezTo>
                  <a:cubicBezTo>
                    <a:pt x="369" y="859"/>
                    <a:pt x="308" y="847"/>
                    <a:pt x="256" y="825"/>
                  </a:cubicBezTo>
                  <a:cubicBezTo>
                    <a:pt x="203" y="806"/>
                    <a:pt x="156" y="775"/>
                    <a:pt x="119" y="736"/>
                  </a:cubicBezTo>
                  <a:cubicBezTo>
                    <a:pt x="80" y="698"/>
                    <a:pt x="53" y="653"/>
                    <a:pt x="31" y="600"/>
                  </a:cubicBezTo>
                  <a:cubicBezTo>
                    <a:pt x="11" y="547"/>
                    <a:pt x="0" y="492"/>
                    <a:pt x="0" y="431"/>
                  </a:cubicBezTo>
                  <a:cubicBezTo>
                    <a:pt x="0" y="370"/>
                    <a:pt x="11" y="314"/>
                    <a:pt x="31" y="261"/>
                  </a:cubicBezTo>
                  <a:cubicBezTo>
                    <a:pt x="53" y="209"/>
                    <a:pt x="80" y="164"/>
                    <a:pt x="119" y="125"/>
                  </a:cubicBezTo>
                  <a:cubicBezTo>
                    <a:pt x="158" y="86"/>
                    <a:pt x="203" y="59"/>
                    <a:pt x="258" y="34"/>
                  </a:cubicBezTo>
                  <a:cubicBezTo>
                    <a:pt x="311" y="11"/>
                    <a:pt x="369" y="0"/>
                    <a:pt x="436" y="0"/>
                  </a:cubicBezTo>
                  <a:lnTo>
                    <a:pt x="436" y="161"/>
                  </a:lnTo>
                  <a:lnTo>
                    <a:pt x="436" y="161"/>
                  </a:lnTo>
                  <a:cubicBezTo>
                    <a:pt x="394" y="161"/>
                    <a:pt x="358" y="170"/>
                    <a:pt x="328" y="184"/>
                  </a:cubicBezTo>
                  <a:cubicBezTo>
                    <a:pt x="294" y="198"/>
                    <a:pt x="269" y="217"/>
                    <a:pt x="247" y="242"/>
                  </a:cubicBezTo>
                  <a:cubicBezTo>
                    <a:pt x="225" y="267"/>
                    <a:pt x="206" y="298"/>
                    <a:pt x="194" y="328"/>
                  </a:cubicBezTo>
                  <a:cubicBezTo>
                    <a:pt x="183" y="361"/>
                    <a:pt x="178" y="395"/>
                    <a:pt x="178" y="431"/>
                  </a:cubicBezTo>
                  <a:cubicBezTo>
                    <a:pt x="178" y="470"/>
                    <a:pt x="183" y="503"/>
                    <a:pt x="194" y="536"/>
                  </a:cubicBezTo>
                  <a:cubicBezTo>
                    <a:pt x="206" y="567"/>
                    <a:pt x="225" y="595"/>
                    <a:pt x="247" y="620"/>
                  </a:cubicBezTo>
                  <a:cubicBezTo>
                    <a:pt x="269" y="645"/>
                    <a:pt x="294" y="664"/>
                    <a:pt x="328" y="678"/>
                  </a:cubicBezTo>
                  <a:cubicBezTo>
                    <a:pt x="358" y="692"/>
                    <a:pt x="394" y="698"/>
                    <a:pt x="436" y="698"/>
                  </a:cubicBezTo>
                  <a:cubicBezTo>
                    <a:pt x="475" y="698"/>
                    <a:pt x="511" y="692"/>
                    <a:pt x="544" y="678"/>
                  </a:cubicBezTo>
                  <a:cubicBezTo>
                    <a:pt x="575" y="664"/>
                    <a:pt x="603" y="645"/>
                    <a:pt x="625" y="620"/>
                  </a:cubicBezTo>
                  <a:cubicBezTo>
                    <a:pt x="647" y="595"/>
                    <a:pt x="664" y="567"/>
                    <a:pt x="678" y="536"/>
                  </a:cubicBezTo>
                  <a:cubicBezTo>
                    <a:pt x="689" y="503"/>
                    <a:pt x="694" y="470"/>
                    <a:pt x="694" y="431"/>
                  </a:cubicBezTo>
                  <a:cubicBezTo>
                    <a:pt x="694" y="395"/>
                    <a:pt x="689" y="361"/>
                    <a:pt x="675" y="328"/>
                  </a:cubicBezTo>
                  <a:cubicBezTo>
                    <a:pt x="664" y="298"/>
                    <a:pt x="644" y="267"/>
                    <a:pt x="622" y="242"/>
                  </a:cubicBezTo>
                  <a:cubicBezTo>
                    <a:pt x="600" y="217"/>
                    <a:pt x="572" y="198"/>
                    <a:pt x="542" y="184"/>
                  </a:cubicBezTo>
                  <a:cubicBezTo>
                    <a:pt x="508" y="170"/>
                    <a:pt x="472" y="161"/>
                    <a:pt x="436" y="161"/>
                  </a:cubicBezTo>
                  <a:lnTo>
                    <a:pt x="43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6" name="Freeform 33">
              <a:extLst>
                <a:ext uri="{FF2B5EF4-FFF2-40B4-BE49-F238E27FC236}">
                  <a16:creationId xmlns:a16="http://schemas.microsoft.com/office/drawing/2014/main" id="{B6A67FDD-10A8-4D43-9C49-154E07D6EE85}"/>
                </a:ext>
              </a:extLst>
            </p:cNvPr>
            <p:cNvSpPr>
              <a:spLocks noChangeArrowheads="1"/>
            </p:cNvSpPr>
            <p:nvPr userDrawn="1"/>
          </p:nvSpPr>
          <p:spPr bwMode="auto">
            <a:xfrm>
              <a:off x="7431088" y="3627438"/>
              <a:ext cx="323850" cy="427037"/>
            </a:xfrm>
            <a:custGeom>
              <a:avLst/>
              <a:gdLst>
                <a:gd name="T0" fmla="*/ 175 w 898"/>
                <a:gd name="T1" fmla="*/ 0 h 1185"/>
                <a:gd name="T2" fmla="*/ 175 w 898"/>
                <a:gd name="T3" fmla="*/ 0 h 1185"/>
                <a:gd name="T4" fmla="*/ 175 w 898"/>
                <a:gd name="T5" fmla="*/ 472 h 1185"/>
                <a:gd name="T6" fmla="*/ 231 w 898"/>
                <a:gd name="T7" fmla="*/ 409 h 1185"/>
                <a:gd name="T8" fmla="*/ 306 w 898"/>
                <a:gd name="T9" fmla="*/ 361 h 1185"/>
                <a:gd name="T10" fmla="*/ 389 w 898"/>
                <a:gd name="T11" fmla="*/ 334 h 1185"/>
                <a:gd name="T12" fmla="*/ 472 w 898"/>
                <a:gd name="T13" fmla="*/ 325 h 1185"/>
                <a:gd name="T14" fmla="*/ 639 w 898"/>
                <a:gd name="T15" fmla="*/ 353 h 1185"/>
                <a:gd name="T16" fmla="*/ 775 w 898"/>
                <a:gd name="T17" fmla="*/ 434 h 1185"/>
                <a:gd name="T18" fmla="*/ 867 w 898"/>
                <a:gd name="T19" fmla="*/ 570 h 1185"/>
                <a:gd name="T20" fmla="*/ 897 w 898"/>
                <a:gd name="T21" fmla="*/ 753 h 1185"/>
                <a:gd name="T22" fmla="*/ 864 w 898"/>
                <a:gd name="T23" fmla="*/ 936 h 1185"/>
                <a:gd name="T24" fmla="*/ 775 w 898"/>
                <a:gd name="T25" fmla="*/ 1072 h 1185"/>
                <a:gd name="T26" fmla="*/ 639 w 898"/>
                <a:gd name="T27" fmla="*/ 1156 h 1185"/>
                <a:gd name="T28" fmla="*/ 467 w 898"/>
                <a:gd name="T29" fmla="*/ 1184 h 1185"/>
                <a:gd name="T30" fmla="*/ 303 w 898"/>
                <a:gd name="T31" fmla="*/ 1150 h 1185"/>
                <a:gd name="T32" fmla="*/ 175 w 898"/>
                <a:gd name="T33" fmla="*/ 1036 h 1185"/>
                <a:gd name="T34" fmla="*/ 167 w 898"/>
                <a:gd name="T35" fmla="*/ 1167 h 1185"/>
                <a:gd name="T36" fmla="*/ 0 w 898"/>
                <a:gd name="T37" fmla="*/ 1167 h 1185"/>
                <a:gd name="T38" fmla="*/ 0 w 898"/>
                <a:gd name="T39" fmla="*/ 0 h 1185"/>
                <a:gd name="T40" fmla="*/ 175 w 898"/>
                <a:gd name="T41" fmla="*/ 0 h 1185"/>
                <a:gd name="T42" fmla="*/ 456 w 898"/>
                <a:gd name="T43" fmla="*/ 486 h 1185"/>
                <a:gd name="T44" fmla="*/ 456 w 898"/>
                <a:gd name="T45" fmla="*/ 486 h 1185"/>
                <a:gd name="T46" fmla="*/ 353 w 898"/>
                <a:gd name="T47" fmla="*/ 506 h 1185"/>
                <a:gd name="T48" fmla="*/ 267 w 898"/>
                <a:gd name="T49" fmla="*/ 559 h 1185"/>
                <a:gd name="T50" fmla="*/ 208 w 898"/>
                <a:gd name="T51" fmla="*/ 645 h 1185"/>
                <a:gd name="T52" fmla="*/ 186 w 898"/>
                <a:gd name="T53" fmla="*/ 753 h 1185"/>
                <a:gd name="T54" fmla="*/ 208 w 898"/>
                <a:gd name="T55" fmla="*/ 864 h 1185"/>
                <a:gd name="T56" fmla="*/ 267 w 898"/>
                <a:gd name="T57" fmla="*/ 950 h 1185"/>
                <a:gd name="T58" fmla="*/ 350 w 898"/>
                <a:gd name="T59" fmla="*/ 1003 h 1185"/>
                <a:gd name="T60" fmla="*/ 456 w 898"/>
                <a:gd name="T61" fmla="*/ 1023 h 1185"/>
                <a:gd name="T62" fmla="*/ 558 w 898"/>
                <a:gd name="T63" fmla="*/ 1006 h 1185"/>
                <a:gd name="T64" fmla="*/ 645 w 898"/>
                <a:gd name="T65" fmla="*/ 950 h 1185"/>
                <a:gd name="T66" fmla="*/ 700 w 898"/>
                <a:gd name="T67" fmla="*/ 867 h 1185"/>
                <a:gd name="T68" fmla="*/ 722 w 898"/>
                <a:gd name="T69" fmla="*/ 753 h 1185"/>
                <a:gd name="T70" fmla="*/ 700 w 898"/>
                <a:gd name="T71" fmla="*/ 639 h 1185"/>
                <a:gd name="T72" fmla="*/ 645 w 898"/>
                <a:gd name="T73" fmla="*/ 556 h 1185"/>
                <a:gd name="T74" fmla="*/ 558 w 898"/>
                <a:gd name="T75" fmla="*/ 503 h 1185"/>
                <a:gd name="T76" fmla="*/ 456 w 898"/>
                <a:gd name="T77" fmla="*/ 48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8" h="1185">
                  <a:moveTo>
                    <a:pt x="175" y="0"/>
                  </a:moveTo>
                  <a:lnTo>
                    <a:pt x="175" y="0"/>
                  </a:lnTo>
                  <a:cubicBezTo>
                    <a:pt x="175" y="472"/>
                    <a:pt x="175" y="472"/>
                    <a:pt x="175" y="472"/>
                  </a:cubicBezTo>
                  <a:cubicBezTo>
                    <a:pt x="189" y="448"/>
                    <a:pt x="208" y="425"/>
                    <a:pt x="231" y="409"/>
                  </a:cubicBezTo>
                  <a:cubicBezTo>
                    <a:pt x="253" y="389"/>
                    <a:pt x="278" y="373"/>
                    <a:pt x="306" y="361"/>
                  </a:cubicBezTo>
                  <a:cubicBezTo>
                    <a:pt x="334" y="350"/>
                    <a:pt x="361" y="339"/>
                    <a:pt x="389" y="334"/>
                  </a:cubicBezTo>
                  <a:cubicBezTo>
                    <a:pt x="417" y="328"/>
                    <a:pt x="445" y="325"/>
                    <a:pt x="472" y="325"/>
                  </a:cubicBezTo>
                  <a:cubicBezTo>
                    <a:pt x="531" y="325"/>
                    <a:pt x="589" y="334"/>
                    <a:pt x="639" y="353"/>
                  </a:cubicBezTo>
                  <a:cubicBezTo>
                    <a:pt x="692" y="370"/>
                    <a:pt x="739" y="397"/>
                    <a:pt x="775" y="434"/>
                  </a:cubicBezTo>
                  <a:cubicBezTo>
                    <a:pt x="814" y="470"/>
                    <a:pt x="845" y="514"/>
                    <a:pt x="867" y="570"/>
                  </a:cubicBezTo>
                  <a:cubicBezTo>
                    <a:pt x="886" y="623"/>
                    <a:pt x="897" y="684"/>
                    <a:pt x="897" y="753"/>
                  </a:cubicBezTo>
                  <a:cubicBezTo>
                    <a:pt x="897" y="823"/>
                    <a:pt x="886" y="884"/>
                    <a:pt x="864" y="936"/>
                  </a:cubicBezTo>
                  <a:cubicBezTo>
                    <a:pt x="842" y="989"/>
                    <a:pt x="811" y="1036"/>
                    <a:pt x="775" y="1072"/>
                  </a:cubicBezTo>
                  <a:cubicBezTo>
                    <a:pt x="736" y="1109"/>
                    <a:pt x="692" y="1136"/>
                    <a:pt x="639" y="1156"/>
                  </a:cubicBezTo>
                  <a:cubicBezTo>
                    <a:pt x="586" y="1175"/>
                    <a:pt x="531" y="1184"/>
                    <a:pt x="467" y="1184"/>
                  </a:cubicBezTo>
                  <a:cubicBezTo>
                    <a:pt x="411" y="1184"/>
                    <a:pt x="356" y="1172"/>
                    <a:pt x="303" y="1150"/>
                  </a:cubicBezTo>
                  <a:cubicBezTo>
                    <a:pt x="253" y="1128"/>
                    <a:pt x="208" y="1089"/>
                    <a:pt x="175" y="1036"/>
                  </a:cubicBezTo>
                  <a:cubicBezTo>
                    <a:pt x="167" y="1167"/>
                    <a:pt x="167" y="1167"/>
                    <a:pt x="167" y="1167"/>
                  </a:cubicBezTo>
                  <a:cubicBezTo>
                    <a:pt x="0" y="1167"/>
                    <a:pt x="0" y="1167"/>
                    <a:pt x="0" y="1167"/>
                  </a:cubicBezTo>
                  <a:cubicBezTo>
                    <a:pt x="0" y="0"/>
                    <a:pt x="0" y="0"/>
                    <a:pt x="0" y="0"/>
                  </a:cubicBezTo>
                  <a:lnTo>
                    <a:pt x="175" y="0"/>
                  </a:lnTo>
                  <a:close/>
                  <a:moveTo>
                    <a:pt x="456" y="486"/>
                  </a:moveTo>
                  <a:lnTo>
                    <a:pt x="456" y="486"/>
                  </a:lnTo>
                  <a:cubicBezTo>
                    <a:pt x="420" y="486"/>
                    <a:pt x="383" y="492"/>
                    <a:pt x="353" y="506"/>
                  </a:cubicBezTo>
                  <a:cubicBezTo>
                    <a:pt x="320" y="517"/>
                    <a:pt x="289" y="536"/>
                    <a:pt x="267" y="559"/>
                  </a:cubicBezTo>
                  <a:cubicBezTo>
                    <a:pt x="242" y="584"/>
                    <a:pt x="222" y="611"/>
                    <a:pt x="208" y="645"/>
                  </a:cubicBezTo>
                  <a:cubicBezTo>
                    <a:pt x="195" y="678"/>
                    <a:pt x="186" y="714"/>
                    <a:pt x="186" y="753"/>
                  </a:cubicBezTo>
                  <a:cubicBezTo>
                    <a:pt x="186" y="795"/>
                    <a:pt x="195" y="831"/>
                    <a:pt x="208" y="864"/>
                  </a:cubicBezTo>
                  <a:cubicBezTo>
                    <a:pt x="222" y="897"/>
                    <a:pt x="242" y="925"/>
                    <a:pt x="267" y="950"/>
                  </a:cubicBezTo>
                  <a:cubicBezTo>
                    <a:pt x="289" y="972"/>
                    <a:pt x="320" y="992"/>
                    <a:pt x="350" y="1003"/>
                  </a:cubicBezTo>
                  <a:cubicBezTo>
                    <a:pt x="383" y="1017"/>
                    <a:pt x="420" y="1023"/>
                    <a:pt x="456" y="1023"/>
                  </a:cubicBezTo>
                  <a:cubicBezTo>
                    <a:pt x="492" y="1023"/>
                    <a:pt x="528" y="1017"/>
                    <a:pt x="558" y="1006"/>
                  </a:cubicBezTo>
                  <a:cubicBezTo>
                    <a:pt x="592" y="992"/>
                    <a:pt x="620" y="975"/>
                    <a:pt x="645" y="950"/>
                  </a:cubicBezTo>
                  <a:cubicBezTo>
                    <a:pt x="667" y="928"/>
                    <a:pt x="686" y="900"/>
                    <a:pt x="700" y="867"/>
                  </a:cubicBezTo>
                  <a:cubicBezTo>
                    <a:pt x="714" y="834"/>
                    <a:pt x="722" y="795"/>
                    <a:pt x="722" y="753"/>
                  </a:cubicBezTo>
                  <a:cubicBezTo>
                    <a:pt x="722" y="711"/>
                    <a:pt x="714" y="672"/>
                    <a:pt x="700" y="639"/>
                  </a:cubicBezTo>
                  <a:cubicBezTo>
                    <a:pt x="686" y="609"/>
                    <a:pt x="667" y="581"/>
                    <a:pt x="645" y="556"/>
                  </a:cubicBezTo>
                  <a:cubicBezTo>
                    <a:pt x="620" y="534"/>
                    <a:pt x="592" y="517"/>
                    <a:pt x="558" y="503"/>
                  </a:cubicBezTo>
                  <a:cubicBezTo>
                    <a:pt x="528" y="492"/>
                    <a:pt x="492" y="486"/>
                    <a:pt x="456" y="4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7" name="Freeform 34">
              <a:extLst>
                <a:ext uri="{FF2B5EF4-FFF2-40B4-BE49-F238E27FC236}">
                  <a16:creationId xmlns:a16="http://schemas.microsoft.com/office/drawing/2014/main" id="{176176EE-7085-B647-A980-50C6B722CB76}"/>
                </a:ext>
              </a:extLst>
            </p:cNvPr>
            <p:cNvSpPr>
              <a:spLocks noChangeArrowheads="1"/>
            </p:cNvSpPr>
            <p:nvPr userDrawn="1"/>
          </p:nvSpPr>
          <p:spPr bwMode="auto">
            <a:xfrm>
              <a:off x="7804150" y="3743325"/>
              <a:ext cx="315913"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5 w 876"/>
                <a:gd name="T11" fmla="*/ 680 h 864"/>
                <a:gd name="T12" fmla="*/ 703 w 876"/>
                <a:gd name="T13" fmla="*/ 616 h 864"/>
                <a:gd name="T14" fmla="*/ 817 w 876"/>
                <a:gd name="T15" fmla="*/ 724 h 864"/>
                <a:gd name="T16" fmla="*/ 742 w 876"/>
                <a:gd name="T17" fmla="*/ 786 h 864"/>
                <a:gd name="T18" fmla="*/ 653 w 876"/>
                <a:gd name="T19" fmla="*/ 830 h 864"/>
                <a:gd name="T20" fmla="*/ 556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5 w 876"/>
                <a:gd name="T35" fmla="*/ 119 h 864"/>
                <a:gd name="T36" fmla="*/ 264 w 876"/>
                <a:gd name="T37" fmla="*/ 30 h 864"/>
                <a:gd name="T38" fmla="*/ 445 w 876"/>
                <a:gd name="T39" fmla="*/ 0 h 864"/>
                <a:gd name="T40" fmla="*/ 628 w 876"/>
                <a:gd name="T41" fmla="*/ 30 h 864"/>
                <a:gd name="T42" fmla="*/ 770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3 w 876"/>
                <a:gd name="T55" fmla="*/ 202 h 864"/>
                <a:gd name="T56" fmla="*/ 450 w 876"/>
                <a:gd name="T57" fmla="*/ 152 h 864"/>
                <a:gd name="T58" fmla="*/ 281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20" y="686"/>
                    <a:pt x="381" y="705"/>
                    <a:pt x="459" y="705"/>
                  </a:cubicBezTo>
                  <a:cubicBezTo>
                    <a:pt x="503" y="705"/>
                    <a:pt x="548" y="697"/>
                    <a:pt x="595" y="680"/>
                  </a:cubicBezTo>
                  <a:cubicBezTo>
                    <a:pt x="642" y="666"/>
                    <a:pt x="678" y="644"/>
                    <a:pt x="703" y="616"/>
                  </a:cubicBezTo>
                  <a:cubicBezTo>
                    <a:pt x="817" y="724"/>
                    <a:pt x="817" y="724"/>
                    <a:pt x="817" y="724"/>
                  </a:cubicBezTo>
                  <a:cubicBezTo>
                    <a:pt x="798" y="747"/>
                    <a:pt x="770" y="769"/>
                    <a:pt x="742" y="786"/>
                  </a:cubicBezTo>
                  <a:cubicBezTo>
                    <a:pt x="714" y="802"/>
                    <a:pt x="684" y="819"/>
                    <a:pt x="653" y="830"/>
                  </a:cubicBezTo>
                  <a:cubicBezTo>
                    <a:pt x="623" y="841"/>
                    <a:pt x="589" y="849"/>
                    <a:pt x="556" y="855"/>
                  </a:cubicBezTo>
                  <a:cubicBezTo>
                    <a:pt x="520" y="861"/>
                    <a:pt x="486" y="863"/>
                    <a:pt x="456" y="863"/>
                  </a:cubicBezTo>
                  <a:cubicBezTo>
                    <a:pt x="386" y="863"/>
                    <a:pt x="323" y="855"/>
                    <a:pt x="267" y="833"/>
                  </a:cubicBezTo>
                  <a:cubicBezTo>
                    <a:pt x="212" y="813"/>
                    <a:pt x="164" y="783"/>
                    <a:pt x="125" y="747"/>
                  </a:cubicBezTo>
                  <a:cubicBezTo>
                    <a:pt x="86" y="708"/>
                    <a:pt x="56" y="661"/>
                    <a:pt x="34" y="608"/>
                  </a:cubicBezTo>
                  <a:cubicBezTo>
                    <a:pt x="12" y="552"/>
                    <a:pt x="0" y="494"/>
                    <a:pt x="0" y="427"/>
                  </a:cubicBezTo>
                  <a:cubicBezTo>
                    <a:pt x="0" y="366"/>
                    <a:pt x="12" y="308"/>
                    <a:pt x="34" y="255"/>
                  </a:cubicBezTo>
                  <a:cubicBezTo>
                    <a:pt x="56" y="202"/>
                    <a:pt x="86" y="158"/>
                    <a:pt x="125" y="119"/>
                  </a:cubicBezTo>
                  <a:cubicBezTo>
                    <a:pt x="164" y="80"/>
                    <a:pt x="209" y="52"/>
                    <a:pt x="264" y="30"/>
                  </a:cubicBezTo>
                  <a:cubicBezTo>
                    <a:pt x="317" y="8"/>
                    <a:pt x="378" y="0"/>
                    <a:pt x="445" y="0"/>
                  </a:cubicBezTo>
                  <a:cubicBezTo>
                    <a:pt x="511" y="0"/>
                    <a:pt x="573" y="8"/>
                    <a:pt x="628" y="30"/>
                  </a:cubicBezTo>
                  <a:cubicBezTo>
                    <a:pt x="684" y="50"/>
                    <a:pt x="731" y="80"/>
                    <a:pt x="770" y="122"/>
                  </a:cubicBezTo>
                  <a:cubicBezTo>
                    <a:pt x="809" y="163"/>
                    <a:pt x="836" y="216"/>
                    <a:pt x="853" y="277"/>
                  </a:cubicBezTo>
                  <a:cubicBezTo>
                    <a:pt x="870" y="341"/>
                    <a:pt x="875" y="413"/>
                    <a:pt x="867" y="497"/>
                  </a:cubicBezTo>
                  <a:lnTo>
                    <a:pt x="186" y="352"/>
                  </a:lnTo>
                  <a:lnTo>
                    <a:pt x="186" y="352"/>
                  </a:lnTo>
                  <a:cubicBezTo>
                    <a:pt x="698" y="352"/>
                    <a:pt x="698" y="352"/>
                    <a:pt x="698" y="352"/>
                  </a:cubicBezTo>
                  <a:cubicBezTo>
                    <a:pt x="692" y="286"/>
                    <a:pt x="667" y="236"/>
                    <a:pt x="623" y="202"/>
                  </a:cubicBezTo>
                  <a:cubicBezTo>
                    <a:pt x="578" y="169"/>
                    <a:pt x="520" y="152"/>
                    <a:pt x="450" y="152"/>
                  </a:cubicBezTo>
                  <a:cubicBezTo>
                    <a:pt x="384" y="152"/>
                    <a:pt x="328" y="169"/>
                    <a:pt x="281" y="202"/>
                  </a:cubicBezTo>
                  <a:cubicBezTo>
                    <a:pt x="231" y="236"/>
                    <a:pt x="200" y="286"/>
                    <a:pt x="186" y="352"/>
                  </a:cubicBezTo>
                  <a:lnTo>
                    <a:pt x="867" y="49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9" name="Freeform 36">
              <a:extLst>
                <a:ext uri="{FF2B5EF4-FFF2-40B4-BE49-F238E27FC236}">
                  <a16:creationId xmlns:a16="http://schemas.microsoft.com/office/drawing/2014/main" id="{1D65CA47-B9DB-0E42-A6A7-78C35913AE91}"/>
                </a:ext>
              </a:extLst>
            </p:cNvPr>
            <p:cNvSpPr>
              <a:spLocks noChangeArrowheads="1"/>
            </p:cNvSpPr>
            <p:nvPr userDrawn="1"/>
          </p:nvSpPr>
          <p:spPr bwMode="auto">
            <a:xfrm>
              <a:off x="6570663" y="3024188"/>
              <a:ext cx="77787" cy="76200"/>
            </a:xfrm>
            <a:custGeom>
              <a:avLst/>
              <a:gdLst>
                <a:gd name="T0" fmla="*/ 0 w 218"/>
                <a:gd name="T1" fmla="*/ 106 h 213"/>
                <a:gd name="T2" fmla="*/ 0 w 218"/>
                <a:gd name="T3" fmla="*/ 106 h 213"/>
                <a:gd name="T4" fmla="*/ 33 w 218"/>
                <a:gd name="T5" fmla="*/ 25 h 213"/>
                <a:gd name="T6" fmla="*/ 108 w 218"/>
                <a:gd name="T7" fmla="*/ 0 h 213"/>
                <a:gd name="T8" fmla="*/ 183 w 218"/>
                <a:gd name="T9" fmla="*/ 25 h 213"/>
                <a:gd name="T10" fmla="*/ 217 w 218"/>
                <a:gd name="T11" fmla="*/ 106 h 213"/>
                <a:gd name="T12" fmla="*/ 183 w 218"/>
                <a:gd name="T13" fmla="*/ 184 h 213"/>
                <a:gd name="T14" fmla="*/ 108 w 218"/>
                <a:gd name="T15" fmla="*/ 212 h 213"/>
                <a:gd name="T16" fmla="*/ 33 w 218"/>
                <a:gd name="T17" fmla="*/ 184 h 213"/>
                <a:gd name="T18" fmla="*/ 0 w 218"/>
                <a:gd name="T19" fmla="*/ 10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3">
                  <a:moveTo>
                    <a:pt x="0" y="106"/>
                  </a:moveTo>
                  <a:lnTo>
                    <a:pt x="0" y="106"/>
                  </a:lnTo>
                  <a:cubicBezTo>
                    <a:pt x="0" y="70"/>
                    <a:pt x="11" y="42"/>
                    <a:pt x="33" y="25"/>
                  </a:cubicBezTo>
                  <a:cubicBezTo>
                    <a:pt x="56" y="9"/>
                    <a:pt x="80" y="0"/>
                    <a:pt x="108" y="0"/>
                  </a:cubicBezTo>
                  <a:cubicBezTo>
                    <a:pt x="136" y="0"/>
                    <a:pt x="161" y="9"/>
                    <a:pt x="183" y="25"/>
                  </a:cubicBezTo>
                  <a:cubicBezTo>
                    <a:pt x="206" y="42"/>
                    <a:pt x="217" y="70"/>
                    <a:pt x="217" y="106"/>
                  </a:cubicBezTo>
                  <a:cubicBezTo>
                    <a:pt x="217" y="139"/>
                    <a:pt x="206" y="167"/>
                    <a:pt x="183" y="184"/>
                  </a:cubicBezTo>
                  <a:cubicBezTo>
                    <a:pt x="161" y="203"/>
                    <a:pt x="136" y="212"/>
                    <a:pt x="108" y="212"/>
                  </a:cubicBezTo>
                  <a:cubicBezTo>
                    <a:pt x="80" y="212"/>
                    <a:pt x="56" y="203"/>
                    <a:pt x="33" y="184"/>
                  </a:cubicBezTo>
                  <a:cubicBezTo>
                    <a:pt x="11" y="167"/>
                    <a:pt x="0" y="139"/>
                    <a:pt x="0"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0" name="Freeform 37">
              <a:extLst>
                <a:ext uri="{FF2B5EF4-FFF2-40B4-BE49-F238E27FC236}">
                  <a16:creationId xmlns:a16="http://schemas.microsoft.com/office/drawing/2014/main" id="{8BD4A525-070F-7441-85C2-C1097D7DCD5F}"/>
                </a:ext>
              </a:extLst>
            </p:cNvPr>
            <p:cNvSpPr>
              <a:spLocks noChangeArrowheads="1"/>
            </p:cNvSpPr>
            <p:nvPr userDrawn="1"/>
          </p:nvSpPr>
          <p:spPr bwMode="auto">
            <a:xfrm>
              <a:off x="2690813" y="3625850"/>
              <a:ext cx="79375" cy="77788"/>
            </a:xfrm>
            <a:custGeom>
              <a:avLst/>
              <a:gdLst>
                <a:gd name="T0" fmla="*/ 0 w 221"/>
                <a:gd name="T1" fmla="*/ 105 h 215"/>
                <a:gd name="T2" fmla="*/ 0 w 221"/>
                <a:gd name="T3" fmla="*/ 105 h 215"/>
                <a:gd name="T4" fmla="*/ 34 w 221"/>
                <a:gd name="T5" fmla="*/ 28 h 215"/>
                <a:gd name="T6" fmla="*/ 111 w 221"/>
                <a:gd name="T7" fmla="*/ 0 h 215"/>
                <a:gd name="T8" fmla="*/ 186 w 221"/>
                <a:gd name="T9" fmla="*/ 28 h 215"/>
                <a:gd name="T10" fmla="*/ 220 w 221"/>
                <a:gd name="T11" fmla="*/ 105 h 215"/>
                <a:gd name="T12" fmla="*/ 186 w 221"/>
                <a:gd name="T13" fmla="*/ 186 h 215"/>
                <a:gd name="T14" fmla="*/ 111 w 221"/>
                <a:gd name="T15" fmla="*/ 214 h 215"/>
                <a:gd name="T16" fmla="*/ 34 w 221"/>
                <a:gd name="T17" fmla="*/ 186 h 215"/>
                <a:gd name="T18" fmla="*/ 0 w 221"/>
                <a:gd name="T19" fmla="*/ 10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215">
                  <a:moveTo>
                    <a:pt x="0" y="105"/>
                  </a:moveTo>
                  <a:lnTo>
                    <a:pt x="0" y="105"/>
                  </a:lnTo>
                  <a:cubicBezTo>
                    <a:pt x="0" y="69"/>
                    <a:pt x="11" y="44"/>
                    <a:pt x="34" y="28"/>
                  </a:cubicBezTo>
                  <a:cubicBezTo>
                    <a:pt x="59" y="8"/>
                    <a:pt x="84" y="0"/>
                    <a:pt x="111" y="0"/>
                  </a:cubicBezTo>
                  <a:cubicBezTo>
                    <a:pt x="136" y="0"/>
                    <a:pt x="161" y="8"/>
                    <a:pt x="186" y="28"/>
                  </a:cubicBezTo>
                  <a:cubicBezTo>
                    <a:pt x="209" y="44"/>
                    <a:pt x="220" y="69"/>
                    <a:pt x="220" y="105"/>
                  </a:cubicBezTo>
                  <a:cubicBezTo>
                    <a:pt x="220" y="141"/>
                    <a:pt x="209" y="169"/>
                    <a:pt x="186" y="186"/>
                  </a:cubicBezTo>
                  <a:cubicBezTo>
                    <a:pt x="161" y="202"/>
                    <a:pt x="136" y="214"/>
                    <a:pt x="111" y="214"/>
                  </a:cubicBezTo>
                  <a:cubicBezTo>
                    <a:pt x="84" y="214"/>
                    <a:pt x="59" y="202"/>
                    <a:pt x="34" y="186"/>
                  </a:cubicBezTo>
                  <a:cubicBezTo>
                    <a:pt x="11" y="169"/>
                    <a:pt x="0" y="141"/>
                    <a:pt x="0" y="10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
        <p:nvSpPr>
          <p:cNvPr id="71" name="Text Placeholder 19">
            <a:extLst>
              <a:ext uri="{FF2B5EF4-FFF2-40B4-BE49-F238E27FC236}">
                <a16:creationId xmlns:a16="http://schemas.microsoft.com/office/drawing/2014/main" id="{9CE7F073-4B4F-DE4A-B3A0-AF386249A910}"/>
              </a:ext>
            </a:extLst>
          </p:cNvPr>
          <p:cNvSpPr>
            <a:spLocks noGrp="1"/>
          </p:cNvSpPr>
          <p:nvPr>
            <p:ph type="body" sz="quarter" idx="10" hasCustomPrompt="1"/>
          </p:nvPr>
        </p:nvSpPr>
        <p:spPr>
          <a:xfrm>
            <a:off x="1" y="2696007"/>
            <a:ext cx="3455988" cy="455087"/>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sp>
        <p:nvSpPr>
          <p:cNvPr id="72" name="Freeform 2">
            <a:extLst>
              <a:ext uri="{FF2B5EF4-FFF2-40B4-BE49-F238E27FC236}">
                <a16:creationId xmlns:a16="http://schemas.microsoft.com/office/drawing/2014/main" id="{3B38822D-F7AA-0145-9017-B4C6C76150F4}"/>
              </a:ext>
            </a:extLst>
          </p:cNvPr>
          <p:cNvSpPr>
            <a:spLocks noChangeArrowheads="1"/>
          </p:cNvSpPr>
          <p:nvPr userDrawn="1"/>
        </p:nvSpPr>
        <p:spPr bwMode="auto">
          <a:xfrm>
            <a:off x="3397136" y="1013043"/>
            <a:ext cx="5367399" cy="5255074"/>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chemeClr val="tx1"/>
          </a:solidFill>
          <a:ln>
            <a:noFill/>
          </a:ln>
          <a:effectLst/>
        </p:spPr>
        <p:txBody>
          <a:bodyPr wrap="none" anchor="ctr"/>
          <a:lstStyle/>
          <a:p>
            <a:endParaRPr lang="en-US" noProof="0"/>
          </a:p>
        </p:txBody>
      </p:sp>
    </p:spTree>
    <p:extLst>
      <p:ext uri="{BB962C8B-B14F-4D97-AF65-F5344CB8AC3E}">
        <p14:creationId xmlns:p14="http://schemas.microsoft.com/office/powerpoint/2010/main" val="24746510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digo-Content_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940C9135-6637-AF45-84D7-EB9299190038}"/>
              </a:ext>
            </a:extLst>
          </p:cNvPr>
          <p:cNvGrpSpPr/>
          <p:nvPr userDrawn="1"/>
        </p:nvGrpSpPr>
        <p:grpSpPr>
          <a:xfrm>
            <a:off x="431799" y="428048"/>
            <a:ext cx="1336166" cy="539307"/>
            <a:chOff x="2286000" y="2193925"/>
            <a:chExt cx="6835775" cy="2759075"/>
          </a:xfrm>
        </p:grpSpPr>
        <p:sp>
          <p:nvSpPr>
            <p:cNvPr id="6" name="Freeform 1">
              <a:extLst>
                <a:ext uri="{FF2B5EF4-FFF2-40B4-BE49-F238E27FC236}">
                  <a16:creationId xmlns:a16="http://schemas.microsoft.com/office/drawing/2014/main" id="{FDABF372-4BE0-594C-9605-B7712E61CA54}"/>
                </a:ext>
              </a:extLst>
            </p:cNvPr>
            <p:cNvSpPr>
              <a:spLocks noChangeArrowheads="1"/>
            </p:cNvSpPr>
            <p:nvPr/>
          </p:nvSpPr>
          <p:spPr bwMode="auto">
            <a:xfrm>
              <a:off x="8378825" y="2471738"/>
              <a:ext cx="742950" cy="706437"/>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 name="Freeform 2">
              <a:extLst>
                <a:ext uri="{FF2B5EF4-FFF2-40B4-BE49-F238E27FC236}">
                  <a16:creationId xmlns:a16="http://schemas.microsoft.com/office/drawing/2014/main" id="{8DD4678A-2B46-2245-B2BC-F7BA7A8F3ACB}"/>
                </a:ext>
              </a:extLst>
            </p:cNvPr>
            <p:cNvSpPr>
              <a:spLocks noChangeArrowheads="1"/>
            </p:cNvSpPr>
            <p:nvPr/>
          </p:nvSpPr>
          <p:spPr bwMode="auto">
            <a:xfrm>
              <a:off x="5299075" y="2781300"/>
              <a:ext cx="333375" cy="1349375"/>
            </a:xfrm>
            <a:custGeom>
              <a:avLst/>
              <a:gdLst>
                <a:gd name="T0" fmla="*/ 0 w 927"/>
                <a:gd name="T1" fmla="*/ 3749 h 3750"/>
                <a:gd name="T2" fmla="*/ 926 w 927"/>
                <a:gd name="T3" fmla="*/ 3749 h 3750"/>
                <a:gd name="T4" fmla="*/ 926 w 927"/>
                <a:gd name="T5" fmla="*/ 0 h 3750"/>
                <a:gd name="T6" fmla="*/ 0 w 927"/>
                <a:gd name="T7" fmla="*/ 0 h 3750"/>
                <a:gd name="T8" fmla="*/ 0 w 927"/>
                <a:gd name="T9" fmla="*/ 3749 h 3750"/>
              </a:gdLst>
              <a:ahLst/>
              <a:cxnLst>
                <a:cxn ang="0">
                  <a:pos x="T0" y="T1"/>
                </a:cxn>
                <a:cxn ang="0">
                  <a:pos x="T2" y="T3"/>
                </a:cxn>
                <a:cxn ang="0">
                  <a:pos x="T4" y="T5"/>
                </a:cxn>
                <a:cxn ang="0">
                  <a:pos x="T6" y="T7"/>
                </a:cxn>
                <a:cxn ang="0">
                  <a:pos x="T8" y="T9"/>
                </a:cxn>
              </a:cxnLst>
              <a:rect l="0" t="0" r="r" b="b"/>
              <a:pathLst>
                <a:path w="927" h="3750">
                  <a:moveTo>
                    <a:pt x="0" y="3749"/>
                  </a:moveTo>
                  <a:lnTo>
                    <a:pt x="926" y="3749"/>
                  </a:lnTo>
                  <a:lnTo>
                    <a:pt x="926" y="0"/>
                  </a:lnTo>
                  <a:lnTo>
                    <a:pt x="0" y="0"/>
                  </a:lnTo>
                  <a:lnTo>
                    <a:pt x="0" y="3749"/>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 name="Freeform 3">
              <a:extLst>
                <a:ext uri="{FF2B5EF4-FFF2-40B4-BE49-F238E27FC236}">
                  <a16:creationId xmlns:a16="http://schemas.microsoft.com/office/drawing/2014/main" id="{43044BC9-00D8-9E44-8BD5-D59C1568C88F}"/>
                </a:ext>
              </a:extLst>
            </p:cNvPr>
            <p:cNvSpPr>
              <a:spLocks noChangeArrowheads="1"/>
            </p:cNvSpPr>
            <p:nvPr/>
          </p:nvSpPr>
          <p:spPr bwMode="auto">
            <a:xfrm>
              <a:off x="3781425" y="2193925"/>
              <a:ext cx="1206500" cy="1973263"/>
            </a:xfrm>
            <a:custGeom>
              <a:avLst/>
              <a:gdLst>
                <a:gd name="T0" fmla="*/ 2426 w 3353"/>
                <a:gd name="T1" fmla="*/ 1631 h 5480"/>
                <a:gd name="T2" fmla="*/ 2426 w 3353"/>
                <a:gd name="T3" fmla="*/ 1631 h 5480"/>
                <a:gd name="T4" fmla="*/ 2459 w 3353"/>
                <a:gd name="T5" fmla="*/ 1940 h 5480"/>
                <a:gd name="T6" fmla="*/ 1290 w 3353"/>
                <a:gd name="T7" fmla="*/ 1532 h 5480"/>
                <a:gd name="T8" fmla="*/ 0 w 3353"/>
                <a:gd name="T9" fmla="*/ 1995 h 5480"/>
                <a:gd name="T10" fmla="*/ 463 w 3353"/>
                <a:gd name="T11" fmla="*/ 2833 h 5480"/>
                <a:gd name="T12" fmla="*/ 1323 w 3353"/>
                <a:gd name="T13" fmla="*/ 2403 h 5480"/>
                <a:gd name="T14" fmla="*/ 2393 w 3353"/>
                <a:gd name="T15" fmla="*/ 3506 h 5480"/>
                <a:gd name="T16" fmla="*/ 1323 w 3353"/>
                <a:gd name="T17" fmla="*/ 4619 h 5480"/>
                <a:gd name="T18" fmla="*/ 485 w 3353"/>
                <a:gd name="T19" fmla="*/ 4178 h 5480"/>
                <a:gd name="T20" fmla="*/ 0 w 3353"/>
                <a:gd name="T21" fmla="*/ 5049 h 5480"/>
                <a:gd name="T22" fmla="*/ 1290 w 3353"/>
                <a:gd name="T23" fmla="*/ 5479 h 5480"/>
                <a:gd name="T24" fmla="*/ 2459 w 3353"/>
                <a:gd name="T25" fmla="*/ 5071 h 5480"/>
                <a:gd name="T26" fmla="*/ 2492 w 3353"/>
                <a:gd name="T27" fmla="*/ 5380 h 5480"/>
                <a:gd name="T28" fmla="*/ 3352 w 3353"/>
                <a:gd name="T29" fmla="*/ 5380 h 5480"/>
                <a:gd name="T30" fmla="*/ 3352 w 3353"/>
                <a:gd name="T31" fmla="*/ 0 h 5480"/>
                <a:gd name="T32" fmla="*/ 2426 w 3353"/>
                <a:gd name="T33" fmla="*/ 0 h 5480"/>
                <a:gd name="T34" fmla="*/ 2426 w 3353"/>
                <a:gd name="T35" fmla="*/ 1631 h 5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53" h="5480">
                  <a:moveTo>
                    <a:pt x="2426" y="1631"/>
                  </a:moveTo>
                  <a:lnTo>
                    <a:pt x="2426" y="1631"/>
                  </a:lnTo>
                  <a:cubicBezTo>
                    <a:pt x="2426" y="1819"/>
                    <a:pt x="2459" y="1940"/>
                    <a:pt x="2459" y="1940"/>
                  </a:cubicBezTo>
                  <a:cubicBezTo>
                    <a:pt x="2150" y="1720"/>
                    <a:pt x="1786" y="1532"/>
                    <a:pt x="1290" y="1532"/>
                  </a:cubicBezTo>
                  <a:cubicBezTo>
                    <a:pt x="794" y="1532"/>
                    <a:pt x="364" y="1720"/>
                    <a:pt x="0" y="1995"/>
                  </a:cubicBezTo>
                  <a:cubicBezTo>
                    <a:pt x="210" y="2249"/>
                    <a:pt x="364" y="2524"/>
                    <a:pt x="463" y="2833"/>
                  </a:cubicBezTo>
                  <a:cubicBezTo>
                    <a:pt x="673" y="2557"/>
                    <a:pt x="948" y="2403"/>
                    <a:pt x="1323" y="2403"/>
                  </a:cubicBezTo>
                  <a:cubicBezTo>
                    <a:pt x="1963" y="2403"/>
                    <a:pt x="2393" y="2833"/>
                    <a:pt x="2393" y="3506"/>
                  </a:cubicBezTo>
                  <a:cubicBezTo>
                    <a:pt x="2393" y="4211"/>
                    <a:pt x="1941" y="4619"/>
                    <a:pt x="1323" y="4619"/>
                  </a:cubicBezTo>
                  <a:cubicBezTo>
                    <a:pt x="982" y="4619"/>
                    <a:pt x="673" y="4465"/>
                    <a:pt x="485" y="4178"/>
                  </a:cubicBezTo>
                  <a:cubicBezTo>
                    <a:pt x="397" y="4520"/>
                    <a:pt x="210" y="4795"/>
                    <a:pt x="0" y="5049"/>
                  </a:cubicBezTo>
                  <a:cubicBezTo>
                    <a:pt x="364" y="5325"/>
                    <a:pt x="794" y="5479"/>
                    <a:pt x="1290" y="5479"/>
                  </a:cubicBezTo>
                  <a:cubicBezTo>
                    <a:pt x="1753" y="5479"/>
                    <a:pt x="2183" y="5292"/>
                    <a:pt x="2459" y="5071"/>
                  </a:cubicBezTo>
                  <a:cubicBezTo>
                    <a:pt x="2492" y="5380"/>
                    <a:pt x="2492" y="5380"/>
                    <a:pt x="2492" y="5380"/>
                  </a:cubicBezTo>
                  <a:cubicBezTo>
                    <a:pt x="3352" y="5380"/>
                    <a:pt x="3352" y="5380"/>
                    <a:pt x="3352" y="5380"/>
                  </a:cubicBezTo>
                  <a:cubicBezTo>
                    <a:pt x="3352" y="0"/>
                    <a:pt x="3352" y="0"/>
                    <a:pt x="3352" y="0"/>
                  </a:cubicBezTo>
                  <a:cubicBezTo>
                    <a:pt x="2426" y="0"/>
                    <a:pt x="2426" y="0"/>
                    <a:pt x="2426" y="0"/>
                  </a:cubicBezTo>
                  <a:lnTo>
                    <a:pt x="2426" y="1631"/>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 name="Freeform 4">
              <a:extLst>
                <a:ext uri="{FF2B5EF4-FFF2-40B4-BE49-F238E27FC236}">
                  <a16:creationId xmlns:a16="http://schemas.microsoft.com/office/drawing/2014/main" id="{BF4E43AD-2C21-9944-994A-CAAF6C963CCC}"/>
                </a:ext>
              </a:extLst>
            </p:cNvPr>
            <p:cNvSpPr>
              <a:spLocks noChangeArrowheads="1"/>
            </p:cNvSpPr>
            <p:nvPr/>
          </p:nvSpPr>
          <p:spPr bwMode="auto">
            <a:xfrm>
              <a:off x="2286000" y="2746375"/>
              <a:ext cx="1441450" cy="1420813"/>
            </a:xfrm>
            <a:custGeom>
              <a:avLst/>
              <a:gdLst>
                <a:gd name="T0" fmla="*/ 1995 w 4003"/>
                <a:gd name="T1" fmla="*/ 0 h 3948"/>
                <a:gd name="T2" fmla="*/ 1995 w 4003"/>
                <a:gd name="T3" fmla="*/ 0 h 3948"/>
                <a:gd name="T4" fmla="*/ 0 w 4003"/>
                <a:gd name="T5" fmla="*/ 1974 h 3948"/>
                <a:gd name="T6" fmla="*/ 1995 w 4003"/>
                <a:gd name="T7" fmla="*/ 3947 h 3948"/>
                <a:gd name="T8" fmla="*/ 4002 w 4003"/>
                <a:gd name="T9" fmla="*/ 1974 h 3948"/>
                <a:gd name="T10" fmla="*/ 1995 w 4003"/>
                <a:gd name="T11" fmla="*/ 0 h 3948"/>
                <a:gd name="T12" fmla="*/ 1995 w 4003"/>
                <a:gd name="T13" fmla="*/ 3087 h 3948"/>
                <a:gd name="T14" fmla="*/ 1995 w 4003"/>
                <a:gd name="T15" fmla="*/ 3087 h 3948"/>
                <a:gd name="T16" fmla="*/ 926 w 4003"/>
                <a:gd name="T17" fmla="*/ 1974 h 3948"/>
                <a:gd name="T18" fmla="*/ 1995 w 4003"/>
                <a:gd name="T19" fmla="*/ 871 h 3948"/>
                <a:gd name="T20" fmla="*/ 3076 w 4003"/>
                <a:gd name="T21" fmla="*/ 1974 h 3948"/>
                <a:gd name="T22" fmla="*/ 1995 w 4003"/>
                <a:gd name="T23" fmla="*/ 3087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3" h="3948">
                  <a:moveTo>
                    <a:pt x="1995" y="0"/>
                  </a:moveTo>
                  <a:lnTo>
                    <a:pt x="1995" y="0"/>
                  </a:lnTo>
                  <a:cubicBezTo>
                    <a:pt x="860" y="0"/>
                    <a:pt x="0" y="893"/>
                    <a:pt x="0" y="1974"/>
                  </a:cubicBezTo>
                  <a:cubicBezTo>
                    <a:pt x="0" y="3109"/>
                    <a:pt x="860" y="3947"/>
                    <a:pt x="1995" y="3947"/>
                  </a:cubicBezTo>
                  <a:cubicBezTo>
                    <a:pt x="3142" y="3947"/>
                    <a:pt x="4002" y="3109"/>
                    <a:pt x="4002" y="1974"/>
                  </a:cubicBezTo>
                  <a:cubicBezTo>
                    <a:pt x="4002" y="893"/>
                    <a:pt x="3142" y="0"/>
                    <a:pt x="1995" y="0"/>
                  </a:cubicBezTo>
                  <a:close/>
                  <a:moveTo>
                    <a:pt x="1995" y="3087"/>
                  </a:moveTo>
                  <a:lnTo>
                    <a:pt x="1995" y="3087"/>
                  </a:lnTo>
                  <a:cubicBezTo>
                    <a:pt x="1389" y="3087"/>
                    <a:pt x="926" y="2624"/>
                    <a:pt x="926" y="1974"/>
                  </a:cubicBezTo>
                  <a:cubicBezTo>
                    <a:pt x="926" y="1356"/>
                    <a:pt x="1356" y="871"/>
                    <a:pt x="1995" y="871"/>
                  </a:cubicBezTo>
                  <a:cubicBezTo>
                    <a:pt x="2646" y="871"/>
                    <a:pt x="3076" y="1356"/>
                    <a:pt x="3076" y="1974"/>
                  </a:cubicBezTo>
                  <a:cubicBezTo>
                    <a:pt x="3076" y="2624"/>
                    <a:pt x="2613" y="3087"/>
                    <a:pt x="1995" y="3087"/>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 name="Freeform 5">
              <a:extLst>
                <a:ext uri="{FF2B5EF4-FFF2-40B4-BE49-F238E27FC236}">
                  <a16:creationId xmlns:a16="http://schemas.microsoft.com/office/drawing/2014/main" id="{246FDFCD-AB8B-B542-BCB9-2A7604ACA518}"/>
                </a:ext>
              </a:extLst>
            </p:cNvPr>
            <p:cNvSpPr>
              <a:spLocks noChangeArrowheads="1"/>
            </p:cNvSpPr>
            <p:nvPr/>
          </p:nvSpPr>
          <p:spPr bwMode="auto">
            <a:xfrm>
              <a:off x="5862638" y="2627313"/>
              <a:ext cx="1420812" cy="2325687"/>
            </a:xfrm>
            <a:custGeom>
              <a:avLst/>
              <a:gdLst>
                <a:gd name="T0" fmla="*/ 3914 w 3948"/>
                <a:gd name="T1" fmla="*/ 2216 h 6462"/>
                <a:gd name="T2" fmla="*/ 3914 w 3948"/>
                <a:gd name="T3" fmla="*/ 2216 h 6462"/>
                <a:gd name="T4" fmla="*/ 3517 w 3948"/>
                <a:gd name="T5" fmla="*/ 1048 h 6462"/>
                <a:gd name="T6" fmla="*/ 3947 w 3948"/>
                <a:gd name="T7" fmla="*/ 519 h 6462"/>
                <a:gd name="T8" fmla="*/ 3263 w 3948"/>
                <a:gd name="T9" fmla="*/ 0 h 6462"/>
                <a:gd name="T10" fmla="*/ 2800 w 3948"/>
                <a:gd name="T11" fmla="*/ 519 h 6462"/>
                <a:gd name="T12" fmla="*/ 1940 w 3948"/>
                <a:gd name="T13" fmla="*/ 331 h 6462"/>
                <a:gd name="T14" fmla="*/ 0 w 3948"/>
                <a:gd name="T15" fmla="*/ 2305 h 6462"/>
                <a:gd name="T16" fmla="*/ 1510 w 3948"/>
                <a:gd name="T17" fmla="*/ 4057 h 6462"/>
                <a:gd name="T18" fmla="*/ 2954 w 3948"/>
                <a:gd name="T19" fmla="*/ 4895 h 6462"/>
                <a:gd name="T20" fmla="*/ 2061 w 3948"/>
                <a:gd name="T21" fmla="*/ 5568 h 6462"/>
                <a:gd name="T22" fmla="*/ 1080 w 3948"/>
                <a:gd name="T23" fmla="*/ 4829 h 6462"/>
                <a:gd name="T24" fmla="*/ 1080 w 3948"/>
                <a:gd name="T25" fmla="*/ 4741 h 6462"/>
                <a:gd name="T26" fmla="*/ 132 w 3948"/>
                <a:gd name="T27" fmla="*/ 4741 h 6462"/>
                <a:gd name="T28" fmla="*/ 132 w 3948"/>
                <a:gd name="T29" fmla="*/ 4829 h 6462"/>
                <a:gd name="T30" fmla="*/ 2039 w 3948"/>
                <a:gd name="T31" fmla="*/ 6461 h 6462"/>
                <a:gd name="T32" fmla="*/ 3914 w 3948"/>
                <a:gd name="T33" fmla="*/ 4951 h 6462"/>
                <a:gd name="T34" fmla="*/ 3021 w 3948"/>
                <a:gd name="T35" fmla="*/ 3694 h 6462"/>
                <a:gd name="T36" fmla="*/ 3914 w 3948"/>
                <a:gd name="T37" fmla="*/ 2216 h 6462"/>
                <a:gd name="T38" fmla="*/ 1940 w 3948"/>
                <a:gd name="T39" fmla="*/ 3286 h 6462"/>
                <a:gd name="T40" fmla="*/ 1940 w 3948"/>
                <a:gd name="T41" fmla="*/ 3286 h 6462"/>
                <a:gd name="T42" fmla="*/ 959 w 3948"/>
                <a:gd name="T43" fmla="*/ 2238 h 6462"/>
                <a:gd name="T44" fmla="*/ 1940 w 3948"/>
                <a:gd name="T45" fmla="*/ 1202 h 6462"/>
                <a:gd name="T46" fmla="*/ 2954 w 3948"/>
                <a:gd name="T47" fmla="*/ 2238 h 6462"/>
                <a:gd name="T48" fmla="*/ 1940 w 3948"/>
                <a:gd name="T49" fmla="*/ 3286 h 6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8" h="6462">
                  <a:moveTo>
                    <a:pt x="3914" y="2216"/>
                  </a:moveTo>
                  <a:lnTo>
                    <a:pt x="3914" y="2216"/>
                  </a:lnTo>
                  <a:cubicBezTo>
                    <a:pt x="3914" y="1786"/>
                    <a:pt x="3759" y="1356"/>
                    <a:pt x="3517" y="1048"/>
                  </a:cubicBezTo>
                  <a:cubicBezTo>
                    <a:pt x="3947" y="519"/>
                    <a:pt x="3947" y="519"/>
                    <a:pt x="3947" y="519"/>
                  </a:cubicBezTo>
                  <a:cubicBezTo>
                    <a:pt x="3263" y="0"/>
                    <a:pt x="3263" y="0"/>
                    <a:pt x="3263" y="0"/>
                  </a:cubicBezTo>
                  <a:cubicBezTo>
                    <a:pt x="2800" y="519"/>
                    <a:pt x="2800" y="519"/>
                    <a:pt x="2800" y="519"/>
                  </a:cubicBezTo>
                  <a:cubicBezTo>
                    <a:pt x="2558" y="397"/>
                    <a:pt x="2282" y="331"/>
                    <a:pt x="1940" y="331"/>
                  </a:cubicBezTo>
                  <a:cubicBezTo>
                    <a:pt x="805" y="331"/>
                    <a:pt x="0" y="1202"/>
                    <a:pt x="0" y="2305"/>
                  </a:cubicBezTo>
                  <a:cubicBezTo>
                    <a:pt x="0" y="3286"/>
                    <a:pt x="595" y="3903"/>
                    <a:pt x="1510" y="4057"/>
                  </a:cubicBezTo>
                  <a:cubicBezTo>
                    <a:pt x="2128" y="4179"/>
                    <a:pt x="2954" y="4157"/>
                    <a:pt x="2954" y="4895"/>
                  </a:cubicBezTo>
                  <a:cubicBezTo>
                    <a:pt x="2954" y="5292"/>
                    <a:pt x="2679" y="5568"/>
                    <a:pt x="2061" y="5568"/>
                  </a:cubicBezTo>
                  <a:cubicBezTo>
                    <a:pt x="1422" y="5568"/>
                    <a:pt x="1080" y="5193"/>
                    <a:pt x="1080" y="4829"/>
                  </a:cubicBezTo>
                  <a:cubicBezTo>
                    <a:pt x="1080" y="4796"/>
                    <a:pt x="1080" y="4763"/>
                    <a:pt x="1080" y="4741"/>
                  </a:cubicBezTo>
                  <a:cubicBezTo>
                    <a:pt x="132" y="4741"/>
                    <a:pt x="132" y="4741"/>
                    <a:pt x="132" y="4741"/>
                  </a:cubicBezTo>
                  <a:cubicBezTo>
                    <a:pt x="132" y="4763"/>
                    <a:pt x="132" y="4796"/>
                    <a:pt x="132" y="4829"/>
                  </a:cubicBezTo>
                  <a:cubicBezTo>
                    <a:pt x="132" y="5689"/>
                    <a:pt x="871" y="6461"/>
                    <a:pt x="2039" y="6461"/>
                  </a:cubicBezTo>
                  <a:cubicBezTo>
                    <a:pt x="3329" y="6461"/>
                    <a:pt x="3914" y="5689"/>
                    <a:pt x="3914" y="4951"/>
                  </a:cubicBezTo>
                  <a:cubicBezTo>
                    <a:pt x="3914" y="4245"/>
                    <a:pt x="3539" y="3870"/>
                    <a:pt x="3021" y="3694"/>
                  </a:cubicBezTo>
                  <a:cubicBezTo>
                    <a:pt x="3539" y="3440"/>
                    <a:pt x="3914" y="2889"/>
                    <a:pt x="3914" y="2216"/>
                  </a:cubicBezTo>
                  <a:close/>
                  <a:moveTo>
                    <a:pt x="1940" y="3286"/>
                  </a:moveTo>
                  <a:lnTo>
                    <a:pt x="1940" y="3286"/>
                  </a:lnTo>
                  <a:cubicBezTo>
                    <a:pt x="1356" y="3286"/>
                    <a:pt x="959" y="2889"/>
                    <a:pt x="959" y="2238"/>
                  </a:cubicBezTo>
                  <a:cubicBezTo>
                    <a:pt x="959" y="1632"/>
                    <a:pt x="1334" y="1202"/>
                    <a:pt x="1940" y="1202"/>
                  </a:cubicBezTo>
                  <a:cubicBezTo>
                    <a:pt x="2591" y="1202"/>
                    <a:pt x="2954" y="1632"/>
                    <a:pt x="2954" y="2238"/>
                  </a:cubicBezTo>
                  <a:cubicBezTo>
                    <a:pt x="2954" y="2889"/>
                    <a:pt x="2624" y="3286"/>
                    <a:pt x="1940" y="3286"/>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1" name="Freeform 6">
              <a:extLst>
                <a:ext uri="{FF2B5EF4-FFF2-40B4-BE49-F238E27FC236}">
                  <a16:creationId xmlns:a16="http://schemas.microsoft.com/office/drawing/2014/main" id="{3EBF9576-59CF-6449-8E8E-2BD94A5AB5CF}"/>
                </a:ext>
              </a:extLst>
            </p:cNvPr>
            <p:cNvSpPr>
              <a:spLocks noChangeArrowheads="1"/>
            </p:cNvSpPr>
            <p:nvPr/>
          </p:nvSpPr>
          <p:spPr bwMode="auto">
            <a:xfrm>
              <a:off x="5299075" y="2193925"/>
              <a:ext cx="333375" cy="322263"/>
            </a:xfrm>
            <a:custGeom>
              <a:avLst/>
              <a:gdLst>
                <a:gd name="T0" fmla="*/ 0 w 927"/>
                <a:gd name="T1" fmla="*/ 893 h 894"/>
                <a:gd name="T2" fmla="*/ 926 w 927"/>
                <a:gd name="T3" fmla="*/ 893 h 894"/>
                <a:gd name="T4" fmla="*/ 926 w 927"/>
                <a:gd name="T5" fmla="*/ 0 h 894"/>
                <a:gd name="T6" fmla="*/ 0 w 927"/>
                <a:gd name="T7" fmla="*/ 0 h 894"/>
                <a:gd name="T8" fmla="*/ 0 w 927"/>
                <a:gd name="T9" fmla="*/ 893 h 894"/>
              </a:gdLst>
              <a:ahLst/>
              <a:cxnLst>
                <a:cxn ang="0">
                  <a:pos x="T0" y="T1"/>
                </a:cxn>
                <a:cxn ang="0">
                  <a:pos x="T2" y="T3"/>
                </a:cxn>
                <a:cxn ang="0">
                  <a:pos x="T4" y="T5"/>
                </a:cxn>
                <a:cxn ang="0">
                  <a:pos x="T6" y="T7"/>
                </a:cxn>
                <a:cxn ang="0">
                  <a:pos x="T8" y="T9"/>
                </a:cxn>
              </a:cxnLst>
              <a:rect l="0" t="0" r="r" b="b"/>
              <a:pathLst>
                <a:path w="927" h="894">
                  <a:moveTo>
                    <a:pt x="0" y="893"/>
                  </a:moveTo>
                  <a:lnTo>
                    <a:pt x="926" y="893"/>
                  </a:lnTo>
                  <a:lnTo>
                    <a:pt x="926" y="0"/>
                  </a:lnTo>
                  <a:lnTo>
                    <a:pt x="0" y="0"/>
                  </a:lnTo>
                  <a:lnTo>
                    <a:pt x="0" y="893"/>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2" name="Freeform 7">
              <a:extLst>
                <a:ext uri="{FF2B5EF4-FFF2-40B4-BE49-F238E27FC236}">
                  <a16:creationId xmlns:a16="http://schemas.microsoft.com/office/drawing/2014/main" id="{6FE554D2-37E1-9D4D-9147-123F350E1FBD}"/>
                </a:ext>
              </a:extLst>
            </p:cNvPr>
            <p:cNvSpPr>
              <a:spLocks noChangeArrowheads="1"/>
            </p:cNvSpPr>
            <p:nvPr/>
          </p:nvSpPr>
          <p:spPr bwMode="auto">
            <a:xfrm>
              <a:off x="7458075" y="2746375"/>
              <a:ext cx="1452563" cy="1420813"/>
            </a:xfrm>
            <a:custGeom>
              <a:avLst/>
              <a:gdLst>
                <a:gd name="T0" fmla="*/ 3076 w 4036"/>
                <a:gd name="T1" fmla="*/ 1764 h 3948"/>
                <a:gd name="T2" fmla="*/ 3076 w 4036"/>
                <a:gd name="T3" fmla="*/ 1764 h 3948"/>
                <a:gd name="T4" fmla="*/ 3076 w 4036"/>
                <a:gd name="T5" fmla="*/ 1974 h 3948"/>
                <a:gd name="T6" fmla="*/ 2007 w 4036"/>
                <a:gd name="T7" fmla="*/ 3087 h 3948"/>
                <a:gd name="T8" fmla="*/ 959 w 4036"/>
                <a:gd name="T9" fmla="*/ 1974 h 3948"/>
                <a:gd name="T10" fmla="*/ 2007 w 4036"/>
                <a:gd name="T11" fmla="*/ 871 h 3948"/>
                <a:gd name="T12" fmla="*/ 2062 w 4036"/>
                <a:gd name="T13" fmla="*/ 871 h 3948"/>
                <a:gd name="T14" fmla="*/ 2062 w 4036"/>
                <a:gd name="T15" fmla="*/ 0 h 3948"/>
                <a:gd name="T16" fmla="*/ 2007 w 4036"/>
                <a:gd name="T17" fmla="*/ 0 h 3948"/>
                <a:gd name="T18" fmla="*/ 0 w 4036"/>
                <a:gd name="T19" fmla="*/ 1974 h 3948"/>
                <a:gd name="T20" fmla="*/ 2007 w 4036"/>
                <a:gd name="T21" fmla="*/ 3947 h 3948"/>
                <a:gd name="T22" fmla="*/ 4035 w 4036"/>
                <a:gd name="T23" fmla="*/ 1974 h 3948"/>
                <a:gd name="T24" fmla="*/ 4002 w 4036"/>
                <a:gd name="T25" fmla="*/ 1764 h 3948"/>
                <a:gd name="T26" fmla="*/ 3076 w 4036"/>
                <a:gd name="T27" fmla="*/ 1764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6" h="3948">
                  <a:moveTo>
                    <a:pt x="3076" y="1764"/>
                  </a:moveTo>
                  <a:lnTo>
                    <a:pt x="3076" y="1764"/>
                  </a:lnTo>
                  <a:cubicBezTo>
                    <a:pt x="3076" y="1852"/>
                    <a:pt x="3076" y="1907"/>
                    <a:pt x="3076" y="1974"/>
                  </a:cubicBezTo>
                  <a:cubicBezTo>
                    <a:pt x="3076" y="2624"/>
                    <a:pt x="2624" y="3087"/>
                    <a:pt x="2007" y="3087"/>
                  </a:cubicBezTo>
                  <a:cubicBezTo>
                    <a:pt x="1422" y="3087"/>
                    <a:pt x="959" y="2624"/>
                    <a:pt x="959" y="1974"/>
                  </a:cubicBezTo>
                  <a:cubicBezTo>
                    <a:pt x="959" y="1356"/>
                    <a:pt x="1389" y="871"/>
                    <a:pt x="2007" y="871"/>
                  </a:cubicBezTo>
                  <a:cubicBezTo>
                    <a:pt x="2040" y="871"/>
                    <a:pt x="2040" y="871"/>
                    <a:pt x="2062" y="871"/>
                  </a:cubicBezTo>
                  <a:cubicBezTo>
                    <a:pt x="2062" y="0"/>
                    <a:pt x="2062" y="0"/>
                    <a:pt x="2062" y="0"/>
                  </a:cubicBezTo>
                  <a:cubicBezTo>
                    <a:pt x="2040" y="0"/>
                    <a:pt x="2040" y="0"/>
                    <a:pt x="2007" y="0"/>
                  </a:cubicBezTo>
                  <a:cubicBezTo>
                    <a:pt x="871" y="0"/>
                    <a:pt x="0" y="893"/>
                    <a:pt x="0" y="1974"/>
                  </a:cubicBezTo>
                  <a:cubicBezTo>
                    <a:pt x="0" y="3109"/>
                    <a:pt x="871" y="3947"/>
                    <a:pt x="2007" y="3947"/>
                  </a:cubicBezTo>
                  <a:cubicBezTo>
                    <a:pt x="3175" y="3947"/>
                    <a:pt x="4035" y="3109"/>
                    <a:pt x="4035" y="1974"/>
                  </a:cubicBezTo>
                  <a:cubicBezTo>
                    <a:pt x="4035" y="1907"/>
                    <a:pt x="4035" y="1852"/>
                    <a:pt x="4002" y="1764"/>
                  </a:cubicBezTo>
                  <a:lnTo>
                    <a:pt x="3076" y="176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grpSp>
        <p:nvGrpSpPr>
          <p:cNvPr id="13" name="Group 12">
            <a:extLst>
              <a:ext uri="{FF2B5EF4-FFF2-40B4-BE49-F238E27FC236}">
                <a16:creationId xmlns:a16="http://schemas.microsoft.com/office/drawing/2014/main" id="{759B5EDD-76D3-A549-906E-E6933C3C22E8}"/>
              </a:ext>
            </a:extLst>
          </p:cNvPr>
          <p:cNvGrpSpPr/>
          <p:nvPr userDrawn="1"/>
        </p:nvGrpSpPr>
        <p:grpSpPr>
          <a:xfrm>
            <a:off x="7019217" y="4429239"/>
            <a:ext cx="1692983" cy="279387"/>
            <a:chOff x="1828800" y="3017838"/>
            <a:chExt cx="6291263" cy="1038225"/>
          </a:xfrm>
        </p:grpSpPr>
        <p:sp>
          <p:nvSpPr>
            <p:cNvPr id="14" name="Freeform 1">
              <a:extLst>
                <a:ext uri="{FF2B5EF4-FFF2-40B4-BE49-F238E27FC236}">
                  <a16:creationId xmlns:a16="http://schemas.microsoft.com/office/drawing/2014/main" id="{BBA856B6-29AA-BE46-8F07-234314CD8909}"/>
                </a:ext>
              </a:extLst>
            </p:cNvPr>
            <p:cNvSpPr>
              <a:spLocks noChangeArrowheads="1"/>
            </p:cNvSpPr>
            <p:nvPr userDrawn="1"/>
          </p:nvSpPr>
          <p:spPr bwMode="auto">
            <a:xfrm>
              <a:off x="1831975" y="3017838"/>
              <a:ext cx="388938" cy="438150"/>
            </a:xfrm>
            <a:custGeom>
              <a:avLst/>
              <a:gdLst>
                <a:gd name="T0" fmla="*/ 1081 w 1082"/>
                <a:gd name="T1" fmla="*/ 1042 h 1215"/>
                <a:gd name="T2" fmla="*/ 1081 w 1082"/>
                <a:gd name="T3" fmla="*/ 1042 h 1215"/>
                <a:gd name="T4" fmla="*/ 873 w 1082"/>
                <a:gd name="T5" fmla="*/ 1172 h 1215"/>
                <a:gd name="T6" fmla="*/ 631 w 1082"/>
                <a:gd name="T7" fmla="*/ 1214 h 1215"/>
                <a:gd name="T8" fmla="*/ 350 w 1082"/>
                <a:gd name="T9" fmla="*/ 1164 h 1215"/>
                <a:gd name="T10" fmla="*/ 153 w 1082"/>
                <a:gd name="T11" fmla="*/ 1028 h 1215"/>
                <a:gd name="T12" fmla="*/ 39 w 1082"/>
                <a:gd name="T13" fmla="*/ 836 h 1215"/>
                <a:gd name="T14" fmla="*/ 0 w 1082"/>
                <a:gd name="T15" fmla="*/ 614 h 1215"/>
                <a:gd name="T16" fmla="*/ 39 w 1082"/>
                <a:gd name="T17" fmla="*/ 389 h 1215"/>
                <a:gd name="T18" fmla="*/ 156 w 1082"/>
                <a:gd name="T19" fmla="*/ 192 h 1215"/>
                <a:gd name="T20" fmla="*/ 353 w 1082"/>
                <a:gd name="T21" fmla="*/ 53 h 1215"/>
                <a:gd name="T22" fmla="*/ 631 w 1082"/>
                <a:gd name="T23" fmla="*/ 0 h 1215"/>
                <a:gd name="T24" fmla="*/ 864 w 1082"/>
                <a:gd name="T25" fmla="*/ 44 h 1215"/>
                <a:gd name="T26" fmla="*/ 1070 w 1082"/>
                <a:gd name="T27" fmla="*/ 178 h 1215"/>
                <a:gd name="T28" fmla="*/ 942 w 1082"/>
                <a:gd name="T29" fmla="*/ 297 h 1215"/>
                <a:gd name="T30" fmla="*/ 795 w 1082"/>
                <a:gd name="T31" fmla="*/ 206 h 1215"/>
                <a:gd name="T32" fmla="*/ 631 w 1082"/>
                <a:gd name="T33" fmla="*/ 178 h 1215"/>
                <a:gd name="T34" fmla="*/ 434 w 1082"/>
                <a:gd name="T35" fmla="*/ 214 h 1215"/>
                <a:gd name="T36" fmla="*/ 298 w 1082"/>
                <a:gd name="T37" fmla="*/ 314 h 1215"/>
                <a:gd name="T38" fmla="*/ 217 w 1082"/>
                <a:gd name="T39" fmla="*/ 453 h 1215"/>
                <a:gd name="T40" fmla="*/ 192 w 1082"/>
                <a:gd name="T41" fmla="*/ 614 h 1215"/>
                <a:gd name="T42" fmla="*/ 217 w 1082"/>
                <a:gd name="T43" fmla="*/ 769 h 1215"/>
                <a:gd name="T44" fmla="*/ 295 w 1082"/>
                <a:gd name="T45" fmla="*/ 906 h 1215"/>
                <a:gd name="T46" fmla="*/ 434 w 1082"/>
                <a:gd name="T47" fmla="*/ 1003 h 1215"/>
                <a:gd name="T48" fmla="*/ 631 w 1082"/>
                <a:gd name="T49" fmla="*/ 1039 h 1215"/>
                <a:gd name="T50" fmla="*/ 800 w 1082"/>
                <a:gd name="T51" fmla="*/ 1008 h 1215"/>
                <a:gd name="T52" fmla="*/ 950 w 1082"/>
                <a:gd name="T53" fmla="*/ 911 h 1215"/>
                <a:gd name="T54" fmla="*/ 1081 w 1082"/>
                <a:gd name="T55" fmla="*/ 1042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2" h="1215">
                  <a:moveTo>
                    <a:pt x="1081" y="1042"/>
                  </a:moveTo>
                  <a:lnTo>
                    <a:pt x="1081" y="1042"/>
                  </a:lnTo>
                  <a:cubicBezTo>
                    <a:pt x="1020" y="1100"/>
                    <a:pt x="950" y="1144"/>
                    <a:pt x="873" y="1172"/>
                  </a:cubicBezTo>
                  <a:cubicBezTo>
                    <a:pt x="798" y="1200"/>
                    <a:pt x="717" y="1214"/>
                    <a:pt x="631" y="1214"/>
                  </a:cubicBezTo>
                  <a:cubicBezTo>
                    <a:pt x="523" y="1214"/>
                    <a:pt x="431" y="1197"/>
                    <a:pt x="350" y="1164"/>
                  </a:cubicBezTo>
                  <a:cubicBezTo>
                    <a:pt x="273" y="1130"/>
                    <a:pt x="206" y="1086"/>
                    <a:pt x="153" y="1028"/>
                  </a:cubicBezTo>
                  <a:cubicBezTo>
                    <a:pt x="103" y="972"/>
                    <a:pt x="64" y="908"/>
                    <a:pt x="39" y="836"/>
                  </a:cubicBezTo>
                  <a:cubicBezTo>
                    <a:pt x="14" y="764"/>
                    <a:pt x="0" y="692"/>
                    <a:pt x="0" y="614"/>
                  </a:cubicBezTo>
                  <a:cubicBezTo>
                    <a:pt x="0" y="536"/>
                    <a:pt x="14" y="461"/>
                    <a:pt x="39" y="389"/>
                  </a:cubicBezTo>
                  <a:cubicBezTo>
                    <a:pt x="67" y="314"/>
                    <a:pt x="103" y="250"/>
                    <a:pt x="156" y="192"/>
                  </a:cubicBezTo>
                  <a:cubicBezTo>
                    <a:pt x="209" y="133"/>
                    <a:pt x="273" y="89"/>
                    <a:pt x="353" y="53"/>
                  </a:cubicBezTo>
                  <a:cubicBezTo>
                    <a:pt x="431" y="17"/>
                    <a:pt x="525" y="0"/>
                    <a:pt x="631" y="0"/>
                  </a:cubicBezTo>
                  <a:cubicBezTo>
                    <a:pt x="711" y="0"/>
                    <a:pt x="789" y="14"/>
                    <a:pt x="864" y="44"/>
                  </a:cubicBezTo>
                  <a:cubicBezTo>
                    <a:pt x="939" y="72"/>
                    <a:pt x="1009" y="117"/>
                    <a:pt x="1070" y="178"/>
                  </a:cubicBezTo>
                  <a:cubicBezTo>
                    <a:pt x="942" y="297"/>
                    <a:pt x="942" y="297"/>
                    <a:pt x="942" y="297"/>
                  </a:cubicBezTo>
                  <a:cubicBezTo>
                    <a:pt x="898" y="256"/>
                    <a:pt x="850" y="225"/>
                    <a:pt x="795" y="206"/>
                  </a:cubicBezTo>
                  <a:cubicBezTo>
                    <a:pt x="742" y="186"/>
                    <a:pt x="686" y="178"/>
                    <a:pt x="631" y="178"/>
                  </a:cubicBezTo>
                  <a:cubicBezTo>
                    <a:pt x="556" y="178"/>
                    <a:pt x="489" y="189"/>
                    <a:pt x="434" y="214"/>
                  </a:cubicBezTo>
                  <a:cubicBezTo>
                    <a:pt x="378" y="239"/>
                    <a:pt x="334" y="272"/>
                    <a:pt x="298" y="314"/>
                  </a:cubicBezTo>
                  <a:cubicBezTo>
                    <a:pt x="261" y="356"/>
                    <a:pt x="234" y="400"/>
                    <a:pt x="217" y="453"/>
                  </a:cubicBezTo>
                  <a:cubicBezTo>
                    <a:pt x="200" y="506"/>
                    <a:pt x="192" y="558"/>
                    <a:pt x="192" y="614"/>
                  </a:cubicBezTo>
                  <a:cubicBezTo>
                    <a:pt x="192" y="667"/>
                    <a:pt x="200" y="719"/>
                    <a:pt x="217" y="769"/>
                  </a:cubicBezTo>
                  <a:cubicBezTo>
                    <a:pt x="234" y="822"/>
                    <a:pt x="261" y="867"/>
                    <a:pt x="295" y="906"/>
                  </a:cubicBezTo>
                  <a:cubicBezTo>
                    <a:pt x="331" y="947"/>
                    <a:pt x="378" y="978"/>
                    <a:pt x="434" y="1003"/>
                  </a:cubicBezTo>
                  <a:cubicBezTo>
                    <a:pt x="489" y="1028"/>
                    <a:pt x="553" y="1039"/>
                    <a:pt x="631" y="1039"/>
                  </a:cubicBezTo>
                  <a:cubicBezTo>
                    <a:pt x="686" y="1039"/>
                    <a:pt x="745" y="1028"/>
                    <a:pt x="800" y="1008"/>
                  </a:cubicBezTo>
                  <a:cubicBezTo>
                    <a:pt x="859" y="986"/>
                    <a:pt x="906" y="953"/>
                    <a:pt x="950" y="911"/>
                  </a:cubicBezTo>
                  <a:lnTo>
                    <a:pt x="1081" y="104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5" name="Freeform 2">
              <a:extLst>
                <a:ext uri="{FF2B5EF4-FFF2-40B4-BE49-F238E27FC236}">
                  <a16:creationId xmlns:a16="http://schemas.microsoft.com/office/drawing/2014/main" id="{73389FFB-63E9-3D46-A6C7-B696EDC8C0C3}"/>
                </a:ext>
              </a:extLst>
            </p:cNvPr>
            <p:cNvSpPr>
              <a:spLocks noChangeArrowheads="1"/>
            </p:cNvSpPr>
            <p:nvPr userDrawn="1"/>
          </p:nvSpPr>
          <p:spPr bwMode="auto">
            <a:xfrm>
              <a:off x="2268538" y="3149600"/>
              <a:ext cx="293687" cy="301625"/>
            </a:xfrm>
            <a:custGeom>
              <a:avLst/>
              <a:gdLst>
                <a:gd name="T0" fmla="*/ 175 w 815"/>
                <a:gd name="T1" fmla="*/ 0 h 837"/>
                <a:gd name="T2" fmla="*/ 175 w 815"/>
                <a:gd name="T3" fmla="*/ 0 h 837"/>
                <a:gd name="T4" fmla="*/ 175 w 815"/>
                <a:gd name="T5" fmla="*/ 439 h 837"/>
                <a:gd name="T6" fmla="*/ 233 w 815"/>
                <a:gd name="T7" fmla="*/ 611 h 837"/>
                <a:gd name="T8" fmla="*/ 406 w 815"/>
                <a:gd name="T9" fmla="*/ 675 h 837"/>
                <a:gd name="T10" fmla="*/ 500 w 815"/>
                <a:gd name="T11" fmla="*/ 658 h 837"/>
                <a:gd name="T12" fmla="*/ 572 w 815"/>
                <a:gd name="T13" fmla="*/ 602 h 837"/>
                <a:gd name="T14" fmla="*/ 622 w 815"/>
                <a:gd name="T15" fmla="*/ 525 h 837"/>
                <a:gd name="T16" fmla="*/ 639 w 815"/>
                <a:gd name="T17" fmla="*/ 427 h 837"/>
                <a:gd name="T18" fmla="*/ 639 w 815"/>
                <a:gd name="T19" fmla="*/ 0 h 837"/>
                <a:gd name="T20" fmla="*/ 814 w 815"/>
                <a:gd name="T21" fmla="*/ 0 h 837"/>
                <a:gd name="T22" fmla="*/ 814 w 815"/>
                <a:gd name="T23" fmla="*/ 825 h 837"/>
                <a:gd name="T24" fmla="*/ 656 w 815"/>
                <a:gd name="T25" fmla="*/ 825 h 837"/>
                <a:gd name="T26" fmla="*/ 645 w 815"/>
                <a:gd name="T27" fmla="*/ 702 h 837"/>
                <a:gd name="T28" fmla="*/ 514 w 815"/>
                <a:gd name="T29" fmla="*/ 805 h 837"/>
                <a:gd name="T30" fmla="*/ 356 w 815"/>
                <a:gd name="T31" fmla="*/ 836 h 837"/>
                <a:gd name="T32" fmla="*/ 211 w 815"/>
                <a:gd name="T33" fmla="*/ 811 h 837"/>
                <a:gd name="T34" fmla="*/ 100 w 815"/>
                <a:gd name="T35" fmla="*/ 733 h 837"/>
                <a:gd name="T36" fmla="*/ 25 w 815"/>
                <a:gd name="T37" fmla="*/ 608 h 837"/>
                <a:gd name="T38" fmla="*/ 0 w 815"/>
                <a:gd name="T39" fmla="*/ 441 h 837"/>
                <a:gd name="T40" fmla="*/ 0 w 815"/>
                <a:gd name="T41" fmla="*/ 0 h 837"/>
                <a:gd name="T42" fmla="*/ 175 w 815"/>
                <a:gd name="T43" fmla="*/ 0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5" h="837">
                  <a:moveTo>
                    <a:pt x="175" y="0"/>
                  </a:moveTo>
                  <a:lnTo>
                    <a:pt x="175" y="0"/>
                  </a:lnTo>
                  <a:cubicBezTo>
                    <a:pt x="175" y="439"/>
                    <a:pt x="175" y="439"/>
                    <a:pt x="175" y="439"/>
                  </a:cubicBezTo>
                  <a:cubicBezTo>
                    <a:pt x="175" y="508"/>
                    <a:pt x="195" y="566"/>
                    <a:pt x="233" y="611"/>
                  </a:cubicBezTo>
                  <a:cubicBezTo>
                    <a:pt x="275" y="655"/>
                    <a:pt x="331" y="675"/>
                    <a:pt x="406" y="675"/>
                  </a:cubicBezTo>
                  <a:cubicBezTo>
                    <a:pt x="439" y="675"/>
                    <a:pt x="470" y="669"/>
                    <a:pt x="500" y="658"/>
                  </a:cubicBezTo>
                  <a:cubicBezTo>
                    <a:pt x="528" y="644"/>
                    <a:pt x="553" y="627"/>
                    <a:pt x="572" y="602"/>
                  </a:cubicBezTo>
                  <a:cubicBezTo>
                    <a:pt x="595" y="580"/>
                    <a:pt x="611" y="555"/>
                    <a:pt x="622" y="525"/>
                  </a:cubicBezTo>
                  <a:cubicBezTo>
                    <a:pt x="633" y="494"/>
                    <a:pt x="639" y="461"/>
                    <a:pt x="639" y="427"/>
                  </a:cubicBezTo>
                  <a:cubicBezTo>
                    <a:pt x="639" y="0"/>
                    <a:pt x="639" y="0"/>
                    <a:pt x="639" y="0"/>
                  </a:cubicBezTo>
                  <a:cubicBezTo>
                    <a:pt x="814" y="0"/>
                    <a:pt x="814" y="0"/>
                    <a:pt x="814" y="0"/>
                  </a:cubicBezTo>
                  <a:cubicBezTo>
                    <a:pt x="814" y="825"/>
                    <a:pt x="814" y="825"/>
                    <a:pt x="814" y="825"/>
                  </a:cubicBezTo>
                  <a:cubicBezTo>
                    <a:pt x="656" y="825"/>
                    <a:pt x="656" y="825"/>
                    <a:pt x="656" y="825"/>
                  </a:cubicBezTo>
                  <a:cubicBezTo>
                    <a:pt x="645" y="702"/>
                    <a:pt x="645" y="702"/>
                    <a:pt x="645" y="702"/>
                  </a:cubicBezTo>
                  <a:cubicBezTo>
                    <a:pt x="603" y="750"/>
                    <a:pt x="561" y="783"/>
                    <a:pt x="514" y="805"/>
                  </a:cubicBezTo>
                  <a:cubicBezTo>
                    <a:pt x="467" y="825"/>
                    <a:pt x="414" y="836"/>
                    <a:pt x="356" y="836"/>
                  </a:cubicBezTo>
                  <a:cubicBezTo>
                    <a:pt x="303" y="836"/>
                    <a:pt x="256" y="827"/>
                    <a:pt x="211" y="811"/>
                  </a:cubicBezTo>
                  <a:cubicBezTo>
                    <a:pt x="170" y="791"/>
                    <a:pt x="131" y="766"/>
                    <a:pt x="100" y="733"/>
                  </a:cubicBezTo>
                  <a:cubicBezTo>
                    <a:pt x="70" y="700"/>
                    <a:pt x="45" y="658"/>
                    <a:pt x="25" y="608"/>
                  </a:cubicBezTo>
                  <a:cubicBezTo>
                    <a:pt x="8" y="561"/>
                    <a:pt x="0" y="505"/>
                    <a:pt x="0" y="441"/>
                  </a:cubicBezTo>
                  <a:cubicBezTo>
                    <a:pt x="0" y="0"/>
                    <a:pt x="0" y="0"/>
                    <a:pt x="0" y="0"/>
                  </a:cubicBezTo>
                  <a:lnTo>
                    <a:pt x="175"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6" name="Freeform 3">
              <a:extLst>
                <a:ext uri="{FF2B5EF4-FFF2-40B4-BE49-F238E27FC236}">
                  <a16:creationId xmlns:a16="http://schemas.microsoft.com/office/drawing/2014/main" id="{D9CFF887-01DB-6D43-A093-593C6A40C9BB}"/>
                </a:ext>
              </a:extLst>
            </p:cNvPr>
            <p:cNvSpPr>
              <a:spLocks noChangeArrowheads="1"/>
            </p:cNvSpPr>
            <p:nvPr userDrawn="1"/>
          </p:nvSpPr>
          <p:spPr bwMode="auto">
            <a:xfrm>
              <a:off x="2624138" y="3141663"/>
              <a:ext cx="268287" cy="314325"/>
            </a:xfrm>
            <a:custGeom>
              <a:avLst/>
              <a:gdLst>
                <a:gd name="T0" fmla="*/ 606 w 746"/>
                <a:gd name="T1" fmla="*/ 225 h 871"/>
                <a:gd name="T2" fmla="*/ 606 w 746"/>
                <a:gd name="T3" fmla="*/ 225 h 871"/>
                <a:gd name="T4" fmla="*/ 500 w 746"/>
                <a:gd name="T5" fmla="*/ 164 h 871"/>
                <a:gd name="T6" fmla="*/ 383 w 746"/>
                <a:gd name="T7" fmla="*/ 148 h 871"/>
                <a:gd name="T8" fmla="*/ 253 w 746"/>
                <a:gd name="T9" fmla="*/ 173 h 871"/>
                <a:gd name="T10" fmla="*/ 203 w 746"/>
                <a:gd name="T11" fmla="*/ 245 h 871"/>
                <a:gd name="T12" fmla="*/ 256 w 746"/>
                <a:gd name="T13" fmla="*/ 320 h 871"/>
                <a:gd name="T14" fmla="*/ 386 w 746"/>
                <a:gd name="T15" fmla="*/ 350 h 871"/>
                <a:gd name="T16" fmla="*/ 508 w 746"/>
                <a:gd name="T17" fmla="*/ 367 h 871"/>
                <a:gd name="T18" fmla="*/ 625 w 746"/>
                <a:gd name="T19" fmla="*/ 406 h 871"/>
                <a:gd name="T20" fmla="*/ 711 w 746"/>
                <a:gd name="T21" fmla="*/ 481 h 871"/>
                <a:gd name="T22" fmla="*/ 745 w 746"/>
                <a:gd name="T23" fmla="*/ 611 h 871"/>
                <a:gd name="T24" fmla="*/ 717 w 746"/>
                <a:gd name="T25" fmla="*/ 717 h 871"/>
                <a:gd name="T26" fmla="*/ 645 w 746"/>
                <a:gd name="T27" fmla="*/ 798 h 871"/>
                <a:gd name="T28" fmla="*/ 533 w 746"/>
                <a:gd name="T29" fmla="*/ 853 h 871"/>
                <a:gd name="T30" fmla="*/ 383 w 746"/>
                <a:gd name="T31" fmla="*/ 870 h 871"/>
                <a:gd name="T32" fmla="*/ 183 w 746"/>
                <a:gd name="T33" fmla="*/ 842 h 871"/>
                <a:gd name="T34" fmla="*/ 0 w 746"/>
                <a:gd name="T35" fmla="*/ 720 h 871"/>
                <a:gd name="T36" fmla="*/ 92 w 746"/>
                <a:gd name="T37" fmla="*/ 598 h 871"/>
                <a:gd name="T38" fmla="*/ 233 w 746"/>
                <a:gd name="T39" fmla="*/ 689 h 871"/>
                <a:gd name="T40" fmla="*/ 389 w 746"/>
                <a:gd name="T41" fmla="*/ 720 h 871"/>
                <a:gd name="T42" fmla="*/ 450 w 746"/>
                <a:gd name="T43" fmla="*/ 714 h 871"/>
                <a:gd name="T44" fmla="*/ 508 w 746"/>
                <a:gd name="T45" fmla="*/ 698 h 871"/>
                <a:gd name="T46" fmla="*/ 550 w 746"/>
                <a:gd name="T47" fmla="*/ 662 h 871"/>
                <a:gd name="T48" fmla="*/ 567 w 746"/>
                <a:gd name="T49" fmla="*/ 614 h 871"/>
                <a:gd name="T50" fmla="*/ 517 w 746"/>
                <a:gd name="T51" fmla="*/ 531 h 871"/>
                <a:gd name="T52" fmla="*/ 372 w 746"/>
                <a:gd name="T53" fmla="*/ 498 h 871"/>
                <a:gd name="T54" fmla="*/ 253 w 746"/>
                <a:gd name="T55" fmla="*/ 478 h 871"/>
                <a:gd name="T56" fmla="*/ 142 w 746"/>
                <a:gd name="T57" fmla="*/ 436 h 871"/>
                <a:gd name="T58" fmla="*/ 61 w 746"/>
                <a:gd name="T59" fmla="*/ 364 h 871"/>
                <a:gd name="T60" fmla="*/ 31 w 746"/>
                <a:gd name="T61" fmla="*/ 250 h 871"/>
                <a:gd name="T62" fmla="*/ 61 w 746"/>
                <a:gd name="T63" fmla="*/ 134 h 871"/>
                <a:gd name="T64" fmla="*/ 145 w 746"/>
                <a:gd name="T65" fmla="*/ 56 h 871"/>
                <a:gd name="T66" fmla="*/ 259 w 746"/>
                <a:gd name="T67" fmla="*/ 14 h 871"/>
                <a:gd name="T68" fmla="*/ 381 w 746"/>
                <a:gd name="T69" fmla="*/ 0 h 871"/>
                <a:gd name="T70" fmla="*/ 556 w 746"/>
                <a:gd name="T71" fmla="*/ 25 h 871"/>
                <a:gd name="T72" fmla="*/ 703 w 746"/>
                <a:gd name="T73" fmla="*/ 112 h 871"/>
                <a:gd name="T74" fmla="*/ 606 w 746"/>
                <a:gd name="T75" fmla="*/ 225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6" h="871">
                  <a:moveTo>
                    <a:pt x="606" y="225"/>
                  </a:moveTo>
                  <a:lnTo>
                    <a:pt x="606" y="225"/>
                  </a:lnTo>
                  <a:cubicBezTo>
                    <a:pt x="572" y="195"/>
                    <a:pt x="536" y="173"/>
                    <a:pt x="500" y="164"/>
                  </a:cubicBezTo>
                  <a:cubicBezTo>
                    <a:pt x="464" y="153"/>
                    <a:pt x="425" y="148"/>
                    <a:pt x="383" y="148"/>
                  </a:cubicBezTo>
                  <a:cubicBezTo>
                    <a:pt x="328" y="148"/>
                    <a:pt x="286" y="153"/>
                    <a:pt x="253" y="173"/>
                  </a:cubicBezTo>
                  <a:cubicBezTo>
                    <a:pt x="220" y="189"/>
                    <a:pt x="203" y="214"/>
                    <a:pt x="203" y="245"/>
                  </a:cubicBezTo>
                  <a:cubicBezTo>
                    <a:pt x="206" y="281"/>
                    <a:pt x="222" y="306"/>
                    <a:pt x="256" y="320"/>
                  </a:cubicBezTo>
                  <a:cubicBezTo>
                    <a:pt x="289" y="336"/>
                    <a:pt x="331" y="345"/>
                    <a:pt x="386" y="350"/>
                  </a:cubicBezTo>
                  <a:cubicBezTo>
                    <a:pt x="425" y="356"/>
                    <a:pt x="467" y="359"/>
                    <a:pt x="508" y="367"/>
                  </a:cubicBezTo>
                  <a:cubicBezTo>
                    <a:pt x="550" y="375"/>
                    <a:pt x="589" y="387"/>
                    <a:pt x="625" y="406"/>
                  </a:cubicBezTo>
                  <a:cubicBezTo>
                    <a:pt x="658" y="425"/>
                    <a:pt x="689" y="450"/>
                    <a:pt x="711" y="481"/>
                  </a:cubicBezTo>
                  <a:cubicBezTo>
                    <a:pt x="733" y="514"/>
                    <a:pt x="745" y="556"/>
                    <a:pt x="745" y="611"/>
                  </a:cubicBezTo>
                  <a:cubicBezTo>
                    <a:pt x="745" y="650"/>
                    <a:pt x="736" y="684"/>
                    <a:pt x="717" y="717"/>
                  </a:cubicBezTo>
                  <a:cubicBezTo>
                    <a:pt x="700" y="748"/>
                    <a:pt x="675" y="775"/>
                    <a:pt x="645" y="798"/>
                  </a:cubicBezTo>
                  <a:cubicBezTo>
                    <a:pt x="614" y="823"/>
                    <a:pt x="575" y="839"/>
                    <a:pt x="533" y="853"/>
                  </a:cubicBezTo>
                  <a:cubicBezTo>
                    <a:pt x="489" y="864"/>
                    <a:pt x="439" y="870"/>
                    <a:pt x="383" y="870"/>
                  </a:cubicBezTo>
                  <a:cubicBezTo>
                    <a:pt x="317" y="870"/>
                    <a:pt x="250" y="862"/>
                    <a:pt x="183" y="842"/>
                  </a:cubicBezTo>
                  <a:cubicBezTo>
                    <a:pt x="117" y="820"/>
                    <a:pt x="56" y="781"/>
                    <a:pt x="0" y="720"/>
                  </a:cubicBezTo>
                  <a:cubicBezTo>
                    <a:pt x="92" y="598"/>
                    <a:pt x="92" y="598"/>
                    <a:pt x="92" y="598"/>
                  </a:cubicBezTo>
                  <a:cubicBezTo>
                    <a:pt x="133" y="639"/>
                    <a:pt x="181" y="673"/>
                    <a:pt x="233" y="689"/>
                  </a:cubicBezTo>
                  <a:cubicBezTo>
                    <a:pt x="286" y="709"/>
                    <a:pt x="339" y="720"/>
                    <a:pt x="389" y="720"/>
                  </a:cubicBezTo>
                  <a:cubicBezTo>
                    <a:pt x="408" y="720"/>
                    <a:pt x="431" y="720"/>
                    <a:pt x="450" y="714"/>
                  </a:cubicBezTo>
                  <a:cubicBezTo>
                    <a:pt x="472" y="711"/>
                    <a:pt x="492" y="706"/>
                    <a:pt x="508" y="698"/>
                  </a:cubicBezTo>
                  <a:cubicBezTo>
                    <a:pt x="525" y="686"/>
                    <a:pt x="539" y="675"/>
                    <a:pt x="550" y="662"/>
                  </a:cubicBezTo>
                  <a:cubicBezTo>
                    <a:pt x="561" y="648"/>
                    <a:pt x="567" y="631"/>
                    <a:pt x="567" y="614"/>
                  </a:cubicBezTo>
                  <a:cubicBezTo>
                    <a:pt x="570" y="575"/>
                    <a:pt x="553" y="548"/>
                    <a:pt x="517" y="531"/>
                  </a:cubicBezTo>
                  <a:cubicBezTo>
                    <a:pt x="483" y="514"/>
                    <a:pt x="436" y="503"/>
                    <a:pt x="372" y="498"/>
                  </a:cubicBezTo>
                  <a:cubicBezTo>
                    <a:pt x="333" y="495"/>
                    <a:pt x="292" y="489"/>
                    <a:pt x="253" y="478"/>
                  </a:cubicBezTo>
                  <a:cubicBezTo>
                    <a:pt x="211" y="470"/>
                    <a:pt x="175" y="456"/>
                    <a:pt x="142" y="436"/>
                  </a:cubicBezTo>
                  <a:cubicBezTo>
                    <a:pt x="108" y="420"/>
                    <a:pt x="84" y="395"/>
                    <a:pt x="61" y="364"/>
                  </a:cubicBezTo>
                  <a:cubicBezTo>
                    <a:pt x="39" y="334"/>
                    <a:pt x="31" y="298"/>
                    <a:pt x="31" y="250"/>
                  </a:cubicBezTo>
                  <a:cubicBezTo>
                    <a:pt x="31" y="206"/>
                    <a:pt x="42" y="167"/>
                    <a:pt x="61" y="134"/>
                  </a:cubicBezTo>
                  <a:cubicBezTo>
                    <a:pt x="84" y="103"/>
                    <a:pt x="111" y="78"/>
                    <a:pt x="145" y="56"/>
                  </a:cubicBezTo>
                  <a:cubicBezTo>
                    <a:pt x="181" y="37"/>
                    <a:pt x="217" y="23"/>
                    <a:pt x="259" y="14"/>
                  </a:cubicBezTo>
                  <a:cubicBezTo>
                    <a:pt x="300" y="6"/>
                    <a:pt x="339" y="0"/>
                    <a:pt x="381" y="0"/>
                  </a:cubicBezTo>
                  <a:cubicBezTo>
                    <a:pt x="445" y="0"/>
                    <a:pt x="503" y="9"/>
                    <a:pt x="556" y="25"/>
                  </a:cubicBezTo>
                  <a:cubicBezTo>
                    <a:pt x="606" y="42"/>
                    <a:pt x="656" y="70"/>
                    <a:pt x="703" y="112"/>
                  </a:cubicBezTo>
                  <a:lnTo>
                    <a:pt x="606" y="2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7" name="Freeform 4">
              <a:extLst>
                <a:ext uri="{FF2B5EF4-FFF2-40B4-BE49-F238E27FC236}">
                  <a16:creationId xmlns:a16="http://schemas.microsoft.com/office/drawing/2014/main" id="{907AFE39-9233-9B44-912D-8D30BEAF8F0D}"/>
                </a:ext>
              </a:extLst>
            </p:cNvPr>
            <p:cNvSpPr>
              <a:spLocks noChangeArrowheads="1"/>
            </p:cNvSpPr>
            <p:nvPr userDrawn="1"/>
          </p:nvSpPr>
          <p:spPr bwMode="auto">
            <a:xfrm>
              <a:off x="2928938" y="3063875"/>
              <a:ext cx="223837" cy="387350"/>
            </a:xfrm>
            <a:custGeom>
              <a:avLst/>
              <a:gdLst>
                <a:gd name="T0" fmla="*/ 342 w 621"/>
                <a:gd name="T1" fmla="*/ 0 h 1076"/>
                <a:gd name="T2" fmla="*/ 342 w 621"/>
                <a:gd name="T3" fmla="*/ 0 h 1076"/>
                <a:gd name="T4" fmla="*/ 342 w 621"/>
                <a:gd name="T5" fmla="*/ 239 h 1076"/>
                <a:gd name="T6" fmla="*/ 586 w 621"/>
                <a:gd name="T7" fmla="*/ 239 h 1076"/>
                <a:gd name="T8" fmla="*/ 586 w 621"/>
                <a:gd name="T9" fmla="*/ 391 h 1076"/>
                <a:gd name="T10" fmla="*/ 339 w 621"/>
                <a:gd name="T11" fmla="*/ 391 h 1076"/>
                <a:gd name="T12" fmla="*/ 339 w 621"/>
                <a:gd name="T13" fmla="*/ 780 h 1076"/>
                <a:gd name="T14" fmla="*/ 369 w 621"/>
                <a:gd name="T15" fmla="*/ 880 h 1076"/>
                <a:gd name="T16" fmla="*/ 461 w 621"/>
                <a:gd name="T17" fmla="*/ 916 h 1076"/>
                <a:gd name="T18" fmla="*/ 514 w 621"/>
                <a:gd name="T19" fmla="*/ 908 h 1076"/>
                <a:gd name="T20" fmla="*/ 567 w 621"/>
                <a:gd name="T21" fmla="*/ 889 h 1076"/>
                <a:gd name="T22" fmla="*/ 620 w 621"/>
                <a:gd name="T23" fmla="*/ 1036 h 1076"/>
                <a:gd name="T24" fmla="*/ 533 w 621"/>
                <a:gd name="T25" fmla="*/ 1064 h 1076"/>
                <a:gd name="T26" fmla="*/ 450 w 621"/>
                <a:gd name="T27" fmla="*/ 1072 h 1076"/>
                <a:gd name="T28" fmla="*/ 236 w 621"/>
                <a:gd name="T29" fmla="*/ 1002 h 1076"/>
                <a:gd name="T30" fmla="*/ 164 w 621"/>
                <a:gd name="T31" fmla="*/ 783 h 1076"/>
                <a:gd name="T32" fmla="*/ 164 w 621"/>
                <a:gd name="T33" fmla="*/ 391 h 1076"/>
                <a:gd name="T34" fmla="*/ 0 w 621"/>
                <a:gd name="T35" fmla="*/ 391 h 1076"/>
                <a:gd name="T36" fmla="*/ 0 w 621"/>
                <a:gd name="T37" fmla="*/ 239 h 1076"/>
                <a:gd name="T38" fmla="*/ 164 w 621"/>
                <a:gd name="T39" fmla="*/ 239 h 1076"/>
                <a:gd name="T40" fmla="*/ 164 w 621"/>
                <a:gd name="T41" fmla="*/ 19 h 1076"/>
                <a:gd name="T42" fmla="*/ 342 w 621"/>
                <a:gd name="T43" fmla="*/ 0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1" h="1076">
                  <a:moveTo>
                    <a:pt x="342" y="0"/>
                  </a:moveTo>
                  <a:lnTo>
                    <a:pt x="342" y="0"/>
                  </a:lnTo>
                  <a:cubicBezTo>
                    <a:pt x="342" y="239"/>
                    <a:pt x="342" y="239"/>
                    <a:pt x="342" y="239"/>
                  </a:cubicBezTo>
                  <a:cubicBezTo>
                    <a:pt x="586" y="239"/>
                    <a:pt x="586" y="239"/>
                    <a:pt x="586" y="239"/>
                  </a:cubicBezTo>
                  <a:cubicBezTo>
                    <a:pt x="586" y="391"/>
                    <a:pt x="586" y="391"/>
                    <a:pt x="586" y="391"/>
                  </a:cubicBezTo>
                  <a:cubicBezTo>
                    <a:pt x="339" y="391"/>
                    <a:pt x="339" y="391"/>
                    <a:pt x="339" y="391"/>
                  </a:cubicBezTo>
                  <a:cubicBezTo>
                    <a:pt x="339" y="780"/>
                    <a:pt x="339" y="780"/>
                    <a:pt x="339" y="780"/>
                  </a:cubicBezTo>
                  <a:cubicBezTo>
                    <a:pt x="339" y="825"/>
                    <a:pt x="350" y="858"/>
                    <a:pt x="369" y="880"/>
                  </a:cubicBezTo>
                  <a:cubicBezTo>
                    <a:pt x="389" y="905"/>
                    <a:pt x="420" y="916"/>
                    <a:pt x="461" y="916"/>
                  </a:cubicBezTo>
                  <a:cubicBezTo>
                    <a:pt x="478" y="916"/>
                    <a:pt x="494" y="914"/>
                    <a:pt x="514" y="908"/>
                  </a:cubicBezTo>
                  <a:cubicBezTo>
                    <a:pt x="533" y="905"/>
                    <a:pt x="550" y="897"/>
                    <a:pt x="567" y="889"/>
                  </a:cubicBezTo>
                  <a:cubicBezTo>
                    <a:pt x="620" y="1036"/>
                    <a:pt x="620" y="1036"/>
                    <a:pt x="620" y="1036"/>
                  </a:cubicBezTo>
                  <a:cubicBezTo>
                    <a:pt x="589" y="1047"/>
                    <a:pt x="561" y="1058"/>
                    <a:pt x="533" y="1064"/>
                  </a:cubicBezTo>
                  <a:cubicBezTo>
                    <a:pt x="508" y="1069"/>
                    <a:pt x="481" y="1072"/>
                    <a:pt x="450" y="1072"/>
                  </a:cubicBezTo>
                  <a:cubicBezTo>
                    <a:pt x="358" y="1075"/>
                    <a:pt x="286" y="1050"/>
                    <a:pt x="236" y="1002"/>
                  </a:cubicBezTo>
                  <a:cubicBezTo>
                    <a:pt x="189" y="952"/>
                    <a:pt x="164" y="880"/>
                    <a:pt x="164" y="783"/>
                  </a:cubicBezTo>
                  <a:cubicBezTo>
                    <a:pt x="164" y="391"/>
                    <a:pt x="164" y="391"/>
                    <a:pt x="164" y="391"/>
                  </a:cubicBezTo>
                  <a:cubicBezTo>
                    <a:pt x="0" y="391"/>
                    <a:pt x="0" y="391"/>
                    <a:pt x="0" y="391"/>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8" name="Freeform 5">
              <a:extLst>
                <a:ext uri="{FF2B5EF4-FFF2-40B4-BE49-F238E27FC236}">
                  <a16:creationId xmlns:a16="http://schemas.microsoft.com/office/drawing/2014/main" id="{B05D13A4-466C-914B-BC0F-022412116FF4}"/>
                </a:ext>
              </a:extLst>
            </p:cNvPr>
            <p:cNvSpPr>
              <a:spLocks noChangeArrowheads="1"/>
            </p:cNvSpPr>
            <p:nvPr userDrawn="1"/>
          </p:nvSpPr>
          <p:spPr bwMode="auto">
            <a:xfrm>
              <a:off x="3186113" y="3143250"/>
              <a:ext cx="314325" cy="307975"/>
            </a:xfrm>
            <a:custGeom>
              <a:avLst/>
              <a:gdLst>
                <a:gd name="T0" fmla="*/ 433 w 873"/>
                <a:gd name="T1" fmla="*/ 0 h 857"/>
                <a:gd name="T2" fmla="*/ 433 w 873"/>
                <a:gd name="T3" fmla="*/ 0 h 857"/>
                <a:gd name="T4" fmla="*/ 611 w 873"/>
                <a:gd name="T5" fmla="*/ 33 h 857"/>
                <a:gd name="T6" fmla="*/ 750 w 873"/>
                <a:gd name="T7" fmla="*/ 125 h 857"/>
                <a:gd name="T8" fmla="*/ 839 w 873"/>
                <a:gd name="T9" fmla="*/ 261 h 857"/>
                <a:gd name="T10" fmla="*/ 872 w 873"/>
                <a:gd name="T11" fmla="*/ 428 h 857"/>
                <a:gd name="T12" fmla="*/ 839 w 873"/>
                <a:gd name="T13" fmla="*/ 597 h 857"/>
                <a:gd name="T14" fmla="*/ 753 w 873"/>
                <a:gd name="T15" fmla="*/ 733 h 857"/>
                <a:gd name="T16" fmla="*/ 614 w 873"/>
                <a:gd name="T17" fmla="*/ 825 h 857"/>
                <a:gd name="T18" fmla="*/ 433 w 873"/>
                <a:gd name="T19" fmla="*/ 856 h 857"/>
                <a:gd name="T20" fmla="*/ 256 w 873"/>
                <a:gd name="T21" fmla="*/ 825 h 857"/>
                <a:gd name="T22" fmla="*/ 117 w 873"/>
                <a:gd name="T23" fmla="*/ 733 h 857"/>
                <a:gd name="T24" fmla="*/ 31 w 873"/>
                <a:gd name="T25" fmla="*/ 597 h 857"/>
                <a:gd name="T26" fmla="*/ 0 w 873"/>
                <a:gd name="T27" fmla="*/ 428 h 857"/>
                <a:gd name="T28" fmla="*/ 31 w 873"/>
                <a:gd name="T29" fmla="*/ 261 h 857"/>
                <a:gd name="T30" fmla="*/ 120 w 873"/>
                <a:gd name="T31" fmla="*/ 125 h 857"/>
                <a:gd name="T32" fmla="*/ 256 w 873"/>
                <a:gd name="T33" fmla="*/ 33 h 857"/>
                <a:gd name="T34" fmla="*/ 433 w 873"/>
                <a:gd name="T35" fmla="*/ 0 h 857"/>
                <a:gd name="T36" fmla="*/ 433 w 873"/>
                <a:gd name="T37" fmla="*/ 161 h 857"/>
                <a:gd name="T38" fmla="*/ 433 w 873"/>
                <a:gd name="T39" fmla="*/ 161 h 857"/>
                <a:gd name="T40" fmla="*/ 325 w 873"/>
                <a:gd name="T41" fmla="*/ 181 h 857"/>
                <a:gd name="T42" fmla="*/ 245 w 873"/>
                <a:gd name="T43" fmla="*/ 242 h 857"/>
                <a:gd name="T44" fmla="*/ 195 w 873"/>
                <a:gd name="T45" fmla="*/ 328 h 857"/>
                <a:gd name="T46" fmla="*/ 175 w 873"/>
                <a:gd name="T47" fmla="*/ 430 h 857"/>
                <a:gd name="T48" fmla="*/ 195 w 873"/>
                <a:gd name="T49" fmla="*/ 533 h 857"/>
                <a:gd name="T50" fmla="*/ 245 w 873"/>
                <a:gd name="T51" fmla="*/ 617 h 857"/>
                <a:gd name="T52" fmla="*/ 325 w 873"/>
                <a:gd name="T53" fmla="*/ 675 h 857"/>
                <a:gd name="T54" fmla="*/ 433 w 873"/>
                <a:gd name="T55" fmla="*/ 697 h 857"/>
                <a:gd name="T56" fmla="*/ 542 w 873"/>
                <a:gd name="T57" fmla="*/ 675 h 857"/>
                <a:gd name="T58" fmla="*/ 625 w 873"/>
                <a:gd name="T59" fmla="*/ 617 h 857"/>
                <a:gd name="T60" fmla="*/ 675 w 873"/>
                <a:gd name="T61" fmla="*/ 533 h 857"/>
                <a:gd name="T62" fmla="*/ 694 w 873"/>
                <a:gd name="T63" fmla="*/ 430 h 857"/>
                <a:gd name="T64" fmla="*/ 675 w 873"/>
                <a:gd name="T65" fmla="*/ 328 h 857"/>
                <a:gd name="T66" fmla="*/ 622 w 873"/>
                <a:gd name="T67" fmla="*/ 242 h 857"/>
                <a:gd name="T68" fmla="*/ 539 w 873"/>
                <a:gd name="T69" fmla="*/ 181 h 857"/>
                <a:gd name="T70" fmla="*/ 433 w 873"/>
                <a:gd name="T71" fmla="*/ 161 h 857"/>
                <a:gd name="T72" fmla="*/ 433 w 873"/>
                <a:gd name="T73"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57">
                  <a:moveTo>
                    <a:pt x="433" y="0"/>
                  </a:moveTo>
                  <a:lnTo>
                    <a:pt x="433" y="0"/>
                  </a:lnTo>
                  <a:cubicBezTo>
                    <a:pt x="500" y="0"/>
                    <a:pt x="558" y="11"/>
                    <a:pt x="611" y="33"/>
                  </a:cubicBezTo>
                  <a:cubicBezTo>
                    <a:pt x="664" y="56"/>
                    <a:pt x="711" y="86"/>
                    <a:pt x="750" y="125"/>
                  </a:cubicBezTo>
                  <a:cubicBezTo>
                    <a:pt x="789" y="161"/>
                    <a:pt x="820" y="208"/>
                    <a:pt x="839" y="261"/>
                  </a:cubicBezTo>
                  <a:cubicBezTo>
                    <a:pt x="861" y="314"/>
                    <a:pt x="872" y="369"/>
                    <a:pt x="872" y="428"/>
                  </a:cubicBezTo>
                  <a:cubicBezTo>
                    <a:pt x="872" y="489"/>
                    <a:pt x="861" y="547"/>
                    <a:pt x="839" y="597"/>
                  </a:cubicBezTo>
                  <a:cubicBezTo>
                    <a:pt x="820" y="650"/>
                    <a:pt x="792" y="694"/>
                    <a:pt x="753" y="733"/>
                  </a:cubicBezTo>
                  <a:cubicBezTo>
                    <a:pt x="714" y="772"/>
                    <a:pt x="667" y="803"/>
                    <a:pt x="614" y="825"/>
                  </a:cubicBezTo>
                  <a:cubicBezTo>
                    <a:pt x="561" y="847"/>
                    <a:pt x="500" y="856"/>
                    <a:pt x="433" y="856"/>
                  </a:cubicBezTo>
                  <a:cubicBezTo>
                    <a:pt x="367" y="856"/>
                    <a:pt x="308" y="847"/>
                    <a:pt x="256" y="825"/>
                  </a:cubicBezTo>
                  <a:cubicBezTo>
                    <a:pt x="200" y="803"/>
                    <a:pt x="156" y="772"/>
                    <a:pt x="117" y="733"/>
                  </a:cubicBezTo>
                  <a:cubicBezTo>
                    <a:pt x="81" y="694"/>
                    <a:pt x="50" y="650"/>
                    <a:pt x="31" y="597"/>
                  </a:cubicBezTo>
                  <a:cubicBezTo>
                    <a:pt x="11" y="547"/>
                    <a:pt x="0" y="489"/>
                    <a:pt x="0" y="428"/>
                  </a:cubicBezTo>
                  <a:cubicBezTo>
                    <a:pt x="0" y="369"/>
                    <a:pt x="11" y="314"/>
                    <a:pt x="31" y="261"/>
                  </a:cubicBezTo>
                  <a:cubicBezTo>
                    <a:pt x="50" y="208"/>
                    <a:pt x="81" y="161"/>
                    <a:pt x="120" y="125"/>
                  </a:cubicBezTo>
                  <a:cubicBezTo>
                    <a:pt x="156" y="86"/>
                    <a:pt x="203" y="56"/>
                    <a:pt x="256" y="33"/>
                  </a:cubicBezTo>
                  <a:cubicBezTo>
                    <a:pt x="308" y="11"/>
                    <a:pt x="370" y="0"/>
                    <a:pt x="433" y="0"/>
                  </a:cubicBezTo>
                  <a:lnTo>
                    <a:pt x="433" y="161"/>
                  </a:lnTo>
                  <a:lnTo>
                    <a:pt x="433" y="161"/>
                  </a:lnTo>
                  <a:cubicBezTo>
                    <a:pt x="394" y="161"/>
                    <a:pt x="358" y="167"/>
                    <a:pt x="325" y="181"/>
                  </a:cubicBezTo>
                  <a:cubicBezTo>
                    <a:pt x="295" y="197"/>
                    <a:pt x="267" y="217"/>
                    <a:pt x="245" y="242"/>
                  </a:cubicBezTo>
                  <a:cubicBezTo>
                    <a:pt x="222" y="267"/>
                    <a:pt x="206" y="294"/>
                    <a:pt x="195" y="328"/>
                  </a:cubicBezTo>
                  <a:cubicBezTo>
                    <a:pt x="181" y="358"/>
                    <a:pt x="175" y="394"/>
                    <a:pt x="175" y="430"/>
                  </a:cubicBezTo>
                  <a:cubicBezTo>
                    <a:pt x="175" y="467"/>
                    <a:pt x="181" y="500"/>
                    <a:pt x="195" y="533"/>
                  </a:cubicBezTo>
                  <a:cubicBezTo>
                    <a:pt x="206" y="567"/>
                    <a:pt x="222" y="594"/>
                    <a:pt x="245" y="617"/>
                  </a:cubicBezTo>
                  <a:cubicBezTo>
                    <a:pt x="267" y="642"/>
                    <a:pt x="295" y="661"/>
                    <a:pt x="325" y="675"/>
                  </a:cubicBezTo>
                  <a:cubicBezTo>
                    <a:pt x="358" y="689"/>
                    <a:pt x="394" y="697"/>
                    <a:pt x="433" y="697"/>
                  </a:cubicBezTo>
                  <a:cubicBezTo>
                    <a:pt x="475" y="697"/>
                    <a:pt x="511" y="689"/>
                    <a:pt x="542" y="675"/>
                  </a:cubicBezTo>
                  <a:cubicBezTo>
                    <a:pt x="575" y="661"/>
                    <a:pt x="603" y="642"/>
                    <a:pt x="625" y="617"/>
                  </a:cubicBezTo>
                  <a:cubicBezTo>
                    <a:pt x="647" y="594"/>
                    <a:pt x="664" y="567"/>
                    <a:pt x="675" y="533"/>
                  </a:cubicBezTo>
                  <a:cubicBezTo>
                    <a:pt x="686" y="500"/>
                    <a:pt x="694" y="467"/>
                    <a:pt x="694" y="430"/>
                  </a:cubicBezTo>
                  <a:cubicBezTo>
                    <a:pt x="694" y="394"/>
                    <a:pt x="686" y="358"/>
                    <a:pt x="675" y="328"/>
                  </a:cubicBezTo>
                  <a:cubicBezTo>
                    <a:pt x="661" y="294"/>
                    <a:pt x="645" y="267"/>
                    <a:pt x="622" y="242"/>
                  </a:cubicBezTo>
                  <a:cubicBezTo>
                    <a:pt x="600" y="217"/>
                    <a:pt x="572" y="197"/>
                    <a:pt x="539" y="181"/>
                  </a:cubicBezTo>
                  <a:cubicBezTo>
                    <a:pt x="508" y="167"/>
                    <a:pt x="472" y="161"/>
                    <a:pt x="433" y="161"/>
                  </a:cubicBezTo>
                  <a:lnTo>
                    <a:pt x="433"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9" name="Freeform 6">
              <a:extLst>
                <a:ext uri="{FF2B5EF4-FFF2-40B4-BE49-F238E27FC236}">
                  <a16:creationId xmlns:a16="http://schemas.microsoft.com/office/drawing/2014/main" id="{0B563914-E8F2-A847-B0A9-747920D4C398}"/>
                </a:ext>
              </a:extLst>
            </p:cNvPr>
            <p:cNvSpPr>
              <a:spLocks noChangeArrowheads="1"/>
            </p:cNvSpPr>
            <p:nvPr userDrawn="1"/>
          </p:nvSpPr>
          <p:spPr bwMode="auto">
            <a:xfrm>
              <a:off x="3567113" y="3143250"/>
              <a:ext cx="476250" cy="301625"/>
            </a:xfrm>
            <a:custGeom>
              <a:avLst/>
              <a:gdLst>
                <a:gd name="T0" fmla="*/ 575 w 1321"/>
                <a:gd name="T1" fmla="*/ 839 h 840"/>
                <a:gd name="T2" fmla="*/ 575 w 1321"/>
                <a:gd name="T3" fmla="*/ 839 h 840"/>
                <a:gd name="T4" fmla="*/ 575 w 1321"/>
                <a:gd name="T5" fmla="*/ 386 h 840"/>
                <a:gd name="T6" fmla="*/ 561 w 1321"/>
                <a:gd name="T7" fmla="*/ 300 h 840"/>
                <a:gd name="T8" fmla="*/ 523 w 1321"/>
                <a:gd name="T9" fmla="*/ 228 h 840"/>
                <a:gd name="T10" fmla="*/ 461 w 1321"/>
                <a:gd name="T11" fmla="*/ 181 h 840"/>
                <a:gd name="T12" fmla="*/ 378 w 1321"/>
                <a:gd name="T13" fmla="*/ 161 h 840"/>
                <a:gd name="T14" fmla="*/ 295 w 1321"/>
                <a:gd name="T15" fmla="*/ 181 h 840"/>
                <a:gd name="T16" fmla="*/ 231 w 1321"/>
                <a:gd name="T17" fmla="*/ 228 h 840"/>
                <a:gd name="T18" fmla="*/ 189 w 1321"/>
                <a:gd name="T19" fmla="*/ 300 h 840"/>
                <a:gd name="T20" fmla="*/ 175 w 1321"/>
                <a:gd name="T21" fmla="*/ 386 h 840"/>
                <a:gd name="T22" fmla="*/ 175 w 1321"/>
                <a:gd name="T23" fmla="*/ 839 h 840"/>
                <a:gd name="T24" fmla="*/ 0 w 1321"/>
                <a:gd name="T25" fmla="*/ 839 h 840"/>
                <a:gd name="T26" fmla="*/ 0 w 1321"/>
                <a:gd name="T27" fmla="*/ 14 h 840"/>
                <a:gd name="T28" fmla="*/ 164 w 1321"/>
                <a:gd name="T29" fmla="*/ 14 h 840"/>
                <a:gd name="T30" fmla="*/ 175 w 1321"/>
                <a:gd name="T31" fmla="*/ 125 h 840"/>
                <a:gd name="T32" fmla="*/ 278 w 1321"/>
                <a:gd name="T33" fmla="*/ 28 h 840"/>
                <a:gd name="T34" fmla="*/ 411 w 1321"/>
                <a:gd name="T35" fmla="*/ 0 h 840"/>
                <a:gd name="T36" fmla="*/ 492 w 1321"/>
                <a:gd name="T37" fmla="*/ 8 h 840"/>
                <a:gd name="T38" fmla="*/ 564 w 1321"/>
                <a:gd name="T39" fmla="*/ 39 h 840"/>
                <a:gd name="T40" fmla="*/ 628 w 1321"/>
                <a:gd name="T41" fmla="*/ 89 h 840"/>
                <a:gd name="T42" fmla="*/ 675 w 1321"/>
                <a:gd name="T43" fmla="*/ 167 h 840"/>
                <a:gd name="T44" fmla="*/ 800 w 1321"/>
                <a:gd name="T45" fmla="*/ 39 h 840"/>
                <a:gd name="T46" fmla="*/ 964 w 1321"/>
                <a:gd name="T47" fmla="*/ 3 h 840"/>
                <a:gd name="T48" fmla="*/ 1231 w 1321"/>
                <a:gd name="T49" fmla="*/ 103 h 840"/>
                <a:gd name="T50" fmla="*/ 1320 w 1321"/>
                <a:gd name="T51" fmla="*/ 383 h 840"/>
                <a:gd name="T52" fmla="*/ 1320 w 1321"/>
                <a:gd name="T53" fmla="*/ 839 h 840"/>
                <a:gd name="T54" fmla="*/ 1142 w 1321"/>
                <a:gd name="T55" fmla="*/ 839 h 840"/>
                <a:gd name="T56" fmla="*/ 1142 w 1321"/>
                <a:gd name="T57" fmla="*/ 383 h 840"/>
                <a:gd name="T58" fmla="*/ 1131 w 1321"/>
                <a:gd name="T59" fmla="*/ 297 h 840"/>
                <a:gd name="T60" fmla="*/ 1095 w 1321"/>
                <a:gd name="T61" fmla="*/ 228 h 840"/>
                <a:gd name="T62" fmla="*/ 1039 w 1321"/>
                <a:gd name="T63" fmla="*/ 181 h 840"/>
                <a:gd name="T64" fmla="*/ 956 w 1321"/>
                <a:gd name="T65" fmla="*/ 164 h 840"/>
                <a:gd name="T66" fmla="*/ 873 w 1321"/>
                <a:gd name="T67" fmla="*/ 181 h 840"/>
                <a:gd name="T68" fmla="*/ 809 w 1321"/>
                <a:gd name="T69" fmla="*/ 228 h 840"/>
                <a:gd name="T70" fmla="*/ 767 w 1321"/>
                <a:gd name="T71" fmla="*/ 300 h 840"/>
                <a:gd name="T72" fmla="*/ 753 w 1321"/>
                <a:gd name="T73" fmla="*/ 386 h 840"/>
                <a:gd name="T74" fmla="*/ 753 w 1321"/>
                <a:gd name="T75" fmla="*/ 839 h 840"/>
                <a:gd name="T76" fmla="*/ 575 w 1321"/>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1" h="840">
                  <a:moveTo>
                    <a:pt x="575" y="839"/>
                  </a:moveTo>
                  <a:lnTo>
                    <a:pt x="575" y="839"/>
                  </a:lnTo>
                  <a:cubicBezTo>
                    <a:pt x="575" y="386"/>
                    <a:pt x="575" y="386"/>
                    <a:pt x="575" y="386"/>
                  </a:cubicBezTo>
                  <a:cubicBezTo>
                    <a:pt x="575" y="356"/>
                    <a:pt x="570" y="328"/>
                    <a:pt x="561" y="300"/>
                  </a:cubicBezTo>
                  <a:cubicBezTo>
                    <a:pt x="553" y="272"/>
                    <a:pt x="539" y="247"/>
                    <a:pt x="523" y="228"/>
                  </a:cubicBezTo>
                  <a:cubicBezTo>
                    <a:pt x="506" y="208"/>
                    <a:pt x="486" y="192"/>
                    <a:pt x="461" y="181"/>
                  </a:cubicBezTo>
                  <a:cubicBezTo>
                    <a:pt x="436" y="167"/>
                    <a:pt x="409" y="161"/>
                    <a:pt x="378" y="161"/>
                  </a:cubicBezTo>
                  <a:cubicBezTo>
                    <a:pt x="348" y="161"/>
                    <a:pt x="320" y="167"/>
                    <a:pt x="295" y="181"/>
                  </a:cubicBezTo>
                  <a:cubicBezTo>
                    <a:pt x="270" y="192"/>
                    <a:pt x="248" y="208"/>
                    <a:pt x="231" y="228"/>
                  </a:cubicBezTo>
                  <a:cubicBezTo>
                    <a:pt x="211" y="247"/>
                    <a:pt x="200" y="272"/>
                    <a:pt x="189" y="300"/>
                  </a:cubicBezTo>
                  <a:cubicBezTo>
                    <a:pt x="181" y="328"/>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198" y="78"/>
                    <a:pt x="234" y="47"/>
                    <a:pt x="278" y="28"/>
                  </a:cubicBezTo>
                  <a:cubicBezTo>
                    <a:pt x="323" y="11"/>
                    <a:pt x="367" y="0"/>
                    <a:pt x="411" y="0"/>
                  </a:cubicBezTo>
                  <a:cubicBezTo>
                    <a:pt x="439" y="0"/>
                    <a:pt x="464" y="3"/>
                    <a:pt x="492" y="8"/>
                  </a:cubicBezTo>
                  <a:cubicBezTo>
                    <a:pt x="517" y="14"/>
                    <a:pt x="542" y="25"/>
                    <a:pt x="564" y="39"/>
                  </a:cubicBezTo>
                  <a:cubicBezTo>
                    <a:pt x="589" y="50"/>
                    <a:pt x="609" y="69"/>
                    <a:pt x="628" y="89"/>
                  </a:cubicBezTo>
                  <a:cubicBezTo>
                    <a:pt x="647" y="111"/>
                    <a:pt x="661" y="136"/>
                    <a:pt x="675" y="167"/>
                  </a:cubicBezTo>
                  <a:cubicBezTo>
                    <a:pt x="709" y="106"/>
                    <a:pt x="750" y="64"/>
                    <a:pt x="800" y="39"/>
                  </a:cubicBezTo>
                  <a:cubicBezTo>
                    <a:pt x="850" y="14"/>
                    <a:pt x="906" y="3"/>
                    <a:pt x="964" y="3"/>
                  </a:cubicBezTo>
                  <a:cubicBezTo>
                    <a:pt x="1081" y="3"/>
                    <a:pt x="1170" y="36"/>
                    <a:pt x="1231" y="103"/>
                  </a:cubicBezTo>
                  <a:cubicBezTo>
                    <a:pt x="1289" y="172"/>
                    <a:pt x="1320" y="264"/>
                    <a:pt x="1320" y="383"/>
                  </a:cubicBezTo>
                  <a:cubicBezTo>
                    <a:pt x="1320" y="839"/>
                    <a:pt x="1320" y="839"/>
                    <a:pt x="1320" y="839"/>
                  </a:cubicBezTo>
                  <a:cubicBezTo>
                    <a:pt x="1142" y="839"/>
                    <a:pt x="1142" y="839"/>
                    <a:pt x="1142" y="839"/>
                  </a:cubicBezTo>
                  <a:cubicBezTo>
                    <a:pt x="1142" y="383"/>
                    <a:pt x="1142" y="383"/>
                    <a:pt x="1142" y="383"/>
                  </a:cubicBezTo>
                  <a:cubicBezTo>
                    <a:pt x="1142" y="353"/>
                    <a:pt x="1139" y="325"/>
                    <a:pt x="1131" y="297"/>
                  </a:cubicBezTo>
                  <a:cubicBezTo>
                    <a:pt x="1122" y="269"/>
                    <a:pt x="1111" y="247"/>
                    <a:pt x="1095" y="228"/>
                  </a:cubicBezTo>
                  <a:cubicBezTo>
                    <a:pt x="1081" y="206"/>
                    <a:pt x="1061" y="192"/>
                    <a:pt x="1039" y="181"/>
                  </a:cubicBezTo>
                  <a:cubicBezTo>
                    <a:pt x="1014" y="169"/>
                    <a:pt x="986" y="164"/>
                    <a:pt x="956" y="164"/>
                  </a:cubicBezTo>
                  <a:cubicBezTo>
                    <a:pt x="925" y="164"/>
                    <a:pt x="897" y="169"/>
                    <a:pt x="873" y="181"/>
                  </a:cubicBezTo>
                  <a:cubicBezTo>
                    <a:pt x="847" y="192"/>
                    <a:pt x="825" y="208"/>
                    <a:pt x="809" y="228"/>
                  </a:cubicBezTo>
                  <a:cubicBezTo>
                    <a:pt x="789" y="250"/>
                    <a:pt x="775" y="272"/>
                    <a:pt x="767" y="300"/>
                  </a:cubicBezTo>
                  <a:cubicBezTo>
                    <a:pt x="756" y="328"/>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0" name="Freeform 7">
              <a:extLst>
                <a:ext uri="{FF2B5EF4-FFF2-40B4-BE49-F238E27FC236}">
                  <a16:creationId xmlns:a16="http://schemas.microsoft.com/office/drawing/2014/main" id="{7CB4C28E-C58B-1448-B8CA-047CA764A162}"/>
                </a:ext>
              </a:extLst>
            </p:cNvPr>
            <p:cNvSpPr>
              <a:spLocks noChangeArrowheads="1"/>
            </p:cNvSpPr>
            <p:nvPr userDrawn="1"/>
          </p:nvSpPr>
          <p:spPr bwMode="auto">
            <a:xfrm>
              <a:off x="4105275" y="3141663"/>
              <a:ext cx="314325" cy="312737"/>
            </a:xfrm>
            <a:custGeom>
              <a:avLst/>
              <a:gdLst>
                <a:gd name="T0" fmla="*/ 864 w 874"/>
                <a:gd name="T1" fmla="*/ 498 h 868"/>
                <a:gd name="T2" fmla="*/ 864 w 874"/>
                <a:gd name="T3" fmla="*/ 498 h 868"/>
                <a:gd name="T4" fmla="*/ 181 w 874"/>
                <a:gd name="T5" fmla="*/ 498 h 868"/>
                <a:gd name="T6" fmla="*/ 267 w 874"/>
                <a:gd name="T7" fmla="*/ 650 h 868"/>
                <a:gd name="T8" fmla="*/ 456 w 874"/>
                <a:gd name="T9" fmla="*/ 706 h 868"/>
                <a:gd name="T10" fmla="*/ 592 w 874"/>
                <a:gd name="T11" fmla="*/ 684 h 868"/>
                <a:gd name="T12" fmla="*/ 700 w 874"/>
                <a:gd name="T13" fmla="*/ 617 h 868"/>
                <a:gd name="T14" fmla="*/ 814 w 874"/>
                <a:gd name="T15" fmla="*/ 725 h 868"/>
                <a:gd name="T16" fmla="*/ 739 w 874"/>
                <a:gd name="T17" fmla="*/ 786 h 868"/>
                <a:gd name="T18" fmla="*/ 650 w 874"/>
                <a:gd name="T19" fmla="*/ 831 h 868"/>
                <a:gd name="T20" fmla="*/ 553 w 874"/>
                <a:gd name="T21" fmla="*/ 859 h 868"/>
                <a:gd name="T22" fmla="*/ 453 w 874"/>
                <a:gd name="T23" fmla="*/ 867 h 868"/>
                <a:gd name="T24" fmla="*/ 267 w 874"/>
                <a:gd name="T25" fmla="*/ 836 h 868"/>
                <a:gd name="T26" fmla="*/ 123 w 874"/>
                <a:gd name="T27" fmla="*/ 748 h 868"/>
                <a:gd name="T28" fmla="*/ 31 w 874"/>
                <a:gd name="T29" fmla="*/ 609 h 868"/>
                <a:gd name="T30" fmla="*/ 0 w 874"/>
                <a:gd name="T31" fmla="*/ 431 h 868"/>
                <a:gd name="T32" fmla="*/ 31 w 874"/>
                <a:gd name="T33" fmla="*/ 256 h 868"/>
                <a:gd name="T34" fmla="*/ 123 w 874"/>
                <a:gd name="T35" fmla="*/ 120 h 868"/>
                <a:gd name="T36" fmla="*/ 261 w 874"/>
                <a:gd name="T37" fmla="*/ 31 h 868"/>
                <a:gd name="T38" fmla="*/ 442 w 874"/>
                <a:gd name="T39" fmla="*/ 0 h 868"/>
                <a:gd name="T40" fmla="*/ 628 w 874"/>
                <a:gd name="T41" fmla="*/ 31 h 868"/>
                <a:gd name="T42" fmla="*/ 767 w 874"/>
                <a:gd name="T43" fmla="*/ 125 h 868"/>
                <a:gd name="T44" fmla="*/ 850 w 874"/>
                <a:gd name="T45" fmla="*/ 278 h 868"/>
                <a:gd name="T46" fmla="*/ 864 w 874"/>
                <a:gd name="T47" fmla="*/ 498 h 868"/>
                <a:gd name="T48" fmla="*/ 187 w 874"/>
                <a:gd name="T49" fmla="*/ 353 h 868"/>
                <a:gd name="T50" fmla="*/ 187 w 874"/>
                <a:gd name="T51" fmla="*/ 353 h 868"/>
                <a:gd name="T52" fmla="*/ 695 w 874"/>
                <a:gd name="T53" fmla="*/ 353 h 868"/>
                <a:gd name="T54" fmla="*/ 620 w 874"/>
                <a:gd name="T55" fmla="*/ 203 h 868"/>
                <a:gd name="T56" fmla="*/ 448 w 874"/>
                <a:gd name="T57" fmla="*/ 153 h 868"/>
                <a:gd name="T58" fmla="*/ 278 w 874"/>
                <a:gd name="T59" fmla="*/ 203 h 868"/>
                <a:gd name="T60" fmla="*/ 187 w 874"/>
                <a:gd name="T61" fmla="*/ 353 h 868"/>
                <a:gd name="T62" fmla="*/ 864 w 874"/>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4" h="868">
                  <a:moveTo>
                    <a:pt x="864" y="498"/>
                  </a:moveTo>
                  <a:lnTo>
                    <a:pt x="864" y="498"/>
                  </a:lnTo>
                  <a:cubicBezTo>
                    <a:pt x="181" y="498"/>
                    <a:pt x="181" y="498"/>
                    <a:pt x="181" y="498"/>
                  </a:cubicBezTo>
                  <a:cubicBezTo>
                    <a:pt x="189" y="562"/>
                    <a:pt x="217" y="611"/>
                    <a:pt x="267" y="650"/>
                  </a:cubicBezTo>
                  <a:cubicBezTo>
                    <a:pt x="317" y="686"/>
                    <a:pt x="378" y="706"/>
                    <a:pt x="456" y="706"/>
                  </a:cubicBezTo>
                  <a:cubicBezTo>
                    <a:pt x="500" y="706"/>
                    <a:pt x="545" y="698"/>
                    <a:pt x="592" y="684"/>
                  </a:cubicBezTo>
                  <a:cubicBezTo>
                    <a:pt x="639" y="667"/>
                    <a:pt x="675" y="645"/>
                    <a:pt x="700" y="617"/>
                  </a:cubicBezTo>
                  <a:cubicBezTo>
                    <a:pt x="814" y="725"/>
                    <a:pt x="814" y="725"/>
                    <a:pt x="814" y="725"/>
                  </a:cubicBezTo>
                  <a:cubicBezTo>
                    <a:pt x="795" y="750"/>
                    <a:pt x="770" y="770"/>
                    <a:pt x="739" y="786"/>
                  </a:cubicBezTo>
                  <a:cubicBezTo>
                    <a:pt x="711" y="806"/>
                    <a:pt x="681" y="820"/>
                    <a:pt x="650" y="831"/>
                  </a:cubicBezTo>
                  <a:cubicBezTo>
                    <a:pt x="620" y="845"/>
                    <a:pt x="587" y="853"/>
                    <a:pt x="553" y="859"/>
                  </a:cubicBezTo>
                  <a:cubicBezTo>
                    <a:pt x="517" y="864"/>
                    <a:pt x="487" y="867"/>
                    <a:pt x="453" y="867"/>
                  </a:cubicBezTo>
                  <a:cubicBezTo>
                    <a:pt x="384" y="867"/>
                    <a:pt x="323" y="856"/>
                    <a:pt x="267" y="836"/>
                  </a:cubicBezTo>
                  <a:cubicBezTo>
                    <a:pt x="209" y="814"/>
                    <a:pt x="161" y="786"/>
                    <a:pt x="123" y="748"/>
                  </a:cubicBezTo>
                  <a:cubicBezTo>
                    <a:pt x="84" y="709"/>
                    <a:pt x="53" y="664"/>
                    <a:pt x="31" y="609"/>
                  </a:cubicBezTo>
                  <a:cubicBezTo>
                    <a:pt x="12" y="556"/>
                    <a:pt x="0" y="495"/>
                    <a:pt x="0" y="431"/>
                  </a:cubicBezTo>
                  <a:cubicBezTo>
                    <a:pt x="0" y="367"/>
                    <a:pt x="12" y="309"/>
                    <a:pt x="31" y="256"/>
                  </a:cubicBezTo>
                  <a:cubicBezTo>
                    <a:pt x="53" y="203"/>
                    <a:pt x="84" y="159"/>
                    <a:pt x="123" y="120"/>
                  </a:cubicBezTo>
                  <a:cubicBezTo>
                    <a:pt x="161" y="84"/>
                    <a:pt x="209" y="53"/>
                    <a:pt x="261" y="31"/>
                  </a:cubicBezTo>
                  <a:cubicBezTo>
                    <a:pt x="314" y="12"/>
                    <a:pt x="375" y="0"/>
                    <a:pt x="442" y="0"/>
                  </a:cubicBezTo>
                  <a:cubicBezTo>
                    <a:pt x="509" y="0"/>
                    <a:pt x="573" y="12"/>
                    <a:pt x="628" y="31"/>
                  </a:cubicBezTo>
                  <a:cubicBezTo>
                    <a:pt x="681" y="53"/>
                    <a:pt x="728" y="84"/>
                    <a:pt x="767" y="125"/>
                  </a:cubicBezTo>
                  <a:cubicBezTo>
                    <a:pt x="806" y="164"/>
                    <a:pt x="834" y="217"/>
                    <a:pt x="850" y="278"/>
                  </a:cubicBezTo>
                  <a:cubicBezTo>
                    <a:pt x="867" y="342"/>
                    <a:pt x="873" y="414"/>
                    <a:pt x="864" y="498"/>
                  </a:cubicBezTo>
                  <a:lnTo>
                    <a:pt x="187" y="353"/>
                  </a:lnTo>
                  <a:lnTo>
                    <a:pt x="187" y="353"/>
                  </a:lnTo>
                  <a:cubicBezTo>
                    <a:pt x="695" y="353"/>
                    <a:pt x="695" y="353"/>
                    <a:pt x="695" y="353"/>
                  </a:cubicBezTo>
                  <a:cubicBezTo>
                    <a:pt x="689" y="287"/>
                    <a:pt x="664" y="236"/>
                    <a:pt x="620" y="203"/>
                  </a:cubicBezTo>
                  <a:cubicBezTo>
                    <a:pt x="575" y="170"/>
                    <a:pt x="517" y="153"/>
                    <a:pt x="448" y="153"/>
                  </a:cubicBezTo>
                  <a:cubicBezTo>
                    <a:pt x="381" y="153"/>
                    <a:pt x="325" y="170"/>
                    <a:pt x="278" y="203"/>
                  </a:cubicBezTo>
                  <a:cubicBezTo>
                    <a:pt x="231" y="236"/>
                    <a:pt x="200" y="287"/>
                    <a:pt x="187"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1" name="Freeform 8">
              <a:extLst>
                <a:ext uri="{FF2B5EF4-FFF2-40B4-BE49-F238E27FC236}">
                  <a16:creationId xmlns:a16="http://schemas.microsoft.com/office/drawing/2014/main" id="{A95CF733-0C24-754C-BD5B-77257B556DD6}"/>
                </a:ext>
              </a:extLst>
            </p:cNvPr>
            <p:cNvSpPr>
              <a:spLocks noChangeArrowheads="1"/>
            </p:cNvSpPr>
            <p:nvPr userDrawn="1"/>
          </p:nvSpPr>
          <p:spPr bwMode="auto">
            <a:xfrm>
              <a:off x="4481513" y="3141663"/>
              <a:ext cx="227012" cy="303212"/>
            </a:xfrm>
            <a:custGeom>
              <a:avLst/>
              <a:gdLst>
                <a:gd name="T0" fmla="*/ 164 w 631"/>
                <a:gd name="T1" fmla="*/ 20 h 843"/>
                <a:gd name="T2" fmla="*/ 164 w 631"/>
                <a:gd name="T3" fmla="*/ 20 h 843"/>
                <a:gd name="T4" fmla="*/ 175 w 631"/>
                <a:gd name="T5" fmla="*/ 128 h 843"/>
                <a:gd name="T6" fmla="*/ 289 w 631"/>
                <a:gd name="T7" fmla="*/ 25 h 843"/>
                <a:gd name="T8" fmla="*/ 422 w 631"/>
                <a:gd name="T9" fmla="*/ 0 h 843"/>
                <a:gd name="T10" fmla="*/ 539 w 631"/>
                <a:gd name="T11" fmla="*/ 20 h 843"/>
                <a:gd name="T12" fmla="*/ 630 w 631"/>
                <a:gd name="T13" fmla="*/ 70 h 843"/>
                <a:gd name="T14" fmla="*/ 550 w 631"/>
                <a:gd name="T15" fmla="*/ 222 h 843"/>
                <a:gd name="T16" fmla="*/ 486 w 631"/>
                <a:gd name="T17" fmla="*/ 184 h 843"/>
                <a:gd name="T18" fmla="*/ 402 w 631"/>
                <a:gd name="T19" fmla="*/ 172 h 843"/>
                <a:gd name="T20" fmla="*/ 316 w 631"/>
                <a:gd name="T21" fmla="*/ 186 h 843"/>
                <a:gd name="T22" fmla="*/ 244 w 631"/>
                <a:gd name="T23" fmla="*/ 228 h 843"/>
                <a:gd name="T24" fmla="*/ 194 w 631"/>
                <a:gd name="T25" fmla="*/ 297 h 843"/>
                <a:gd name="T26" fmla="*/ 175 w 631"/>
                <a:gd name="T27" fmla="*/ 397 h 843"/>
                <a:gd name="T28" fmla="*/ 175 w 631"/>
                <a:gd name="T29" fmla="*/ 842 h 843"/>
                <a:gd name="T30" fmla="*/ 0 w 631"/>
                <a:gd name="T31" fmla="*/ 842 h 843"/>
                <a:gd name="T32" fmla="*/ 0 w 631"/>
                <a:gd name="T33" fmla="*/ 20 h 843"/>
                <a:gd name="T34" fmla="*/ 164 w 631"/>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1" h="843">
                  <a:moveTo>
                    <a:pt x="164" y="20"/>
                  </a:moveTo>
                  <a:lnTo>
                    <a:pt x="164" y="20"/>
                  </a:lnTo>
                  <a:cubicBezTo>
                    <a:pt x="175" y="128"/>
                    <a:pt x="175" y="128"/>
                    <a:pt x="175" y="128"/>
                  </a:cubicBezTo>
                  <a:cubicBezTo>
                    <a:pt x="205" y="75"/>
                    <a:pt x="244" y="42"/>
                    <a:pt x="289" y="25"/>
                  </a:cubicBezTo>
                  <a:cubicBezTo>
                    <a:pt x="333" y="9"/>
                    <a:pt x="378" y="0"/>
                    <a:pt x="422" y="0"/>
                  </a:cubicBezTo>
                  <a:cubicBezTo>
                    <a:pt x="464" y="0"/>
                    <a:pt x="502" y="9"/>
                    <a:pt x="539" y="20"/>
                  </a:cubicBezTo>
                  <a:cubicBezTo>
                    <a:pt x="577" y="34"/>
                    <a:pt x="608" y="50"/>
                    <a:pt x="630" y="70"/>
                  </a:cubicBezTo>
                  <a:cubicBezTo>
                    <a:pt x="550" y="222"/>
                    <a:pt x="550" y="222"/>
                    <a:pt x="550" y="222"/>
                  </a:cubicBezTo>
                  <a:cubicBezTo>
                    <a:pt x="530" y="206"/>
                    <a:pt x="508" y="192"/>
                    <a:pt x="486" y="184"/>
                  </a:cubicBezTo>
                  <a:cubicBezTo>
                    <a:pt x="464" y="175"/>
                    <a:pt x="436" y="172"/>
                    <a:pt x="402" y="172"/>
                  </a:cubicBezTo>
                  <a:cubicBezTo>
                    <a:pt x="372" y="172"/>
                    <a:pt x="341" y="175"/>
                    <a:pt x="316" y="186"/>
                  </a:cubicBezTo>
                  <a:cubicBezTo>
                    <a:pt x="289" y="195"/>
                    <a:pt x="264" y="209"/>
                    <a:pt x="244" y="228"/>
                  </a:cubicBezTo>
                  <a:cubicBezTo>
                    <a:pt x="222" y="245"/>
                    <a:pt x="205" y="270"/>
                    <a:pt x="194" y="297"/>
                  </a:cubicBezTo>
                  <a:cubicBezTo>
                    <a:pt x="180" y="325"/>
                    <a:pt x="175" y="359"/>
                    <a:pt x="175" y="397"/>
                  </a:cubicBezTo>
                  <a:cubicBezTo>
                    <a:pt x="175" y="842"/>
                    <a:pt x="175" y="842"/>
                    <a:pt x="175"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2" name="Freeform 9">
              <a:extLst>
                <a:ext uri="{FF2B5EF4-FFF2-40B4-BE49-F238E27FC236}">
                  <a16:creationId xmlns:a16="http://schemas.microsoft.com/office/drawing/2014/main" id="{32B6901F-DDF2-5045-AD50-E960B0652F60}"/>
                </a:ext>
              </a:extLst>
            </p:cNvPr>
            <p:cNvSpPr>
              <a:spLocks noChangeArrowheads="1"/>
            </p:cNvSpPr>
            <p:nvPr userDrawn="1"/>
          </p:nvSpPr>
          <p:spPr bwMode="auto">
            <a:xfrm>
              <a:off x="4872038" y="3141663"/>
              <a:ext cx="314325" cy="312737"/>
            </a:xfrm>
            <a:custGeom>
              <a:avLst/>
              <a:gdLst>
                <a:gd name="T0" fmla="*/ 863 w 872"/>
                <a:gd name="T1" fmla="*/ 498 h 868"/>
                <a:gd name="T2" fmla="*/ 863 w 872"/>
                <a:gd name="T3" fmla="*/ 498 h 868"/>
                <a:gd name="T4" fmla="*/ 183 w 872"/>
                <a:gd name="T5" fmla="*/ 498 h 868"/>
                <a:gd name="T6" fmla="*/ 266 w 872"/>
                <a:gd name="T7" fmla="*/ 650 h 868"/>
                <a:gd name="T8" fmla="*/ 458 w 872"/>
                <a:gd name="T9" fmla="*/ 706 h 868"/>
                <a:gd name="T10" fmla="*/ 590 w 872"/>
                <a:gd name="T11" fmla="*/ 684 h 868"/>
                <a:gd name="T12" fmla="*/ 699 w 872"/>
                <a:gd name="T13" fmla="*/ 617 h 868"/>
                <a:gd name="T14" fmla="*/ 815 w 872"/>
                <a:gd name="T15" fmla="*/ 725 h 868"/>
                <a:gd name="T16" fmla="*/ 740 w 872"/>
                <a:gd name="T17" fmla="*/ 786 h 868"/>
                <a:gd name="T18" fmla="*/ 649 w 872"/>
                <a:gd name="T19" fmla="*/ 831 h 868"/>
                <a:gd name="T20" fmla="*/ 551 w 872"/>
                <a:gd name="T21" fmla="*/ 859 h 868"/>
                <a:gd name="T22" fmla="*/ 452 w 872"/>
                <a:gd name="T23" fmla="*/ 867 h 868"/>
                <a:gd name="T24" fmla="*/ 266 w 872"/>
                <a:gd name="T25" fmla="*/ 836 h 868"/>
                <a:gd name="T26" fmla="*/ 122 w 872"/>
                <a:gd name="T27" fmla="*/ 748 h 868"/>
                <a:gd name="T28" fmla="*/ 30 w 872"/>
                <a:gd name="T29" fmla="*/ 609 h 868"/>
                <a:gd name="T30" fmla="*/ 0 w 872"/>
                <a:gd name="T31" fmla="*/ 431 h 868"/>
                <a:gd name="T32" fmla="*/ 30 w 872"/>
                <a:gd name="T33" fmla="*/ 256 h 868"/>
                <a:gd name="T34" fmla="*/ 122 w 872"/>
                <a:gd name="T35" fmla="*/ 120 h 868"/>
                <a:gd name="T36" fmla="*/ 261 w 872"/>
                <a:gd name="T37" fmla="*/ 31 h 868"/>
                <a:gd name="T38" fmla="*/ 441 w 872"/>
                <a:gd name="T39" fmla="*/ 0 h 868"/>
                <a:gd name="T40" fmla="*/ 626 w 872"/>
                <a:gd name="T41" fmla="*/ 31 h 868"/>
                <a:gd name="T42" fmla="*/ 765 w 872"/>
                <a:gd name="T43" fmla="*/ 125 h 868"/>
                <a:gd name="T44" fmla="*/ 849 w 872"/>
                <a:gd name="T45" fmla="*/ 278 h 868"/>
                <a:gd name="T46" fmla="*/ 863 w 872"/>
                <a:gd name="T47" fmla="*/ 498 h 868"/>
                <a:gd name="T48" fmla="*/ 186 w 872"/>
                <a:gd name="T49" fmla="*/ 353 h 868"/>
                <a:gd name="T50" fmla="*/ 186 w 872"/>
                <a:gd name="T51" fmla="*/ 353 h 868"/>
                <a:gd name="T52" fmla="*/ 696 w 872"/>
                <a:gd name="T53" fmla="*/ 353 h 868"/>
                <a:gd name="T54" fmla="*/ 621 w 872"/>
                <a:gd name="T55" fmla="*/ 203 h 868"/>
                <a:gd name="T56" fmla="*/ 447 w 872"/>
                <a:gd name="T57" fmla="*/ 153 h 868"/>
                <a:gd name="T58" fmla="*/ 278 w 872"/>
                <a:gd name="T59" fmla="*/ 203 h 868"/>
                <a:gd name="T60" fmla="*/ 186 w 872"/>
                <a:gd name="T61" fmla="*/ 353 h 868"/>
                <a:gd name="T62" fmla="*/ 863 w 872"/>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2" h="868">
                  <a:moveTo>
                    <a:pt x="863" y="498"/>
                  </a:moveTo>
                  <a:lnTo>
                    <a:pt x="863" y="498"/>
                  </a:lnTo>
                  <a:cubicBezTo>
                    <a:pt x="183" y="498"/>
                    <a:pt x="183" y="498"/>
                    <a:pt x="183" y="498"/>
                  </a:cubicBezTo>
                  <a:cubicBezTo>
                    <a:pt x="189" y="562"/>
                    <a:pt x="219" y="611"/>
                    <a:pt x="266" y="650"/>
                  </a:cubicBezTo>
                  <a:cubicBezTo>
                    <a:pt x="316" y="686"/>
                    <a:pt x="380" y="706"/>
                    <a:pt x="458" y="706"/>
                  </a:cubicBezTo>
                  <a:cubicBezTo>
                    <a:pt x="499" y="706"/>
                    <a:pt x="543" y="698"/>
                    <a:pt x="590" y="684"/>
                  </a:cubicBezTo>
                  <a:cubicBezTo>
                    <a:pt x="638" y="667"/>
                    <a:pt x="674" y="645"/>
                    <a:pt x="699" y="617"/>
                  </a:cubicBezTo>
                  <a:cubicBezTo>
                    <a:pt x="815" y="725"/>
                    <a:pt x="815" y="725"/>
                    <a:pt x="815" y="725"/>
                  </a:cubicBezTo>
                  <a:cubicBezTo>
                    <a:pt x="793" y="750"/>
                    <a:pt x="768" y="770"/>
                    <a:pt x="740" y="786"/>
                  </a:cubicBezTo>
                  <a:cubicBezTo>
                    <a:pt x="710" y="806"/>
                    <a:pt x="682" y="820"/>
                    <a:pt x="649" y="831"/>
                  </a:cubicBezTo>
                  <a:cubicBezTo>
                    <a:pt x="618" y="845"/>
                    <a:pt x="585" y="853"/>
                    <a:pt x="551" y="859"/>
                  </a:cubicBezTo>
                  <a:cubicBezTo>
                    <a:pt x="518" y="864"/>
                    <a:pt x="485" y="867"/>
                    <a:pt x="452" y="867"/>
                  </a:cubicBezTo>
                  <a:cubicBezTo>
                    <a:pt x="383" y="867"/>
                    <a:pt x="322" y="856"/>
                    <a:pt x="266" y="836"/>
                  </a:cubicBezTo>
                  <a:cubicBezTo>
                    <a:pt x="211" y="814"/>
                    <a:pt x="161" y="786"/>
                    <a:pt x="122" y="748"/>
                  </a:cubicBezTo>
                  <a:cubicBezTo>
                    <a:pt x="83" y="709"/>
                    <a:pt x="53" y="664"/>
                    <a:pt x="30" y="609"/>
                  </a:cubicBezTo>
                  <a:cubicBezTo>
                    <a:pt x="11" y="556"/>
                    <a:pt x="0" y="495"/>
                    <a:pt x="0" y="431"/>
                  </a:cubicBezTo>
                  <a:cubicBezTo>
                    <a:pt x="0" y="367"/>
                    <a:pt x="11" y="309"/>
                    <a:pt x="30" y="256"/>
                  </a:cubicBezTo>
                  <a:cubicBezTo>
                    <a:pt x="53" y="203"/>
                    <a:pt x="83" y="159"/>
                    <a:pt x="122" y="120"/>
                  </a:cubicBezTo>
                  <a:cubicBezTo>
                    <a:pt x="161" y="84"/>
                    <a:pt x="208" y="53"/>
                    <a:pt x="261" y="31"/>
                  </a:cubicBezTo>
                  <a:cubicBezTo>
                    <a:pt x="316" y="12"/>
                    <a:pt x="375" y="0"/>
                    <a:pt x="441" y="0"/>
                  </a:cubicBezTo>
                  <a:cubicBezTo>
                    <a:pt x="510" y="0"/>
                    <a:pt x="571" y="12"/>
                    <a:pt x="626" y="31"/>
                  </a:cubicBezTo>
                  <a:cubicBezTo>
                    <a:pt x="682" y="53"/>
                    <a:pt x="726" y="84"/>
                    <a:pt x="765" y="125"/>
                  </a:cubicBezTo>
                  <a:cubicBezTo>
                    <a:pt x="804" y="164"/>
                    <a:pt x="832" y="217"/>
                    <a:pt x="849" y="278"/>
                  </a:cubicBezTo>
                  <a:cubicBezTo>
                    <a:pt x="868" y="342"/>
                    <a:pt x="871" y="414"/>
                    <a:pt x="863" y="498"/>
                  </a:cubicBezTo>
                  <a:lnTo>
                    <a:pt x="186" y="353"/>
                  </a:lnTo>
                  <a:lnTo>
                    <a:pt x="186" y="353"/>
                  </a:lnTo>
                  <a:cubicBezTo>
                    <a:pt x="696" y="353"/>
                    <a:pt x="696" y="353"/>
                    <a:pt x="696" y="353"/>
                  </a:cubicBezTo>
                  <a:cubicBezTo>
                    <a:pt x="690" y="287"/>
                    <a:pt x="663" y="236"/>
                    <a:pt x="621" y="203"/>
                  </a:cubicBezTo>
                  <a:cubicBezTo>
                    <a:pt x="577" y="170"/>
                    <a:pt x="518" y="153"/>
                    <a:pt x="447" y="153"/>
                  </a:cubicBezTo>
                  <a:cubicBezTo>
                    <a:pt x="380" y="153"/>
                    <a:pt x="325" y="170"/>
                    <a:pt x="278" y="203"/>
                  </a:cubicBezTo>
                  <a:cubicBezTo>
                    <a:pt x="230" y="236"/>
                    <a:pt x="200" y="287"/>
                    <a:pt x="186" y="353"/>
                  </a:cubicBezTo>
                  <a:lnTo>
                    <a:pt x="863"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3" name="Freeform 10">
              <a:extLst>
                <a:ext uri="{FF2B5EF4-FFF2-40B4-BE49-F238E27FC236}">
                  <a16:creationId xmlns:a16="http://schemas.microsoft.com/office/drawing/2014/main" id="{A0D912B4-3BB5-BE4A-9993-C01D994A03B2}"/>
                </a:ext>
              </a:extLst>
            </p:cNvPr>
            <p:cNvSpPr>
              <a:spLocks noChangeArrowheads="1"/>
            </p:cNvSpPr>
            <p:nvPr userDrawn="1"/>
          </p:nvSpPr>
          <p:spPr bwMode="auto">
            <a:xfrm>
              <a:off x="5205413" y="3149600"/>
              <a:ext cx="301625" cy="296863"/>
            </a:xfrm>
            <a:custGeom>
              <a:avLst/>
              <a:gdLst>
                <a:gd name="T0" fmla="*/ 606 w 837"/>
                <a:gd name="T1" fmla="*/ 0 h 823"/>
                <a:gd name="T2" fmla="*/ 820 w 837"/>
                <a:gd name="T3" fmla="*/ 0 h 823"/>
                <a:gd name="T4" fmla="*/ 820 w 837"/>
                <a:gd name="T5" fmla="*/ 5 h 823"/>
                <a:gd name="T6" fmla="*/ 536 w 837"/>
                <a:gd name="T7" fmla="*/ 402 h 823"/>
                <a:gd name="T8" fmla="*/ 836 w 837"/>
                <a:gd name="T9" fmla="*/ 819 h 823"/>
                <a:gd name="T10" fmla="*/ 836 w 837"/>
                <a:gd name="T11" fmla="*/ 822 h 823"/>
                <a:gd name="T12" fmla="*/ 625 w 837"/>
                <a:gd name="T13" fmla="*/ 822 h 823"/>
                <a:gd name="T14" fmla="*/ 420 w 837"/>
                <a:gd name="T15" fmla="*/ 525 h 823"/>
                <a:gd name="T16" fmla="*/ 212 w 837"/>
                <a:gd name="T17" fmla="*/ 822 h 823"/>
                <a:gd name="T18" fmla="*/ 0 w 837"/>
                <a:gd name="T19" fmla="*/ 822 h 823"/>
                <a:gd name="T20" fmla="*/ 0 w 837"/>
                <a:gd name="T21" fmla="*/ 819 h 823"/>
                <a:gd name="T22" fmla="*/ 303 w 837"/>
                <a:gd name="T23" fmla="*/ 402 h 823"/>
                <a:gd name="T24" fmla="*/ 20 w 837"/>
                <a:gd name="T25" fmla="*/ 5 h 823"/>
                <a:gd name="T26" fmla="*/ 20 w 837"/>
                <a:gd name="T27" fmla="*/ 0 h 823"/>
                <a:gd name="T28" fmla="*/ 231 w 837"/>
                <a:gd name="T29" fmla="*/ 0 h 823"/>
                <a:gd name="T30" fmla="*/ 420 w 837"/>
                <a:gd name="T31" fmla="*/ 294 h 823"/>
                <a:gd name="T32" fmla="*/ 606 w 837"/>
                <a:gd name="T33"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7" h="823">
                  <a:moveTo>
                    <a:pt x="606" y="0"/>
                  </a:moveTo>
                  <a:lnTo>
                    <a:pt x="820" y="0"/>
                  </a:lnTo>
                  <a:lnTo>
                    <a:pt x="820" y="5"/>
                  </a:lnTo>
                  <a:lnTo>
                    <a:pt x="536" y="402"/>
                  </a:lnTo>
                  <a:lnTo>
                    <a:pt x="836" y="819"/>
                  </a:lnTo>
                  <a:lnTo>
                    <a:pt x="836" y="822"/>
                  </a:lnTo>
                  <a:lnTo>
                    <a:pt x="625" y="822"/>
                  </a:lnTo>
                  <a:lnTo>
                    <a:pt x="420" y="525"/>
                  </a:lnTo>
                  <a:lnTo>
                    <a:pt x="212" y="822"/>
                  </a:lnTo>
                  <a:lnTo>
                    <a:pt x="0" y="822"/>
                  </a:lnTo>
                  <a:lnTo>
                    <a:pt x="0" y="819"/>
                  </a:lnTo>
                  <a:lnTo>
                    <a:pt x="303" y="402"/>
                  </a:lnTo>
                  <a:lnTo>
                    <a:pt x="20" y="5"/>
                  </a:lnTo>
                  <a:lnTo>
                    <a:pt x="20" y="0"/>
                  </a:lnTo>
                  <a:lnTo>
                    <a:pt x="231" y="0"/>
                  </a:lnTo>
                  <a:lnTo>
                    <a:pt x="420" y="294"/>
                  </a:lnTo>
                  <a:lnTo>
                    <a:pt x="60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4" name="Freeform 11">
              <a:extLst>
                <a:ext uri="{FF2B5EF4-FFF2-40B4-BE49-F238E27FC236}">
                  <a16:creationId xmlns:a16="http://schemas.microsoft.com/office/drawing/2014/main" id="{794ABC0D-FBDD-7244-A442-8BE67BB237FC}"/>
                </a:ext>
              </a:extLst>
            </p:cNvPr>
            <p:cNvSpPr>
              <a:spLocks noChangeArrowheads="1"/>
            </p:cNvSpPr>
            <p:nvPr userDrawn="1"/>
          </p:nvSpPr>
          <p:spPr bwMode="auto">
            <a:xfrm>
              <a:off x="5557838" y="3143250"/>
              <a:ext cx="323850" cy="439738"/>
            </a:xfrm>
            <a:custGeom>
              <a:avLst/>
              <a:gdLst>
                <a:gd name="T0" fmla="*/ 0 w 898"/>
                <a:gd name="T1" fmla="*/ 1221 h 1222"/>
                <a:gd name="T2" fmla="*/ 0 w 898"/>
                <a:gd name="T3" fmla="*/ 1221 h 1222"/>
                <a:gd name="T4" fmla="*/ 0 w 898"/>
                <a:gd name="T5" fmla="*/ 17 h 1222"/>
                <a:gd name="T6" fmla="*/ 164 w 898"/>
                <a:gd name="T7" fmla="*/ 17 h 1222"/>
                <a:gd name="T8" fmla="*/ 175 w 898"/>
                <a:gd name="T9" fmla="*/ 150 h 1222"/>
                <a:gd name="T10" fmla="*/ 306 w 898"/>
                <a:gd name="T11" fmla="*/ 36 h 1222"/>
                <a:gd name="T12" fmla="*/ 472 w 898"/>
                <a:gd name="T13" fmla="*/ 0 h 1222"/>
                <a:gd name="T14" fmla="*/ 645 w 898"/>
                <a:gd name="T15" fmla="*/ 33 h 1222"/>
                <a:gd name="T16" fmla="*/ 781 w 898"/>
                <a:gd name="T17" fmla="*/ 122 h 1222"/>
                <a:gd name="T18" fmla="*/ 867 w 898"/>
                <a:gd name="T19" fmla="*/ 256 h 1222"/>
                <a:gd name="T20" fmla="*/ 897 w 898"/>
                <a:gd name="T21" fmla="*/ 428 h 1222"/>
                <a:gd name="T22" fmla="*/ 867 w 898"/>
                <a:gd name="T23" fmla="*/ 600 h 1222"/>
                <a:gd name="T24" fmla="*/ 783 w 898"/>
                <a:gd name="T25" fmla="*/ 736 h 1222"/>
                <a:gd name="T26" fmla="*/ 650 w 898"/>
                <a:gd name="T27" fmla="*/ 828 h 1222"/>
                <a:gd name="T28" fmla="*/ 472 w 898"/>
                <a:gd name="T29" fmla="*/ 858 h 1222"/>
                <a:gd name="T30" fmla="*/ 392 w 898"/>
                <a:gd name="T31" fmla="*/ 850 h 1222"/>
                <a:gd name="T32" fmla="*/ 308 w 898"/>
                <a:gd name="T33" fmla="*/ 828 h 1222"/>
                <a:gd name="T34" fmla="*/ 233 w 898"/>
                <a:gd name="T35" fmla="*/ 786 h 1222"/>
                <a:gd name="T36" fmla="*/ 175 w 898"/>
                <a:gd name="T37" fmla="*/ 719 h 1222"/>
                <a:gd name="T38" fmla="*/ 175 w 898"/>
                <a:gd name="T39" fmla="*/ 1221 h 1222"/>
                <a:gd name="T40" fmla="*/ 0 w 898"/>
                <a:gd name="T41" fmla="*/ 1221 h 1222"/>
                <a:gd name="T42" fmla="*/ 456 w 898"/>
                <a:gd name="T43" fmla="*/ 692 h 1222"/>
                <a:gd name="T44" fmla="*/ 456 w 898"/>
                <a:gd name="T45" fmla="*/ 692 h 1222"/>
                <a:gd name="T46" fmla="*/ 561 w 898"/>
                <a:gd name="T47" fmla="*/ 672 h 1222"/>
                <a:gd name="T48" fmla="*/ 647 w 898"/>
                <a:gd name="T49" fmla="*/ 617 h 1222"/>
                <a:gd name="T50" fmla="*/ 703 w 898"/>
                <a:gd name="T51" fmla="*/ 536 h 1222"/>
                <a:gd name="T52" fmla="*/ 722 w 898"/>
                <a:gd name="T53" fmla="*/ 428 h 1222"/>
                <a:gd name="T54" fmla="*/ 650 w 898"/>
                <a:gd name="T55" fmla="*/ 239 h 1222"/>
                <a:gd name="T56" fmla="*/ 456 w 898"/>
                <a:gd name="T57" fmla="*/ 167 h 1222"/>
                <a:gd name="T58" fmla="*/ 345 w 898"/>
                <a:gd name="T59" fmla="*/ 186 h 1222"/>
                <a:gd name="T60" fmla="*/ 261 w 898"/>
                <a:gd name="T61" fmla="*/ 242 h 1222"/>
                <a:gd name="T62" fmla="*/ 208 w 898"/>
                <a:gd name="T63" fmla="*/ 325 h 1222"/>
                <a:gd name="T64" fmla="*/ 192 w 898"/>
                <a:gd name="T65" fmla="*/ 428 h 1222"/>
                <a:gd name="T66" fmla="*/ 211 w 898"/>
                <a:gd name="T67" fmla="*/ 530 h 1222"/>
                <a:gd name="T68" fmla="*/ 264 w 898"/>
                <a:gd name="T69" fmla="*/ 617 h 1222"/>
                <a:gd name="T70" fmla="*/ 347 w 898"/>
                <a:gd name="T71" fmla="*/ 672 h 1222"/>
                <a:gd name="T72" fmla="*/ 456 w 898"/>
                <a:gd name="T73" fmla="*/ 69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8" h="1222">
                  <a:moveTo>
                    <a:pt x="0" y="1221"/>
                  </a:moveTo>
                  <a:lnTo>
                    <a:pt x="0" y="1221"/>
                  </a:lnTo>
                  <a:cubicBezTo>
                    <a:pt x="0" y="17"/>
                    <a:pt x="0" y="17"/>
                    <a:pt x="0" y="17"/>
                  </a:cubicBezTo>
                  <a:cubicBezTo>
                    <a:pt x="164" y="17"/>
                    <a:pt x="164" y="17"/>
                    <a:pt x="164" y="17"/>
                  </a:cubicBezTo>
                  <a:cubicBezTo>
                    <a:pt x="175" y="150"/>
                    <a:pt x="175" y="150"/>
                    <a:pt x="175" y="150"/>
                  </a:cubicBezTo>
                  <a:cubicBezTo>
                    <a:pt x="208" y="100"/>
                    <a:pt x="253" y="61"/>
                    <a:pt x="306" y="36"/>
                  </a:cubicBezTo>
                  <a:cubicBezTo>
                    <a:pt x="361" y="11"/>
                    <a:pt x="417" y="0"/>
                    <a:pt x="472" y="0"/>
                  </a:cubicBezTo>
                  <a:cubicBezTo>
                    <a:pt x="536" y="0"/>
                    <a:pt x="592" y="11"/>
                    <a:pt x="645" y="33"/>
                  </a:cubicBezTo>
                  <a:cubicBezTo>
                    <a:pt x="697" y="53"/>
                    <a:pt x="742" y="83"/>
                    <a:pt x="781" y="122"/>
                  </a:cubicBezTo>
                  <a:cubicBezTo>
                    <a:pt x="817" y="158"/>
                    <a:pt x="847" y="206"/>
                    <a:pt x="867" y="256"/>
                  </a:cubicBezTo>
                  <a:cubicBezTo>
                    <a:pt x="886" y="308"/>
                    <a:pt x="897" y="367"/>
                    <a:pt x="897" y="428"/>
                  </a:cubicBezTo>
                  <a:cubicBezTo>
                    <a:pt x="897" y="492"/>
                    <a:pt x="886" y="550"/>
                    <a:pt x="867" y="600"/>
                  </a:cubicBezTo>
                  <a:cubicBezTo>
                    <a:pt x="847" y="653"/>
                    <a:pt x="820" y="700"/>
                    <a:pt x="783" y="736"/>
                  </a:cubicBezTo>
                  <a:cubicBezTo>
                    <a:pt x="747" y="775"/>
                    <a:pt x="703" y="805"/>
                    <a:pt x="650" y="828"/>
                  </a:cubicBezTo>
                  <a:cubicBezTo>
                    <a:pt x="597" y="847"/>
                    <a:pt x="536" y="858"/>
                    <a:pt x="472" y="858"/>
                  </a:cubicBezTo>
                  <a:cubicBezTo>
                    <a:pt x="447" y="858"/>
                    <a:pt x="420" y="856"/>
                    <a:pt x="392" y="850"/>
                  </a:cubicBezTo>
                  <a:cubicBezTo>
                    <a:pt x="364" y="847"/>
                    <a:pt x="336" y="839"/>
                    <a:pt x="308" y="828"/>
                  </a:cubicBezTo>
                  <a:cubicBezTo>
                    <a:pt x="283" y="817"/>
                    <a:pt x="258" y="803"/>
                    <a:pt x="233" y="786"/>
                  </a:cubicBezTo>
                  <a:cubicBezTo>
                    <a:pt x="211" y="767"/>
                    <a:pt x="192" y="744"/>
                    <a:pt x="175" y="719"/>
                  </a:cubicBezTo>
                  <a:cubicBezTo>
                    <a:pt x="175" y="1221"/>
                    <a:pt x="175" y="1221"/>
                    <a:pt x="175" y="1221"/>
                  </a:cubicBezTo>
                  <a:lnTo>
                    <a:pt x="0" y="1221"/>
                  </a:lnTo>
                  <a:close/>
                  <a:moveTo>
                    <a:pt x="456" y="692"/>
                  </a:moveTo>
                  <a:lnTo>
                    <a:pt x="456" y="692"/>
                  </a:lnTo>
                  <a:cubicBezTo>
                    <a:pt x="495" y="692"/>
                    <a:pt x="531" y="686"/>
                    <a:pt x="561" y="672"/>
                  </a:cubicBezTo>
                  <a:cubicBezTo>
                    <a:pt x="595" y="658"/>
                    <a:pt x="622" y="642"/>
                    <a:pt x="647" y="617"/>
                  </a:cubicBezTo>
                  <a:cubicBezTo>
                    <a:pt x="669" y="594"/>
                    <a:pt x="689" y="567"/>
                    <a:pt x="703" y="536"/>
                  </a:cubicBezTo>
                  <a:cubicBezTo>
                    <a:pt x="714" y="503"/>
                    <a:pt x="722" y="467"/>
                    <a:pt x="722" y="428"/>
                  </a:cubicBezTo>
                  <a:cubicBezTo>
                    <a:pt x="722" y="350"/>
                    <a:pt x="697" y="289"/>
                    <a:pt x="650" y="239"/>
                  </a:cubicBezTo>
                  <a:cubicBezTo>
                    <a:pt x="600" y="192"/>
                    <a:pt x="536" y="167"/>
                    <a:pt x="456" y="167"/>
                  </a:cubicBezTo>
                  <a:cubicBezTo>
                    <a:pt x="414" y="167"/>
                    <a:pt x="378" y="172"/>
                    <a:pt x="345" y="186"/>
                  </a:cubicBezTo>
                  <a:cubicBezTo>
                    <a:pt x="314" y="200"/>
                    <a:pt x="286" y="219"/>
                    <a:pt x="261" y="242"/>
                  </a:cubicBezTo>
                  <a:cubicBezTo>
                    <a:pt x="239" y="267"/>
                    <a:pt x="222" y="294"/>
                    <a:pt x="208" y="325"/>
                  </a:cubicBezTo>
                  <a:cubicBezTo>
                    <a:pt x="197" y="358"/>
                    <a:pt x="192" y="392"/>
                    <a:pt x="192" y="428"/>
                  </a:cubicBezTo>
                  <a:cubicBezTo>
                    <a:pt x="192" y="467"/>
                    <a:pt x="197" y="500"/>
                    <a:pt x="211" y="530"/>
                  </a:cubicBezTo>
                  <a:cubicBezTo>
                    <a:pt x="222" y="564"/>
                    <a:pt x="242" y="592"/>
                    <a:pt x="264" y="617"/>
                  </a:cubicBezTo>
                  <a:cubicBezTo>
                    <a:pt x="289" y="639"/>
                    <a:pt x="317" y="658"/>
                    <a:pt x="347" y="672"/>
                  </a:cubicBezTo>
                  <a:cubicBezTo>
                    <a:pt x="381" y="683"/>
                    <a:pt x="417" y="692"/>
                    <a:pt x="456" y="692"/>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5" name="Freeform 12">
              <a:extLst>
                <a:ext uri="{FF2B5EF4-FFF2-40B4-BE49-F238E27FC236}">
                  <a16:creationId xmlns:a16="http://schemas.microsoft.com/office/drawing/2014/main" id="{8DC4AC5D-A60F-664C-A054-183CFACD9BBC}"/>
                </a:ext>
              </a:extLst>
            </p:cNvPr>
            <p:cNvSpPr>
              <a:spLocks noChangeArrowheads="1"/>
            </p:cNvSpPr>
            <p:nvPr userDrawn="1"/>
          </p:nvSpPr>
          <p:spPr bwMode="auto">
            <a:xfrm>
              <a:off x="5929313" y="3141663"/>
              <a:ext cx="315912" cy="312737"/>
            </a:xfrm>
            <a:custGeom>
              <a:avLst/>
              <a:gdLst>
                <a:gd name="T0" fmla="*/ 867 w 876"/>
                <a:gd name="T1" fmla="*/ 498 h 868"/>
                <a:gd name="T2" fmla="*/ 867 w 876"/>
                <a:gd name="T3" fmla="*/ 498 h 868"/>
                <a:gd name="T4" fmla="*/ 184 w 876"/>
                <a:gd name="T5" fmla="*/ 498 h 868"/>
                <a:gd name="T6" fmla="*/ 270 w 876"/>
                <a:gd name="T7" fmla="*/ 650 h 868"/>
                <a:gd name="T8" fmla="*/ 459 w 876"/>
                <a:gd name="T9" fmla="*/ 706 h 868"/>
                <a:gd name="T10" fmla="*/ 595 w 876"/>
                <a:gd name="T11" fmla="*/ 684 h 868"/>
                <a:gd name="T12" fmla="*/ 703 w 876"/>
                <a:gd name="T13" fmla="*/ 617 h 868"/>
                <a:gd name="T14" fmla="*/ 817 w 876"/>
                <a:gd name="T15" fmla="*/ 725 h 868"/>
                <a:gd name="T16" fmla="*/ 742 w 876"/>
                <a:gd name="T17" fmla="*/ 786 h 868"/>
                <a:gd name="T18" fmla="*/ 653 w 876"/>
                <a:gd name="T19" fmla="*/ 831 h 868"/>
                <a:gd name="T20" fmla="*/ 553 w 876"/>
                <a:gd name="T21" fmla="*/ 859 h 868"/>
                <a:gd name="T22" fmla="*/ 456 w 876"/>
                <a:gd name="T23" fmla="*/ 867 h 868"/>
                <a:gd name="T24" fmla="*/ 267 w 876"/>
                <a:gd name="T25" fmla="*/ 836 h 868"/>
                <a:gd name="T26" fmla="*/ 125 w 876"/>
                <a:gd name="T27" fmla="*/ 748 h 868"/>
                <a:gd name="T28" fmla="*/ 34 w 876"/>
                <a:gd name="T29" fmla="*/ 609 h 868"/>
                <a:gd name="T30" fmla="*/ 0 w 876"/>
                <a:gd name="T31" fmla="*/ 431 h 868"/>
                <a:gd name="T32" fmla="*/ 34 w 876"/>
                <a:gd name="T33" fmla="*/ 256 h 868"/>
                <a:gd name="T34" fmla="*/ 125 w 876"/>
                <a:gd name="T35" fmla="*/ 120 h 868"/>
                <a:gd name="T36" fmla="*/ 264 w 876"/>
                <a:gd name="T37" fmla="*/ 31 h 868"/>
                <a:gd name="T38" fmla="*/ 442 w 876"/>
                <a:gd name="T39" fmla="*/ 0 h 868"/>
                <a:gd name="T40" fmla="*/ 628 w 876"/>
                <a:gd name="T41" fmla="*/ 31 h 868"/>
                <a:gd name="T42" fmla="*/ 770 w 876"/>
                <a:gd name="T43" fmla="*/ 125 h 868"/>
                <a:gd name="T44" fmla="*/ 853 w 876"/>
                <a:gd name="T45" fmla="*/ 278 h 868"/>
                <a:gd name="T46" fmla="*/ 867 w 876"/>
                <a:gd name="T47" fmla="*/ 498 h 868"/>
                <a:gd name="T48" fmla="*/ 186 w 876"/>
                <a:gd name="T49" fmla="*/ 353 h 868"/>
                <a:gd name="T50" fmla="*/ 186 w 876"/>
                <a:gd name="T51" fmla="*/ 353 h 868"/>
                <a:gd name="T52" fmla="*/ 698 w 876"/>
                <a:gd name="T53" fmla="*/ 353 h 868"/>
                <a:gd name="T54" fmla="*/ 623 w 876"/>
                <a:gd name="T55" fmla="*/ 203 h 868"/>
                <a:gd name="T56" fmla="*/ 448 w 876"/>
                <a:gd name="T57" fmla="*/ 153 h 868"/>
                <a:gd name="T58" fmla="*/ 278 w 876"/>
                <a:gd name="T59" fmla="*/ 203 h 868"/>
                <a:gd name="T60" fmla="*/ 186 w 876"/>
                <a:gd name="T61" fmla="*/ 353 h 868"/>
                <a:gd name="T62" fmla="*/ 867 w 876"/>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8">
                  <a:moveTo>
                    <a:pt x="867" y="498"/>
                  </a:moveTo>
                  <a:lnTo>
                    <a:pt x="867" y="498"/>
                  </a:lnTo>
                  <a:cubicBezTo>
                    <a:pt x="184" y="498"/>
                    <a:pt x="184" y="498"/>
                    <a:pt x="184" y="498"/>
                  </a:cubicBezTo>
                  <a:cubicBezTo>
                    <a:pt x="192" y="562"/>
                    <a:pt x="220" y="611"/>
                    <a:pt x="270" y="650"/>
                  </a:cubicBezTo>
                  <a:cubicBezTo>
                    <a:pt x="317" y="686"/>
                    <a:pt x="381" y="706"/>
                    <a:pt x="459" y="706"/>
                  </a:cubicBezTo>
                  <a:cubicBezTo>
                    <a:pt x="503" y="706"/>
                    <a:pt x="547" y="698"/>
                    <a:pt x="595" y="684"/>
                  </a:cubicBezTo>
                  <a:cubicBezTo>
                    <a:pt x="639" y="667"/>
                    <a:pt x="675" y="645"/>
                    <a:pt x="703" y="617"/>
                  </a:cubicBezTo>
                  <a:cubicBezTo>
                    <a:pt x="817" y="725"/>
                    <a:pt x="817" y="725"/>
                    <a:pt x="817" y="725"/>
                  </a:cubicBezTo>
                  <a:cubicBezTo>
                    <a:pt x="795" y="750"/>
                    <a:pt x="770" y="770"/>
                    <a:pt x="742" y="786"/>
                  </a:cubicBezTo>
                  <a:cubicBezTo>
                    <a:pt x="714" y="806"/>
                    <a:pt x="684" y="820"/>
                    <a:pt x="653" y="831"/>
                  </a:cubicBezTo>
                  <a:cubicBezTo>
                    <a:pt x="620" y="845"/>
                    <a:pt x="589" y="853"/>
                    <a:pt x="553" y="859"/>
                  </a:cubicBezTo>
                  <a:cubicBezTo>
                    <a:pt x="520" y="864"/>
                    <a:pt x="486" y="867"/>
                    <a:pt x="456" y="867"/>
                  </a:cubicBezTo>
                  <a:cubicBezTo>
                    <a:pt x="386" y="867"/>
                    <a:pt x="323" y="856"/>
                    <a:pt x="267" y="836"/>
                  </a:cubicBezTo>
                  <a:cubicBezTo>
                    <a:pt x="211" y="814"/>
                    <a:pt x="164" y="786"/>
                    <a:pt x="125" y="748"/>
                  </a:cubicBezTo>
                  <a:cubicBezTo>
                    <a:pt x="86" y="709"/>
                    <a:pt x="56" y="664"/>
                    <a:pt x="34" y="609"/>
                  </a:cubicBezTo>
                  <a:cubicBezTo>
                    <a:pt x="11" y="556"/>
                    <a:pt x="0" y="495"/>
                    <a:pt x="0" y="431"/>
                  </a:cubicBezTo>
                  <a:cubicBezTo>
                    <a:pt x="0" y="367"/>
                    <a:pt x="11" y="309"/>
                    <a:pt x="34" y="256"/>
                  </a:cubicBezTo>
                  <a:cubicBezTo>
                    <a:pt x="56" y="203"/>
                    <a:pt x="86" y="159"/>
                    <a:pt x="125" y="120"/>
                  </a:cubicBezTo>
                  <a:cubicBezTo>
                    <a:pt x="161" y="84"/>
                    <a:pt x="209" y="53"/>
                    <a:pt x="264" y="31"/>
                  </a:cubicBezTo>
                  <a:cubicBezTo>
                    <a:pt x="317" y="12"/>
                    <a:pt x="378" y="0"/>
                    <a:pt x="442" y="0"/>
                  </a:cubicBezTo>
                  <a:cubicBezTo>
                    <a:pt x="511" y="0"/>
                    <a:pt x="573" y="12"/>
                    <a:pt x="628" y="31"/>
                  </a:cubicBezTo>
                  <a:cubicBezTo>
                    <a:pt x="684" y="53"/>
                    <a:pt x="731" y="84"/>
                    <a:pt x="770" y="125"/>
                  </a:cubicBezTo>
                  <a:cubicBezTo>
                    <a:pt x="806" y="164"/>
                    <a:pt x="834" y="217"/>
                    <a:pt x="853" y="278"/>
                  </a:cubicBezTo>
                  <a:cubicBezTo>
                    <a:pt x="870" y="342"/>
                    <a:pt x="875" y="414"/>
                    <a:pt x="867" y="498"/>
                  </a:cubicBezTo>
                  <a:lnTo>
                    <a:pt x="186" y="353"/>
                  </a:lnTo>
                  <a:lnTo>
                    <a:pt x="186" y="353"/>
                  </a:lnTo>
                  <a:cubicBezTo>
                    <a:pt x="698" y="353"/>
                    <a:pt x="698" y="353"/>
                    <a:pt x="698" y="353"/>
                  </a:cubicBezTo>
                  <a:cubicBezTo>
                    <a:pt x="692" y="287"/>
                    <a:pt x="667" y="236"/>
                    <a:pt x="623" y="203"/>
                  </a:cubicBezTo>
                  <a:cubicBezTo>
                    <a:pt x="578" y="170"/>
                    <a:pt x="520" y="153"/>
                    <a:pt x="448" y="153"/>
                  </a:cubicBezTo>
                  <a:cubicBezTo>
                    <a:pt x="384" y="153"/>
                    <a:pt x="328" y="170"/>
                    <a:pt x="278" y="203"/>
                  </a:cubicBezTo>
                  <a:cubicBezTo>
                    <a:pt x="231" y="236"/>
                    <a:pt x="200" y="287"/>
                    <a:pt x="186" y="353"/>
                  </a:cubicBezTo>
                  <a:lnTo>
                    <a:pt x="867"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6" name="Freeform 13">
              <a:extLst>
                <a:ext uri="{FF2B5EF4-FFF2-40B4-BE49-F238E27FC236}">
                  <a16:creationId xmlns:a16="http://schemas.microsoft.com/office/drawing/2014/main" id="{AE239619-F835-844B-8ADF-19E5F1049E64}"/>
                </a:ext>
              </a:extLst>
            </p:cNvPr>
            <p:cNvSpPr>
              <a:spLocks noChangeArrowheads="1"/>
            </p:cNvSpPr>
            <p:nvPr userDrawn="1"/>
          </p:nvSpPr>
          <p:spPr bwMode="auto">
            <a:xfrm>
              <a:off x="6305550" y="3141663"/>
              <a:ext cx="228600" cy="303212"/>
            </a:xfrm>
            <a:custGeom>
              <a:avLst/>
              <a:gdLst>
                <a:gd name="T0" fmla="*/ 164 w 634"/>
                <a:gd name="T1" fmla="*/ 20 h 843"/>
                <a:gd name="T2" fmla="*/ 164 w 634"/>
                <a:gd name="T3" fmla="*/ 20 h 843"/>
                <a:gd name="T4" fmla="*/ 177 w 634"/>
                <a:gd name="T5" fmla="*/ 128 h 843"/>
                <a:gd name="T6" fmla="*/ 289 w 634"/>
                <a:gd name="T7" fmla="*/ 25 h 843"/>
                <a:gd name="T8" fmla="*/ 425 w 634"/>
                <a:gd name="T9" fmla="*/ 0 h 843"/>
                <a:gd name="T10" fmla="*/ 541 w 634"/>
                <a:gd name="T11" fmla="*/ 20 h 843"/>
                <a:gd name="T12" fmla="*/ 633 w 634"/>
                <a:gd name="T13" fmla="*/ 70 h 843"/>
                <a:gd name="T14" fmla="*/ 552 w 634"/>
                <a:gd name="T15" fmla="*/ 222 h 843"/>
                <a:gd name="T16" fmla="*/ 486 w 634"/>
                <a:gd name="T17" fmla="*/ 184 h 843"/>
                <a:gd name="T18" fmla="*/ 405 w 634"/>
                <a:gd name="T19" fmla="*/ 172 h 843"/>
                <a:gd name="T20" fmla="*/ 316 w 634"/>
                <a:gd name="T21" fmla="*/ 186 h 843"/>
                <a:gd name="T22" fmla="*/ 244 w 634"/>
                <a:gd name="T23" fmla="*/ 228 h 843"/>
                <a:gd name="T24" fmla="*/ 197 w 634"/>
                <a:gd name="T25" fmla="*/ 297 h 843"/>
                <a:gd name="T26" fmla="*/ 177 w 634"/>
                <a:gd name="T27" fmla="*/ 397 h 843"/>
                <a:gd name="T28" fmla="*/ 177 w 634"/>
                <a:gd name="T29" fmla="*/ 842 h 843"/>
                <a:gd name="T30" fmla="*/ 0 w 634"/>
                <a:gd name="T31" fmla="*/ 842 h 843"/>
                <a:gd name="T32" fmla="*/ 0 w 634"/>
                <a:gd name="T33" fmla="*/ 20 h 843"/>
                <a:gd name="T34" fmla="*/ 164 w 634"/>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4" h="843">
                  <a:moveTo>
                    <a:pt x="164" y="20"/>
                  </a:moveTo>
                  <a:lnTo>
                    <a:pt x="164" y="20"/>
                  </a:lnTo>
                  <a:cubicBezTo>
                    <a:pt x="177" y="128"/>
                    <a:pt x="177" y="128"/>
                    <a:pt x="177" y="128"/>
                  </a:cubicBezTo>
                  <a:cubicBezTo>
                    <a:pt x="208" y="75"/>
                    <a:pt x="244" y="42"/>
                    <a:pt x="289" y="25"/>
                  </a:cubicBezTo>
                  <a:cubicBezTo>
                    <a:pt x="333" y="9"/>
                    <a:pt x="380" y="0"/>
                    <a:pt x="425" y="0"/>
                  </a:cubicBezTo>
                  <a:cubicBezTo>
                    <a:pt x="466" y="0"/>
                    <a:pt x="505" y="9"/>
                    <a:pt x="541" y="20"/>
                  </a:cubicBezTo>
                  <a:cubicBezTo>
                    <a:pt x="577" y="34"/>
                    <a:pt x="608" y="50"/>
                    <a:pt x="633" y="70"/>
                  </a:cubicBezTo>
                  <a:cubicBezTo>
                    <a:pt x="552" y="222"/>
                    <a:pt x="552" y="222"/>
                    <a:pt x="552" y="222"/>
                  </a:cubicBezTo>
                  <a:cubicBezTo>
                    <a:pt x="530" y="206"/>
                    <a:pt x="508" y="192"/>
                    <a:pt x="486" y="184"/>
                  </a:cubicBezTo>
                  <a:cubicBezTo>
                    <a:pt x="464" y="175"/>
                    <a:pt x="436" y="172"/>
                    <a:pt x="405" y="172"/>
                  </a:cubicBezTo>
                  <a:cubicBezTo>
                    <a:pt x="372" y="172"/>
                    <a:pt x="344" y="175"/>
                    <a:pt x="316" y="186"/>
                  </a:cubicBezTo>
                  <a:cubicBezTo>
                    <a:pt x="289" y="195"/>
                    <a:pt x="266" y="209"/>
                    <a:pt x="244" y="228"/>
                  </a:cubicBezTo>
                  <a:cubicBezTo>
                    <a:pt x="225" y="245"/>
                    <a:pt x="208" y="270"/>
                    <a:pt x="197" y="297"/>
                  </a:cubicBezTo>
                  <a:cubicBezTo>
                    <a:pt x="183" y="325"/>
                    <a:pt x="177" y="359"/>
                    <a:pt x="177" y="397"/>
                  </a:cubicBezTo>
                  <a:cubicBezTo>
                    <a:pt x="177" y="842"/>
                    <a:pt x="177" y="842"/>
                    <a:pt x="177"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7" name="Freeform 14">
              <a:extLst>
                <a:ext uri="{FF2B5EF4-FFF2-40B4-BE49-F238E27FC236}">
                  <a16:creationId xmlns:a16="http://schemas.microsoft.com/office/drawing/2014/main" id="{8AA14F52-A996-604F-8054-FED728847032}"/>
                </a:ext>
              </a:extLst>
            </p:cNvPr>
            <p:cNvSpPr>
              <a:spLocks noChangeArrowheads="1"/>
            </p:cNvSpPr>
            <p:nvPr userDrawn="1"/>
          </p:nvSpPr>
          <p:spPr bwMode="auto">
            <a:xfrm>
              <a:off x="6577013" y="3148013"/>
              <a:ext cx="63500" cy="296862"/>
            </a:xfrm>
            <a:custGeom>
              <a:avLst/>
              <a:gdLst>
                <a:gd name="T0" fmla="*/ 175 w 176"/>
                <a:gd name="T1" fmla="*/ 825 h 826"/>
                <a:gd name="T2" fmla="*/ 0 w 176"/>
                <a:gd name="T3" fmla="*/ 825 h 826"/>
                <a:gd name="T4" fmla="*/ 0 w 176"/>
                <a:gd name="T5" fmla="*/ 0 h 826"/>
                <a:gd name="T6" fmla="*/ 175 w 176"/>
                <a:gd name="T7" fmla="*/ 0 h 826"/>
                <a:gd name="T8" fmla="*/ 175 w 176"/>
                <a:gd name="T9" fmla="*/ 825 h 826"/>
              </a:gdLst>
              <a:ahLst/>
              <a:cxnLst>
                <a:cxn ang="0">
                  <a:pos x="T0" y="T1"/>
                </a:cxn>
                <a:cxn ang="0">
                  <a:pos x="T2" y="T3"/>
                </a:cxn>
                <a:cxn ang="0">
                  <a:pos x="T4" y="T5"/>
                </a:cxn>
                <a:cxn ang="0">
                  <a:pos x="T6" y="T7"/>
                </a:cxn>
                <a:cxn ang="0">
                  <a:pos x="T8" y="T9"/>
                </a:cxn>
              </a:cxnLst>
              <a:rect l="0" t="0" r="r" b="b"/>
              <a:pathLst>
                <a:path w="176" h="826">
                  <a:moveTo>
                    <a:pt x="175" y="825"/>
                  </a:moveTo>
                  <a:lnTo>
                    <a:pt x="0" y="825"/>
                  </a:lnTo>
                  <a:lnTo>
                    <a:pt x="0" y="0"/>
                  </a:lnTo>
                  <a:lnTo>
                    <a:pt x="175" y="0"/>
                  </a:lnTo>
                  <a:lnTo>
                    <a:pt x="175" y="8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8" name="Freeform 15">
              <a:extLst>
                <a:ext uri="{FF2B5EF4-FFF2-40B4-BE49-F238E27FC236}">
                  <a16:creationId xmlns:a16="http://schemas.microsoft.com/office/drawing/2014/main" id="{5A1C5DF4-763B-6E42-A4E8-5C52C47CA15E}"/>
                </a:ext>
              </a:extLst>
            </p:cNvPr>
            <p:cNvSpPr>
              <a:spLocks noChangeArrowheads="1"/>
            </p:cNvSpPr>
            <p:nvPr userDrawn="1"/>
          </p:nvSpPr>
          <p:spPr bwMode="auto">
            <a:xfrm>
              <a:off x="6707188" y="3141663"/>
              <a:ext cx="314325" cy="312737"/>
            </a:xfrm>
            <a:custGeom>
              <a:avLst/>
              <a:gdLst>
                <a:gd name="T0" fmla="*/ 864 w 873"/>
                <a:gd name="T1" fmla="*/ 498 h 868"/>
                <a:gd name="T2" fmla="*/ 864 w 873"/>
                <a:gd name="T3" fmla="*/ 498 h 868"/>
                <a:gd name="T4" fmla="*/ 184 w 873"/>
                <a:gd name="T5" fmla="*/ 498 h 868"/>
                <a:gd name="T6" fmla="*/ 267 w 873"/>
                <a:gd name="T7" fmla="*/ 650 h 868"/>
                <a:gd name="T8" fmla="*/ 459 w 873"/>
                <a:gd name="T9" fmla="*/ 706 h 868"/>
                <a:gd name="T10" fmla="*/ 592 w 873"/>
                <a:gd name="T11" fmla="*/ 684 h 868"/>
                <a:gd name="T12" fmla="*/ 700 w 873"/>
                <a:gd name="T13" fmla="*/ 617 h 868"/>
                <a:gd name="T14" fmla="*/ 817 w 873"/>
                <a:gd name="T15" fmla="*/ 725 h 868"/>
                <a:gd name="T16" fmla="*/ 742 w 873"/>
                <a:gd name="T17" fmla="*/ 786 h 868"/>
                <a:gd name="T18" fmla="*/ 650 w 873"/>
                <a:gd name="T19" fmla="*/ 831 h 868"/>
                <a:gd name="T20" fmla="*/ 553 w 873"/>
                <a:gd name="T21" fmla="*/ 859 h 868"/>
                <a:gd name="T22" fmla="*/ 453 w 873"/>
                <a:gd name="T23" fmla="*/ 867 h 868"/>
                <a:gd name="T24" fmla="*/ 267 w 873"/>
                <a:gd name="T25" fmla="*/ 836 h 868"/>
                <a:gd name="T26" fmla="*/ 123 w 873"/>
                <a:gd name="T27" fmla="*/ 748 h 868"/>
                <a:gd name="T28" fmla="*/ 34 w 873"/>
                <a:gd name="T29" fmla="*/ 609 h 868"/>
                <a:gd name="T30" fmla="*/ 0 w 873"/>
                <a:gd name="T31" fmla="*/ 431 h 868"/>
                <a:gd name="T32" fmla="*/ 34 w 873"/>
                <a:gd name="T33" fmla="*/ 256 h 868"/>
                <a:gd name="T34" fmla="*/ 123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7 w 873"/>
                <a:gd name="T53" fmla="*/ 353 h 868"/>
                <a:gd name="T54" fmla="*/ 622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4" y="498"/>
                    <a:pt x="184" y="498"/>
                    <a:pt x="184" y="498"/>
                  </a:cubicBezTo>
                  <a:cubicBezTo>
                    <a:pt x="189" y="562"/>
                    <a:pt x="220" y="611"/>
                    <a:pt x="267" y="650"/>
                  </a:cubicBezTo>
                  <a:cubicBezTo>
                    <a:pt x="317" y="686"/>
                    <a:pt x="381" y="706"/>
                    <a:pt x="459" y="706"/>
                  </a:cubicBezTo>
                  <a:cubicBezTo>
                    <a:pt x="500" y="706"/>
                    <a:pt x="545" y="698"/>
                    <a:pt x="592" y="684"/>
                  </a:cubicBezTo>
                  <a:cubicBezTo>
                    <a:pt x="639" y="667"/>
                    <a:pt x="675" y="645"/>
                    <a:pt x="700" y="617"/>
                  </a:cubicBezTo>
                  <a:cubicBezTo>
                    <a:pt x="817" y="725"/>
                    <a:pt x="817" y="725"/>
                    <a:pt x="817" y="725"/>
                  </a:cubicBezTo>
                  <a:cubicBezTo>
                    <a:pt x="795" y="750"/>
                    <a:pt x="770" y="770"/>
                    <a:pt x="742" y="786"/>
                  </a:cubicBezTo>
                  <a:cubicBezTo>
                    <a:pt x="711" y="806"/>
                    <a:pt x="684" y="820"/>
                    <a:pt x="650" y="831"/>
                  </a:cubicBezTo>
                  <a:cubicBezTo>
                    <a:pt x="620" y="845"/>
                    <a:pt x="586" y="853"/>
                    <a:pt x="553" y="859"/>
                  </a:cubicBezTo>
                  <a:cubicBezTo>
                    <a:pt x="520" y="864"/>
                    <a:pt x="486" y="867"/>
                    <a:pt x="453" y="867"/>
                  </a:cubicBezTo>
                  <a:cubicBezTo>
                    <a:pt x="384" y="867"/>
                    <a:pt x="322" y="856"/>
                    <a:pt x="267" y="836"/>
                  </a:cubicBezTo>
                  <a:cubicBezTo>
                    <a:pt x="211" y="814"/>
                    <a:pt x="164" y="786"/>
                    <a:pt x="123" y="748"/>
                  </a:cubicBezTo>
                  <a:cubicBezTo>
                    <a:pt x="84" y="709"/>
                    <a:pt x="53" y="664"/>
                    <a:pt x="34" y="609"/>
                  </a:cubicBezTo>
                  <a:cubicBezTo>
                    <a:pt x="11" y="556"/>
                    <a:pt x="0" y="495"/>
                    <a:pt x="0" y="431"/>
                  </a:cubicBezTo>
                  <a:cubicBezTo>
                    <a:pt x="0" y="367"/>
                    <a:pt x="11" y="309"/>
                    <a:pt x="34" y="256"/>
                  </a:cubicBezTo>
                  <a:cubicBezTo>
                    <a:pt x="53" y="203"/>
                    <a:pt x="84" y="159"/>
                    <a:pt x="123" y="120"/>
                  </a:cubicBezTo>
                  <a:cubicBezTo>
                    <a:pt x="161" y="84"/>
                    <a:pt x="209" y="53"/>
                    <a:pt x="261" y="31"/>
                  </a:cubicBezTo>
                  <a:cubicBezTo>
                    <a:pt x="317" y="12"/>
                    <a:pt x="375" y="0"/>
                    <a:pt x="442" y="0"/>
                  </a:cubicBezTo>
                  <a:cubicBezTo>
                    <a:pt x="511" y="0"/>
                    <a:pt x="572" y="12"/>
                    <a:pt x="628" y="31"/>
                  </a:cubicBezTo>
                  <a:cubicBezTo>
                    <a:pt x="684" y="53"/>
                    <a:pt x="728" y="84"/>
                    <a:pt x="767" y="125"/>
                  </a:cubicBezTo>
                  <a:cubicBezTo>
                    <a:pt x="806" y="164"/>
                    <a:pt x="834" y="217"/>
                    <a:pt x="850" y="278"/>
                  </a:cubicBezTo>
                  <a:cubicBezTo>
                    <a:pt x="870" y="342"/>
                    <a:pt x="872" y="414"/>
                    <a:pt x="864" y="498"/>
                  </a:cubicBezTo>
                  <a:lnTo>
                    <a:pt x="186" y="353"/>
                  </a:lnTo>
                  <a:lnTo>
                    <a:pt x="186" y="353"/>
                  </a:lnTo>
                  <a:cubicBezTo>
                    <a:pt x="697" y="353"/>
                    <a:pt x="697" y="353"/>
                    <a:pt x="697" y="353"/>
                  </a:cubicBezTo>
                  <a:cubicBezTo>
                    <a:pt x="692" y="287"/>
                    <a:pt x="667" y="236"/>
                    <a:pt x="622" y="203"/>
                  </a:cubicBezTo>
                  <a:cubicBezTo>
                    <a:pt x="578" y="170"/>
                    <a:pt x="520" y="153"/>
                    <a:pt x="447" y="153"/>
                  </a:cubicBezTo>
                  <a:cubicBezTo>
                    <a:pt x="384"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9" name="Freeform 16">
              <a:extLst>
                <a:ext uri="{FF2B5EF4-FFF2-40B4-BE49-F238E27FC236}">
                  <a16:creationId xmlns:a16="http://schemas.microsoft.com/office/drawing/2014/main" id="{BAC46370-E32B-374D-9DCD-B11D21D51FB5}"/>
                </a:ext>
              </a:extLst>
            </p:cNvPr>
            <p:cNvSpPr>
              <a:spLocks noChangeArrowheads="1"/>
            </p:cNvSpPr>
            <p:nvPr userDrawn="1"/>
          </p:nvSpPr>
          <p:spPr bwMode="auto">
            <a:xfrm>
              <a:off x="7083425" y="3144838"/>
              <a:ext cx="293688" cy="301625"/>
            </a:xfrm>
            <a:custGeom>
              <a:avLst/>
              <a:gdLst>
                <a:gd name="T0" fmla="*/ 638 w 817"/>
                <a:gd name="T1" fmla="*/ 836 h 837"/>
                <a:gd name="T2" fmla="*/ 638 w 817"/>
                <a:gd name="T3" fmla="*/ 836 h 837"/>
                <a:gd name="T4" fmla="*/ 638 w 817"/>
                <a:gd name="T5" fmla="*/ 397 h 837"/>
                <a:gd name="T6" fmla="*/ 580 w 817"/>
                <a:gd name="T7" fmla="*/ 225 h 837"/>
                <a:gd name="T8" fmla="*/ 411 w 817"/>
                <a:gd name="T9" fmla="*/ 161 h 837"/>
                <a:gd name="T10" fmla="*/ 313 w 817"/>
                <a:gd name="T11" fmla="*/ 180 h 837"/>
                <a:gd name="T12" fmla="*/ 241 w 817"/>
                <a:gd name="T13" fmla="*/ 233 h 837"/>
                <a:gd name="T14" fmla="*/ 194 w 817"/>
                <a:gd name="T15" fmla="*/ 311 h 837"/>
                <a:gd name="T16" fmla="*/ 175 w 817"/>
                <a:gd name="T17" fmla="*/ 408 h 837"/>
                <a:gd name="T18" fmla="*/ 175 w 817"/>
                <a:gd name="T19" fmla="*/ 836 h 837"/>
                <a:gd name="T20" fmla="*/ 0 w 817"/>
                <a:gd name="T21" fmla="*/ 836 h 837"/>
                <a:gd name="T22" fmla="*/ 0 w 817"/>
                <a:gd name="T23" fmla="*/ 11 h 837"/>
                <a:gd name="T24" fmla="*/ 161 w 817"/>
                <a:gd name="T25" fmla="*/ 11 h 837"/>
                <a:gd name="T26" fmla="*/ 172 w 817"/>
                <a:gd name="T27" fmla="*/ 133 h 837"/>
                <a:gd name="T28" fmla="*/ 455 w 817"/>
                <a:gd name="T29" fmla="*/ 0 h 837"/>
                <a:gd name="T30" fmla="*/ 597 w 817"/>
                <a:gd name="T31" fmla="*/ 25 h 837"/>
                <a:gd name="T32" fmla="*/ 711 w 817"/>
                <a:gd name="T33" fmla="*/ 103 h 837"/>
                <a:gd name="T34" fmla="*/ 788 w 817"/>
                <a:gd name="T35" fmla="*/ 225 h 837"/>
                <a:gd name="T36" fmla="*/ 816 w 817"/>
                <a:gd name="T37" fmla="*/ 394 h 837"/>
                <a:gd name="T38" fmla="*/ 816 w 817"/>
                <a:gd name="T39" fmla="*/ 836 h 837"/>
                <a:gd name="T40" fmla="*/ 638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8" y="836"/>
                  </a:moveTo>
                  <a:lnTo>
                    <a:pt x="638" y="836"/>
                  </a:lnTo>
                  <a:cubicBezTo>
                    <a:pt x="638" y="397"/>
                    <a:pt x="638" y="397"/>
                    <a:pt x="638" y="397"/>
                  </a:cubicBezTo>
                  <a:cubicBezTo>
                    <a:pt x="638" y="325"/>
                    <a:pt x="619" y="269"/>
                    <a:pt x="580" y="225"/>
                  </a:cubicBezTo>
                  <a:cubicBezTo>
                    <a:pt x="541" y="183"/>
                    <a:pt x="483" y="161"/>
                    <a:pt x="411" y="161"/>
                  </a:cubicBezTo>
                  <a:cubicBezTo>
                    <a:pt x="375" y="161"/>
                    <a:pt x="344" y="166"/>
                    <a:pt x="313" y="180"/>
                  </a:cubicBezTo>
                  <a:cubicBezTo>
                    <a:pt x="286" y="191"/>
                    <a:pt x="261" y="211"/>
                    <a:pt x="241" y="233"/>
                  </a:cubicBezTo>
                  <a:cubicBezTo>
                    <a:pt x="219" y="255"/>
                    <a:pt x="205" y="283"/>
                    <a:pt x="194" y="311"/>
                  </a:cubicBezTo>
                  <a:cubicBezTo>
                    <a:pt x="180" y="341"/>
                    <a:pt x="175" y="375"/>
                    <a:pt x="175" y="408"/>
                  </a:cubicBezTo>
                  <a:cubicBezTo>
                    <a:pt x="175" y="836"/>
                    <a:pt x="175" y="836"/>
                    <a:pt x="175" y="836"/>
                  </a:cubicBezTo>
                  <a:cubicBezTo>
                    <a:pt x="0" y="836"/>
                    <a:pt x="0" y="836"/>
                    <a:pt x="0" y="836"/>
                  </a:cubicBezTo>
                  <a:cubicBezTo>
                    <a:pt x="0" y="11"/>
                    <a:pt x="0" y="11"/>
                    <a:pt x="0" y="11"/>
                  </a:cubicBezTo>
                  <a:cubicBezTo>
                    <a:pt x="161" y="11"/>
                    <a:pt x="161" y="11"/>
                    <a:pt x="161" y="11"/>
                  </a:cubicBezTo>
                  <a:cubicBezTo>
                    <a:pt x="172" y="133"/>
                    <a:pt x="172" y="133"/>
                    <a:pt x="172" y="133"/>
                  </a:cubicBezTo>
                  <a:cubicBezTo>
                    <a:pt x="250" y="44"/>
                    <a:pt x="344" y="0"/>
                    <a:pt x="455" y="0"/>
                  </a:cubicBezTo>
                  <a:cubicBezTo>
                    <a:pt x="505" y="0"/>
                    <a:pt x="552" y="8"/>
                    <a:pt x="597" y="25"/>
                  </a:cubicBezTo>
                  <a:cubicBezTo>
                    <a:pt x="641" y="44"/>
                    <a:pt x="677" y="69"/>
                    <a:pt x="711" y="103"/>
                  </a:cubicBezTo>
                  <a:cubicBezTo>
                    <a:pt x="744" y="136"/>
                    <a:pt x="769" y="178"/>
                    <a:pt x="788" y="225"/>
                  </a:cubicBezTo>
                  <a:cubicBezTo>
                    <a:pt x="808" y="275"/>
                    <a:pt x="816" y="330"/>
                    <a:pt x="816" y="394"/>
                  </a:cubicBezTo>
                  <a:cubicBezTo>
                    <a:pt x="816" y="836"/>
                    <a:pt x="816" y="836"/>
                    <a:pt x="816" y="836"/>
                  </a:cubicBezTo>
                  <a:lnTo>
                    <a:pt x="638"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0" name="Freeform 17">
              <a:extLst>
                <a:ext uri="{FF2B5EF4-FFF2-40B4-BE49-F238E27FC236}">
                  <a16:creationId xmlns:a16="http://schemas.microsoft.com/office/drawing/2014/main" id="{87609B4C-8025-C048-93ED-1B2FCED70675}"/>
                </a:ext>
              </a:extLst>
            </p:cNvPr>
            <p:cNvSpPr>
              <a:spLocks noChangeArrowheads="1"/>
            </p:cNvSpPr>
            <p:nvPr userDrawn="1"/>
          </p:nvSpPr>
          <p:spPr bwMode="auto">
            <a:xfrm>
              <a:off x="7440613" y="3141663"/>
              <a:ext cx="274637" cy="311150"/>
            </a:xfrm>
            <a:custGeom>
              <a:avLst/>
              <a:gdLst>
                <a:gd name="T0" fmla="*/ 761 w 762"/>
                <a:gd name="T1" fmla="*/ 736 h 865"/>
                <a:gd name="T2" fmla="*/ 761 w 762"/>
                <a:gd name="T3" fmla="*/ 736 h 865"/>
                <a:gd name="T4" fmla="*/ 614 w 762"/>
                <a:gd name="T5" fmla="*/ 833 h 865"/>
                <a:gd name="T6" fmla="*/ 442 w 762"/>
                <a:gd name="T7" fmla="*/ 864 h 865"/>
                <a:gd name="T8" fmla="*/ 272 w 762"/>
                <a:gd name="T9" fmla="*/ 836 h 865"/>
                <a:gd name="T10" fmla="*/ 131 w 762"/>
                <a:gd name="T11" fmla="*/ 756 h 865"/>
                <a:gd name="T12" fmla="*/ 34 w 762"/>
                <a:gd name="T13" fmla="*/ 620 h 865"/>
                <a:gd name="T14" fmla="*/ 0 w 762"/>
                <a:gd name="T15" fmla="*/ 431 h 865"/>
                <a:gd name="T16" fmla="*/ 34 w 762"/>
                <a:gd name="T17" fmla="*/ 245 h 865"/>
                <a:gd name="T18" fmla="*/ 131 w 762"/>
                <a:gd name="T19" fmla="*/ 109 h 865"/>
                <a:gd name="T20" fmla="*/ 270 w 762"/>
                <a:gd name="T21" fmla="*/ 28 h 865"/>
                <a:gd name="T22" fmla="*/ 442 w 762"/>
                <a:gd name="T23" fmla="*/ 0 h 865"/>
                <a:gd name="T24" fmla="*/ 603 w 762"/>
                <a:gd name="T25" fmla="*/ 28 h 865"/>
                <a:gd name="T26" fmla="*/ 747 w 762"/>
                <a:gd name="T27" fmla="*/ 122 h 865"/>
                <a:gd name="T28" fmla="*/ 633 w 762"/>
                <a:gd name="T29" fmla="*/ 236 h 865"/>
                <a:gd name="T30" fmla="*/ 545 w 762"/>
                <a:gd name="T31" fmla="*/ 181 h 865"/>
                <a:gd name="T32" fmla="*/ 445 w 762"/>
                <a:gd name="T33" fmla="*/ 164 h 865"/>
                <a:gd name="T34" fmla="*/ 339 w 762"/>
                <a:gd name="T35" fmla="*/ 181 h 865"/>
                <a:gd name="T36" fmla="*/ 253 w 762"/>
                <a:gd name="T37" fmla="*/ 236 h 865"/>
                <a:gd name="T38" fmla="*/ 195 w 762"/>
                <a:gd name="T39" fmla="*/ 320 h 865"/>
                <a:gd name="T40" fmla="*/ 175 w 762"/>
                <a:gd name="T41" fmla="*/ 431 h 865"/>
                <a:gd name="T42" fmla="*/ 197 w 762"/>
                <a:gd name="T43" fmla="*/ 547 h 865"/>
                <a:gd name="T44" fmla="*/ 253 w 762"/>
                <a:gd name="T45" fmla="*/ 631 h 865"/>
                <a:gd name="T46" fmla="*/ 339 w 762"/>
                <a:gd name="T47" fmla="*/ 681 h 865"/>
                <a:gd name="T48" fmla="*/ 442 w 762"/>
                <a:gd name="T49" fmla="*/ 697 h 865"/>
                <a:gd name="T50" fmla="*/ 550 w 762"/>
                <a:gd name="T51" fmla="*/ 681 h 865"/>
                <a:gd name="T52" fmla="*/ 642 w 762"/>
                <a:gd name="T53" fmla="*/ 620 h 865"/>
                <a:gd name="T54" fmla="*/ 761 w 762"/>
                <a:gd name="T55" fmla="*/ 736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62" h="865">
                  <a:moveTo>
                    <a:pt x="761" y="736"/>
                  </a:moveTo>
                  <a:lnTo>
                    <a:pt x="761" y="736"/>
                  </a:lnTo>
                  <a:cubicBezTo>
                    <a:pt x="714" y="781"/>
                    <a:pt x="664" y="814"/>
                    <a:pt x="614" y="833"/>
                  </a:cubicBezTo>
                  <a:cubicBezTo>
                    <a:pt x="561" y="856"/>
                    <a:pt x="503" y="864"/>
                    <a:pt x="442" y="864"/>
                  </a:cubicBezTo>
                  <a:cubicBezTo>
                    <a:pt x="383" y="864"/>
                    <a:pt x="325" y="856"/>
                    <a:pt x="272" y="836"/>
                  </a:cubicBezTo>
                  <a:cubicBezTo>
                    <a:pt x="217" y="820"/>
                    <a:pt x="170" y="792"/>
                    <a:pt x="131" y="756"/>
                  </a:cubicBezTo>
                  <a:cubicBezTo>
                    <a:pt x="89" y="720"/>
                    <a:pt x="58" y="675"/>
                    <a:pt x="34" y="620"/>
                  </a:cubicBezTo>
                  <a:cubicBezTo>
                    <a:pt x="11" y="567"/>
                    <a:pt x="0" y="503"/>
                    <a:pt x="0" y="431"/>
                  </a:cubicBezTo>
                  <a:cubicBezTo>
                    <a:pt x="0" y="361"/>
                    <a:pt x="11" y="297"/>
                    <a:pt x="34" y="245"/>
                  </a:cubicBezTo>
                  <a:cubicBezTo>
                    <a:pt x="58" y="189"/>
                    <a:pt x="89" y="145"/>
                    <a:pt x="131" y="109"/>
                  </a:cubicBezTo>
                  <a:cubicBezTo>
                    <a:pt x="170" y="72"/>
                    <a:pt x="217" y="45"/>
                    <a:pt x="270" y="28"/>
                  </a:cubicBezTo>
                  <a:cubicBezTo>
                    <a:pt x="325" y="9"/>
                    <a:pt x="381" y="0"/>
                    <a:pt x="442" y="0"/>
                  </a:cubicBezTo>
                  <a:cubicBezTo>
                    <a:pt x="500" y="0"/>
                    <a:pt x="556" y="9"/>
                    <a:pt x="603" y="28"/>
                  </a:cubicBezTo>
                  <a:cubicBezTo>
                    <a:pt x="653" y="47"/>
                    <a:pt x="700" y="78"/>
                    <a:pt x="747" y="122"/>
                  </a:cubicBezTo>
                  <a:cubicBezTo>
                    <a:pt x="633" y="236"/>
                    <a:pt x="633" y="236"/>
                    <a:pt x="633" y="236"/>
                  </a:cubicBezTo>
                  <a:cubicBezTo>
                    <a:pt x="608" y="211"/>
                    <a:pt x="578" y="192"/>
                    <a:pt x="545" y="181"/>
                  </a:cubicBezTo>
                  <a:cubicBezTo>
                    <a:pt x="511" y="170"/>
                    <a:pt x="478" y="164"/>
                    <a:pt x="445" y="164"/>
                  </a:cubicBezTo>
                  <a:cubicBezTo>
                    <a:pt x="406" y="164"/>
                    <a:pt x="372" y="170"/>
                    <a:pt x="339" y="181"/>
                  </a:cubicBezTo>
                  <a:cubicBezTo>
                    <a:pt x="306" y="195"/>
                    <a:pt x="278" y="214"/>
                    <a:pt x="253" y="236"/>
                  </a:cubicBezTo>
                  <a:cubicBezTo>
                    <a:pt x="228" y="259"/>
                    <a:pt x="209" y="289"/>
                    <a:pt x="195" y="320"/>
                  </a:cubicBezTo>
                  <a:cubicBezTo>
                    <a:pt x="181" y="353"/>
                    <a:pt x="175" y="392"/>
                    <a:pt x="175" y="431"/>
                  </a:cubicBezTo>
                  <a:cubicBezTo>
                    <a:pt x="175" y="475"/>
                    <a:pt x="181" y="514"/>
                    <a:pt x="197" y="547"/>
                  </a:cubicBezTo>
                  <a:cubicBezTo>
                    <a:pt x="211" y="578"/>
                    <a:pt x="231" y="606"/>
                    <a:pt x="253" y="631"/>
                  </a:cubicBezTo>
                  <a:cubicBezTo>
                    <a:pt x="278" y="653"/>
                    <a:pt x="309" y="670"/>
                    <a:pt x="339" y="681"/>
                  </a:cubicBezTo>
                  <a:cubicBezTo>
                    <a:pt x="372" y="692"/>
                    <a:pt x="406" y="697"/>
                    <a:pt x="442" y="697"/>
                  </a:cubicBezTo>
                  <a:cubicBezTo>
                    <a:pt x="478" y="697"/>
                    <a:pt x="514" y="692"/>
                    <a:pt x="550" y="681"/>
                  </a:cubicBezTo>
                  <a:cubicBezTo>
                    <a:pt x="583" y="670"/>
                    <a:pt x="614" y="647"/>
                    <a:pt x="642" y="620"/>
                  </a:cubicBezTo>
                  <a:lnTo>
                    <a:pt x="761" y="7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1" name="Freeform 18">
              <a:extLst>
                <a:ext uri="{FF2B5EF4-FFF2-40B4-BE49-F238E27FC236}">
                  <a16:creationId xmlns:a16="http://schemas.microsoft.com/office/drawing/2014/main" id="{9BE5CECE-76E7-FC4D-B5AF-D21157C162A8}"/>
                </a:ext>
              </a:extLst>
            </p:cNvPr>
            <p:cNvSpPr>
              <a:spLocks noChangeArrowheads="1"/>
            </p:cNvSpPr>
            <p:nvPr userDrawn="1"/>
          </p:nvSpPr>
          <p:spPr bwMode="auto">
            <a:xfrm>
              <a:off x="7747000" y="3141663"/>
              <a:ext cx="314325" cy="312737"/>
            </a:xfrm>
            <a:custGeom>
              <a:avLst/>
              <a:gdLst>
                <a:gd name="T0" fmla="*/ 864 w 873"/>
                <a:gd name="T1" fmla="*/ 498 h 868"/>
                <a:gd name="T2" fmla="*/ 864 w 873"/>
                <a:gd name="T3" fmla="*/ 498 h 868"/>
                <a:gd name="T4" fmla="*/ 181 w 873"/>
                <a:gd name="T5" fmla="*/ 498 h 868"/>
                <a:gd name="T6" fmla="*/ 267 w 873"/>
                <a:gd name="T7" fmla="*/ 650 h 868"/>
                <a:gd name="T8" fmla="*/ 456 w 873"/>
                <a:gd name="T9" fmla="*/ 706 h 868"/>
                <a:gd name="T10" fmla="*/ 592 w 873"/>
                <a:gd name="T11" fmla="*/ 684 h 868"/>
                <a:gd name="T12" fmla="*/ 700 w 873"/>
                <a:gd name="T13" fmla="*/ 617 h 868"/>
                <a:gd name="T14" fmla="*/ 817 w 873"/>
                <a:gd name="T15" fmla="*/ 725 h 868"/>
                <a:gd name="T16" fmla="*/ 739 w 873"/>
                <a:gd name="T17" fmla="*/ 786 h 868"/>
                <a:gd name="T18" fmla="*/ 650 w 873"/>
                <a:gd name="T19" fmla="*/ 831 h 868"/>
                <a:gd name="T20" fmla="*/ 553 w 873"/>
                <a:gd name="T21" fmla="*/ 859 h 868"/>
                <a:gd name="T22" fmla="*/ 453 w 873"/>
                <a:gd name="T23" fmla="*/ 867 h 868"/>
                <a:gd name="T24" fmla="*/ 267 w 873"/>
                <a:gd name="T25" fmla="*/ 836 h 868"/>
                <a:gd name="T26" fmla="*/ 122 w 873"/>
                <a:gd name="T27" fmla="*/ 748 h 868"/>
                <a:gd name="T28" fmla="*/ 31 w 873"/>
                <a:gd name="T29" fmla="*/ 609 h 868"/>
                <a:gd name="T30" fmla="*/ 0 w 873"/>
                <a:gd name="T31" fmla="*/ 431 h 868"/>
                <a:gd name="T32" fmla="*/ 31 w 873"/>
                <a:gd name="T33" fmla="*/ 256 h 868"/>
                <a:gd name="T34" fmla="*/ 122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4 w 873"/>
                <a:gd name="T53" fmla="*/ 353 h 868"/>
                <a:gd name="T54" fmla="*/ 619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1" y="498"/>
                    <a:pt x="181" y="498"/>
                    <a:pt x="181" y="498"/>
                  </a:cubicBezTo>
                  <a:cubicBezTo>
                    <a:pt x="189" y="562"/>
                    <a:pt x="219" y="611"/>
                    <a:pt x="267" y="650"/>
                  </a:cubicBezTo>
                  <a:cubicBezTo>
                    <a:pt x="317" y="686"/>
                    <a:pt x="381" y="706"/>
                    <a:pt x="456" y="706"/>
                  </a:cubicBezTo>
                  <a:cubicBezTo>
                    <a:pt x="500" y="706"/>
                    <a:pt x="544" y="698"/>
                    <a:pt x="592" y="684"/>
                  </a:cubicBezTo>
                  <a:cubicBezTo>
                    <a:pt x="639" y="667"/>
                    <a:pt x="675" y="645"/>
                    <a:pt x="700" y="617"/>
                  </a:cubicBezTo>
                  <a:cubicBezTo>
                    <a:pt x="817" y="725"/>
                    <a:pt x="817" y="725"/>
                    <a:pt x="817" y="725"/>
                  </a:cubicBezTo>
                  <a:cubicBezTo>
                    <a:pt x="794" y="750"/>
                    <a:pt x="769" y="770"/>
                    <a:pt x="739" y="786"/>
                  </a:cubicBezTo>
                  <a:cubicBezTo>
                    <a:pt x="711" y="806"/>
                    <a:pt x="681" y="820"/>
                    <a:pt x="650" y="831"/>
                  </a:cubicBezTo>
                  <a:cubicBezTo>
                    <a:pt x="619" y="845"/>
                    <a:pt x="586" y="853"/>
                    <a:pt x="553" y="859"/>
                  </a:cubicBezTo>
                  <a:cubicBezTo>
                    <a:pt x="519" y="864"/>
                    <a:pt x="486" y="867"/>
                    <a:pt x="453" y="867"/>
                  </a:cubicBezTo>
                  <a:cubicBezTo>
                    <a:pt x="383" y="867"/>
                    <a:pt x="322" y="856"/>
                    <a:pt x="267" y="836"/>
                  </a:cubicBezTo>
                  <a:cubicBezTo>
                    <a:pt x="208" y="814"/>
                    <a:pt x="161" y="786"/>
                    <a:pt x="122" y="748"/>
                  </a:cubicBezTo>
                  <a:cubicBezTo>
                    <a:pt x="83" y="709"/>
                    <a:pt x="53" y="664"/>
                    <a:pt x="31" y="609"/>
                  </a:cubicBezTo>
                  <a:cubicBezTo>
                    <a:pt x="11" y="556"/>
                    <a:pt x="0" y="495"/>
                    <a:pt x="0" y="431"/>
                  </a:cubicBezTo>
                  <a:cubicBezTo>
                    <a:pt x="0" y="367"/>
                    <a:pt x="11" y="309"/>
                    <a:pt x="31" y="256"/>
                  </a:cubicBezTo>
                  <a:cubicBezTo>
                    <a:pt x="53" y="203"/>
                    <a:pt x="83" y="159"/>
                    <a:pt x="122" y="120"/>
                  </a:cubicBezTo>
                  <a:cubicBezTo>
                    <a:pt x="161" y="84"/>
                    <a:pt x="208" y="53"/>
                    <a:pt x="261" y="31"/>
                  </a:cubicBezTo>
                  <a:cubicBezTo>
                    <a:pt x="314" y="12"/>
                    <a:pt x="375" y="0"/>
                    <a:pt x="442" y="0"/>
                  </a:cubicBezTo>
                  <a:cubicBezTo>
                    <a:pt x="508" y="0"/>
                    <a:pt x="572" y="12"/>
                    <a:pt x="628" y="31"/>
                  </a:cubicBezTo>
                  <a:cubicBezTo>
                    <a:pt x="681" y="53"/>
                    <a:pt x="728" y="84"/>
                    <a:pt x="767" y="125"/>
                  </a:cubicBezTo>
                  <a:cubicBezTo>
                    <a:pt x="806" y="164"/>
                    <a:pt x="833" y="217"/>
                    <a:pt x="850" y="278"/>
                  </a:cubicBezTo>
                  <a:cubicBezTo>
                    <a:pt x="867" y="342"/>
                    <a:pt x="872" y="414"/>
                    <a:pt x="864" y="498"/>
                  </a:cubicBezTo>
                  <a:lnTo>
                    <a:pt x="186" y="353"/>
                  </a:lnTo>
                  <a:lnTo>
                    <a:pt x="186" y="353"/>
                  </a:lnTo>
                  <a:cubicBezTo>
                    <a:pt x="694" y="353"/>
                    <a:pt x="694" y="353"/>
                    <a:pt x="694" y="353"/>
                  </a:cubicBezTo>
                  <a:cubicBezTo>
                    <a:pt x="689" y="287"/>
                    <a:pt x="664" y="236"/>
                    <a:pt x="619" y="203"/>
                  </a:cubicBezTo>
                  <a:cubicBezTo>
                    <a:pt x="575" y="170"/>
                    <a:pt x="519" y="153"/>
                    <a:pt x="447" y="153"/>
                  </a:cubicBezTo>
                  <a:cubicBezTo>
                    <a:pt x="381"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2" name="Freeform 19">
              <a:extLst>
                <a:ext uri="{FF2B5EF4-FFF2-40B4-BE49-F238E27FC236}">
                  <a16:creationId xmlns:a16="http://schemas.microsoft.com/office/drawing/2014/main" id="{435AF856-D4F8-3541-860A-32D295D56D23}"/>
                </a:ext>
              </a:extLst>
            </p:cNvPr>
            <p:cNvSpPr>
              <a:spLocks noChangeArrowheads="1"/>
            </p:cNvSpPr>
            <p:nvPr userDrawn="1"/>
          </p:nvSpPr>
          <p:spPr bwMode="auto">
            <a:xfrm>
              <a:off x="1828800" y="3743325"/>
              <a:ext cx="323850" cy="311150"/>
            </a:xfrm>
            <a:custGeom>
              <a:avLst/>
              <a:gdLst>
                <a:gd name="T0" fmla="*/ 722 w 901"/>
                <a:gd name="T1" fmla="*/ 147 h 865"/>
                <a:gd name="T2" fmla="*/ 722 w 901"/>
                <a:gd name="T3" fmla="*/ 147 h 865"/>
                <a:gd name="T4" fmla="*/ 728 w 901"/>
                <a:gd name="T5" fmla="*/ 17 h 865"/>
                <a:gd name="T6" fmla="*/ 900 w 901"/>
                <a:gd name="T7" fmla="*/ 17 h 865"/>
                <a:gd name="T8" fmla="*/ 900 w 901"/>
                <a:gd name="T9" fmla="*/ 842 h 865"/>
                <a:gd name="T10" fmla="*/ 731 w 901"/>
                <a:gd name="T11" fmla="*/ 842 h 865"/>
                <a:gd name="T12" fmla="*/ 722 w 901"/>
                <a:gd name="T13" fmla="*/ 709 h 865"/>
                <a:gd name="T14" fmla="*/ 669 w 901"/>
                <a:gd name="T15" fmla="*/ 778 h 865"/>
                <a:gd name="T16" fmla="*/ 597 w 901"/>
                <a:gd name="T17" fmla="*/ 825 h 865"/>
                <a:gd name="T18" fmla="*/ 514 w 901"/>
                <a:gd name="T19" fmla="*/ 856 h 865"/>
                <a:gd name="T20" fmla="*/ 433 w 901"/>
                <a:gd name="T21" fmla="*/ 864 h 865"/>
                <a:gd name="T22" fmla="*/ 261 w 901"/>
                <a:gd name="T23" fmla="*/ 836 h 865"/>
                <a:gd name="T24" fmla="*/ 125 w 901"/>
                <a:gd name="T25" fmla="*/ 753 h 865"/>
                <a:gd name="T26" fmla="*/ 33 w 901"/>
                <a:gd name="T27" fmla="*/ 617 h 865"/>
                <a:gd name="T28" fmla="*/ 0 w 901"/>
                <a:gd name="T29" fmla="*/ 428 h 865"/>
                <a:gd name="T30" fmla="*/ 36 w 901"/>
                <a:gd name="T31" fmla="*/ 245 h 865"/>
                <a:gd name="T32" fmla="*/ 128 w 901"/>
                <a:gd name="T33" fmla="*/ 111 h 865"/>
                <a:gd name="T34" fmla="*/ 267 w 901"/>
                <a:gd name="T35" fmla="*/ 28 h 865"/>
                <a:gd name="T36" fmla="*/ 436 w 901"/>
                <a:gd name="T37" fmla="*/ 0 h 865"/>
                <a:gd name="T38" fmla="*/ 606 w 901"/>
                <a:gd name="T39" fmla="*/ 39 h 865"/>
                <a:gd name="T40" fmla="*/ 722 w 901"/>
                <a:gd name="T41" fmla="*/ 147 h 865"/>
                <a:gd name="T42" fmla="*/ 450 w 901"/>
                <a:gd name="T43" fmla="*/ 156 h 865"/>
                <a:gd name="T44" fmla="*/ 450 w 901"/>
                <a:gd name="T45" fmla="*/ 156 h 865"/>
                <a:gd name="T46" fmla="*/ 344 w 901"/>
                <a:gd name="T47" fmla="*/ 175 h 865"/>
                <a:gd name="T48" fmla="*/ 258 w 901"/>
                <a:gd name="T49" fmla="*/ 231 h 865"/>
                <a:gd name="T50" fmla="*/ 197 w 901"/>
                <a:gd name="T51" fmla="*/ 317 h 865"/>
                <a:gd name="T52" fmla="*/ 178 w 901"/>
                <a:gd name="T53" fmla="*/ 428 h 865"/>
                <a:gd name="T54" fmla="*/ 197 w 901"/>
                <a:gd name="T55" fmla="*/ 545 h 865"/>
                <a:gd name="T56" fmla="*/ 258 w 901"/>
                <a:gd name="T57" fmla="*/ 631 h 865"/>
                <a:gd name="T58" fmla="*/ 344 w 901"/>
                <a:gd name="T59" fmla="*/ 684 h 865"/>
                <a:gd name="T60" fmla="*/ 450 w 901"/>
                <a:gd name="T61" fmla="*/ 703 h 865"/>
                <a:gd name="T62" fmla="*/ 600 w 901"/>
                <a:gd name="T63" fmla="*/ 664 h 865"/>
                <a:gd name="T64" fmla="*/ 692 w 901"/>
                <a:gd name="T65" fmla="*/ 561 h 865"/>
                <a:gd name="T66" fmla="*/ 722 w 901"/>
                <a:gd name="T67" fmla="*/ 431 h 865"/>
                <a:gd name="T68" fmla="*/ 692 w 901"/>
                <a:gd name="T69" fmla="*/ 298 h 865"/>
                <a:gd name="T70" fmla="*/ 600 w 901"/>
                <a:gd name="T71" fmla="*/ 198 h 865"/>
                <a:gd name="T72" fmla="*/ 450 w 901"/>
                <a:gd name="T73" fmla="*/ 156 h 865"/>
                <a:gd name="T74" fmla="*/ 722 w 901"/>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1" h="865">
                  <a:moveTo>
                    <a:pt x="722" y="147"/>
                  </a:moveTo>
                  <a:lnTo>
                    <a:pt x="722" y="147"/>
                  </a:lnTo>
                  <a:cubicBezTo>
                    <a:pt x="728" y="17"/>
                    <a:pt x="728" y="17"/>
                    <a:pt x="728" y="17"/>
                  </a:cubicBezTo>
                  <a:cubicBezTo>
                    <a:pt x="900" y="17"/>
                    <a:pt x="900" y="17"/>
                    <a:pt x="900" y="17"/>
                  </a:cubicBezTo>
                  <a:cubicBezTo>
                    <a:pt x="900" y="842"/>
                    <a:pt x="900" y="842"/>
                    <a:pt x="900" y="842"/>
                  </a:cubicBezTo>
                  <a:cubicBezTo>
                    <a:pt x="731" y="842"/>
                    <a:pt x="731" y="842"/>
                    <a:pt x="731" y="842"/>
                  </a:cubicBezTo>
                  <a:cubicBezTo>
                    <a:pt x="722" y="709"/>
                    <a:pt x="722" y="709"/>
                    <a:pt x="722" y="709"/>
                  </a:cubicBezTo>
                  <a:cubicBezTo>
                    <a:pt x="708" y="736"/>
                    <a:pt x="692" y="759"/>
                    <a:pt x="669" y="778"/>
                  </a:cubicBezTo>
                  <a:cubicBezTo>
                    <a:pt x="647" y="797"/>
                    <a:pt x="622" y="814"/>
                    <a:pt x="597" y="825"/>
                  </a:cubicBezTo>
                  <a:cubicBezTo>
                    <a:pt x="569" y="839"/>
                    <a:pt x="542" y="847"/>
                    <a:pt x="514" y="856"/>
                  </a:cubicBezTo>
                  <a:cubicBezTo>
                    <a:pt x="486" y="861"/>
                    <a:pt x="458" y="864"/>
                    <a:pt x="433" y="864"/>
                  </a:cubicBezTo>
                  <a:cubicBezTo>
                    <a:pt x="372" y="864"/>
                    <a:pt x="314" y="853"/>
                    <a:pt x="261" y="836"/>
                  </a:cubicBezTo>
                  <a:cubicBezTo>
                    <a:pt x="208" y="817"/>
                    <a:pt x="164" y="789"/>
                    <a:pt x="125" y="753"/>
                  </a:cubicBezTo>
                  <a:cubicBezTo>
                    <a:pt x="86" y="714"/>
                    <a:pt x="56" y="670"/>
                    <a:pt x="33" y="617"/>
                  </a:cubicBezTo>
                  <a:cubicBezTo>
                    <a:pt x="11" y="561"/>
                    <a:pt x="0" y="500"/>
                    <a:pt x="0" y="428"/>
                  </a:cubicBezTo>
                  <a:cubicBezTo>
                    <a:pt x="0" y="361"/>
                    <a:pt x="11" y="300"/>
                    <a:pt x="36" y="245"/>
                  </a:cubicBezTo>
                  <a:cubicBezTo>
                    <a:pt x="58" y="192"/>
                    <a:pt x="89" y="147"/>
                    <a:pt x="128" y="111"/>
                  </a:cubicBezTo>
                  <a:cubicBezTo>
                    <a:pt x="167" y="75"/>
                    <a:pt x="214" y="48"/>
                    <a:pt x="267" y="28"/>
                  </a:cubicBezTo>
                  <a:cubicBezTo>
                    <a:pt x="319" y="9"/>
                    <a:pt x="375" y="0"/>
                    <a:pt x="436" y="0"/>
                  </a:cubicBezTo>
                  <a:cubicBezTo>
                    <a:pt x="497" y="0"/>
                    <a:pt x="553" y="14"/>
                    <a:pt x="606" y="39"/>
                  </a:cubicBezTo>
                  <a:cubicBezTo>
                    <a:pt x="658" y="64"/>
                    <a:pt x="697" y="103"/>
                    <a:pt x="722" y="147"/>
                  </a:cubicBezTo>
                  <a:lnTo>
                    <a:pt x="450" y="156"/>
                  </a:lnTo>
                  <a:lnTo>
                    <a:pt x="450" y="156"/>
                  </a:lnTo>
                  <a:cubicBezTo>
                    <a:pt x="414" y="156"/>
                    <a:pt x="378" y="164"/>
                    <a:pt x="344" y="175"/>
                  </a:cubicBezTo>
                  <a:cubicBezTo>
                    <a:pt x="311" y="189"/>
                    <a:pt x="283" y="206"/>
                    <a:pt x="258" y="231"/>
                  </a:cubicBezTo>
                  <a:cubicBezTo>
                    <a:pt x="233" y="253"/>
                    <a:pt x="211" y="284"/>
                    <a:pt x="197" y="317"/>
                  </a:cubicBezTo>
                  <a:cubicBezTo>
                    <a:pt x="183" y="350"/>
                    <a:pt x="178" y="386"/>
                    <a:pt x="178" y="428"/>
                  </a:cubicBezTo>
                  <a:cubicBezTo>
                    <a:pt x="178" y="472"/>
                    <a:pt x="183" y="509"/>
                    <a:pt x="197" y="545"/>
                  </a:cubicBezTo>
                  <a:cubicBezTo>
                    <a:pt x="211" y="578"/>
                    <a:pt x="233" y="606"/>
                    <a:pt x="258" y="631"/>
                  </a:cubicBezTo>
                  <a:cubicBezTo>
                    <a:pt x="283" y="653"/>
                    <a:pt x="311" y="672"/>
                    <a:pt x="344" y="684"/>
                  </a:cubicBezTo>
                  <a:cubicBezTo>
                    <a:pt x="378" y="698"/>
                    <a:pt x="414" y="703"/>
                    <a:pt x="450" y="703"/>
                  </a:cubicBezTo>
                  <a:cubicBezTo>
                    <a:pt x="511" y="703"/>
                    <a:pt x="561" y="689"/>
                    <a:pt x="600" y="664"/>
                  </a:cubicBezTo>
                  <a:cubicBezTo>
                    <a:pt x="642" y="636"/>
                    <a:pt x="672" y="603"/>
                    <a:pt x="692" y="561"/>
                  </a:cubicBezTo>
                  <a:cubicBezTo>
                    <a:pt x="714" y="522"/>
                    <a:pt x="722" y="478"/>
                    <a:pt x="722" y="431"/>
                  </a:cubicBezTo>
                  <a:cubicBezTo>
                    <a:pt x="722" y="384"/>
                    <a:pt x="714" y="339"/>
                    <a:pt x="692" y="298"/>
                  </a:cubicBezTo>
                  <a:cubicBezTo>
                    <a:pt x="672" y="259"/>
                    <a:pt x="642" y="223"/>
                    <a:pt x="600" y="198"/>
                  </a:cubicBezTo>
                  <a:cubicBezTo>
                    <a:pt x="561" y="170"/>
                    <a:pt x="511"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3" name="Freeform 20">
              <a:extLst>
                <a:ext uri="{FF2B5EF4-FFF2-40B4-BE49-F238E27FC236}">
                  <a16:creationId xmlns:a16="http://schemas.microsoft.com/office/drawing/2014/main" id="{46ABC618-DCB1-8A44-999F-D33CDE3BFDFA}"/>
                </a:ext>
              </a:extLst>
            </p:cNvPr>
            <p:cNvSpPr>
              <a:spLocks noChangeArrowheads="1"/>
            </p:cNvSpPr>
            <p:nvPr userDrawn="1"/>
          </p:nvSpPr>
          <p:spPr bwMode="auto">
            <a:xfrm>
              <a:off x="2214563" y="3743325"/>
              <a:ext cx="266700" cy="312738"/>
            </a:xfrm>
            <a:custGeom>
              <a:avLst/>
              <a:gdLst>
                <a:gd name="T0" fmla="*/ 603 w 743"/>
                <a:gd name="T1" fmla="*/ 222 h 870"/>
                <a:gd name="T2" fmla="*/ 603 w 743"/>
                <a:gd name="T3" fmla="*/ 222 h 870"/>
                <a:gd name="T4" fmla="*/ 500 w 743"/>
                <a:gd name="T5" fmla="*/ 161 h 870"/>
                <a:gd name="T6" fmla="*/ 381 w 743"/>
                <a:gd name="T7" fmla="*/ 147 h 870"/>
                <a:gd name="T8" fmla="*/ 250 w 743"/>
                <a:gd name="T9" fmla="*/ 169 h 870"/>
                <a:gd name="T10" fmla="*/ 203 w 743"/>
                <a:gd name="T11" fmla="*/ 244 h 870"/>
                <a:gd name="T12" fmla="*/ 253 w 743"/>
                <a:gd name="T13" fmla="*/ 319 h 870"/>
                <a:gd name="T14" fmla="*/ 386 w 743"/>
                <a:gd name="T15" fmla="*/ 349 h 870"/>
                <a:gd name="T16" fmla="*/ 506 w 743"/>
                <a:gd name="T17" fmla="*/ 366 h 870"/>
                <a:gd name="T18" fmla="*/ 622 w 743"/>
                <a:gd name="T19" fmla="*/ 405 h 870"/>
                <a:gd name="T20" fmla="*/ 708 w 743"/>
                <a:gd name="T21" fmla="*/ 480 h 870"/>
                <a:gd name="T22" fmla="*/ 742 w 743"/>
                <a:gd name="T23" fmla="*/ 608 h 870"/>
                <a:gd name="T24" fmla="*/ 717 w 743"/>
                <a:gd name="T25" fmla="*/ 713 h 870"/>
                <a:gd name="T26" fmla="*/ 645 w 743"/>
                <a:gd name="T27" fmla="*/ 797 h 870"/>
                <a:gd name="T28" fmla="*/ 531 w 743"/>
                <a:gd name="T29" fmla="*/ 849 h 870"/>
                <a:gd name="T30" fmla="*/ 383 w 743"/>
                <a:gd name="T31" fmla="*/ 869 h 870"/>
                <a:gd name="T32" fmla="*/ 184 w 743"/>
                <a:gd name="T33" fmla="*/ 838 h 870"/>
                <a:gd name="T34" fmla="*/ 0 w 743"/>
                <a:gd name="T35" fmla="*/ 716 h 870"/>
                <a:gd name="T36" fmla="*/ 92 w 743"/>
                <a:gd name="T37" fmla="*/ 597 h 870"/>
                <a:gd name="T38" fmla="*/ 231 w 743"/>
                <a:gd name="T39" fmla="*/ 688 h 870"/>
                <a:gd name="T40" fmla="*/ 386 w 743"/>
                <a:gd name="T41" fmla="*/ 719 h 870"/>
                <a:gd name="T42" fmla="*/ 450 w 743"/>
                <a:gd name="T43" fmla="*/ 713 h 870"/>
                <a:gd name="T44" fmla="*/ 506 w 743"/>
                <a:gd name="T45" fmla="*/ 694 h 870"/>
                <a:gd name="T46" fmla="*/ 550 w 743"/>
                <a:gd name="T47" fmla="*/ 661 h 870"/>
                <a:gd name="T48" fmla="*/ 567 w 743"/>
                <a:gd name="T49" fmla="*/ 611 h 870"/>
                <a:gd name="T50" fmla="*/ 517 w 743"/>
                <a:gd name="T51" fmla="*/ 530 h 870"/>
                <a:gd name="T52" fmla="*/ 372 w 743"/>
                <a:gd name="T53" fmla="*/ 497 h 870"/>
                <a:gd name="T54" fmla="*/ 250 w 743"/>
                <a:gd name="T55" fmla="*/ 477 h 870"/>
                <a:gd name="T56" fmla="*/ 142 w 743"/>
                <a:gd name="T57" fmla="*/ 436 h 870"/>
                <a:gd name="T58" fmla="*/ 61 w 743"/>
                <a:gd name="T59" fmla="*/ 363 h 870"/>
                <a:gd name="T60" fmla="*/ 28 w 743"/>
                <a:gd name="T61" fmla="*/ 249 h 870"/>
                <a:gd name="T62" fmla="*/ 61 w 743"/>
                <a:gd name="T63" fmla="*/ 133 h 870"/>
                <a:gd name="T64" fmla="*/ 145 w 743"/>
                <a:gd name="T65" fmla="*/ 55 h 870"/>
                <a:gd name="T66" fmla="*/ 258 w 743"/>
                <a:gd name="T67" fmla="*/ 11 h 870"/>
                <a:gd name="T68" fmla="*/ 378 w 743"/>
                <a:gd name="T69" fmla="*/ 0 h 870"/>
                <a:gd name="T70" fmla="*/ 553 w 743"/>
                <a:gd name="T71" fmla="*/ 22 h 870"/>
                <a:gd name="T72" fmla="*/ 703 w 743"/>
                <a:gd name="T73" fmla="*/ 108 h 870"/>
                <a:gd name="T74" fmla="*/ 603 w 743"/>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3" h="870">
                  <a:moveTo>
                    <a:pt x="603" y="222"/>
                  </a:moveTo>
                  <a:lnTo>
                    <a:pt x="603" y="222"/>
                  </a:lnTo>
                  <a:cubicBezTo>
                    <a:pt x="572" y="191"/>
                    <a:pt x="536" y="172"/>
                    <a:pt x="500" y="161"/>
                  </a:cubicBezTo>
                  <a:cubicBezTo>
                    <a:pt x="464" y="149"/>
                    <a:pt x="425" y="147"/>
                    <a:pt x="381" y="147"/>
                  </a:cubicBezTo>
                  <a:cubicBezTo>
                    <a:pt x="328" y="144"/>
                    <a:pt x="284" y="152"/>
                    <a:pt x="250" y="169"/>
                  </a:cubicBezTo>
                  <a:cubicBezTo>
                    <a:pt x="220" y="188"/>
                    <a:pt x="203" y="211"/>
                    <a:pt x="203" y="244"/>
                  </a:cubicBezTo>
                  <a:cubicBezTo>
                    <a:pt x="203" y="280"/>
                    <a:pt x="220" y="302"/>
                    <a:pt x="253" y="319"/>
                  </a:cubicBezTo>
                  <a:cubicBezTo>
                    <a:pt x="286" y="333"/>
                    <a:pt x="331" y="344"/>
                    <a:pt x="386" y="349"/>
                  </a:cubicBezTo>
                  <a:cubicBezTo>
                    <a:pt x="425" y="352"/>
                    <a:pt x="464" y="358"/>
                    <a:pt x="506" y="366"/>
                  </a:cubicBezTo>
                  <a:cubicBezTo>
                    <a:pt x="550" y="372"/>
                    <a:pt x="586" y="386"/>
                    <a:pt x="622" y="405"/>
                  </a:cubicBezTo>
                  <a:cubicBezTo>
                    <a:pt x="658" y="422"/>
                    <a:pt x="686" y="447"/>
                    <a:pt x="708" y="480"/>
                  </a:cubicBezTo>
                  <a:cubicBezTo>
                    <a:pt x="731" y="513"/>
                    <a:pt x="742" y="555"/>
                    <a:pt x="742" y="608"/>
                  </a:cubicBezTo>
                  <a:cubicBezTo>
                    <a:pt x="742" y="647"/>
                    <a:pt x="733" y="683"/>
                    <a:pt x="717" y="713"/>
                  </a:cubicBezTo>
                  <a:cubicBezTo>
                    <a:pt x="700" y="747"/>
                    <a:pt x="675" y="774"/>
                    <a:pt x="645" y="797"/>
                  </a:cubicBezTo>
                  <a:cubicBezTo>
                    <a:pt x="614" y="819"/>
                    <a:pt x="575" y="838"/>
                    <a:pt x="531" y="849"/>
                  </a:cubicBezTo>
                  <a:cubicBezTo>
                    <a:pt x="486" y="863"/>
                    <a:pt x="439" y="869"/>
                    <a:pt x="383" y="869"/>
                  </a:cubicBezTo>
                  <a:cubicBezTo>
                    <a:pt x="317" y="869"/>
                    <a:pt x="247" y="858"/>
                    <a:pt x="184" y="838"/>
                  </a:cubicBezTo>
                  <a:cubicBezTo>
                    <a:pt x="117" y="819"/>
                    <a:pt x="56" y="777"/>
                    <a:pt x="0" y="716"/>
                  </a:cubicBezTo>
                  <a:cubicBezTo>
                    <a:pt x="92" y="597"/>
                    <a:pt x="92" y="597"/>
                    <a:pt x="92" y="597"/>
                  </a:cubicBezTo>
                  <a:cubicBezTo>
                    <a:pt x="131" y="638"/>
                    <a:pt x="178" y="669"/>
                    <a:pt x="231" y="688"/>
                  </a:cubicBezTo>
                  <a:cubicBezTo>
                    <a:pt x="286" y="708"/>
                    <a:pt x="336" y="719"/>
                    <a:pt x="386" y="719"/>
                  </a:cubicBezTo>
                  <a:cubicBezTo>
                    <a:pt x="408" y="719"/>
                    <a:pt x="428" y="716"/>
                    <a:pt x="450" y="713"/>
                  </a:cubicBezTo>
                  <a:cubicBezTo>
                    <a:pt x="470" y="708"/>
                    <a:pt x="489" y="702"/>
                    <a:pt x="506" y="694"/>
                  </a:cubicBezTo>
                  <a:cubicBezTo>
                    <a:pt x="522" y="686"/>
                    <a:pt x="539" y="674"/>
                    <a:pt x="550" y="661"/>
                  </a:cubicBezTo>
                  <a:cubicBezTo>
                    <a:pt x="561" y="647"/>
                    <a:pt x="567" y="630"/>
                    <a:pt x="567" y="611"/>
                  </a:cubicBezTo>
                  <a:cubicBezTo>
                    <a:pt x="567" y="574"/>
                    <a:pt x="550" y="547"/>
                    <a:pt x="517" y="530"/>
                  </a:cubicBezTo>
                  <a:cubicBezTo>
                    <a:pt x="483" y="513"/>
                    <a:pt x="433" y="502"/>
                    <a:pt x="372" y="497"/>
                  </a:cubicBezTo>
                  <a:cubicBezTo>
                    <a:pt x="331" y="494"/>
                    <a:pt x="292" y="486"/>
                    <a:pt x="250" y="477"/>
                  </a:cubicBezTo>
                  <a:cubicBezTo>
                    <a:pt x="211" y="469"/>
                    <a:pt x="175" y="455"/>
                    <a:pt x="142" y="436"/>
                  </a:cubicBezTo>
                  <a:cubicBezTo>
                    <a:pt x="109" y="416"/>
                    <a:pt x="81" y="394"/>
                    <a:pt x="61" y="363"/>
                  </a:cubicBezTo>
                  <a:cubicBezTo>
                    <a:pt x="39" y="333"/>
                    <a:pt x="28" y="294"/>
                    <a:pt x="28" y="249"/>
                  </a:cubicBezTo>
                  <a:cubicBezTo>
                    <a:pt x="28" y="202"/>
                    <a:pt x="39" y="166"/>
                    <a:pt x="61" y="133"/>
                  </a:cubicBezTo>
                  <a:cubicBezTo>
                    <a:pt x="84" y="102"/>
                    <a:pt x="111" y="74"/>
                    <a:pt x="145" y="55"/>
                  </a:cubicBezTo>
                  <a:cubicBezTo>
                    <a:pt x="178" y="36"/>
                    <a:pt x="217" y="22"/>
                    <a:pt x="258" y="11"/>
                  </a:cubicBezTo>
                  <a:cubicBezTo>
                    <a:pt x="297" y="2"/>
                    <a:pt x="339" y="0"/>
                    <a:pt x="378" y="0"/>
                  </a:cubicBezTo>
                  <a:cubicBezTo>
                    <a:pt x="445" y="0"/>
                    <a:pt x="503" y="8"/>
                    <a:pt x="553" y="22"/>
                  </a:cubicBezTo>
                  <a:cubicBezTo>
                    <a:pt x="606" y="38"/>
                    <a:pt x="656" y="66"/>
                    <a:pt x="703" y="108"/>
                  </a:cubicBezTo>
                  <a:lnTo>
                    <a:pt x="603"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4" name="Freeform 21">
              <a:extLst>
                <a:ext uri="{FF2B5EF4-FFF2-40B4-BE49-F238E27FC236}">
                  <a16:creationId xmlns:a16="http://schemas.microsoft.com/office/drawing/2014/main" id="{562B112A-8D16-DC41-8612-0F6CE633BB94}"/>
                </a:ext>
              </a:extLst>
            </p:cNvPr>
            <p:cNvSpPr>
              <a:spLocks noChangeArrowheads="1"/>
            </p:cNvSpPr>
            <p:nvPr userDrawn="1"/>
          </p:nvSpPr>
          <p:spPr bwMode="auto">
            <a:xfrm>
              <a:off x="2698750" y="3749675"/>
              <a:ext cx="63500" cy="298450"/>
            </a:xfrm>
            <a:custGeom>
              <a:avLst/>
              <a:gdLst>
                <a:gd name="T0" fmla="*/ 175 w 176"/>
                <a:gd name="T1" fmla="*/ 828 h 829"/>
                <a:gd name="T2" fmla="*/ 0 w 176"/>
                <a:gd name="T3" fmla="*/ 828 h 829"/>
                <a:gd name="T4" fmla="*/ 0 w 176"/>
                <a:gd name="T5" fmla="*/ 0 h 829"/>
                <a:gd name="T6" fmla="*/ 175 w 176"/>
                <a:gd name="T7" fmla="*/ 0 h 829"/>
                <a:gd name="T8" fmla="*/ 175 w 176"/>
                <a:gd name="T9" fmla="*/ 828 h 829"/>
              </a:gdLst>
              <a:ahLst/>
              <a:cxnLst>
                <a:cxn ang="0">
                  <a:pos x="T0" y="T1"/>
                </a:cxn>
                <a:cxn ang="0">
                  <a:pos x="T2" y="T3"/>
                </a:cxn>
                <a:cxn ang="0">
                  <a:pos x="T4" y="T5"/>
                </a:cxn>
                <a:cxn ang="0">
                  <a:pos x="T6" y="T7"/>
                </a:cxn>
                <a:cxn ang="0">
                  <a:pos x="T8" y="T9"/>
                </a:cxn>
              </a:cxnLst>
              <a:rect l="0" t="0" r="r" b="b"/>
              <a:pathLst>
                <a:path w="176" h="829">
                  <a:moveTo>
                    <a:pt x="175" y="828"/>
                  </a:moveTo>
                  <a:lnTo>
                    <a:pt x="0" y="828"/>
                  </a:lnTo>
                  <a:lnTo>
                    <a:pt x="0" y="0"/>
                  </a:lnTo>
                  <a:lnTo>
                    <a:pt x="175" y="0"/>
                  </a:lnTo>
                  <a:lnTo>
                    <a:pt x="175" y="82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5" name="Freeform 22">
              <a:extLst>
                <a:ext uri="{FF2B5EF4-FFF2-40B4-BE49-F238E27FC236}">
                  <a16:creationId xmlns:a16="http://schemas.microsoft.com/office/drawing/2014/main" id="{2C5908FC-9194-FF47-BCE8-89EA7E0C0E99}"/>
                </a:ext>
              </a:extLst>
            </p:cNvPr>
            <p:cNvSpPr>
              <a:spLocks noChangeArrowheads="1"/>
            </p:cNvSpPr>
            <p:nvPr userDrawn="1"/>
          </p:nvSpPr>
          <p:spPr bwMode="auto">
            <a:xfrm>
              <a:off x="2822575" y="3665538"/>
              <a:ext cx="223838" cy="385762"/>
            </a:xfrm>
            <a:custGeom>
              <a:avLst/>
              <a:gdLst>
                <a:gd name="T0" fmla="*/ 342 w 620"/>
                <a:gd name="T1" fmla="*/ 0 h 1073"/>
                <a:gd name="T2" fmla="*/ 342 w 620"/>
                <a:gd name="T3" fmla="*/ 0 h 1073"/>
                <a:gd name="T4" fmla="*/ 342 w 620"/>
                <a:gd name="T5" fmla="*/ 239 h 1073"/>
                <a:gd name="T6" fmla="*/ 586 w 620"/>
                <a:gd name="T7" fmla="*/ 239 h 1073"/>
                <a:gd name="T8" fmla="*/ 586 w 620"/>
                <a:gd name="T9" fmla="*/ 389 h 1073"/>
                <a:gd name="T10" fmla="*/ 339 w 620"/>
                <a:gd name="T11" fmla="*/ 389 h 1073"/>
                <a:gd name="T12" fmla="*/ 339 w 620"/>
                <a:gd name="T13" fmla="*/ 780 h 1073"/>
                <a:gd name="T14" fmla="*/ 369 w 620"/>
                <a:gd name="T15" fmla="*/ 880 h 1073"/>
                <a:gd name="T16" fmla="*/ 461 w 620"/>
                <a:gd name="T17" fmla="*/ 917 h 1073"/>
                <a:gd name="T18" fmla="*/ 514 w 620"/>
                <a:gd name="T19" fmla="*/ 908 h 1073"/>
                <a:gd name="T20" fmla="*/ 566 w 620"/>
                <a:gd name="T21" fmla="*/ 886 h 1073"/>
                <a:gd name="T22" fmla="*/ 619 w 620"/>
                <a:gd name="T23" fmla="*/ 1033 h 1073"/>
                <a:gd name="T24" fmla="*/ 533 w 620"/>
                <a:gd name="T25" fmla="*/ 1061 h 1073"/>
                <a:gd name="T26" fmla="*/ 450 w 620"/>
                <a:gd name="T27" fmla="*/ 1072 h 1073"/>
                <a:gd name="T28" fmla="*/ 236 w 620"/>
                <a:gd name="T29" fmla="*/ 1000 h 1073"/>
                <a:gd name="T30" fmla="*/ 164 w 620"/>
                <a:gd name="T31" fmla="*/ 780 h 1073"/>
                <a:gd name="T32" fmla="*/ 164 w 620"/>
                <a:gd name="T33" fmla="*/ 389 h 1073"/>
                <a:gd name="T34" fmla="*/ 0 w 620"/>
                <a:gd name="T35" fmla="*/ 389 h 1073"/>
                <a:gd name="T36" fmla="*/ 0 w 620"/>
                <a:gd name="T37" fmla="*/ 239 h 1073"/>
                <a:gd name="T38" fmla="*/ 164 w 620"/>
                <a:gd name="T39" fmla="*/ 239 h 1073"/>
                <a:gd name="T40" fmla="*/ 164 w 620"/>
                <a:gd name="T41" fmla="*/ 19 h 1073"/>
                <a:gd name="T42" fmla="*/ 342 w 620"/>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0" h="1073">
                  <a:moveTo>
                    <a:pt x="342" y="0"/>
                  </a:moveTo>
                  <a:lnTo>
                    <a:pt x="342" y="0"/>
                  </a:lnTo>
                  <a:cubicBezTo>
                    <a:pt x="342" y="239"/>
                    <a:pt x="342" y="239"/>
                    <a:pt x="342" y="239"/>
                  </a:cubicBezTo>
                  <a:cubicBezTo>
                    <a:pt x="586" y="239"/>
                    <a:pt x="586" y="239"/>
                    <a:pt x="586" y="239"/>
                  </a:cubicBezTo>
                  <a:cubicBezTo>
                    <a:pt x="586" y="389"/>
                    <a:pt x="586" y="389"/>
                    <a:pt x="586" y="389"/>
                  </a:cubicBezTo>
                  <a:cubicBezTo>
                    <a:pt x="339" y="389"/>
                    <a:pt x="339" y="389"/>
                    <a:pt x="339" y="389"/>
                  </a:cubicBezTo>
                  <a:cubicBezTo>
                    <a:pt x="339" y="780"/>
                    <a:pt x="339" y="780"/>
                    <a:pt x="339" y="780"/>
                  </a:cubicBezTo>
                  <a:cubicBezTo>
                    <a:pt x="339" y="825"/>
                    <a:pt x="350" y="858"/>
                    <a:pt x="369" y="880"/>
                  </a:cubicBezTo>
                  <a:cubicBezTo>
                    <a:pt x="389" y="905"/>
                    <a:pt x="419" y="917"/>
                    <a:pt x="461" y="917"/>
                  </a:cubicBezTo>
                  <a:cubicBezTo>
                    <a:pt x="478" y="917"/>
                    <a:pt x="494" y="914"/>
                    <a:pt x="514" y="908"/>
                  </a:cubicBezTo>
                  <a:cubicBezTo>
                    <a:pt x="533" y="903"/>
                    <a:pt x="550" y="897"/>
                    <a:pt x="566" y="886"/>
                  </a:cubicBezTo>
                  <a:cubicBezTo>
                    <a:pt x="619" y="1033"/>
                    <a:pt x="619" y="1033"/>
                    <a:pt x="619" y="1033"/>
                  </a:cubicBezTo>
                  <a:cubicBezTo>
                    <a:pt x="589" y="1047"/>
                    <a:pt x="561" y="1055"/>
                    <a:pt x="533" y="1061"/>
                  </a:cubicBezTo>
                  <a:cubicBezTo>
                    <a:pt x="508" y="1069"/>
                    <a:pt x="480" y="1072"/>
                    <a:pt x="450" y="1072"/>
                  </a:cubicBezTo>
                  <a:cubicBezTo>
                    <a:pt x="358" y="1072"/>
                    <a:pt x="286" y="1050"/>
                    <a:pt x="236" y="1000"/>
                  </a:cubicBezTo>
                  <a:cubicBezTo>
                    <a:pt x="189" y="953"/>
                    <a:pt x="164" y="878"/>
                    <a:pt x="164" y="780"/>
                  </a:cubicBezTo>
                  <a:cubicBezTo>
                    <a:pt x="164" y="389"/>
                    <a:pt x="164" y="389"/>
                    <a:pt x="164" y="389"/>
                  </a:cubicBezTo>
                  <a:cubicBezTo>
                    <a:pt x="0" y="389"/>
                    <a:pt x="0" y="389"/>
                    <a:pt x="0" y="389"/>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6" name="Freeform 23">
              <a:extLst>
                <a:ext uri="{FF2B5EF4-FFF2-40B4-BE49-F238E27FC236}">
                  <a16:creationId xmlns:a16="http://schemas.microsoft.com/office/drawing/2014/main" id="{9E297F47-9AEA-0346-B352-AB9A867E9247}"/>
                </a:ext>
              </a:extLst>
            </p:cNvPr>
            <p:cNvSpPr>
              <a:spLocks noChangeArrowheads="1"/>
            </p:cNvSpPr>
            <p:nvPr userDrawn="1"/>
          </p:nvSpPr>
          <p:spPr bwMode="auto">
            <a:xfrm>
              <a:off x="3208338" y="3749675"/>
              <a:ext cx="492125" cy="298450"/>
            </a:xfrm>
            <a:custGeom>
              <a:avLst/>
              <a:gdLst>
                <a:gd name="T0" fmla="*/ 761 w 1368"/>
                <a:gd name="T1" fmla="*/ 0 h 829"/>
                <a:gd name="T2" fmla="*/ 961 w 1368"/>
                <a:gd name="T3" fmla="*/ 647 h 829"/>
                <a:gd name="T4" fmla="*/ 1169 w 1368"/>
                <a:gd name="T5" fmla="*/ 0 h 829"/>
                <a:gd name="T6" fmla="*/ 1367 w 1368"/>
                <a:gd name="T7" fmla="*/ 0 h 829"/>
                <a:gd name="T8" fmla="*/ 1072 w 1368"/>
                <a:gd name="T9" fmla="*/ 828 h 829"/>
                <a:gd name="T10" fmla="*/ 867 w 1368"/>
                <a:gd name="T11" fmla="*/ 828 h 829"/>
                <a:gd name="T12" fmla="*/ 767 w 1368"/>
                <a:gd name="T13" fmla="*/ 555 h 829"/>
                <a:gd name="T14" fmla="*/ 686 w 1368"/>
                <a:gd name="T15" fmla="*/ 267 h 829"/>
                <a:gd name="T16" fmla="*/ 603 w 1368"/>
                <a:gd name="T17" fmla="*/ 555 h 829"/>
                <a:gd name="T18" fmla="*/ 503 w 1368"/>
                <a:gd name="T19" fmla="*/ 828 h 829"/>
                <a:gd name="T20" fmla="*/ 297 w 1368"/>
                <a:gd name="T21" fmla="*/ 828 h 829"/>
                <a:gd name="T22" fmla="*/ 0 w 1368"/>
                <a:gd name="T23" fmla="*/ 0 h 829"/>
                <a:gd name="T24" fmla="*/ 200 w 1368"/>
                <a:gd name="T25" fmla="*/ 0 h 829"/>
                <a:gd name="T26" fmla="*/ 408 w 1368"/>
                <a:gd name="T27" fmla="*/ 647 h 829"/>
                <a:gd name="T28" fmla="*/ 608 w 1368"/>
                <a:gd name="T29" fmla="*/ 0 h 829"/>
                <a:gd name="T30" fmla="*/ 761 w 1368"/>
                <a:gd name="T31" fmla="*/ 0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8" h="829">
                  <a:moveTo>
                    <a:pt x="761" y="0"/>
                  </a:moveTo>
                  <a:lnTo>
                    <a:pt x="961" y="647"/>
                  </a:lnTo>
                  <a:lnTo>
                    <a:pt x="1169" y="0"/>
                  </a:lnTo>
                  <a:lnTo>
                    <a:pt x="1367" y="0"/>
                  </a:lnTo>
                  <a:lnTo>
                    <a:pt x="1072" y="828"/>
                  </a:lnTo>
                  <a:lnTo>
                    <a:pt x="867" y="828"/>
                  </a:lnTo>
                  <a:lnTo>
                    <a:pt x="767" y="555"/>
                  </a:lnTo>
                  <a:lnTo>
                    <a:pt x="686" y="267"/>
                  </a:lnTo>
                  <a:lnTo>
                    <a:pt x="603" y="555"/>
                  </a:lnTo>
                  <a:lnTo>
                    <a:pt x="503" y="828"/>
                  </a:lnTo>
                  <a:lnTo>
                    <a:pt x="297" y="828"/>
                  </a:lnTo>
                  <a:lnTo>
                    <a:pt x="0" y="0"/>
                  </a:lnTo>
                  <a:lnTo>
                    <a:pt x="200" y="0"/>
                  </a:lnTo>
                  <a:lnTo>
                    <a:pt x="408" y="647"/>
                  </a:lnTo>
                  <a:lnTo>
                    <a:pt x="608" y="0"/>
                  </a:lnTo>
                  <a:lnTo>
                    <a:pt x="761"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7" name="Freeform 24">
              <a:extLst>
                <a:ext uri="{FF2B5EF4-FFF2-40B4-BE49-F238E27FC236}">
                  <a16:creationId xmlns:a16="http://schemas.microsoft.com/office/drawing/2014/main" id="{F9BA96BF-089B-AE47-9AE7-B1E25CDBCE15}"/>
                </a:ext>
              </a:extLst>
            </p:cNvPr>
            <p:cNvSpPr>
              <a:spLocks noChangeArrowheads="1"/>
            </p:cNvSpPr>
            <p:nvPr userDrawn="1"/>
          </p:nvSpPr>
          <p:spPr bwMode="auto">
            <a:xfrm>
              <a:off x="37322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3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8" y="147"/>
                    <a:pt x="127" y="111"/>
                  </a:cubicBezTo>
                  <a:cubicBezTo>
                    <a:pt x="166" y="75"/>
                    <a:pt x="211" y="48"/>
                    <a:pt x="263"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38" y="636"/>
                    <a:pt x="669" y="603"/>
                    <a:pt x="691" y="561"/>
                  </a:cubicBezTo>
                  <a:cubicBezTo>
                    <a:pt x="711" y="522"/>
                    <a:pt x="722" y="478"/>
                    <a:pt x="722" y="431"/>
                  </a:cubicBezTo>
                  <a:cubicBezTo>
                    <a:pt x="722" y="384"/>
                    <a:pt x="711" y="339"/>
                    <a:pt x="691" y="298"/>
                  </a:cubicBezTo>
                  <a:cubicBezTo>
                    <a:pt x="669" y="259"/>
                    <a:pt x="638"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8" name="Freeform 25">
              <a:extLst>
                <a:ext uri="{FF2B5EF4-FFF2-40B4-BE49-F238E27FC236}">
                  <a16:creationId xmlns:a16="http://schemas.microsoft.com/office/drawing/2014/main" id="{B7B9AD65-5075-7D44-840A-B56986360C78}"/>
                </a:ext>
              </a:extLst>
            </p:cNvPr>
            <p:cNvSpPr>
              <a:spLocks noChangeArrowheads="1"/>
            </p:cNvSpPr>
            <p:nvPr userDrawn="1"/>
          </p:nvSpPr>
          <p:spPr bwMode="auto">
            <a:xfrm>
              <a:off x="4116388" y="3743325"/>
              <a:ext cx="268287" cy="312738"/>
            </a:xfrm>
            <a:custGeom>
              <a:avLst/>
              <a:gdLst>
                <a:gd name="T0" fmla="*/ 605 w 745"/>
                <a:gd name="T1" fmla="*/ 222 h 870"/>
                <a:gd name="T2" fmla="*/ 605 w 745"/>
                <a:gd name="T3" fmla="*/ 222 h 870"/>
                <a:gd name="T4" fmla="*/ 500 w 745"/>
                <a:gd name="T5" fmla="*/ 161 h 870"/>
                <a:gd name="T6" fmla="*/ 383 w 745"/>
                <a:gd name="T7" fmla="*/ 147 h 870"/>
                <a:gd name="T8" fmla="*/ 253 w 745"/>
                <a:gd name="T9" fmla="*/ 169 h 870"/>
                <a:gd name="T10" fmla="*/ 203 w 745"/>
                <a:gd name="T11" fmla="*/ 244 h 870"/>
                <a:gd name="T12" fmla="*/ 256 w 745"/>
                <a:gd name="T13" fmla="*/ 319 h 870"/>
                <a:gd name="T14" fmla="*/ 386 w 745"/>
                <a:gd name="T15" fmla="*/ 349 h 870"/>
                <a:gd name="T16" fmla="*/ 508 w 745"/>
                <a:gd name="T17" fmla="*/ 366 h 870"/>
                <a:gd name="T18" fmla="*/ 625 w 745"/>
                <a:gd name="T19" fmla="*/ 405 h 870"/>
                <a:gd name="T20" fmla="*/ 711 w 745"/>
                <a:gd name="T21" fmla="*/ 480 h 870"/>
                <a:gd name="T22" fmla="*/ 744 w 745"/>
                <a:gd name="T23" fmla="*/ 608 h 870"/>
                <a:gd name="T24" fmla="*/ 717 w 745"/>
                <a:gd name="T25" fmla="*/ 713 h 870"/>
                <a:gd name="T26" fmla="*/ 644 w 745"/>
                <a:gd name="T27" fmla="*/ 797 h 870"/>
                <a:gd name="T28" fmla="*/ 533 w 745"/>
                <a:gd name="T29" fmla="*/ 849 h 870"/>
                <a:gd name="T30" fmla="*/ 386 w 745"/>
                <a:gd name="T31" fmla="*/ 869 h 870"/>
                <a:gd name="T32" fmla="*/ 183 w 745"/>
                <a:gd name="T33" fmla="*/ 838 h 870"/>
                <a:gd name="T34" fmla="*/ 0 w 745"/>
                <a:gd name="T35" fmla="*/ 716 h 870"/>
                <a:gd name="T36" fmla="*/ 92 w 745"/>
                <a:gd name="T37" fmla="*/ 597 h 870"/>
                <a:gd name="T38" fmla="*/ 233 w 745"/>
                <a:gd name="T39" fmla="*/ 688 h 870"/>
                <a:gd name="T40" fmla="*/ 389 w 745"/>
                <a:gd name="T41" fmla="*/ 719 h 870"/>
                <a:gd name="T42" fmla="*/ 450 w 745"/>
                <a:gd name="T43" fmla="*/ 713 h 870"/>
                <a:gd name="T44" fmla="*/ 508 w 745"/>
                <a:gd name="T45" fmla="*/ 694 h 870"/>
                <a:gd name="T46" fmla="*/ 550 w 745"/>
                <a:gd name="T47" fmla="*/ 661 h 870"/>
                <a:gd name="T48" fmla="*/ 567 w 745"/>
                <a:gd name="T49" fmla="*/ 611 h 870"/>
                <a:gd name="T50" fmla="*/ 519 w 745"/>
                <a:gd name="T51" fmla="*/ 530 h 870"/>
                <a:gd name="T52" fmla="*/ 372 w 745"/>
                <a:gd name="T53" fmla="*/ 497 h 870"/>
                <a:gd name="T54" fmla="*/ 253 w 745"/>
                <a:gd name="T55" fmla="*/ 477 h 870"/>
                <a:gd name="T56" fmla="*/ 142 w 745"/>
                <a:gd name="T57" fmla="*/ 436 h 870"/>
                <a:gd name="T58" fmla="*/ 61 w 745"/>
                <a:gd name="T59" fmla="*/ 363 h 870"/>
                <a:gd name="T60" fmla="*/ 30 w 745"/>
                <a:gd name="T61" fmla="*/ 249 h 870"/>
                <a:gd name="T62" fmla="*/ 61 w 745"/>
                <a:gd name="T63" fmla="*/ 133 h 870"/>
                <a:gd name="T64" fmla="*/ 147 w 745"/>
                <a:gd name="T65" fmla="*/ 55 h 870"/>
                <a:gd name="T66" fmla="*/ 258 w 745"/>
                <a:gd name="T67" fmla="*/ 11 h 870"/>
                <a:gd name="T68" fmla="*/ 381 w 745"/>
                <a:gd name="T69" fmla="*/ 0 h 870"/>
                <a:gd name="T70" fmla="*/ 556 w 745"/>
                <a:gd name="T71" fmla="*/ 22 h 870"/>
                <a:gd name="T72" fmla="*/ 705 w 745"/>
                <a:gd name="T73" fmla="*/ 108 h 870"/>
                <a:gd name="T74" fmla="*/ 605 w 745"/>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5" h="870">
                  <a:moveTo>
                    <a:pt x="605" y="222"/>
                  </a:moveTo>
                  <a:lnTo>
                    <a:pt x="605" y="222"/>
                  </a:lnTo>
                  <a:cubicBezTo>
                    <a:pt x="572" y="191"/>
                    <a:pt x="536" y="172"/>
                    <a:pt x="500" y="161"/>
                  </a:cubicBezTo>
                  <a:cubicBezTo>
                    <a:pt x="464" y="149"/>
                    <a:pt x="425" y="147"/>
                    <a:pt x="383" y="147"/>
                  </a:cubicBezTo>
                  <a:cubicBezTo>
                    <a:pt x="328" y="144"/>
                    <a:pt x="286" y="152"/>
                    <a:pt x="253" y="169"/>
                  </a:cubicBezTo>
                  <a:cubicBezTo>
                    <a:pt x="219" y="188"/>
                    <a:pt x="203" y="211"/>
                    <a:pt x="203" y="244"/>
                  </a:cubicBezTo>
                  <a:cubicBezTo>
                    <a:pt x="206" y="280"/>
                    <a:pt x="222" y="302"/>
                    <a:pt x="256" y="319"/>
                  </a:cubicBezTo>
                  <a:cubicBezTo>
                    <a:pt x="289" y="333"/>
                    <a:pt x="333" y="344"/>
                    <a:pt x="386" y="349"/>
                  </a:cubicBezTo>
                  <a:cubicBezTo>
                    <a:pt x="425" y="352"/>
                    <a:pt x="467" y="358"/>
                    <a:pt x="508" y="366"/>
                  </a:cubicBezTo>
                  <a:cubicBezTo>
                    <a:pt x="550" y="372"/>
                    <a:pt x="589" y="386"/>
                    <a:pt x="625" y="405"/>
                  </a:cubicBezTo>
                  <a:cubicBezTo>
                    <a:pt x="658" y="422"/>
                    <a:pt x="689" y="447"/>
                    <a:pt x="711" y="480"/>
                  </a:cubicBezTo>
                  <a:cubicBezTo>
                    <a:pt x="733" y="513"/>
                    <a:pt x="744" y="555"/>
                    <a:pt x="744" y="608"/>
                  </a:cubicBezTo>
                  <a:cubicBezTo>
                    <a:pt x="744" y="647"/>
                    <a:pt x="736" y="683"/>
                    <a:pt x="717" y="713"/>
                  </a:cubicBezTo>
                  <a:cubicBezTo>
                    <a:pt x="700" y="747"/>
                    <a:pt x="678" y="774"/>
                    <a:pt x="644" y="797"/>
                  </a:cubicBezTo>
                  <a:cubicBezTo>
                    <a:pt x="614" y="819"/>
                    <a:pt x="578" y="838"/>
                    <a:pt x="533" y="849"/>
                  </a:cubicBezTo>
                  <a:cubicBezTo>
                    <a:pt x="489" y="863"/>
                    <a:pt x="439" y="869"/>
                    <a:pt x="386" y="869"/>
                  </a:cubicBezTo>
                  <a:cubicBezTo>
                    <a:pt x="317" y="869"/>
                    <a:pt x="250" y="858"/>
                    <a:pt x="183" y="838"/>
                  </a:cubicBezTo>
                  <a:cubicBezTo>
                    <a:pt x="117" y="819"/>
                    <a:pt x="56" y="777"/>
                    <a:pt x="0" y="716"/>
                  </a:cubicBezTo>
                  <a:cubicBezTo>
                    <a:pt x="92" y="597"/>
                    <a:pt x="92" y="597"/>
                    <a:pt x="92" y="597"/>
                  </a:cubicBezTo>
                  <a:cubicBezTo>
                    <a:pt x="133" y="638"/>
                    <a:pt x="181" y="669"/>
                    <a:pt x="233" y="688"/>
                  </a:cubicBezTo>
                  <a:cubicBezTo>
                    <a:pt x="286" y="708"/>
                    <a:pt x="339" y="719"/>
                    <a:pt x="389" y="719"/>
                  </a:cubicBezTo>
                  <a:cubicBezTo>
                    <a:pt x="408" y="719"/>
                    <a:pt x="430" y="716"/>
                    <a:pt x="450" y="713"/>
                  </a:cubicBezTo>
                  <a:cubicBezTo>
                    <a:pt x="472" y="708"/>
                    <a:pt x="492" y="702"/>
                    <a:pt x="508" y="694"/>
                  </a:cubicBezTo>
                  <a:cubicBezTo>
                    <a:pt x="525" y="686"/>
                    <a:pt x="539" y="674"/>
                    <a:pt x="550" y="661"/>
                  </a:cubicBezTo>
                  <a:cubicBezTo>
                    <a:pt x="561" y="647"/>
                    <a:pt x="567" y="630"/>
                    <a:pt x="567" y="611"/>
                  </a:cubicBezTo>
                  <a:cubicBezTo>
                    <a:pt x="569" y="574"/>
                    <a:pt x="553" y="547"/>
                    <a:pt x="519" y="530"/>
                  </a:cubicBezTo>
                  <a:cubicBezTo>
                    <a:pt x="483" y="513"/>
                    <a:pt x="436" y="502"/>
                    <a:pt x="372" y="497"/>
                  </a:cubicBezTo>
                  <a:cubicBezTo>
                    <a:pt x="333" y="494"/>
                    <a:pt x="292" y="486"/>
                    <a:pt x="253" y="477"/>
                  </a:cubicBezTo>
                  <a:cubicBezTo>
                    <a:pt x="211" y="469"/>
                    <a:pt x="175" y="455"/>
                    <a:pt x="142" y="436"/>
                  </a:cubicBezTo>
                  <a:cubicBezTo>
                    <a:pt x="108" y="416"/>
                    <a:pt x="83" y="394"/>
                    <a:pt x="61" y="363"/>
                  </a:cubicBezTo>
                  <a:cubicBezTo>
                    <a:pt x="42" y="333"/>
                    <a:pt x="30" y="294"/>
                    <a:pt x="30" y="249"/>
                  </a:cubicBezTo>
                  <a:cubicBezTo>
                    <a:pt x="30" y="202"/>
                    <a:pt x="42" y="166"/>
                    <a:pt x="61" y="133"/>
                  </a:cubicBezTo>
                  <a:cubicBezTo>
                    <a:pt x="83" y="102"/>
                    <a:pt x="111" y="74"/>
                    <a:pt x="147" y="55"/>
                  </a:cubicBezTo>
                  <a:cubicBezTo>
                    <a:pt x="181" y="36"/>
                    <a:pt x="217" y="22"/>
                    <a:pt x="258" y="11"/>
                  </a:cubicBezTo>
                  <a:cubicBezTo>
                    <a:pt x="300" y="2"/>
                    <a:pt x="339" y="0"/>
                    <a:pt x="381" y="0"/>
                  </a:cubicBezTo>
                  <a:cubicBezTo>
                    <a:pt x="444" y="0"/>
                    <a:pt x="503" y="8"/>
                    <a:pt x="556" y="22"/>
                  </a:cubicBezTo>
                  <a:cubicBezTo>
                    <a:pt x="605" y="38"/>
                    <a:pt x="656" y="66"/>
                    <a:pt x="705" y="108"/>
                  </a:cubicBezTo>
                  <a:lnTo>
                    <a:pt x="605"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9" name="Freeform 26">
              <a:extLst>
                <a:ext uri="{FF2B5EF4-FFF2-40B4-BE49-F238E27FC236}">
                  <a16:creationId xmlns:a16="http://schemas.microsoft.com/office/drawing/2014/main" id="{63D095FD-145D-6047-BEC5-289CE2CE0B68}"/>
                </a:ext>
              </a:extLst>
            </p:cNvPr>
            <p:cNvSpPr>
              <a:spLocks noChangeArrowheads="1"/>
            </p:cNvSpPr>
            <p:nvPr userDrawn="1"/>
          </p:nvSpPr>
          <p:spPr bwMode="auto">
            <a:xfrm>
              <a:off x="4600575" y="3744913"/>
              <a:ext cx="476250" cy="301625"/>
            </a:xfrm>
            <a:custGeom>
              <a:avLst/>
              <a:gdLst>
                <a:gd name="T0" fmla="*/ 575 w 1322"/>
                <a:gd name="T1" fmla="*/ 839 h 840"/>
                <a:gd name="T2" fmla="*/ 575 w 1322"/>
                <a:gd name="T3" fmla="*/ 839 h 840"/>
                <a:gd name="T4" fmla="*/ 575 w 1322"/>
                <a:gd name="T5" fmla="*/ 386 h 840"/>
                <a:gd name="T6" fmla="*/ 564 w 1322"/>
                <a:gd name="T7" fmla="*/ 300 h 840"/>
                <a:gd name="T8" fmla="*/ 525 w 1322"/>
                <a:gd name="T9" fmla="*/ 228 h 840"/>
                <a:gd name="T10" fmla="*/ 461 w 1322"/>
                <a:gd name="T11" fmla="*/ 178 h 840"/>
                <a:gd name="T12" fmla="*/ 381 w 1322"/>
                <a:gd name="T13" fmla="*/ 161 h 840"/>
                <a:gd name="T14" fmla="*/ 295 w 1322"/>
                <a:gd name="T15" fmla="*/ 178 h 840"/>
                <a:gd name="T16" fmla="*/ 231 w 1322"/>
                <a:gd name="T17" fmla="*/ 228 h 840"/>
                <a:gd name="T18" fmla="*/ 192 w 1322"/>
                <a:gd name="T19" fmla="*/ 300 h 840"/>
                <a:gd name="T20" fmla="*/ 175 w 1322"/>
                <a:gd name="T21" fmla="*/ 386 h 840"/>
                <a:gd name="T22" fmla="*/ 175 w 1322"/>
                <a:gd name="T23" fmla="*/ 839 h 840"/>
                <a:gd name="T24" fmla="*/ 0 w 1322"/>
                <a:gd name="T25" fmla="*/ 839 h 840"/>
                <a:gd name="T26" fmla="*/ 0 w 1322"/>
                <a:gd name="T27" fmla="*/ 14 h 840"/>
                <a:gd name="T28" fmla="*/ 164 w 1322"/>
                <a:gd name="T29" fmla="*/ 14 h 840"/>
                <a:gd name="T30" fmla="*/ 175 w 1322"/>
                <a:gd name="T31" fmla="*/ 125 h 840"/>
                <a:gd name="T32" fmla="*/ 278 w 1322"/>
                <a:gd name="T33" fmla="*/ 28 h 840"/>
                <a:gd name="T34" fmla="*/ 411 w 1322"/>
                <a:gd name="T35" fmla="*/ 0 h 840"/>
                <a:gd name="T36" fmla="*/ 492 w 1322"/>
                <a:gd name="T37" fmla="*/ 8 h 840"/>
                <a:gd name="T38" fmla="*/ 567 w 1322"/>
                <a:gd name="T39" fmla="*/ 36 h 840"/>
                <a:gd name="T40" fmla="*/ 631 w 1322"/>
                <a:gd name="T41" fmla="*/ 89 h 840"/>
                <a:gd name="T42" fmla="*/ 675 w 1322"/>
                <a:gd name="T43" fmla="*/ 167 h 840"/>
                <a:gd name="T44" fmla="*/ 803 w 1322"/>
                <a:gd name="T45" fmla="*/ 39 h 840"/>
                <a:gd name="T46" fmla="*/ 964 w 1322"/>
                <a:gd name="T47" fmla="*/ 3 h 840"/>
                <a:gd name="T48" fmla="*/ 1230 w 1322"/>
                <a:gd name="T49" fmla="*/ 103 h 840"/>
                <a:gd name="T50" fmla="*/ 1321 w 1322"/>
                <a:gd name="T51" fmla="*/ 383 h 840"/>
                <a:gd name="T52" fmla="*/ 1321 w 1322"/>
                <a:gd name="T53" fmla="*/ 839 h 840"/>
                <a:gd name="T54" fmla="*/ 1145 w 1322"/>
                <a:gd name="T55" fmla="*/ 839 h 840"/>
                <a:gd name="T56" fmla="*/ 1145 w 1322"/>
                <a:gd name="T57" fmla="*/ 381 h 840"/>
                <a:gd name="T58" fmla="*/ 1134 w 1322"/>
                <a:gd name="T59" fmla="*/ 297 h 840"/>
                <a:gd name="T60" fmla="*/ 1097 w 1322"/>
                <a:gd name="T61" fmla="*/ 225 h 840"/>
                <a:gd name="T62" fmla="*/ 1039 w 1322"/>
                <a:gd name="T63" fmla="*/ 178 h 840"/>
                <a:gd name="T64" fmla="*/ 959 w 1322"/>
                <a:gd name="T65" fmla="*/ 161 h 840"/>
                <a:gd name="T66" fmla="*/ 872 w 1322"/>
                <a:gd name="T67" fmla="*/ 181 h 840"/>
                <a:gd name="T68" fmla="*/ 809 w 1322"/>
                <a:gd name="T69" fmla="*/ 228 h 840"/>
                <a:gd name="T70" fmla="*/ 767 w 1322"/>
                <a:gd name="T71" fmla="*/ 300 h 840"/>
                <a:gd name="T72" fmla="*/ 753 w 1322"/>
                <a:gd name="T73" fmla="*/ 386 h 840"/>
                <a:gd name="T74" fmla="*/ 753 w 1322"/>
                <a:gd name="T75" fmla="*/ 839 h 840"/>
                <a:gd name="T76" fmla="*/ 575 w 1322"/>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2" h="840">
                  <a:moveTo>
                    <a:pt x="575" y="839"/>
                  </a:moveTo>
                  <a:lnTo>
                    <a:pt x="575" y="839"/>
                  </a:lnTo>
                  <a:cubicBezTo>
                    <a:pt x="575" y="386"/>
                    <a:pt x="575" y="386"/>
                    <a:pt x="575" y="386"/>
                  </a:cubicBezTo>
                  <a:cubicBezTo>
                    <a:pt x="575" y="356"/>
                    <a:pt x="572" y="325"/>
                    <a:pt x="564" y="300"/>
                  </a:cubicBezTo>
                  <a:cubicBezTo>
                    <a:pt x="556" y="272"/>
                    <a:pt x="542" y="247"/>
                    <a:pt x="525" y="228"/>
                  </a:cubicBezTo>
                  <a:cubicBezTo>
                    <a:pt x="509" y="206"/>
                    <a:pt x="486" y="189"/>
                    <a:pt x="461" y="178"/>
                  </a:cubicBezTo>
                  <a:cubicBezTo>
                    <a:pt x="436" y="167"/>
                    <a:pt x="411" y="161"/>
                    <a:pt x="381" y="161"/>
                  </a:cubicBezTo>
                  <a:cubicBezTo>
                    <a:pt x="347" y="161"/>
                    <a:pt x="320" y="167"/>
                    <a:pt x="295" y="178"/>
                  </a:cubicBezTo>
                  <a:cubicBezTo>
                    <a:pt x="270" y="189"/>
                    <a:pt x="250" y="206"/>
                    <a:pt x="231" y="228"/>
                  </a:cubicBezTo>
                  <a:cubicBezTo>
                    <a:pt x="214" y="247"/>
                    <a:pt x="200" y="272"/>
                    <a:pt x="192" y="300"/>
                  </a:cubicBezTo>
                  <a:cubicBezTo>
                    <a:pt x="181" y="325"/>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200" y="78"/>
                    <a:pt x="234" y="47"/>
                    <a:pt x="278" y="28"/>
                  </a:cubicBezTo>
                  <a:cubicBezTo>
                    <a:pt x="323" y="8"/>
                    <a:pt x="367" y="0"/>
                    <a:pt x="411" y="0"/>
                  </a:cubicBezTo>
                  <a:cubicBezTo>
                    <a:pt x="439" y="0"/>
                    <a:pt x="467" y="3"/>
                    <a:pt x="492" y="8"/>
                  </a:cubicBezTo>
                  <a:cubicBezTo>
                    <a:pt x="520" y="14"/>
                    <a:pt x="542" y="22"/>
                    <a:pt x="567" y="36"/>
                  </a:cubicBezTo>
                  <a:cubicBezTo>
                    <a:pt x="589" y="50"/>
                    <a:pt x="611" y="67"/>
                    <a:pt x="631" y="89"/>
                  </a:cubicBezTo>
                  <a:cubicBezTo>
                    <a:pt x="647" y="111"/>
                    <a:pt x="664" y="136"/>
                    <a:pt x="675" y="167"/>
                  </a:cubicBezTo>
                  <a:cubicBezTo>
                    <a:pt x="711" y="106"/>
                    <a:pt x="753" y="61"/>
                    <a:pt x="803" y="39"/>
                  </a:cubicBezTo>
                  <a:cubicBezTo>
                    <a:pt x="853" y="14"/>
                    <a:pt x="906" y="3"/>
                    <a:pt x="964" y="3"/>
                  </a:cubicBezTo>
                  <a:cubicBezTo>
                    <a:pt x="1084" y="3"/>
                    <a:pt x="1172" y="36"/>
                    <a:pt x="1230" y="103"/>
                  </a:cubicBezTo>
                  <a:cubicBezTo>
                    <a:pt x="1291" y="169"/>
                    <a:pt x="1321" y="264"/>
                    <a:pt x="1321" y="383"/>
                  </a:cubicBezTo>
                  <a:cubicBezTo>
                    <a:pt x="1321" y="839"/>
                    <a:pt x="1321" y="839"/>
                    <a:pt x="1321" y="839"/>
                  </a:cubicBezTo>
                  <a:cubicBezTo>
                    <a:pt x="1145" y="839"/>
                    <a:pt x="1145" y="839"/>
                    <a:pt x="1145" y="839"/>
                  </a:cubicBezTo>
                  <a:cubicBezTo>
                    <a:pt x="1145" y="381"/>
                    <a:pt x="1145" y="381"/>
                    <a:pt x="1145" y="381"/>
                  </a:cubicBezTo>
                  <a:cubicBezTo>
                    <a:pt x="1145" y="353"/>
                    <a:pt x="1139" y="322"/>
                    <a:pt x="1134" y="297"/>
                  </a:cubicBezTo>
                  <a:cubicBezTo>
                    <a:pt x="1125" y="269"/>
                    <a:pt x="1114" y="247"/>
                    <a:pt x="1097" y="225"/>
                  </a:cubicBezTo>
                  <a:cubicBezTo>
                    <a:pt x="1081" y="206"/>
                    <a:pt x="1061" y="189"/>
                    <a:pt x="1039" y="178"/>
                  </a:cubicBezTo>
                  <a:cubicBezTo>
                    <a:pt x="1017" y="167"/>
                    <a:pt x="989" y="161"/>
                    <a:pt x="959" y="161"/>
                  </a:cubicBezTo>
                  <a:cubicBezTo>
                    <a:pt x="928" y="161"/>
                    <a:pt x="900" y="169"/>
                    <a:pt x="872" y="181"/>
                  </a:cubicBezTo>
                  <a:cubicBezTo>
                    <a:pt x="847" y="192"/>
                    <a:pt x="825" y="208"/>
                    <a:pt x="809" y="228"/>
                  </a:cubicBezTo>
                  <a:cubicBezTo>
                    <a:pt x="792" y="247"/>
                    <a:pt x="778" y="272"/>
                    <a:pt x="767" y="300"/>
                  </a:cubicBezTo>
                  <a:cubicBezTo>
                    <a:pt x="759" y="325"/>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0" name="Freeform 27">
              <a:extLst>
                <a:ext uri="{FF2B5EF4-FFF2-40B4-BE49-F238E27FC236}">
                  <a16:creationId xmlns:a16="http://schemas.microsoft.com/office/drawing/2014/main" id="{7C10FC10-5A5F-1844-A065-1B221F00F695}"/>
                </a:ext>
              </a:extLst>
            </p:cNvPr>
            <p:cNvSpPr>
              <a:spLocks noChangeArrowheads="1"/>
            </p:cNvSpPr>
            <p:nvPr userDrawn="1"/>
          </p:nvSpPr>
          <p:spPr bwMode="auto">
            <a:xfrm>
              <a:off x="5138738" y="3743325"/>
              <a:ext cx="315912"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2 w 876"/>
                <a:gd name="T11" fmla="*/ 680 h 864"/>
                <a:gd name="T12" fmla="*/ 703 w 876"/>
                <a:gd name="T13" fmla="*/ 616 h 864"/>
                <a:gd name="T14" fmla="*/ 817 w 876"/>
                <a:gd name="T15" fmla="*/ 724 h 864"/>
                <a:gd name="T16" fmla="*/ 742 w 876"/>
                <a:gd name="T17" fmla="*/ 786 h 864"/>
                <a:gd name="T18" fmla="*/ 653 w 876"/>
                <a:gd name="T19" fmla="*/ 830 h 864"/>
                <a:gd name="T20" fmla="*/ 553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3 w 876"/>
                <a:gd name="T35" fmla="*/ 119 h 864"/>
                <a:gd name="T36" fmla="*/ 261 w 876"/>
                <a:gd name="T37" fmla="*/ 30 h 864"/>
                <a:gd name="T38" fmla="*/ 442 w 876"/>
                <a:gd name="T39" fmla="*/ 0 h 864"/>
                <a:gd name="T40" fmla="*/ 628 w 876"/>
                <a:gd name="T41" fmla="*/ 30 h 864"/>
                <a:gd name="T42" fmla="*/ 767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2 w 876"/>
                <a:gd name="T55" fmla="*/ 202 h 864"/>
                <a:gd name="T56" fmla="*/ 448 w 876"/>
                <a:gd name="T57" fmla="*/ 152 h 864"/>
                <a:gd name="T58" fmla="*/ 278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17" y="686"/>
                    <a:pt x="381" y="705"/>
                    <a:pt x="459" y="705"/>
                  </a:cubicBezTo>
                  <a:cubicBezTo>
                    <a:pt x="500" y="705"/>
                    <a:pt x="548" y="697"/>
                    <a:pt x="592" y="680"/>
                  </a:cubicBezTo>
                  <a:cubicBezTo>
                    <a:pt x="639" y="666"/>
                    <a:pt x="675" y="644"/>
                    <a:pt x="703" y="616"/>
                  </a:cubicBezTo>
                  <a:cubicBezTo>
                    <a:pt x="817" y="724"/>
                    <a:pt x="817" y="724"/>
                    <a:pt x="817" y="724"/>
                  </a:cubicBezTo>
                  <a:cubicBezTo>
                    <a:pt x="795" y="747"/>
                    <a:pt x="770" y="769"/>
                    <a:pt x="742" y="786"/>
                  </a:cubicBezTo>
                  <a:cubicBezTo>
                    <a:pt x="714" y="802"/>
                    <a:pt x="684" y="819"/>
                    <a:pt x="653" y="830"/>
                  </a:cubicBezTo>
                  <a:cubicBezTo>
                    <a:pt x="620" y="841"/>
                    <a:pt x="589" y="849"/>
                    <a:pt x="553" y="855"/>
                  </a:cubicBezTo>
                  <a:cubicBezTo>
                    <a:pt x="520" y="861"/>
                    <a:pt x="486" y="863"/>
                    <a:pt x="456" y="863"/>
                  </a:cubicBezTo>
                  <a:cubicBezTo>
                    <a:pt x="386" y="863"/>
                    <a:pt x="323" y="855"/>
                    <a:pt x="267" y="833"/>
                  </a:cubicBezTo>
                  <a:cubicBezTo>
                    <a:pt x="211" y="813"/>
                    <a:pt x="164" y="783"/>
                    <a:pt x="125" y="747"/>
                  </a:cubicBezTo>
                  <a:cubicBezTo>
                    <a:pt x="86" y="708"/>
                    <a:pt x="56" y="661"/>
                    <a:pt x="34" y="608"/>
                  </a:cubicBezTo>
                  <a:cubicBezTo>
                    <a:pt x="11" y="552"/>
                    <a:pt x="0" y="494"/>
                    <a:pt x="0" y="427"/>
                  </a:cubicBezTo>
                  <a:cubicBezTo>
                    <a:pt x="0" y="366"/>
                    <a:pt x="11" y="308"/>
                    <a:pt x="34" y="255"/>
                  </a:cubicBezTo>
                  <a:cubicBezTo>
                    <a:pt x="56" y="202"/>
                    <a:pt x="84" y="158"/>
                    <a:pt x="123" y="119"/>
                  </a:cubicBezTo>
                  <a:cubicBezTo>
                    <a:pt x="161" y="80"/>
                    <a:pt x="209" y="52"/>
                    <a:pt x="261" y="30"/>
                  </a:cubicBezTo>
                  <a:cubicBezTo>
                    <a:pt x="317" y="8"/>
                    <a:pt x="378" y="0"/>
                    <a:pt x="442" y="0"/>
                  </a:cubicBezTo>
                  <a:cubicBezTo>
                    <a:pt x="511" y="0"/>
                    <a:pt x="573" y="8"/>
                    <a:pt x="628" y="30"/>
                  </a:cubicBezTo>
                  <a:cubicBezTo>
                    <a:pt x="684" y="50"/>
                    <a:pt x="731" y="80"/>
                    <a:pt x="767" y="122"/>
                  </a:cubicBezTo>
                  <a:cubicBezTo>
                    <a:pt x="806" y="163"/>
                    <a:pt x="834" y="216"/>
                    <a:pt x="853" y="277"/>
                  </a:cubicBezTo>
                  <a:cubicBezTo>
                    <a:pt x="870" y="341"/>
                    <a:pt x="875" y="413"/>
                    <a:pt x="867" y="497"/>
                  </a:cubicBezTo>
                  <a:lnTo>
                    <a:pt x="186" y="352"/>
                  </a:lnTo>
                  <a:lnTo>
                    <a:pt x="186" y="352"/>
                  </a:lnTo>
                  <a:cubicBezTo>
                    <a:pt x="698" y="352"/>
                    <a:pt x="698" y="352"/>
                    <a:pt x="698" y="352"/>
                  </a:cubicBezTo>
                  <a:cubicBezTo>
                    <a:pt x="692" y="286"/>
                    <a:pt x="667" y="236"/>
                    <a:pt x="622" y="202"/>
                  </a:cubicBezTo>
                  <a:cubicBezTo>
                    <a:pt x="578" y="169"/>
                    <a:pt x="520" y="152"/>
                    <a:pt x="448" y="152"/>
                  </a:cubicBezTo>
                  <a:cubicBezTo>
                    <a:pt x="384" y="152"/>
                    <a:pt x="328" y="169"/>
                    <a:pt x="278"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1" name="Freeform 28">
              <a:extLst>
                <a:ext uri="{FF2B5EF4-FFF2-40B4-BE49-F238E27FC236}">
                  <a16:creationId xmlns:a16="http://schemas.microsoft.com/office/drawing/2014/main" id="{0B2929B2-C2F0-C645-B08B-4B54702C7C2F}"/>
                </a:ext>
              </a:extLst>
            </p:cNvPr>
            <p:cNvSpPr>
              <a:spLocks noChangeArrowheads="1"/>
            </p:cNvSpPr>
            <p:nvPr userDrawn="1"/>
          </p:nvSpPr>
          <p:spPr bwMode="auto">
            <a:xfrm>
              <a:off x="54975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4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9" y="147"/>
                    <a:pt x="127" y="111"/>
                  </a:cubicBezTo>
                  <a:cubicBezTo>
                    <a:pt x="166" y="75"/>
                    <a:pt x="211" y="48"/>
                    <a:pt x="264"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41" y="636"/>
                    <a:pt x="669" y="603"/>
                    <a:pt x="691" y="561"/>
                  </a:cubicBezTo>
                  <a:cubicBezTo>
                    <a:pt x="711" y="522"/>
                    <a:pt x="722" y="478"/>
                    <a:pt x="722" y="431"/>
                  </a:cubicBezTo>
                  <a:cubicBezTo>
                    <a:pt x="722" y="384"/>
                    <a:pt x="711" y="339"/>
                    <a:pt x="691" y="298"/>
                  </a:cubicBezTo>
                  <a:cubicBezTo>
                    <a:pt x="669" y="259"/>
                    <a:pt x="641"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2" name="Freeform 29">
              <a:extLst>
                <a:ext uri="{FF2B5EF4-FFF2-40B4-BE49-F238E27FC236}">
                  <a16:creationId xmlns:a16="http://schemas.microsoft.com/office/drawing/2014/main" id="{ED1FBB31-A161-B54F-8C97-BEE06BBF3972}"/>
                </a:ext>
              </a:extLst>
            </p:cNvPr>
            <p:cNvSpPr>
              <a:spLocks noChangeArrowheads="1"/>
            </p:cNvSpPr>
            <p:nvPr userDrawn="1"/>
          </p:nvSpPr>
          <p:spPr bwMode="auto">
            <a:xfrm>
              <a:off x="5905500" y="3746500"/>
              <a:ext cx="293688" cy="301625"/>
            </a:xfrm>
            <a:custGeom>
              <a:avLst/>
              <a:gdLst>
                <a:gd name="T0" fmla="*/ 639 w 817"/>
                <a:gd name="T1" fmla="*/ 836 h 837"/>
                <a:gd name="T2" fmla="*/ 639 w 817"/>
                <a:gd name="T3" fmla="*/ 836 h 837"/>
                <a:gd name="T4" fmla="*/ 639 w 817"/>
                <a:gd name="T5" fmla="*/ 397 h 837"/>
                <a:gd name="T6" fmla="*/ 580 w 817"/>
                <a:gd name="T7" fmla="*/ 225 h 837"/>
                <a:gd name="T8" fmla="*/ 411 w 817"/>
                <a:gd name="T9" fmla="*/ 158 h 837"/>
                <a:gd name="T10" fmla="*/ 316 w 817"/>
                <a:gd name="T11" fmla="*/ 178 h 837"/>
                <a:gd name="T12" fmla="*/ 241 w 817"/>
                <a:gd name="T13" fmla="*/ 230 h 837"/>
                <a:gd name="T14" fmla="*/ 194 w 817"/>
                <a:gd name="T15" fmla="*/ 311 h 837"/>
                <a:gd name="T16" fmla="*/ 177 w 817"/>
                <a:gd name="T17" fmla="*/ 405 h 837"/>
                <a:gd name="T18" fmla="*/ 177 w 817"/>
                <a:gd name="T19" fmla="*/ 836 h 837"/>
                <a:gd name="T20" fmla="*/ 0 w 817"/>
                <a:gd name="T21" fmla="*/ 836 h 837"/>
                <a:gd name="T22" fmla="*/ 0 w 817"/>
                <a:gd name="T23" fmla="*/ 11 h 837"/>
                <a:gd name="T24" fmla="*/ 161 w 817"/>
                <a:gd name="T25" fmla="*/ 11 h 837"/>
                <a:gd name="T26" fmla="*/ 172 w 817"/>
                <a:gd name="T27" fmla="*/ 130 h 837"/>
                <a:gd name="T28" fmla="*/ 455 w 817"/>
                <a:gd name="T29" fmla="*/ 0 h 837"/>
                <a:gd name="T30" fmla="*/ 597 w 817"/>
                <a:gd name="T31" fmla="*/ 25 h 837"/>
                <a:gd name="T32" fmla="*/ 711 w 817"/>
                <a:gd name="T33" fmla="*/ 100 h 837"/>
                <a:gd name="T34" fmla="*/ 789 w 817"/>
                <a:gd name="T35" fmla="*/ 225 h 837"/>
                <a:gd name="T36" fmla="*/ 816 w 817"/>
                <a:gd name="T37" fmla="*/ 394 h 837"/>
                <a:gd name="T38" fmla="*/ 816 w 817"/>
                <a:gd name="T39" fmla="*/ 836 h 837"/>
                <a:gd name="T40" fmla="*/ 639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9" y="836"/>
                  </a:moveTo>
                  <a:lnTo>
                    <a:pt x="639" y="836"/>
                  </a:lnTo>
                  <a:cubicBezTo>
                    <a:pt x="639" y="397"/>
                    <a:pt x="639" y="397"/>
                    <a:pt x="639" y="397"/>
                  </a:cubicBezTo>
                  <a:cubicBezTo>
                    <a:pt x="639" y="325"/>
                    <a:pt x="619" y="266"/>
                    <a:pt x="580" y="225"/>
                  </a:cubicBezTo>
                  <a:cubicBezTo>
                    <a:pt x="541" y="180"/>
                    <a:pt x="486" y="158"/>
                    <a:pt x="411" y="158"/>
                  </a:cubicBezTo>
                  <a:cubicBezTo>
                    <a:pt x="377" y="158"/>
                    <a:pt x="344" y="166"/>
                    <a:pt x="316" y="178"/>
                  </a:cubicBezTo>
                  <a:cubicBezTo>
                    <a:pt x="286" y="192"/>
                    <a:pt x="261" y="208"/>
                    <a:pt x="241" y="230"/>
                  </a:cubicBezTo>
                  <a:cubicBezTo>
                    <a:pt x="222" y="255"/>
                    <a:pt x="205" y="280"/>
                    <a:pt x="194" y="311"/>
                  </a:cubicBezTo>
                  <a:cubicBezTo>
                    <a:pt x="183" y="341"/>
                    <a:pt x="177" y="372"/>
                    <a:pt x="177" y="405"/>
                  </a:cubicBezTo>
                  <a:cubicBezTo>
                    <a:pt x="177" y="836"/>
                    <a:pt x="177" y="836"/>
                    <a:pt x="177" y="836"/>
                  </a:cubicBezTo>
                  <a:cubicBezTo>
                    <a:pt x="0" y="836"/>
                    <a:pt x="0" y="836"/>
                    <a:pt x="0" y="836"/>
                  </a:cubicBezTo>
                  <a:cubicBezTo>
                    <a:pt x="0" y="11"/>
                    <a:pt x="0" y="11"/>
                    <a:pt x="0" y="11"/>
                  </a:cubicBezTo>
                  <a:cubicBezTo>
                    <a:pt x="161" y="11"/>
                    <a:pt x="161" y="11"/>
                    <a:pt x="161" y="11"/>
                  </a:cubicBezTo>
                  <a:cubicBezTo>
                    <a:pt x="172" y="130"/>
                    <a:pt x="172" y="130"/>
                    <a:pt x="172" y="130"/>
                  </a:cubicBezTo>
                  <a:cubicBezTo>
                    <a:pt x="250" y="42"/>
                    <a:pt x="344" y="0"/>
                    <a:pt x="455" y="0"/>
                  </a:cubicBezTo>
                  <a:cubicBezTo>
                    <a:pt x="505" y="0"/>
                    <a:pt x="552" y="8"/>
                    <a:pt x="597" y="25"/>
                  </a:cubicBezTo>
                  <a:cubicBezTo>
                    <a:pt x="641" y="42"/>
                    <a:pt x="680" y="66"/>
                    <a:pt x="711" y="100"/>
                  </a:cubicBezTo>
                  <a:cubicBezTo>
                    <a:pt x="744" y="133"/>
                    <a:pt x="769" y="175"/>
                    <a:pt x="789" y="225"/>
                  </a:cubicBezTo>
                  <a:cubicBezTo>
                    <a:pt x="808" y="275"/>
                    <a:pt x="816" y="330"/>
                    <a:pt x="816" y="394"/>
                  </a:cubicBezTo>
                  <a:cubicBezTo>
                    <a:pt x="816" y="836"/>
                    <a:pt x="816" y="836"/>
                    <a:pt x="816" y="836"/>
                  </a:cubicBezTo>
                  <a:lnTo>
                    <a:pt x="639"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3" name="Freeform 30">
              <a:extLst>
                <a:ext uri="{FF2B5EF4-FFF2-40B4-BE49-F238E27FC236}">
                  <a16:creationId xmlns:a16="http://schemas.microsoft.com/office/drawing/2014/main" id="{A547C90C-D8AA-F74D-AB09-501656F8FCB5}"/>
                </a:ext>
              </a:extLst>
            </p:cNvPr>
            <p:cNvSpPr>
              <a:spLocks noChangeArrowheads="1"/>
            </p:cNvSpPr>
            <p:nvPr userDrawn="1"/>
          </p:nvSpPr>
          <p:spPr bwMode="auto">
            <a:xfrm>
              <a:off x="6251575"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4" name="Freeform 31">
              <a:extLst>
                <a:ext uri="{FF2B5EF4-FFF2-40B4-BE49-F238E27FC236}">
                  <a16:creationId xmlns:a16="http://schemas.microsoft.com/office/drawing/2014/main" id="{33D700A9-ED2C-DF4F-A617-187701246D0D}"/>
                </a:ext>
              </a:extLst>
            </p:cNvPr>
            <p:cNvSpPr>
              <a:spLocks noChangeArrowheads="1"/>
            </p:cNvSpPr>
            <p:nvPr userDrawn="1"/>
          </p:nvSpPr>
          <p:spPr bwMode="auto">
            <a:xfrm>
              <a:off x="6643688"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5" name="Freeform 32">
              <a:extLst>
                <a:ext uri="{FF2B5EF4-FFF2-40B4-BE49-F238E27FC236}">
                  <a16:creationId xmlns:a16="http://schemas.microsoft.com/office/drawing/2014/main" id="{CB036C5E-8288-CF44-8971-B3867DC06200}"/>
                </a:ext>
              </a:extLst>
            </p:cNvPr>
            <p:cNvSpPr>
              <a:spLocks noChangeArrowheads="1"/>
            </p:cNvSpPr>
            <p:nvPr userDrawn="1"/>
          </p:nvSpPr>
          <p:spPr bwMode="auto">
            <a:xfrm>
              <a:off x="6897688" y="3743325"/>
              <a:ext cx="314325" cy="309563"/>
            </a:xfrm>
            <a:custGeom>
              <a:avLst/>
              <a:gdLst>
                <a:gd name="T0" fmla="*/ 436 w 873"/>
                <a:gd name="T1" fmla="*/ 0 h 860"/>
                <a:gd name="T2" fmla="*/ 436 w 873"/>
                <a:gd name="T3" fmla="*/ 0 h 860"/>
                <a:gd name="T4" fmla="*/ 611 w 873"/>
                <a:gd name="T5" fmla="*/ 34 h 860"/>
                <a:gd name="T6" fmla="*/ 750 w 873"/>
                <a:gd name="T7" fmla="*/ 125 h 860"/>
                <a:gd name="T8" fmla="*/ 842 w 873"/>
                <a:gd name="T9" fmla="*/ 261 h 860"/>
                <a:gd name="T10" fmla="*/ 872 w 873"/>
                <a:gd name="T11" fmla="*/ 431 h 860"/>
                <a:gd name="T12" fmla="*/ 842 w 873"/>
                <a:gd name="T13" fmla="*/ 600 h 860"/>
                <a:gd name="T14" fmla="*/ 753 w 873"/>
                <a:gd name="T15" fmla="*/ 736 h 860"/>
                <a:gd name="T16" fmla="*/ 614 w 873"/>
                <a:gd name="T17" fmla="*/ 825 h 860"/>
                <a:gd name="T18" fmla="*/ 436 w 873"/>
                <a:gd name="T19" fmla="*/ 859 h 860"/>
                <a:gd name="T20" fmla="*/ 256 w 873"/>
                <a:gd name="T21" fmla="*/ 825 h 860"/>
                <a:gd name="T22" fmla="*/ 119 w 873"/>
                <a:gd name="T23" fmla="*/ 736 h 860"/>
                <a:gd name="T24" fmla="*/ 31 w 873"/>
                <a:gd name="T25" fmla="*/ 600 h 860"/>
                <a:gd name="T26" fmla="*/ 0 w 873"/>
                <a:gd name="T27" fmla="*/ 431 h 860"/>
                <a:gd name="T28" fmla="*/ 31 w 873"/>
                <a:gd name="T29" fmla="*/ 261 h 860"/>
                <a:gd name="T30" fmla="*/ 119 w 873"/>
                <a:gd name="T31" fmla="*/ 125 h 860"/>
                <a:gd name="T32" fmla="*/ 258 w 873"/>
                <a:gd name="T33" fmla="*/ 34 h 860"/>
                <a:gd name="T34" fmla="*/ 436 w 873"/>
                <a:gd name="T35" fmla="*/ 0 h 860"/>
                <a:gd name="T36" fmla="*/ 436 w 873"/>
                <a:gd name="T37" fmla="*/ 161 h 860"/>
                <a:gd name="T38" fmla="*/ 436 w 873"/>
                <a:gd name="T39" fmla="*/ 161 h 860"/>
                <a:gd name="T40" fmla="*/ 328 w 873"/>
                <a:gd name="T41" fmla="*/ 184 h 860"/>
                <a:gd name="T42" fmla="*/ 247 w 873"/>
                <a:gd name="T43" fmla="*/ 242 h 860"/>
                <a:gd name="T44" fmla="*/ 194 w 873"/>
                <a:gd name="T45" fmla="*/ 328 h 860"/>
                <a:gd name="T46" fmla="*/ 178 w 873"/>
                <a:gd name="T47" fmla="*/ 431 h 860"/>
                <a:gd name="T48" fmla="*/ 194 w 873"/>
                <a:gd name="T49" fmla="*/ 536 h 860"/>
                <a:gd name="T50" fmla="*/ 247 w 873"/>
                <a:gd name="T51" fmla="*/ 620 h 860"/>
                <a:gd name="T52" fmla="*/ 328 w 873"/>
                <a:gd name="T53" fmla="*/ 678 h 860"/>
                <a:gd name="T54" fmla="*/ 436 w 873"/>
                <a:gd name="T55" fmla="*/ 698 h 860"/>
                <a:gd name="T56" fmla="*/ 544 w 873"/>
                <a:gd name="T57" fmla="*/ 678 h 860"/>
                <a:gd name="T58" fmla="*/ 625 w 873"/>
                <a:gd name="T59" fmla="*/ 620 h 860"/>
                <a:gd name="T60" fmla="*/ 678 w 873"/>
                <a:gd name="T61" fmla="*/ 536 h 860"/>
                <a:gd name="T62" fmla="*/ 694 w 873"/>
                <a:gd name="T63" fmla="*/ 431 h 860"/>
                <a:gd name="T64" fmla="*/ 675 w 873"/>
                <a:gd name="T65" fmla="*/ 328 h 860"/>
                <a:gd name="T66" fmla="*/ 622 w 873"/>
                <a:gd name="T67" fmla="*/ 242 h 860"/>
                <a:gd name="T68" fmla="*/ 542 w 873"/>
                <a:gd name="T69" fmla="*/ 184 h 860"/>
                <a:gd name="T70" fmla="*/ 436 w 873"/>
                <a:gd name="T71" fmla="*/ 161 h 860"/>
                <a:gd name="T72" fmla="*/ 436 w 873"/>
                <a:gd name="T73"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60">
                  <a:moveTo>
                    <a:pt x="436" y="0"/>
                  </a:moveTo>
                  <a:lnTo>
                    <a:pt x="436" y="0"/>
                  </a:lnTo>
                  <a:cubicBezTo>
                    <a:pt x="500" y="0"/>
                    <a:pt x="558" y="11"/>
                    <a:pt x="611" y="34"/>
                  </a:cubicBezTo>
                  <a:cubicBezTo>
                    <a:pt x="667" y="59"/>
                    <a:pt x="711" y="86"/>
                    <a:pt x="750" y="125"/>
                  </a:cubicBezTo>
                  <a:cubicBezTo>
                    <a:pt x="789" y="164"/>
                    <a:pt x="819" y="209"/>
                    <a:pt x="842" y="261"/>
                  </a:cubicBezTo>
                  <a:cubicBezTo>
                    <a:pt x="861" y="314"/>
                    <a:pt x="872" y="370"/>
                    <a:pt x="872" y="431"/>
                  </a:cubicBezTo>
                  <a:cubicBezTo>
                    <a:pt x="872" y="492"/>
                    <a:pt x="861" y="547"/>
                    <a:pt x="842" y="600"/>
                  </a:cubicBezTo>
                  <a:cubicBezTo>
                    <a:pt x="819" y="653"/>
                    <a:pt x="792" y="698"/>
                    <a:pt x="753" y="736"/>
                  </a:cubicBezTo>
                  <a:cubicBezTo>
                    <a:pt x="714" y="775"/>
                    <a:pt x="669" y="806"/>
                    <a:pt x="614" y="825"/>
                  </a:cubicBezTo>
                  <a:cubicBezTo>
                    <a:pt x="561" y="847"/>
                    <a:pt x="500" y="859"/>
                    <a:pt x="436" y="859"/>
                  </a:cubicBezTo>
                  <a:cubicBezTo>
                    <a:pt x="369" y="859"/>
                    <a:pt x="308" y="847"/>
                    <a:pt x="256" y="825"/>
                  </a:cubicBezTo>
                  <a:cubicBezTo>
                    <a:pt x="203" y="806"/>
                    <a:pt x="156" y="775"/>
                    <a:pt x="119" y="736"/>
                  </a:cubicBezTo>
                  <a:cubicBezTo>
                    <a:pt x="80" y="698"/>
                    <a:pt x="53" y="653"/>
                    <a:pt x="31" y="600"/>
                  </a:cubicBezTo>
                  <a:cubicBezTo>
                    <a:pt x="11" y="547"/>
                    <a:pt x="0" y="492"/>
                    <a:pt x="0" y="431"/>
                  </a:cubicBezTo>
                  <a:cubicBezTo>
                    <a:pt x="0" y="370"/>
                    <a:pt x="11" y="314"/>
                    <a:pt x="31" y="261"/>
                  </a:cubicBezTo>
                  <a:cubicBezTo>
                    <a:pt x="53" y="209"/>
                    <a:pt x="80" y="164"/>
                    <a:pt x="119" y="125"/>
                  </a:cubicBezTo>
                  <a:cubicBezTo>
                    <a:pt x="158" y="86"/>
                    <a:pt x="203" y="59"/>
                    <a:pt x="258" y="34"/>
                  </a:cubicBezTo>
                  <a:cubicBezTo>
                    <a:pt x="311" y="11"/>
                    <a:pt x="369" y="0"/>
                    <a:pt x="436" y="0"/>
                  </a:cubicBezTo>
                  <a:lnTo>
                    <a:pt x="436" y="161"/>
                  </a:lnTo>
                  <a:lnTo>
                    <a:pt x="436" y="161"/>
                  </a:lnTo>
                  <a:cubicBezTo>
                    <a:pt x="394" y="161"/>
                    <a:pt x="358" y="170"/>
                    <a:pt x="328" y="184"/>
                  </a:cubicBezTo>
                  <a:cubicBezTo>
                    <a:pt x="294" y="198"/>
                    <a:pt x="269" y="217"/>
                    <a:pt x="247" y="242"/>
                  </a:cubicBezTo>
                  <a:cubicBezTo>
                    <a:pt x="225" y="267"/>
                    <a:pt x="206" y="298"/>
                    <a:pt x="194" y="328"/>
                  </a:cubicBezTo>
                  <a:cubicBezTo>
                    <a:pt x="183" y="361"/>
                    <a:pt x="178" y="395"/>
                    <a:pt x="178" y="431"/>
                  </a:cubicBezTo>
                  <a:cubicBezTo>
                    <a:pt x="178" y="470"/>
                    <a:pt x="183" y="503"/>
                    <a:pt x="194" y="536"/>
                  </a:cubicBezTo>
                  <a:cubicBezTo>
                    <a:pt x="206" y="567"/>
                    <a:pt x="225" y="595"/>
                    <a:pt x="247" y="620"/>
                  </a:cubicBezTo>
                  <a:cubicBezTo>
                    <a:pt x="269" y="645"/>
                    <a:pt x="294" y="664"/>
                    <a:pt x="328" y="678"/>
                  </a:cubicBezTo>
                  <a:cubicBezTo>
                    <a:pt x="358" y="692"/>
                    <a:pt x="394" y="698"/>
                    <a:pt x="436" y="698"/>
                  </a:cubicBezTo>
                  <a:cubicBezTo>
                    <a:pt x="475" y="698"/>
                    <a:pt x="511" y="692"/>
                    <a:pt x="544" y="678"/>
                  </a:cubicBezTo>
                  <a:cubicBezTo>
                    <a:pt x="575" y="664"/>
                    <a:pt x="603" y="645"/>
                    <a:pt x="625" y="620"/>
                  </a:cubicBezTo>
                  <a:cubicBezTo>
                    <a:pt x="647" y="595"/>
                    <a:pt x="664" y="567"/>
                    <a:pt x="678" y="536"/>
                  </a:cubicBezTo>
                  <a:cubicBezTo>
                    <a:pt x="689" y="503"/>
                    <a:pt x="694" y="470"/>
                    <a:pt x="694" y="431"/>
                  </a:cubicBezTo>
                  <a:cubicBezTo>
                    <a:pt x="694" y="395"/>
                    <a:pt x="689" y="361"/>
                    <a:pt x="675" y="328"/>
                  </a:cubicBezTo>
                  <a:cubicBezTo>
                    <a:pt x="664" y="298"/>
                    <a:pt x="644" y="267"/>
                    <a:pt x="622" y="242"/>
                  </a:cubicBezTo>
                  <a:cubicBezTo>
                    <a:pt x="600" y="217"/>
                    <a:pt x="572" y="198"/>
                    <a:pt x="542" y="184"/>
                  </a:cubicBezTo>
                  <a:cubicBezTo>
                    <a:pt x="508" y="170"/>
                    <a:pt x="472" y="161"/>
                    <a:pt x="436" y="161"/>
                  </a:cubicBezTo>
                  <a:lnTo>
                    <a:pt x="43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6" name="Freeform 33">
              <a:extLst>
                <a:ext uri="{FF2B5EF4-FFF2-40B4-BE49-F238E27FC236}">
                  <a16:creationId xmlns:a16="http://schemas.microsoft.com/office/drawing/2014/main" id="{AA1C64EB-7578-4549-A742-1A557634305F}"/>
                </a:ext>
              </a:extLst>
            </p:cNvPr>
            <p:cNvSpPr>
              <a:spLocks noChangeArrowheads="1"/>
            </p:cNvSpPr>
            <p:nvPr userDrawn="1"/>
          </p:nvSpPr>
          <p:spPr bwMode="auto">
            <a:xfrm>
              <a:off x="7431088" y="3627438"/>
              <a:ext cx="323850" cy="427037"/>
            </a:xfrm>
            <a:custGeom>
              <a:avLst/>
              <a:gdLst>
                <a:gd name="T0" fmla="*/ 175 w 898"/>
                <a:gd name="T1" fmla="*/ 0 h 1185"/>
                <a:gd name="T2" fmla="*/ 175 w 898"/>
                <a:gd name="T3" fmla="*/ 0 h 1185"/>
                <a:gd name="T4" fmla="*/ 175 w 898"/>
                <a:gd name="T5" fmla="*/ 472 h 1185"/>
                <a:gd name="T6" fmla="*/ 231 w 898"/>
                <a:gd name="T7" fmla="*/ 409 h 1185"/>
                <a:gd name="T8" fmla="*/ 306 w 898"/>
                <a:gd name="T9" fmla="*/ 361 h 1185"/>
                <a:gd name="T10" fmla="*/ 389 w 898"/>
                <a:gd name="T11" fmla="*/ 334 h 1185"/>
                <a:gd name="T12" fmla="*/ 472 w 898"/>
                <a:gd name="T13" fmla="*/ 325 h 1185"/>
                <a:gd name="T14" fmla="*/ 639 w 898"/>
                <a:gd name="T15" fmla="*/ 353 h 1185"/>
                <a:gd name="T16" fmla="*/ 775 w 898"/>
                <a:gd name="T17" fmla="*/ 434 h 1185"/>
                <a:gd name="T18" fmla="*/ 867 w 898"/>
                <a:gd name="T19" fmla="*/ 570 h 1185"/>
                <a:gd name="T20" fmla="*/ 897 w 898"/>
                <a:gd name="T21" fmla="*/ 753 h 1185"/>
                <a:gd name="T22" fmla="*/ 864 w 898"/>
                <a:gd name="T23" fmla="*/ 936 h 1185"/>
                <a:gd name="T24" fmla="*/ 775 w 898"/>
                <a:gd name="T25" fmla="*/ 1072 h 1185"/>
                <a:gd name="T26" fmla="*/ 639 w 898"/>
                <a:gd name="T27" fmla="*/ 1156 h 1185"/>
                <a:gd name="T28" fmla="*/ 467 w 898"/>
                <a:gd name="T29" fmla="*/ 1184 h 1185"/>
                <a:gd name="T30" fmla="*/ 303 w 898"/>
                <a:gd name="T31" fmla="*/ 1150 h 1185"/>
                <a:gd name="T32" fmla="*/ 175 w 898"/>
                <a:gd name="T33" fmla="*/ 1036 h 1185"/>
                <a:gd name="T34" fmla="*/ 167 w 898"/>
                <a:gd name="T35" fmla="*/ 1167 h 1185"/>
                <a:gd name="T36" fmla="*/ 0 w 898"/>
                <a:gd name="T37" fmla="*/ 1167 h 1185"/>
                <a:gd name="T38" fmla="*/ 0 w 898"/>
                <a:gd name="T39" fmla="*/ 0 h 1185"/>
                <a:gd name="T40" fmla="*/ 175 w 898"/>
                <a:gd name="T41" fmla="*/ 0 h 1185"/>
                <a:gd name="T42" fmla="*/ 456 w 898"/>
                <a:gd name="T43" fmla="*/ 486 h 1185"/>
                <a:gd name="T44" fmla="*/ 456 w 898"/>
                <a:gd name="T45" fmla="*/ 486 h 1185"/>
                <a:gd name="T46" fmla="*/ 353 w 898"/>
                <a:gd name="T47" fmla="*/ 506 h 1185"/>
                <a:gd name="T48" fmla="*/ 267 w 898"/>
                <a:gd name="T49" fmla="*/ 559 h 1185"/>
                <a:gd name="T50" fmla="*/ 208 w 898"/>
                <a:gd name="T51" fmla="*/ 645 h 1185"/>
                <a:gd name="T52" fmla="*/ 186 w 898"/>
                <a:gd name="T53" fmla="*/ 753 h 1185"/>
                <a:gd name="T54" fmla="*/ 208 w 898"/>
                <a:gd name="T55" fmla="*/ 864 h 1185"/>
                <a:gd name="T56" fmla="*/ 267 w 898"/>
                <a:gd name="T57" fmla="*/ 950 h 1185"/>
                <a:gd name="T58" fmla="*/ 350 w 898"/>
                <a:gd name="T59" fmla="*/ 1003 h 1185"/>
                <a:gd name="T60" fmla="*/ 456 w 898"/>
                <a:gd name="T61" fmla="*/ 1023 h 1185"/>
                <a:gd name="T62" fmla="*/ 558 w 898"/>
                <a:gd name="T63" fmla="*/ 1006 h 1185"/>
                <a:gd name="T64" fmla="*/ 645 w 898"/>
                <a:gd name="T65" fmla="*/ 950 h 1185"/>
                <a:gd name="T66" fmla="*/ 700 w 898"/>
                <a:gd name="T67" fmla="*/ 867 h 1185"/>
                <a:gd name="T68" fmla="*/ 722 w 898"/>
                <a:gd name="T69" fmla="*/ 753 h 1185"/>
                <a:gd name="T70" fmla="*/ 700 w 898"/>
                <a:gd name="T71" fmla="*/ 639 h 1185"/>
                <a:gd name="T72" fmla="*/ 645 w 898"/>
                <a:gd name="T73" fmla="*/ 556 h 1185"/>
                <a:gd name="T74" fmla="*/ 558 w 898"/>
                <a:gd name="T75" fmla="*/ 503 h 1185"/>
                <a:gd name="T76" fmla="*/ 456 w 898"/>
                <a:gd name="T77" fmla="*/ 48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8" h="1185">
                  <a:moveTo>
                    <a:pt x="175" y="0"/>
                  </a:moveTo>
                  <a:lnTo>
                    <a:pt x="175" y="0"/>
                  </a:lnTo>
                  <a:cubicBezTo>
                    <a:pt x="175" y="472"/>
                    <a:pt x="175" y="472"/>
                    <a:pt x="175" y="472"/>
                  </a:cubicBezTo>
                  <a:cubicBezTo>
                    <a:pt x="189" y="448"/>
                    <a:pt x="208" y="425"/>
                    <a:pt x="231" y="409"/>
                  </a:cubicBezTo>
                  <a:cubicBezTo>
                    <a:pt x="253" y="389"/>
                    <a:pt x="278" y="373"/>
                    <a:pt x="306" y="361"/>
                  </a:cubicBezTo>
                  <a:cubicBezTo>
                    <a:pt x="334" y="350"/>
                    <a:pt x="361" y="339"/>
                    <a:pt x="389" y="334"/>
                  </a:cubicBezTo>
                  <a:cubicBezTo>
                    <a:pt x="417" y="328"/>
                    <a:pt x="445" y="325"/>
                    <a:pt x="472" y="325"/>
                  </a:cubicBezTo>
                  <a:cubicBezTo>
                    <a:pt x="531" y="325"/>
                    <a:pt x="589" y="334"/>
                    <a:pt x="639" y="353"/>
                  </a:cubicBezTo>
                  <a:cubicBezTo>
                    <a:pt x="692" y="370"/>
                    <a:pt x="739" y="397"/>
                    <a:pt x="775" y="434"/>
                  </a:cubicBezTo>
                  <a:cubicBezTo>
                    <a:pt x="814" y="470"/>
                    <a:pt x="845" y="514"/>
                    <a:pt x="867" y="570"/>
                  </a:cubicBezTo>
                  <a:cubicBezTo>
                    <a:pt x="886" y="623"/>
                    <a:pt x="897" y="684"/>
                    <a:pt x="897" y="753"/>
                  </a:cubicBezTo>
                  <a:cubicBezTo>
                    <a:pt x="897" y="823"/>
                    <a:pt x="886" y="884"/>
                    <a:pt x="864" y="936"/>
                  </a:cubicBezTo>
                  <a:cubicBezTo>
                    <a:pt x="842" y="989"/>
                    <a:pt x="811" y="1036"/>
                    <a:pt x="775" y="1072"/>
                  </a:cubicBezTo>
                  <a:cubicBezTo>
                    <a:pt x="736" y="1109"/>
                    <a:pt x="692" y="1136"/>
                    <a:pt x="639" y="1156"/>
                  </a:cubicBezTo>
                  <a:cubicBezTo>
                    <a:pt x="586" y="1175"/>
                    <a:pt x="531" y="1184"/>
                    <a:pt x="467" y="1184"/>
                  </a:cubicBezTo>
                  <a:cubicBezTo>
                    <a:pt x="411" y="1184"/>
                    <a:pt x="356" y="1172"/>
                    <a:pt x="303" y="1150"/>
                  </a:cubicBezTo>
                  <a:cubicBezTo>
                    <a:pt x="253" y="1128"/>
                    <a:pt x="208" y="1089"/>
                    <a:pt x="175" y="1036"/>
                  </a:cubicBezTo>
                  <a:cubicBezTo>
                    <a:pt x="167" y="1167"/>
                    <a:pt x="167" y="1167"/>
                    <a:pt x="167" y="1167"/>
                  </a:cubicBezTo>
                  <a:cubicBezTo>
                    <a:pt x="0" y="1167"/>
                    <a:pt x="0" y="1167"/>
                    <a:pt x="0" y="1167"/>
                  </a:cubicBezTo>
                  <a:cubicBezTo>
                    <a:pt x="0" y="0"/>
                    <a:pt x="0" y="0"/>
                    <a:pt x="0" y="0"/>
                  </a:cubicBezTo>
                  <a:lnTo>
                    <a:pt x="175" y="0"/>
                  </a:lnTo>
                  <a:close/>
                  <a:moveTo>
                    <a:pt x="456" y="486"/>
                  </a:moveTo>
                  <a:lnTo>
                    <a:pt x="456" y="486"/>
                  </a:lnTo>
                  <a:cubicBezTo>
                    <a:pt x="420" y="486"/>
                    <a:pt x="383" y="492"/>
                    <a:pt x="353" y="506"/>
                  </a:cubicBezTo>
                  <a:cubicBezTo>
                    <a:pt x="320" y="517"/>
                    <a:pt x="289" y="536"/>
                    <a:pt x="267" y="559"/>
                  </a:cubicBezTo>
                  <a:cubicBezTo>
                    <a:pt x="242" y="584"/>
                    <a:pt x="222" y="611"/>
                    <a:pt x="208" y="645"/>
                  </a:cubicBezTo>
                  <a:cubicBezTo>
                    <a:pt x="195" y="678"/>
                    <a:pt x="186" y="714"/>
                    <a:pt x="186" y="753"/>
                  </a:cubicBezTo>
                  <a:cubicBezTo>
                    <a:pt x="186" y="795"/>
                    <a:pt x="195" y="831"/>
                    <a:pt x="208" y="864"/>
                  </a:cubicBezTo>
                  <a:cubicBezTo>
                    <a:pt x="222" y="897"/>
                    <a:pt x="242" y="925"/>
                    <a:pt x="267" y="950"/>
                  </a:cubicBezTo>
                  <a:cubicBezTo>
                    <a:pt x="289" y="972"/>
                    <a:pt x="320" y="992"/>
                    <a:pt x="350" y="1003"/>
                  </a:cubicBezTo>
                  <a:cubicBezTo>
                    <a:pt x="383" y="1017"/>
                    <a:pt x="420" y="1023"/>
                    <a:pt x="456" y="1023"/>
                  </a:cubicBezTo>
                  <a:cubicBezTo>
                    <a:pt x="492" y="1023"/>
                    <a:pt x="528" y="1017"/>
                    <a:pt x="558" y="1006"/>
                  </a:cubicBezTo>
                  <a:cubicBezTo>
                    <a:pt x="592" y="992"/>
                    <a:pt x="620" y="975"/>
                    <a:pt x="645" y="950"/>
                  </a:cubicBezTo>
                  <a:cubicBezTo>
                    <a:pt x="667" y="928"/>
                    <a:pt x="686" y="900"/>
                    <a:pt x="700" y="867"/>
                  </a:cubicBezTo>
                  <a:cubicBezTo>
                    <a:pt x="714" y="834"/>
                    <a:pt x="722" y="795"/>
                    <a:pt x="722" y="753"/>
                  </a:cubicBezTo>
                  <a:cubicBezTo>
                    <a:pt x="722" y="711"/>
                    <a:pt x="714" y="672"/>
                    <a:pt x="700" y="639"/>
                  </a:cubicBezTo>
                  <a:cubicBezTo>
                    <a:pt x="686" y="609"/>
                    <a:pt x="667" y="581"/>
                    <a:pt x="645" y="556"/>
                  </a:cubicBezTo>
                  <a:cubicBezTo>
                    <a:pt x="620" y="534"/>
                    <a:pt x="592" y="517"/>
                    <a:pt x="558" y="503"/>
                  </a:cubicBezTo>
                  <a:cubicBezTo>
                    <a:pt x="528" y="492"/>
                    <a:pt x="492" y="486"/>
                    <a:pt x="456" y="486"/>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7" name="Freeform 34">
              <a:extLst>
                <a:ext uri="{FF2B5EF4-FFF2-40B4-BE49-F238E27FC236}">
                  <a16:creationId xmlns:a16="http://schemas.microsoft.com/office/drawing/2014/main" id="{BE3E163F-70AE-E74D-B024-B0870A96A1DB}"/>
                </a:ext>
              </a:extLst>
            </p:cNvPr>
            <p:cNvSpPr>
              <a:spLocks noChangeArrowheads="1"/>
            </p:cNvSpPr>
            <p:nvPr userDrawn="1"/>
          </p:nvSpPr>
          <p:spPr bwMode="auto">
            <a:xfrm>
              <a:off x="7804150" y="3743325"/>
              <a:ext cx="315913"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5 w 876"/>
                <a:gd name="T11" fmla="*/ 680 h 864"/>
                <a:gd name="T12" fmla="*/ 703 w 876"/>
                <a:gd name="T13" fmla="*/ 616 h 864"/>
                <a:gd name="T14" fmla="*/ 817 w 876"/>
                <a:gd name="T15" fmla="*/ 724 h 864"/>
                <a:gd name="T16" fmla="*/ 742 w 876"/>
                <a:gd name="T17" fmla="*/ 786 h 864"/>
                <a:gd name="T18" fmla="*/ 653 w 876"/>
                <a:gd name="T19" fmla="*/ 830 h 864"/>
                <a:gd name="T20" fmla="*/ 556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5 w 876"/>
                <a:gd name="T35" fmla="*/ 119 h 864"/>
                <a:gd name="T36" fmla="*/ 264 w 876"/>
                <a:gd name="T37" fmla="*/ 30 h 864"/>
                <a:gd name="T38" fmla="*/ 445 w 876"/>
                <a:gd name="T39" fmla="*/ 0 h 864"/>
                <a:gd name="T40" fmla="*/ 628 w 876"/>
                <a:gd name="T41" fmla="*/ 30 h 864"/>
                <a:gd name="T42" fmla="*/ 770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3 w 876"/>
                <a:gd name="T55" fmla="*/ 202 h 864"/>
                <a:gd name="T56" fmla="*/ 450 w 876"/>
                <a:gd name="T57" fmla="*/ 152 h 864"/>
                <a:gd name="T58" fmla="*/ 281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20" y="686"/>
                    <a:pt x="381" y="705"/>
                    <a:pt x="459" y="705"/>
                  </a:cubicBezTo>
                  <a:cubicBezTo>
                    <a:pt x="503" y="705"/>
                    <a:pt x="548" y="697"/>
                    <a:pt x="595" y="680"/>
                  </a:cubicBezTo>
                  <a:cubicBezTo>
                    <a:pt x="642" y="666"/>
                    <a:pt x="678" y="644"/>
                    <a:pt x="703" y="616"/>
                  </a:cubicBezTo>
                  <a:cubicBezTo>
                    <a:pt x="817" y="724"/>
                    <a:pt x="817" y="724"/>
                    <a:pt x="817" y="724"/>
                  </a:cubicBezTo>
                  <a:cubicBezTo>
                    <a:pt x="798" y="747"/>
                    <a:pt x="770" y="769"/>
                    <a:pt x="742" y="786"/>
                  </a:cubicBezTo>
                  <a:cubicBezTo>
                    <a:pt x="714" y="802"/>
                    <a:pt x="684" y="819"/>
                    <a:pt x="653" y="830"/>
                  </a:cubicBezTo>
                  <a:cubicBezTo>
                    <a:pt x="623" y="841"/>
                    <a:pt x="589" y="849"/>
                    <a:pt x="556" y="855"/>
                  </a:cubicBezTo>
                  <a:cubicBezTo>
                    <a:pt x="520" y="861"/>
                    <a:pt x="486" y="863"/>
                    <a:pt x="456" y="863"/>
                  </a:cubicBezTo>
                  <a:cubicBezTo>
                    <a:pt x="386" y="863"/>
                    <a:pt x="323" y="855"/>
                    <a:pt x="267" y="833"/>
                  </a:cubicBezTo>
                  <a:cubicBezTo>
                    <a:pt x="212" y="813"/>
                    <a:pt x="164" y="783"/>
                    <a:pt x="125" y="747"/>
                  </a:cubicBezTo>
                  <a:cubicBezTo>
                    <a:pt x="86" y="708"/>
                    <a:pt x="56" y="661"/>
                    <a:pt x="34" y="608"/>
                  </a:cubicBezTo>
                  <a:cubicBezTo>
                    <a:pt x="12" y="552"/>
                    <a:pt x="0" y="494"/>
                    <a:pt x="0" y="427"/>
                  </a:cubicBezTo>
                  <a:cubicBezTo>
                    <a:pt x="0" y="366"/>
                    <a:pt x="12" y="308"/>
                    <a:pt x="34" y="255"/>
                  </a:cubicBezTo>
                  <a:cubicBezTo>
                    <a:pt x="56" y="202"/>
                    <a:pt x="86" y="158"/>
                    <a:pt x="125" y="119"/>
                  </a:cubicBezTo>
                  <a:cubicBezTo>
                    <a:pt x="164" y="80"/>
                    <a:pt x="209" y="52"/>
                    <a:pt x="264" y="30"/>
                  </a:cubicBezTo>
                  <a:cubicBezTo>
                    <a:pt x="317" y="8"/>
                    <a:pt x="378" y="0"/>
                    <a:pt x="445" y="0"/>
                  </a:cubicBezTo>
                  <a:cubicBezTo>
                    <a:pt x="511" y="0"/>
                    <a:pt x="573" y="8"/>
                    <a:pt x="628" y="30"/>
                  </a:cubicBezTo>
                  <a:cubicBezTo>
                    <a:pt x="684" y="50"/>
                    <a:pt x="731" y="80"/>
                    <a:pt x="770" y="122"/>
                  </a:cubicBezTo>
                  <a:cubicBezTo>
                    <a:pt x="809" y="163"/>
                    <a:pt x="836" y="216"/>
                    <a:pt x="853" y="277"/>
                  </a:cubicBezTo>
                  <a:cubicBezTo>
                    <a:pt x="870" y="341"/>
                    <a:pt x="875" y="413"/>
                    <a:pt x="867" y="497"/>
                  </a:cubicBezTo>
                  <a:lnTo>
                    <a:pt x="186" y="352"/>
                  </a:lnTo>
                  <a:lnTo>
                    <a:pt x="186" y="352"/>
                  </a:lnTo>
                  <a:cubicBezTo>
                    <a:pt x="698" y="352"/>
                    <a:pt x="698" y="352"/>
                    <a:pt x="698" y="352"/>
                  </a:cubicBezTo>
                  <a:cubicBezTo>
                    <a:pt x="692" y="286"/>
                    <a:pt x="667" y="236"/>
                    <a:pt x="623" y="202"/>
                  </a:cubicBezTo>
                  <a:cubicBezTo>
                    <a:pt x="578" y="169"/>
                    <a:pt x="520" y="152"/>
                    <a:pt x="450" y="152"/>
                  </a:cubicBezTo>
                  <a:cubicBezTo>
                    <a:pt x="384" y="152"/>
                    <a:pt x="328" y="169"/>
                    <a:pt x="281"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8" name="Freeform 36">
              <a:extLst>
                <a:ext uri="{FF2B5EF4-FFF2-40B4-BE49-F238E27FC236}">
                  <a16:creationId xmlns:a16="http://schemas.microsoft.com/office/drawing/2014/main" id="{F6A2A127-8E2A-BB46-88AE-E6004D55B654}"/>
                </a:ext>
              </a:extLst>
            </p:cNvPr>
            <p:cNvSpPr>
              <a:spLocks noChangeArrowheads="1"/>
            </p:cNvSpPr>
            <p:nvPr userDrawn="1"/>
          </p:nvSpPr>
          <p:spPr bwMode="auto">
            <a:xfrm>
              <a:off x="6570663" y="3024188"/>
              <a:ext cx="77787" cy="76200"/>
            </a:xfrm>
            <a:custGeom>
              <a:avLst/>
              <a:gdLst>
                <a:gd name="T0" fmla="*/ 0 w 218"/>
                <a:gd name="T1" fmla="*/ 106 h 213"/>
                <a:gd name="T2" fmla="*/ 0 w 218"/>
                <a:gd name="T3" fmla="*/ 106 h 213"/>
                <a:gd name="T4" fmla="*/ 33 w 218"/>
                <a:gd name="T5" fmla="*/ 25 h 213"/>
                <a:gd name="T6" fmla="*/ 108 w 218"/>
                <a:gd name="T7" fmla="*/ 0 h 213"/>
                <a:gd name="T8" fmla="*/ 183 w 218"/>
                <a:gd name="T9" fmla="*/ 25 h 213"/>
                <a:gd name="T10" fmla="*/ 217 w 218"/>
                <a:gd name="T11" fmla="*/ 106 h 213"/>
                <a:gd name="T12" fmla="*/ 183 w 218"/>
                <a:gd name="T13" fmla="*/ 184 h 213"/>
                <a:gd name="T14" fmla="*/ 108 w 218"/>
                <a:gd name="T15" fmla="*/ 212 h 213"/>
                <a:gd name="T16" fmla="*/ 33 w 218"/>
                <a:gd name="T17" fmla="*/ 184 h 213"/>
                <a:gd name="T18" fmla="*/ 0 w 218"/>
                <a:gd name="T19" fmla="*/ 10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3">
                  <a:moveTo>
                    <a:pt x="0" y="106"/>
                  </a:moveTo>
                  <a:lnTo>
                    <a:pt x="0" y="106"/>
                  </a:lnTo>
                  <a:cubicBezTo>
                    <a:pt x="0" y="70"/>
                    <a:pt x="11" y="42"/>
                    <a:pt x="33" y="25"/>
                  </a:cubicBezTo>
                  <a:cubicBezTo>
                    <a:pt x="56" y="9"/>
                    <a:pt x="80" y="0"/>
                    <a:pt x="108" y="0"/>
                  </a:cubicBezTo>
                  <a:cubicBezTo>
                    <a:pt x="136" y="0"/>
                    <a:pt x="161" y="9"/>
                    <a:pt x="183" y="25"/>
                  </a:cubicBezTo>
                  <a:cubicBezTo>
                    <a:pt x="206" y="42"/>
                    <a:pt x="217" y="70"/>
                    <a:pt x="217" y="106"/>
                  </a:cubicBezTo>
                  <a:cubicBezTo>
                    <a:pt x="217" y="139"/>
                    <a:pt x="206" y="167"/>
                    <a:pt x="183" y="184"/>
                  </a:cubicBezTo>
                  <a:cubicBezTo>
                    <a:pt x="161" y="203"/>
                    <a:pt x="136" y="212"/>
                    <a:pt x="108" y="212"/>
                  </a:cubicBezTo>
                  <a:cubicBezTo>
                    <a:pt x="80" y="212"/>
                    <a:pt x="56" y="203"/>
                    <a:pt x="33" y="184"/>
                  </a:cubicBezTo>
                  <a:cubicBezTo>
                    <a:pt x="11" y="167"/>
                    <a:pt x="0" y="139"/>
                    <a:pt x="0" y="106"/>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9" name="Freeform 37">
              <a:extLst>
                <a:ext uri="{FF2B5EF4-FFF2-40B4-BE49-F238E27FC236}">
                  <a16:creationId xmlns:a16="http://schemas.microsoft.com/office/drawing/2014/main" id="{71668889-0017-5F49-ADFA-A54F1110F4DF}"/>
                </a:ext>
              </a:extLst>
            </p:cNvPr>
            <p:cNvSpPr>
              <a:spLocks noChangeArrowheads="1"/>
            </p:cNvSpPr>
            <p:nvPr userDrawn="1"/>
          </p:nvSpPr>
          <p:spPr bwMode="auto">
            <a:xfrm>
              <a:off x="2690813" y="3625850"/>
              <a:ext cx="79375" cy="77788"/>
            </a:xfrm>
            <a:custGeom>
              <a:avLst/>
              <a:gdLst>
                <a:gd name="T0" fmla="*/ 0 w 221"/>
                <a:gd name="T1" fmla="*/ 105 h 215"/>
                <a:gd name="T2" fmla="*/ 0 w 221"/>
                <a:gd name="T3" fmla="*/ 105 h 215"/>
                <a:gd name="T4" fmla="*/ 34 w 221"/>
                <a:gd name="T5" fmla="*/ 28 h 215"/>
                <a:gd name="T6" fmla="*/ 111 w 221"/>
                <a:gd name="T7" fmla="*/ 0 h 215"/>
                <a:gd name="T8" fmla="*/ 186 w 221"/>
                <a:gd name="T9" fmla="*/ 28 h 215"/>
                <a:gd name="T10" fmla="*/ 220 w 221"/>
                <a:gd name="T11" fmla="*/ 105 h 215"/>
                <a:gd name="T12" fmla="*/ 186 w 221"/>
                <a:gd name="T13" fmla="*/ 186 h 215"/>
                <a:gd name="T14" fmla="*/ 111 w 221"/>
                <a:gd name="T15" fmla="*/ 214 h 215"/>
                <a:gd name="T16" fmla="*/ 34 w 221"/>
                <a:gd name="T17" fmla="*/ 186 h 215"/>
                <a:gd name="T18" fmla="*/ 0 w 221"/>
                <a:gd name="T19" fmla="*/ 10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215">
                  <a:moveTo>
                    <a:pt x="0" y="105"/>
                  </a:moveTo>
                  <a:lnTo>
                    <a:pt x="0" y="105"/>
                  </a:lnTo>
                  <a:cubicBezTo>
                    <a:pt x="0" y="69"/>
                    <a:pt x="11" y="44"/>
                    <a:pt x="34" y="28"/>
                  </a:cubicBezTo>
                  <a:cubicBezTo>
                    <a:pt x="59" y="8"/>
                    <a:pt x="84" y="0"/>
                    <a:pt x="111" y="0"/>
                  </a:cubicBezTo>
                  <a:cubicBezTo>
                    <a:pt x="136" y="0"/>
                    <a:pt x="161" y="8"/>
                    <a:pt x="186" y="28"/>
                  </a:cubicBezTo>
                  <a:cubicBezTo>
                    <a:pt x="209" y="44"/>
                    <a:pt x="220" y="69"/>
                    <a:pt x="220" y="105"/>
                  </a:cubicBezTo>
                  <a:cubicBezTo>
                    <a:pt x="220" y="141"/>
                    <a:pt x="209" y="169"/>
                    <a:pt x="186" y="186"/>
                  </a:cubicBezTo>
                  <a:cubicBezTo>
                    <a:pt x="161" y="202"/>
                    <a:pt x="136" y="214"/>
                    <a:pt x="111" y="214"/>
                  </a:cubicBezTo>
                  <a:cubicBezTo>
                    <a:pt x="84" y="214"/>
                    <a:pt x="59" y="202"/>
                    <a:pt x="34" y="186"/>
                  </a:cubicBezTo>
                  <a:cubicBezTo>
                    <a:pt x="11" y="169"/>
                    <a:pt x="0" y="141"/>
                    <a:pt x="0" y="105"/>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
        <p:nvSpPr>
          <p:cNvPr id="53" name="Freeform 1">
            <a:extLst>
              <a:ext uri="{FF2B5EF4-FFF2-40B4-BE49-F238E27FC236}">
                <a16:creationId xmlns:a16="http://schemas.microsoft.com/office/drawing/2014/main" id="{CD176246-222A-A84B-BE67-B1217F40D35A}"/>
              </a:ext>
            </a:extLst>
          </p:cNvPr>
          <p:cNvSpPr>
            <a:spLocks noChangeArrowheads="1"/>
          </p:cNvSpPr>
          <p:nvPr/>
        </p:nvSpPr>
        <p:spPr bwMode="auto">
          <a:xfrm>
            <a:off x="6717187" y="428048"/>
            <a:ext cx="1995013" cy="1911515"/>
          </a:xfrm>
          <a:custGeom>
            <a:avLst/>
            <a:gdLst>
              <a:gd name="T0" fmla="*/ 0 w 9182"/>
              <a:gd name="T1" fmla="*/ 0 h 8794"/>
              <a:gd name="T2" fmla="*/ 0 w 9182"/>
              <a:gd name="T3" fmla="*/ 1368563 h 8794"/>
              <a:gd name="T4" fmla="*/ 1796572 w 9182"/>
              <a:gd name="T5" fmla="*/ 1368563 h 8794"/>
              <a:gd name="T6" fmla="*/ 1796572 w 9182"/>
              <a:gd name="T7" fmla="*/ 3165116 h 8794"/>
              <a:gd name="T8" fmla="*/ 3304815 w 9182"/>
              <a:gd name="T9" fmla="*/ 3165116 h 8794"/>
              <a:gd name="T10" fmla="*/ 3304815 w 9182"/>
              <a:gd name="T11" fmla="*/ 0 h 8794"/>
              <a:gd name="T12" fmla="*/ 0 w 9182"/>
              <a:gd name="T13" fmla="*/ 0 h 87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182" h="8794">
                <a:moveTo>
                  <a:pt x="0" y="0"/>
                </a:moveTo>
                <a:lnTo>
                  <a:pt x="0" y="3802"/>
                </a:lnTo>
                <a:lnTo>
                  <a:pt x="4991" y="3802"/>
                </a:lnTo>
                <a:lnTo>
                  <a:pt x="4991" y="8793"/>
                </a:lnTo>
                <a:lnTo>
                  <a:pt x="9181" y="8793"/>
                </a:lnTo>
                <a:lnTo>
                  <a:pt x="9181"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4" name="Freeform 2">
            <a:extLst>
              <a:ext uri="{FF2B5EF4-FFF2-40B4-BE49-F238E27FC236}">
                <a16:creationId xmlns:a16="http://schemas.microsoft.com/office/drawing/2014/main" id="{5CE06423-3EAE-214C-BF22-4AB459871883}"/>
              </a:ext>
            </a:extLst>
          </p:cNvPr>
          <p:cNvSpPr>
            <a:spLocks noChangeArrowheads="1"/>
          </p:cNvSpPr>
          <p:nvPr/>
        </p:nvSpPr>
        <p:spPr bwMode="auto">
          <a:xfrm>
            <a:off x="4724829" y="3186378"/>
            <a:ext cx="3904745" cy="3823029"/>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5" name="Rectangle 54">
            <a:extLst>
              <a:ext uri="{FF2B5EF4-FFF2-40B4-BE49-F238E27FC236}">
                <a16:creationId xmlns:a16="http://schemas.microsoft.com/office/drawing/2014/main" id="{ACAC6EF0-DA8B-4F4C-AFE9-61F72A9663B7}"/>
              </a:ext>
            </a:extLst>
          </p:cNvPr>
          <p:cNvSpPr/>
          <p:nvPr userDrawn="1"/>
        </p:nvSpPr>
        <p:spPr>
          <a:xfrm>
            <a:off x="0" y="1347788"/>
            <a:ext cx="3455989" cy="3795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8" name="TextBox 57">
            <a:extLst>
              <a:ext uri="{FF2B5EF4-FFF2-40B4-BE49-F238E27FC236}">
                <a16:creationId xmlns:a16="http://schemas.microsoft.com/office/drawing/2014/main" id="{2D7B7D32-96D6-494C-BB98-9833A5306838}"/>
              </a:ext>
            </a:extLst>
          </p:cNvPr>
          <p:cNvSpPr txBox="1"/>
          <p:nvPr userDrawn="1"/>
        </p:nvSpPr>
        <p:spPr>
          <a:xfrm>
            <a:off x="0" y="1986952"/>
            <a:ext cx="3455988" cy="2534787"/>
          </a:xfrm>
          <a:prstGeom prst="rect">
            <a:avLst/>
          </a:prstGeom>
        </p:spPr>
        <p:txBody>
          <a:bodyPr wrap="square" lIns="432000" tIns="0" rIns="360000" bIns="72000" rtlCol="0">
            <a:spAutoFit/>
          </a:bodyPr>
          <a:lstStyle/>
          <a:p>
            <a:pPr marL="0" marR="0" lvl="0" indent="0" algn="l" defTabSz="685800" rtl="0" eaLnBrk="1" fontAlgn="auto" latinLnBrk="0" hangingPunct="1">
              <a:lnSpc>
                <a:spcPct val="120000"/>
              </a:lnSpc>
              <a:spcBef>
                <a:spcPts val="60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mn-lt"/>
                <a:ea typeface="+mn-ea"/>
                <a:cs typeface="+mn-cs"/>
              </a:rPr>
              <a:t>Odigo helps big organizations connect with individuals through world-class, cloud-based contact center solutions. Our cutting-edge, proprietary technologies enable a seamless, efficient, omnichannel experience for your customers and a satisfying, engaging experience for your service agents.</a:t>
            </a:r>
          </a:p>
          <a:p>
            <a:pPr marL="0" marR="0" lvl="0" indent="0" algn="l" defTabSz="685800" rtl="0" eaLnBrk="1" fontAlgn="auto" latinLnBrk="0" hangingPunct="1">
              <a:lnSpc>
                <a:spcPct val="120000"/>
              </a:lnSpc>
              <a:spcBef>
                <a:spcPts val="60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mn-lt"/>
                <a:ea typeface="+mn-ea"/>
                <a:cs typeface="+mn-cs"/>
              </a:rPr>
              <a:t>Odigo serves more than 400,000 agents and business users globally. With a 25-year history of industry firsts, Odigo has more than 350 clients around the world.</a:t>
            </a:r>
          </a:p>
          <a:p>
            <a:pPr marL="0" marR="0" lvl="0" indent="0" algn="l" defTabSz="685800" rtl="0" eaLnBrk="1" fontAlgn="auto" latinLnBrk="0" hangingPunct="1">
              <a:lnSpc>
                <a:spcPct val="120000"/>
              </a:lnSpc>
              <a:spcBef>
                <a:spcPts val="60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mn-lt"/>
                <a:ea typeface="+mn-ea"/>
                <a:cs typeface="+mn-cs"/>
              </a:rPr>
              <a:t>Odigo is a Capgemini brand, which means we benefit from the scale and expertise of one of the world’s foremost providers of consulting, technology services and digital transformation.</a:t>
            </a:r>
          </a:p>
          <a:p>
            <a:pPr marL="0" marR="0" lvl="0" indent="0" algn="l" defTabSz="685800" rtl="0" eaLnBrk="1" fontAlgn="auto" latinLnBrk="0" hangingPunct="1">
              <a:lnSpc>
                <a:spcPct val="120000"/>
              </a:lnSpc>
              <a:spcBef>
                <a:spcPts val="60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mn-lt"/>
                <a:ea typeface="+mn-ea"/>
                <a:cs typeface="+mn-cs"/>
              </a:rPr>
              <a:t>Visit us at</a:t>
            </a:r>
          </a:p>
          <a:p>
            <a:pPr marL="0" marR="0" lvl="0" indent="0" algn="l" defTabSz="685800" rtl="0" eaLnBrk="1" fontAlgn="auto" latinLnBrk="0" hangingPunct="1">
              <a:lnSpc>
                <a:spcPct val="120000"/>
              </a:lnSpc>
              <a:spcBef>
                <a:spcPts val="150"/>
              </a:spcBef>
              <a:spcAft>
                <a:spcPts val="0"/>
              </a:spcAft>
              <a:buClrTx/>
              <a:buSzTx/>
              <a:buFontTx/>
              <a:buNone/>
              <a:tabLst/>
              <a:defRPr/>
            </a:pPr>
            <a:r>
              <a:rPr kumimoji="0" lang="en-US" sz="1000" b="0" i="0" u="none" strike="noStrike" kern="1200" cap="none" spc="0" normalizeH="0" baseline="0" noProof="0">
                <a:ln>
                  <a:noFill/>
                </a:ln>
                <a:solidFill>
                  <a:srgbClr val="FF3466"/>
                </a:solidFill>
                <a:effectLst/>
                <a:uLnTx/>
                <a:uFillTx/>
                <a:latin typeface="+mn-lt"/>
                <a:ea typeface="+mn-ea"/>
                <a:cs typeface="+mn-cs"/>
                <a:hlinkClick r:id="rId2">
                  <a:extLst>
                    <a:ext uri="{A12FA001-AC4F-418D-AE19-62706E023703}">
                      <ahyp:hlinkClr xmlns:ahyp="http://schemas.microsoft.com/office/drawing/2018/hyperlinkcolor" val="tx"/>
                    </a:ext>
                  </a:extLst>
                </a:hlinkClick>
              </a:rPr>
              <a:t>www.odigo.com</a:t>
            </a:r>
            <a:endParaRPr kumimoji="0" lang="en-US" sz="1000" b="0" i="0" u="none" strike="noStrike" kern="1200" cap="none" spc="0" normalizeH="0" baseline="0" noProof="0">
              <a:ln>
                <a:noFill/>
              </a:ln>
              <a:solidFill>
                <a:srgbClr val="FF3466"/>
              </a:solidFill>
              <a:effectLst/>
              <a:uLnTx/>
              <a:uFillTx/>
              <a:latin typeface="+mn-lt"/>
              <a:ea typeface="+mn-ea"/>
              <a:cs typeface="+mn-cs"/>
            </a:endParaRPr>
          </a:p>
        </p:txBody>
      </p:sp>
      <p:sp>
        <p:nvSpPr>
          <p:cNvPr id="60" name="Footer Placeholder 13">
            <a:extLst>
              <a:ext uri="{FF2B5EF4-FFF2-40B4-BE49-F238E27FC236}">
                <a16:creationId xmlns:a16="http://schemas.microsoft.com/office/drawing/2014/main" id="{C6375F62-BFE9-DB4E-B7AB-659ADD0EDF00}"/>
              </a:ext>
            </a:extLst>
          </p:cNvPr>
          <p:cNvSpPr txBox="1">
            <a:spLocks/>
          </p:cNvSpPr>
          <p:nvPr userDrawn="1"/>
        </p:nvSpPr>
        <p:spPr>
          <a:xfrm>
            <a:off x="10090" y="4581322"/>
            <a:ext cx="3461514" cy="552430"/>
          </a:xfrm>
          <a:prstGeom prst="rect">
            <a:avLst/>
          </a:prstGeom>
        </p:spPr>
        <p:txBody>
          <a:bodyPr vert="horz" wrap="none" lIns="432000" tIns="0" rIns="0" bIns="180000" anchor="b" anchorCtr="0">
            <a:noAutofit/>
          </a:bodyPr>
          <a:lstStyle>
            <a:defPPr>
              <a:defRPr lang="pt-PT"/>
            </a:defPPr>
            <a:lvl1pPr marL="0" algn="l" defTabSz="685800" rtl="0" eaLnBrk="1" latinLnBrk="0" hangingPunct="1">
              <a:defRPr lang="pl-PL" sz="600" kern="1200" dirty="0">
                <a:solidFill>
                  <a:schemeClr val="accent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450"/>
              </a:spcAft>
            </a:pPr>
            <a:r>
              <a:rPr lang="en-US" sz="600" noProof="0">
                <a:solidFill>
                  <a:schemeClr val="bg1"/>
                </a:solidFill>
                <a:latin typeface="+mn-lt"/>
                <a:cs typeface="Arial"/>
              </a:rPr>
              <a:t>This message contains information that may be privileged</a:t>
            </a:r>
            <a:br>
              <a:rPr lang="en-US" sz="600" noProof="0">
                <a:solidFill>
                  <a:schemeClr val="bg1"/>
                </a:solidFill>
                <a:latin typeface="+mn-lt"/>
                <a:cs typeface="Arial"/>
              </a:rPr>
            </a:br>
            <a:r>
              <a:rPr lang="en-US" sz="600" noProof="0">
                <a:solidFill>
                  <a:schemeClr val="bg1"/>
                </a:solidFill>
                <a:latin typeface="+mn-lt"/>
                <a:cs typeface="Arial"/>
              </a:rPr>
              <a:t>or confidential and is the property of the Odigo.</a:t>
            </a:r>
            <a:br>
              <a:rPr lang="en-US" sz="600" noProof="0">
                <a:solidFill>
                  <a:schemeClr val="bg1"/>
                </a:solidFill>
                <a:latin typeface="+mn-lt"/>
                <a:cs typeface="Arial"/>
              </a:rPr>
            </a:br>
            <a:r>
              <a:rPr lang="en-US" sz="600" noProof="0">
                <a:solidFill>
                  <a:schemeClr val="bg1"/>
                </a:solidFill>
                <a:latin typeface="+mn-lt"/>
                <a:cs typeface="Arial"/>
              </a:rPr>
              <a:t>Copyright © 2018 Odigo. All rights reserved.</a:t>
            </a:r>
          </a:p>
        </p:txBody>
      </p:sp>
      <p:sp>
        <p:nvSpPr>
          <p:cNvPr id="61" name="Title 1">
            <a:extLst>
              <a:ext uri="{FF2B5EF4-FFF2-40B4-BE49-F238E27FC236}">
                <a16:creationId xmlns:a16="http://schemas.microsoft.com/office/drawing/2014/main" id="{382C367C-80E9-0C44-8361-28CBE50C42B7}"/>
              </a:ext>
            </a:extLst>
          </p:cNvPr>
          <p:cNvSpPr txBox="1">
            <a:spLocks/>
          </p:cNvSpPr>
          <p:nvPr userDrawn="1"/>
        </p:nvSpPr>
        <p:spPr>
          <a:xfrm>
            <a:off x="3473930" y="1491075"/>
            <a:ext cx="1836885" cy="486930"/>
          </a:xfrm>
          <a:prstGeom prst="rect">
            <a:avLst/>
          </a:prstGeom>
        </p:spPr>
        <p:txBody>
          <a:bodyPr lIns="432000" tIns="180000" rIns="72000" bIns="0"/>
          <a:lstStyle>
            <a:lvl1pPr marL="0" marR="0" indent="0" algn="l" defTabSz="685800" rtl="0" eaLnBrk="1" fontAlgn="auto" latinLnBrk="0" hangingPunct="1">
              <a:lnSpc>
                <a:spcPct val="90000"/>
              </a:lnSpc>
              <a:spcBef>
                <a:spcPct val="0"/>
              </a:spcBef>
              <a:spcAft>
                <a:spcPts val="0"/>
              </a:spcAft>
              <a:buClrTx/>
              <a:buSzTx/>
              <a:buFontTx/>
              <a:buNone/>
              <a:tabLst/>
              <a:defRPr kumimoji="0" lang="pl-PL" sz="1200" b="0" i="0" u="none" strike="noStrike" kern="1200" cap="none" spc="0" normalizeH="0" baseline="0" noProof="0" smtClean="0">
                <a:ln>
                  <a:noFill/>
                </a:ln>
                <a:solidFill>
                  <a:schemeClr val="accent2"/>
                </a:solidFill>
                <a:effectLst/>
                <a:uLnTx/>
                <a:uFillTx/>
                <a:latin typeface="+mj-lt"/>
                <a:ea typeface="+mj-ea"/>
                <a:cs typeface="+mj-cs"/>
              </a:defRPr>
            </a:lvl1pPr>
          </a:lstStyle>
          <a:p>
            <a:r>
              <a:rPr lang="en-US" noProof="0"/>
              <a:t>Contact us</a:t>
            </a:r>
            <a:br>
              <a:rPr lang="en-US" noProof="0"/>
            </a:br>
            <a:endParaRPr lang="en-US" noProof="0"/>
          </a:p>
        </p:txBody>
      </p:sp>
      <p:sp>
        <p:nvSpPr>
          <p:cNvPr id="71" name="Title 1">
            <a:extLst>
              <a:ext uri="{FF2B5EF4-FFF2-40B4-BE49-F238E27FC236}">
                <a16:creationId xmlns:a16="http://schemas.microsoft.com/office/drawing/2014/main" id="{157E951B-0B21-604B-AAE6-EA08AC350E8B}"/>
              </a:ext>
            </a:extLst>
          </p:cNvPr>
          <p:cNvSpPr txBox="1">
            <a:spLocks/>
          </p:cNvSpPr>
          <p:nvPr userDrawn="1"/>
        </p:nvSpPr>
        <p:spPr>
          <a:xfrm>
            <a:off x="-1299" y="1491075"/>
            <a:ext cx="3455988" cy="486930"/>
          </a:xfrm>
          <a:prstGeom prst="rect">
            <a:avLst/>
          </a:prstGeom>
        </p:spPr>
        <p:txBody>
          <a:bodyPr lIns="432000" tIns="180000" rIns="72000" bIns="0"/>
          <a:lstStyle>
            <a:lvl1pPr marL="0" marR="0" indent="0" algn="l" defTabSz="685800" rtl="0" eaLnBrk="1" fontAlgn="auto" latinLnBrk="0" hangingPunct="1">
              <a:lnSpc>
                <a:spcPct val="90000"/>
              </a:lnSpc>
              <a:spcBef>
                <a:spcPct val="0"/>
              </a:spcBef>
              <a:spcAft>
                <a:spcPts val="0"/>
              </a:spcAft>
              <a:buClrTx/>
              <a:buSzTx/>
              <a:buFontTx/>
              <a:buNone/>
              <a:tabLst/>
              <a:defRPr kumimoji="0" lang="pl-PL" sz="1200" b="0" i="0" u="none" strike="noStrike" kern="1200" cap="none" spc="0" normalizeH="0" baseline="0" noProof="0" smtClean="0">
                <a:ln>
                  <a:noFill/>
                </a:ln>
                <a:solidFill>
                  <a:schemeClr val="accent2"/>
                </a:solidFill>
                <a:effectLst/>
                <a:uLnTx/>
                <a:uFillTx/>
                <a:latin typeface="+mj-lt"/>
                <a:ea typeface="+mj-ea"/>
                <a:cs typeface="+mj-cs"/>
              </a:defRPr>
            </a:lvl1pPr>
          </a:lstStyle>
          <a:p>
            <a:r>
              <a:rPr lang="en-US" noProof="0"/>
              <a:t>About Odigo</a:t>
            </a:r>
          </a:p>
        </p:txBody>
      </p:sp>
    </p:spTree>
    <p:extLst>
      <p:ext uri="{BB962C8B-B14F-4D97-AF65-F5344CB8AC3E}">
        <p14:creationId xmlns:p14="http://schemas.microsoft.com/office/powerpoint/2010/main" val="1000259552"/>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digo-Content_Blank-white">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940C9135-6637-AF45-84D7-EB9299190038}"/>
              </a:ext>
            </a:extLst>
          </p:cNvPr>
          <p:cNvGrpSpPr/>
          <p:nvPr userDrawn="1"/>
        </p:nvGrpSpPr>
        <p:grpSpPr>
          <a:xfrm>
            <a:off x="431799" y="428048"/>
            <a:ext cx="1336166" cy="539307"/>
            <a:chOff x="2286000" y="2193925"/>
            <a:chExt cx="6835775" cy="2759075"/>
          </a:xfrm>
        </p:grpSpPr>
        <p:sp>
          <p:nvSpPr>
            <p:cNvPr id="6" name="Freeform 1">
              <a:extLst>
                <a:ext uri="{FF2B5EF4-FFF2-40B4-BE49-F238E27FC236}">
                  <a16:creationId xmlns:a16="http://schemas.microsoft.com/office/drawing/2014/main" id="{FDABF372-4BE0-594C-9605-B7712E61CA54}"/>
                </a:ext>
              </a:extLst>
            </p:cNvPr>
            <p:cNvSpPr>
              <a:spLocks noChangeArrowheads="1"/>
            </p:cNvSpPr>
            <p:nvPr/>
          </p:nvSpPr>
          <p:spPr bwMode="auto">
            <a:xfrm>
              <a:off x="8378825" y="2471738"/>
              <a:ext cx="742950" cy="706437"/>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 name="Freeform 2">
              <a:extLst>
                <a:ext uri="{FF2B5EF4-FFF2-40B4-BE49-F238E27FC236}">
                  <a16:creationId xmlns:a16="http://schemas.microsoft.com/office/drawing/2014/main" id="{8DD4678A-2B46-2245-B2BC-F7BA7A8F3ACB}"/>
                </a:ext>
              </a:extLst>
            </p:cNvPr>
            <p:cNvSpPr>
              <a:spLocks noChangeArrowheads="1"/>
            </p:cNvSpPr>
            <p:nvPr/>
          </p:nvSpPr>
          <p:spPr bwMode="auto">
            <a:xfrm>
              <a:off x="5299075" y="2781300"/>
              <a:ext cx="333375" cy="1349375"/>
            </a:xfrm>
            <a:custGeom>
              <a:avLst/>
              <a:gdLst>
                <a:gd name="T0" fmla="*/ 0 w 927"/>
                <a:gd name="T1" fmla="*/ 3749 h 3750"/>
                <a:gd name="T2" fmla="*/ 926 w 927"/>
                <a:gd name="T3" fmla="*/ 3749 h 3750"/>
                <a:gd name="T4" fmla="*/ 926 w 927"/>
                <a:gd name="T5" fmla="*/ 0 h 3750"/>
                <a:gd name="T6" fmla="*/ 0 w 927"/>
                <a:gd name="T7" fmla="*/ 0 h 3750"/>
                <a:gd name="T8" fmla="*/ 0 w 927"/>
                <a:gd name="T9" fmla="*/ 3749 h 3750"/>
              </a:gdLst>
              <a:ahLst/>
              <a:cxnLst>
                <a:cxn ang="0">
                  <a:pos x="T0" y="T1"/>
                </a:cxn>
                <a:cxn ang="0">
                  <a:pos x="T2" y="T3"/>
                </a:cxn>
                <a:cxn ang="0">
                  <a:pos x="T4" y="T5"/>
                </a:cxn>
                <a:cxn ang="0">
                  <a:pos x="T6" y="T7"/>
                </a:cxn>
                <a:cxn ang="0">
                  <a:pos x="T8" y="T9"/>
                </a:cxn>
              </a:cxnLst>
              <a:rect l="0" t="0" r="r" b="b"/>
              <a:pathLst>
                <a:path w="927" h="3750">
                  <a:moveTo>
                    <a:pt x="0" y="3749"/>
                  </a:moveTo>
                  <a:lnTo>
                    <a:pt x="926" y="3749"/>
                  </a:lnTo>
                  <a:lnTo>
                    <a:pt x="926" y="0"/>
                  </a:lnTo>
                  <a:lnTo>
                    <a:pt x="0" y="0"/>
                  </a:lnTo>
                  <a:lnTo>
                    <a:pt x="0" y="3749"/>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 name="Freeform 3">
              <a:extLst>
                <a:ext uri="{FF2B5EF4-FFF2-40B4-BE49-F238E27FC236}">
                  <a16:creationId xmlns:a16="http://schemas.microsoft.com/office/drawing/2014/main" id="{43044BC9-00D8-9E44-8BD5-D59C1568C88F}"/>
                </a:ext>
              </a:extLst>
            </p:cNvPr>
            <p:cNvSpPr>
              <a:spLocks noChangeArrowheads="1"/>
            </p:cNvSpPr>
            <p:nvPr/>
          </p:nvSpPr>
          <p:spPr bwMode="auto">
            <a:xfrm>
              <a:off x="3781425" y="2193925"/>
              <a:ext cx="1206500" cy="1973263"/>
            </a:xfrm>
            <a:custGeom>
              <a:avLst/>
              <a:gdLst>
                <a:gd name="T0" fmla="*/ 2426 w 3353"/>
                <a:gd name="T1" fmla="*/ 1631 h 5480"/>
                <a:gd name="T2" fmla="*/ 2426 w 3353"/>
                <a:gd name="T3" fmla="*/ 1631 h 5480"/>
                <a:gd name="T4" fmla="*/ 2459 w 3353"/>
                <a:gd name="T5" fmla="*/ 1940 h 5480"/>
                <a:gd name="T6" fmla="*/ 1290 w 3353"/>
                <a:gd name="T7" fmla="*/ 1532 h 5480"/>
                <a:gd name="T8" fmla="*/ 0 w 3353"/>
                <a:gd name="T9" fmla="*/ 1995 h 5480"/>
                <a:gd name="T10" fmla="*/ 463 w 3353"/>
                <a:gd name="T11" fmla="*/ 2833 h 5480"/>
                <a:gd name="T12" fmla="*/ 1323 w 3353"/>
                <a:gd name="T13" fmla="*/ 2403 h 5480"/>
                <a:gd name="T14" fmla="*/ 2393 w 3353"/>
                <a:gd name="T15" fmla="*/ 3506 h 5480"/>
                <a:gd name="T16" fmla="*/ 1323 w 3353"/>
                <a:gd name="T17" fmla="*/ 4619 h 5480"/>
                <a:gd name="T18" fmla="*/ 485 w 3353"/>
                <a:gd name="T19" fmla="*/ 4178 h 5480"/>
                <a:gd name="T20" fmla="*/ 0 w 3353"/>
                <a:gd name="T21" fmla="*/ 5049 h 5480"/>
                <a:gd name="T22" fmla="*/ 1290 w 3353"/>
                <a:gd name="T23" fmla="*/ 5479 h 5480"/>
                <a:gd name="T24" fmla="*/ 2459 w 3353"/>
                <a:gd name="T25" fmla="*/ 5071 h 5480"/>
                <a:gd name="T26" fmla="*/ 2492 w 3353"/>
                <a:gd name="T27" fmla="*/ 5380 h 5480"/>
                <a:gd name="T28" fmla="*/ 3352 w 3353"/>
                <a:gd name="T29" fmla="*/ 5380 h 5480"/>
                <a:gd name="T30" fmla="*/ 3352 w 3353"/>
                <a:gd name="T31" fmla="*/ 0 h 5480"/>
                <a:gd name="T32" fmla="*/ 2426 w 3353"/>
                <a:gd name="T33" fmla="*/ 0 h 5480"/>
                <a:gd name="T34" fmla="*/ 2426 w 3353"/>
                <a:gd name="T35" fmla="*/ 1631 h 5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53" h="5480">
                  <a:moveTo>
                    <a:pt x="2426" y="1631"/>
                  </a:moveTo>
                  <a:lnTo>
                    <a:pt x="2426" y="1631"/>
                  </a:lnTo>
                  <a:cubicBezTo>
                    <a:pt x="2426" y="1819"/>
                    <a:pt x="2459" y="1940"/>
                    <a:pt x="2459" y="1940"/>
                  </a:cubicBezTo>
                  <a:cubicBezTo>
                    <a:pt x="2150" y="1720"/>
                    <a:pt x="1786" y="1532"/>
                    <a:pt x="1290" y="1532"/>
                  </a:cubicBezTo>
                  <a:cubicBezTo>
                    <a:pt x="794" y="1532"/>
                    <a:pt x="364" y="1720"/>
                    <a:pt x="0" y="1995"/>
                  </a:cubicBezTo>
                  <a:cubicBezTo>
                    <a:pt x="210" y="2249"/>
                    <a:pt x="364" y="2524"/>
                    <a:pt x="463" y="2833"/>
                  </a:cubicBezTo>
                  <a:cubicBezTo>
                    <a:pt x="673" y="2557"/>
                    <a:pt x="948" y="2403"/>
                    <a:pt x="1323" y="2403"/>
                  </a:cubicBezTo>
                  <a:cubicBezTo>
                    <a:pt x="1963" y="2403"/>
                    <a:pt x="2393" y="2833"/>
                    <a:pt x="2393" y="3506"/>
                  </a:cubicBezTo>
                  <a:cubicBezTo>
                    <a:pt x="2393" y="4211"/>
                    <a:pt x="1941" y="4619"/>
                    <a:pt x="1323" y="4619"/>
                  </a:cubicBezTo>
                  <a:cubicBezTo>
                    <a:pt x="982" y="4619"/>
                    <a:pt x="673" y="4465"/>
                    <a:pt x="485" y="4178"/>
                  </a:cubicBezTo>
                  <a:cubicBezTo>
                    <a:pt x="397" y="4520"/>
                    <a:pt x="210" y="4795"/>
                    <a:pt x="0" y="5049"/>
                  </a:cubicBezTo>
                  <a:cubicBezTo>
                    <a:pt x="364" y="5325"/>
                    <a:pt x="794" y="5479"/>
                    <a:pt x="1290" y="5479"/>
                  </a:cubicBezTo>
                  <a:cubicBezTo>
                    <a:pt x="1753" y="5479"/>
                    <a:pt x="2183" y="5292"/>
                    <a:pt x="2459" y="5071"/>
                  </a:cubicBezTo>
                  <a:cubicBezTo>
                    <a:pt x="2492" y="5380"/>
                    <a:pt x="2492" y="5380"/>
                    <a:pt x="2492" y="5380"/>
                  </a:cubicBezTo>
                  <a:cubicBezTo>
                    <a:pt x="3352" y="5380"/>
                    <a:pt x="3352" y="5380"/>
                    <a:pt x="3352" y="5380"/>
                  </a:cubicBezTo>
                  <a:cubicBezTo>
                    <a:pt x="3352" y="0"/>
                    <a:pt x="3352" y="0"/>
                    <a:pt x="3352" y="0"/>
                  </a:cubicBezTo>
                  <a:cubicBezTo>
                    <a:pt x="2426" y="0"/>
                    <a:pt x="2426" y="0"/>
                    <a:pt x="2426" y="0"/>
                  </a:cubicBezTo>
                  <a:lnTo>
                    <a:pt x="2426" y="1631"/>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 name="Freeform 4">
              <a:extLst>
                <a:ext uri="{FF2B5EF4-FFF2-40B4-BE49-F238E27FC236}">
                  <a16:creationId xmlns:a16="http://schemas.microsoft.com/office/drawing/2014/main" id="{BF4E43AD-2C21-9944-994A-CAAF6C963CCC}"/>
                </a:ext>
              </a:extLst>
            </p:cNvPr>
            <p:cNvSpPr>
              <a:spLocks noChangeArrowheads="1"/>
            </p:cNvSpPr>
            <p:nvPr/>
          </p:nvSpPr>
          <p:spPr bwMode="auto">
            <a:xfrm>
              <a:off x="2286000" y="2746375"/>
              <a:ext cx="1441450" cy="1420813"/>
            </a:xfrm>
            <a:custGeom>
              <a:avLst/>
              <a:gdLst>
                <a:gd name="T0" fmla="*/ 1995 w 4003"/>
                <a:gd name="T1" fmla="*/ 0 h 3948"/>
                <a:gd name="T2" fmla="*/ 1995 w 4003"/>
                <a:gd name="T3" fmla="*/ 0 h 3948"/>
                <a:gd name="T4" fmla="*/ 0 w 4003"/>
                <a:gd name="T5" fmla="*/ 1974 h 3948"/>
                <a:gd name="T6" fmla="*/ 1995 w 4003"/>
                <a:gd name="T7" fmla="*/ 3947 h 3948"/>
                <a:gd name="T8" fmla="*/ 4002 w 4003"/>
                <a:gd name="T9" fmla="*/ 1974 h 3948"/>
                <a:gd name="T10" fmla="*/ 1995 w 4003"/>
                <a:gd name="T11" fmla="*/ 0 h 3948"/>
                <a:gd name="T12" fmla="*/ 1995 w 4003"/>
                <a:gd name="T13" fmla="*/ 3087 h 3948"/>
                <a:gd name="T14" fmla="*/ 1995 w 4003"/>
                <a:gd name="T15" fmla="*/ 3087 h 3948"/>
                <a:gd name="T16" fmla="*/ 926 w 4003"/>
                <a:gd name="T17" fmla="*/ 1974 h 3948"/>
                <a:gd name="T18" fmla="*/ 1995 w 4003"/>
                <a:gd name="T19" fmla="*/ 871 h 3948"/>
                <a:gd name="T20" fmla="*/ 3076 w 4003"/>
                <a:gd name="T21" fmla="*/ 1974 h 3948"/>
                <a:gd name="T22" fmla="*/ 1995 w 4003"/>
                <a:gd name="T23" fmla="*/ 3087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3" h="3948">
                  <a:moveTo>
                    <a:pt x="1995" y="0"/>
                  </a:moveTo>
                  <a:lnTo>
                    <a:pt x="1995" y="0"/>
                  </a:lnTo>
                  <a:cubicBezTo>
                    <a:pt x="860" y="0"/>
                    <a:pt x="0" y="893"/>
                    <a:pt x="0" y="1974"/>
                  </a:cubicBezTo>
                  <a:cubicBezTo>
                    <a:pt x="0" y="3109"/>
                    <a:pt x="860" y="3947"/>
                    <a:pt x="1995" y="3947"/>
                  </a:cubicBezTo>
                  <a:cubicBezTo>
                    <a:pt x="3142" y="3947"/>
                    <a:pt x="4002" y="3109"/>
                    <a:pt x="4002" y="1974"/>
                  </a:cubicBezTo>
                  <a:cubicBezTo>
                    <a:pt x="4002" y="893"/>
                    <a:pt x="3142" y="0"/>
                    <a:pt x="1995" y="0"/>
                  </a:cubicBezTo>
                  <a:close/>
                  <a:moveTo>
                    <a:pt x="1995" y="3087"/>
                  </a:moveTo>
                  <a:lnTo>
                    <a:pt x="1995" y="3087"/>
                  </a:lnTo>
                  <a:cubicBezTo>
                    <a:pt x="1389" y="3087"/>
                    <a:pt x="926" y="2624"/>
                    <a:pt x="926" y="1974"/>
                  </a:cubicBezTo>
                  <a:cubicBezTo>
                    <a:pt x="926" y="1356"/>
                    <a:pt x="1356" y="871"/>
                    <a:pt x="1995" y="871"/>
                  </a:cubicBezTo>
                  <a:cubicBezTo>
                    <a:pt x="2646" y="871"/>
                    <a:pt x="3076" y="1356"/>
                    <a:pt x="3076" y="1974"/>
                  </a:cubicBezTo>
                  <a:cubicBezTo>
                    <a:pt x="3076" y="2624"/>
                    <a:pt x="2613" y="3087"/>
                    <a:pt x="1995" y="3087"/>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 name="Freeform 5">
              <a:extLst>
                <a:ext uri="{FF2B5EF4-FFF2-40B4-BE49-F238E27FC236}">
                  <a16:creationId xmlns:a16="http://schemas.microsoft.com/office/drawing/2014/main" id="{246FDFCD-AB8B-B542-BCB9-2A7604ACA518}"/>
                </a:ext>
              </a:extLst>
            </p:cNvPr>
            <p:cNvSpPr>
              <a:spLocks noChangeArrowheads="1"/>
            </p:cNvSpPr>
            <p:nvPr/>
          </p:nvSpPr>
          <p:spPr bwMode="auto">
            <a:xfrm>
              <a:off x="5862638" y="2627313"/>
              <a:ext cx="1420812" cy="2325687"/>
            </a:xfrm>
            <a:custGeom>
              <a:avLst/>
              <a:gdLst>
                <a:gd name="T0" fmla="*/ 3914 w 3948"/>
                <a:gd name="T1" fmla="*/ 2216 h 6462"/>
                <a:gd name="T2" fmla="*/ 3914 w 3948"/>
                <a:gd name="T3" fmla="*/ 2216 h 6462"/>
                <a:gd name="T4" fmla="*/ 3517 w 3948"/>
                <a:gd name="T5" fmla="*/ 1048 h 6462"/>
                <a:gd name="T6" fmla="*/ 3947 w 3948"/>
                <a:gd name="T7" fmla="*/ 519 h 6462"/>
                <a:gd name="T8" fmla="*/ 3263 w 3948"/>
                <a:gd name="T9" fmla="*/ 0 h 6462"/>
                <a:gd name="T10" fmla="*/ 2800 w 3948"/>
                <a:gd name="T11" fmla="*/ 519 h 6462"/>
                <a:gd name="T12" fmla="*/ 1940 w 3948"/>
                <a:gd name="T13" fmla="*/ 331 h 6462"/>
                <a:gd name="T14" fmla="*/ 0 w 3948"/>
                <a:gd name="T15" fmla="*/ 2305 h 6462"/>
                <a:gd name="T16" fmla="*/ 1510 w 3948"/>
                <a:gd name="T17" fmla="*/ 4057 h 6462"/>
                <a:gd name="T18" fmla="*/ 2954 w 3948"/>
                <a:gd name="T19" fmla="*/ 4895 h 6462"/>
                <a:gd name="T20" fmla="*/ 2061 w 3948"/>
                <a:gd name="T21" fmla="*/ 5568 h 6462"/>
                <a:gd name="T22" fmla="*/ 1080 w 3948"/>
                <a:gd name="T23" fmla="*/ 4829 h 6462"/>
                <a:gd name="T24" fmla="*/ 1080 w 3948"/>
                <a:gd name="T25" fmla="*/ 4741 h 6462"/>
                <a:gd name="T26" fmla="*/ 132 w 3948"/>
                <a:gd name="T27" fmla="*/ 4741 h 6462"/>
                <a:gd name="T28" fmla="*/ 132 w 3948"/>
                <a:gd name="T29" fmla="*/ 4829 h 6462"/>
                <a:gd name="T30" fmla="*/ 2039 w 3948"/>
                <a:gd name="T31" fmla="*/ 6461 h 6462"/>
                <a:gd name="T32" fmla="*/ 3914 w 3948"/>
                <a:gd name="T33" fmla="*/ 4951 h 6462"/>
                <a:gd name="T34" fmla="*/ 3021 w 3948"/>
                <a:gd name="T35" fmla="*/ 3694 h 6462"/>
                <a:gd name="T36" fmla="*/ 3914 w 3948"/>
                <a:gd name="T37" fmla="*/ 2216 h 6462"/>
                <a:gd name="T38" fmla="*/ 1940 w 3948"/>
                <a:gd name="T39" fmla="*/ 3286 h 6462"/>
                <a:gd name="T40" fmla="*/ 1940 w 3948"/>
                <a:gd name="T41" fmla="*/ 3286 h 6462"/>
                <a:gd name="T42" fmla="*/ 959 w 3948"/>
                <a:gd name="T43" fmla="*/ 2238 h 6462"/>
                <a:gd name="T44" fmla="*/ 1940 w 3948"/>
                <a:gd name="T45" fmla="*/ 1202 h 6462"/>
                <a:gd name="T46" fmla="*/ 2954 w 3948"/>
                <a:gd name="T47" fmla="*/ 2238 h 6462"/>
                <a:gd name="T48" fmla="*/ 1940 w 3948"/>
                <a:gd name="T49" fmla="*/ 3286 h 6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8" h="6462">
                  <a:moveTo>
                    <a:pt x="3914" y="2216"/>
                  </a:moveTo>
                  <a:lnTo>
                    <a:pt x="3914" y="2216"/>
                  </a:lnTo>
                  <a:cubicBezTo>
                    <a:pt x="3914" y="1786"/>
                    <a:pt x="3759" y="1356"/>
                    <a:pt x="3517" y="1048"/>
                  </a:cubicBezTo>
                  <a:cubicBezTo>
                    <a:pt x="3947" y="519"/>
                    <a:pt x="3947" y="519"/>
                    <a:pt x="3947" y="519"/>
                  </a:cubicBezTo>
                  <a:cubicBezTo>
                    <a:pt x="3263" y="0"/>
                    <a:pt x="3263" y="0"/>
                    <a:pt x="3263" y="0"/>
                  </a:cubicBezTo>
                  <a:cubicBezTo>
                    <a:pt x="2800" y="519"/>
                    <a:pt x="2800" y="519"/>
                    <a:pt x="2800" y="519"/>
                  </a:cubicBezTo>
                  <a:cubicBezTo>
                    <a:pt x="2558" y="397"/>
                    <a:pt x="2282" y="331"/>
                    <a:pt x="1940" y="331"/>
                  </a:cubicBezTo>
                  <a:cubicBezTo>
                    <a:pt x="805" y="331"/>
                    <a:pt x="0" y="1202"/>
                    <a:pt x="0" y="2305"/>
                  </a:cubicBezTo>
                  <a:cubicBezTo>
                    <a:pt x="0" y="3286"/>
                    <a:pt x="595" y="3903"/>
                    <a:pt x="1510" y="4057"/>
                  </a:cubicBezTo>
                  <a:cubicBezTo>
                    <a:pt x="2128" y="4179"/>
                    <a:pt x="2954" y="4157"/>
                    <a:pt x="2954" y="4895"/>
                  </a:cubicBezTo>
                  <a:cubicBezTo>
                    <a:pt x="2954" y="5292"/>
                    <a:pt x="2679" y="5568"/>
                    <a:pt x="2061" y="5568"/>
                  </a:cubicBezTo>
                  <a:cubicBezTo>
                    <a:pt x="1422" y="5568"/>
                    <a:pt x="1080" y="5193"/>
                    <a:pt x="1080" y="4829"/>
                  </a:cubicBezTo>
                  <a:cubicBezTo>
                    <a:pt x="1080" y="4796"/>
                    <a:pt x="1080" y="4763"/>
                    <a:pt x="1080" y="4741"/>
                  </a:cubicBezTo>
                  <a:cubicBezTo>
                    <a:pt x="132" y="4741"/>
                    <a:pt x="132" y="4741"/>
                    <a:pt x="132" y="4741"/>
                  </a:cubicBezTo>
                  <a:cubicBezTo>
                    <a:pt x="132" y="4763"/>
                    <a:pt x="132" y="4796"/>
                    <a:pt x="132" y="4829"/>
                  </a:cubicBezTo>
                  <a:cubicBezTo>
                    <a:pt x="132" y="5689"/>
                    <a:pt x="871" y="6461"/>
                    <a:pt x="2039" y="6461"/>
                  </a:cubicBezTo>
                  <a:cubicBezTo>
                    <a:pt x="3329" y="6461"/>
                    <a:pt x="3914" y="5689"/>
                    <a:pt x="3914" y="4951"/>
                  </a:cubicBezTo>
                  <a:cubicBezTo>
                    <a:pt x="3914" y="4245"/>
                    <a:pt x="3539" y="3870"/>
                    <a:pt x="3021" y="3694"/>
                  </a:cubicBezTo>
                  <a:cubicBezTo>
                    <a:pt x="3539" y="3440"/>
                    <a:pt x="3914" y="2889"/>
                    <a:pt x="3914" y="2216"/>
                  </a:cubicBezTo>
                  <a:close/>
                  <a:moveTo>
                    <a:pt x="1940" y="3286"/>
                  </a:moveTo>
                  <a:lnTo>
                    <a:pt x="1940" y="3286"/>
                  </a:lnTo>
                  <a:cubicBezTo>
                    <a:pt x="1356" y="3286"/>
                    <a:pt x="959" y="2889"/>
                    <a:pt x="959" y="2238"/>
                  </a:cubicBezTo>
                  <a:cubicBezTo>
                    <a:pt x="959" y="1632"/>
                    <a:pt x="1334" y="1202"/>
                    <a:pt x="1940" y="1202"/>
                  </a:cubicBezTo>
                  <a:cubicBezTo>
                    <a:pt x="2591" y="1202"/>
                    <a:pt x="2954" y="1632"/>
                    <a:pt x="2954" y="2238"/>
                  </a:cubicBezTo>
                  <a:cubicBezTo>
                    <a:pt x="2954" y="2889"/>
                    <a:pt x="2624" y="3286"/>
                    <a:pt x="1940" y="3286"/>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1" name="Freeform 6">
              <a:extLst>
                <a:ext uri="{FF2B5EF4-FFF2-40B4-BE49-F238E27FC236}">
                  <a16:creationId xmlns:a16="http://schemas.microsoft.com/office/drawing/2014/main" id="{3EBF9576-59CF-6449-8E8E-2BD94A5AB5CF}"/>
                </a:ext>
              </a:extLst>
            </p:cNvPr>
            <p:cNvSpPr>
              <a:spLocks noChangeArrowheads="1"/>
            </p:cNvSpPr>
            <p:nvPr/>
          </p:nvSpPr>
          <p:spPr bwMode="auto">
            <a:xfrm>
              <a:off x="5299075" y="2193925"/>
              <a:ext cx="333375" cy="322263"/>
            </a:xfrm>
            <a:custGeom>
              <a:avLst/>
              <a:gdLst>
                <a:gd name="T0" fmla="*/ 0 w 927"/>
                <a:gd name="T1" fmla="*/ 893 h 894"/>
                <a:gd name="T2" fmla="*/ 926 w 927"/>
                <a:gd name="T3" fmla="*/ 893 h 894"/>
                <a:gd name="T4" fmla="*/ 926 w 927"/>
                <a:gd name="T5" fmla="*/ 0 h 894"/>
                <a:gd name="T6" fmla="*/ 0 w 927"/>
                <a:gd name="T7" fmla="*/ 0 h 894"/>
                <a:gd name="T8" fmla="*/ 0 w 927"/>
                <a:gd name="T9" fmla="*/ 893 h 894"/>
              </a:gdLst>
              <a:ahLst/>
              <a:cxnLst>
                <a:cxn ang="0">
                  <a:pos x="T0" y="T1"/>
                </a:cxn>
                <a:cxn ang="0">
                  <a:pos x="T2" y="T3"/>
                </a:cxn>
                <a:cxn ang="0">
                  <a:pos x="T4" y="T5"/>
                </a:cxn>
                <a:cxn ang="0">
                  <a:pos x="T6" y="T7"/>
                </a:cxn>
                <a:cxn ang="0">
                  <a:pos x="T8" y="T9"/>
                </a:cxn>
              </a:cxnLst>
              <a:rect l="0" t="0" r="r" b="b"/>
              <a:pathLst>
                <a:path w="927" h="894">
                  <a:moveTo>
                    <a:pt x="0" y="893"/>
                  </a:moveTo>
                  <a:lnTo>
                    <a:pt x="926" y="893"/>
                  </a:lnTo>
                  <a:lnTo>
                    <a:pt x="926" y="0"/>
                  </a:lnTo>
                  <a:lnTo>
                    <a:pt x="0" y="0"/>
                  </a:lnTo>
                  <a:lnTo>
                    <a:pt x="0" y="893"/>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2" name="Freeform 7">
              <a:extLst>
                <a:ext uri="{FF2B5EF4-FFF2-40B4-BE49-F238E27FC236}">
                  <a16:creationId xmlns:a16="http://schemas.microsoft.com/office/drawing/2014/main" id="{6FE554D2-37E1-9D4D-9147-123F350E1FBD}"/>
                </a:ext>
              </a:extLst>
            </p:cNvPr>
            <p:cNvSpPr>
              <a:spLocks noChangeArrowheads="1"/>
            </p:cNvSpPr>
            <p:nvPr/>
          </p:nvSpPr>
          <p:spPr bwMode="auto">
            <a:xfrm>
              <a:off x="7458075" y="2746375"/>
              <a:ext cx="1452563" cy="1420813"/>
            </a:xfrm>
            <a:custGeom>
              <a:avLst/>
              <a:gdLst>
                <a:gd name="T0" fmla="*/ 3076 w 4036"/>
                <a:gd name="T1" fmla="*/ 1764 h 3948"/>
                <a:gd name="T2" fmla="*/ 3076 w 4036"/>
                <a:gd name="T3" fmla="*/ 1764 h 3948"/>
                <a:gd name="T4" fmla="*/ 3076 w 4036"/>
                <a:gd name="T5" fmla="*/ 1974 h 3948"/>
                <a:gd name="T6" fmla="*/ 2007 w 4036"/>
                <a:gd name="T7" fmla="*/ 3087 h 3948"/>
                <a:gd name="T8" fmla="*/ 959 w 4036"/>
                <a:gd name="T9" fmla="*/ 1974 h 3948"/>
                <a:gd name="T10" fmla="*/ 2007 w 4036"/>
                <a:gd name="T11" fmla="*/ 871 h 3948"/>
                <a:gd name="T12" fmla="*/ 2062 w 4036"/>
                <a:gd name="T13" fmla="*/ 871 h 3948"/>
                <a:gd name="T14" fmla="*/ 2062 w 4036"/>
                <a:gd name="T15" fmla="*/ 0 h 3948"/>
                <a:gd name="T16" fmla="*/ 2007 w 4036"/>
                <a:gd name="T17" fmla="*/ 0 h 3948"/>
                <a:gd name="T18" fmla="*/ 0 w 4036"/>
                <a:gd name="T19" fmla="*/ 1974 h 3948"/>
                <a:gd name="T20" fmla="*/ 2007 w 4036"/>
                <a:gd name="T21" fmla="*/ 3947 h 3948"/>
                <a:gd name="T22" fmla="*/ 4035 w 4036"/>
                <a:gd name="T23" fmla="*/ 1974 h 3948"/>
                <a:gd name="T24" fmla="*/ 4002 w 4036"/>
                <a:gd name="T25" fmla="*/ 1764 h 3948"/>
                <a:gd name="T26" fmla="*/ 3076 w 4036"/>
                <a:gd name="T27" fmla="*/ 1764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6" h="3948">
                  <a:moveTo>
                    <a:pt x="3076" y="1764"/>
                  </a:moveTo>
                  <a:lnTo>
                    <a:pt x="3076" y="1764"/>
                  </a:lnTo>
                  <a:cubicBezTo>
                    <a:pt x="3076" y="1852"/>
                    <a:pt x="3076" y="1907"/>
                    <a:pt x="3076" y="1974"/>
                  </a:cubicBezTo>
                  <a:cubicBezTo>
                    <a:pt x="3076" y="2624"/>
                    <a:pt x="2624" y="3087"/>
                    <a:pt x="2007" y="3087"/>
                  </a:cubicBezTo>
                  <a:cubicBezTo>
                    <a:pt x="1422" y="3087"/>
                    <a:pt x="959" y="2624"/>
                    <a:pt x="959" y="1974"/>
                  </a:cubicBezTo>
                  <a:cubicBezTo>
                    <a:pt x="959" y="1356"/>
                    <a:pt x="1389" y="871"/>
                    <a:pt x="2007" y="871"/>
                  </a:cubicBezTo>
                  <a:cubicBezTo>
                    <a:pt x="2040" y="871"/>
                    <a:pt x="2040" y="871"/>
                    <a:pt x="2062" y="871"/>
                  </a:cubicBezTo>
                  <a:cubicBezTo>
                    <a:pt x="2062" y="0"/>
                    <a:pt x="2062" y="0"/>
                    <a:pt x="2062" y="0"/>
                  </a:cubicBezTo>
                  <a:cubicBezTo>
                    <a:pt x="2040" y="0"/>
                    <a:pt x="2040" y="0"/>
                    <a:pt x="2007" y="0"/>
                  </a:cubicBezTo>
                  <a:cubicBezTo>
                    <a:pt x="871" y="0"/>
                    <a:pt x="0" y="893"/>
                    <a:pt x="0" y="1974"/>
                  </a:cubicBezTo>
                  <a:cubicBezTo>
                    <a:pt x="0" y="3109"/>
                    <a:pt x="871" y="3947"/>
                    <a:pt x="2007" y="3947"/>
                  </a:cubicBezTo>
                  <a:cubicBezTo>
                    <a:pt x="3175" y="3947"/>
                    <a:pt x="4035" y="3109"/>
                    <a:pt x="4035" y="1974"/>
                  </a:cubicBezTo>
                  <a:cubicBezTo>
                    <a:pt x="4035" y="1907"/>
                    <a:pt x="4035" y="1852"/>
                    <a:pt x="4002" y="1764"/>
                  </a:cubicBezTo>
                  <a:lnTo>
                    <a:pt x="3076" y="176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grpSp>
        <p:nvGrpSpPr>
          <p:cNvPr id="13" name="Group 12">
            <a:extLst>
              <a:ext uri="{FF2B5EF4-FFF2-40B4-BE49-F238E27FC236}">
                <a16:creationId xmlns:a16="http://schemas.microsoft.com/office/drawing/2014/main" id="{759B5EDD-76D3-A549-906E-E6933C3C22E8}"/>
              </a:ext>
            </a:extLst>
          </p:cNvPr>
          <p:cNvGrpSpPr/>
          <p:nvPr userDrawn="1"/>
        </p:nvGrpSpPr>
        <p:grpSpPr>
          <a:xfrm>
            <a:off x="7019217" y="4429239"/>
            <a:ext cx="1692983" cy="279387"/>
            <a:chOff x="1828800" y="3017838"/>
            <a:chExt cx="6291263" cy="1038225"/>
          </a:xfrm>
        </p:grpSpPr>
        <p:sp>
          <p:nvSpPr>
            <p:cNvPr id="14" name="Freeform 1">
              <a:extLst>
                <a:ext uri="{FF2B5EF4-FFF2-40B4-BE49-F238E27FC236}">
                  <a16:creationId xmlns:a16="http://schemas.microsoft.com/office/drawing/2014/main" id="{BBA856B6-29AA-BE46-8F07-234314CD8909}"/>
                </a:ext>
              </a:extLst>
            </p:cNvPr>
            <p:cNvSpPr>
              <a:spLocks noChangeArrowheads="1"/>
            </p:cNvSpPr>
            <p:nvPr userDrawn="1"/>
          </p:nvSpPr>
          <p:spPr bwMode="auto">
            <a:xfrm>
              <a:off x="1831975" y="3017838"/>
              <a:ext cx="388938" cy="438150"/>
            </a:xfrm>
            <a:custGeom>
              <a:avLst/>
              <a:gdLst>
                <a:gd name="T0" fmla="*/ 1081 w 1082"/>
                <a:gd name="T1" fmla="*/ 1042 h 1215"/>
                <a:gd name="T2" fmla="*/ 1081 w 1082"/>
                <a:gd name="T3" fmla="*/ 1042 h 1215"/>
                <a:gd name="T4" fmla="*/ 873 w 1082"/>
                <a:gd name="T5" fmla="*/ 1172 h 1215"/>
                <a:gd name="T6" fmla="*/ 631 w 1082"/>
                <a:gd name="T7" fmla="*/ 1214 h 1215"/>
                <a:gd name="T8" fmla="*/ 350 w 1082"/>
                <a:gd name="T9" fmla="*/ 1164 h 1215"/>
                <a:gd name="T10" fmla="*/ 153 w 1082"/>
                <a:gd name="T11" fmla="*/ 1028 h 1215"/>
                <a:gd name="T12" fmla="*/ 39 w 1082"/>
                <a:gd name="T13" fmla="*/ 836 h 1215"/>
                <a:gd name="T14" fmla="*/ 0 w 1082"/>
                <a:gd name="T15" fmla="*/ 614 h 1215"/>
                <a:gd name="T16" fmla="*/ 39 w 1082"/>
                <a:gd name="T17" fmla="*/ 389 h 1215"/>
                <a:gd name="T18" fmla="*/ 156 w 1082"/>
                <a:gd name="T19" fmla="*/ 192 h 1215"/>
                <a:gd name="T20" fmla="*/ 353 w 1082"/>
                <a:gd name="T21" fmla="*/ 53 h 1215"/>
                <a:gd name="T22" fmla="*/ 631 w 1082"/>
                <a:gd name="T23" fmla="*/ 0 h 1215"/>
                <a:gd name="T24" fmla="*/ 864 w 1082"/>
                <a:gd name="T25" fmla="*/ 44 h 1215"/>
                <a:gd name="T26" fmla="*/ 1070 w 1082"/>
                <a:gd name="T27" fmla="*/ 178 h 1215"/>
                <a:gd name="T28" fmla="*/ 942 w 1082"/>
                <a:gd name="T29" fmla="*/ 297 h 1215"/>
                <a:gd name="T30" fmla="*/ 795 w 1082"/>
                <a:gd name="T31" fmla="*/ 206 h 1215"/>
                <a:gd name="T32" fmla="*/ 631 w 1082"/>
                <a:gd name="T33" fmla="*/ 178 h 1215"/>
                <a:gd name="T34" fmla="*/ 434 w 1082"/>
                <a:gd name="T35" fmla="*/ 214 h 1215"/>
                <a:gd name="T36" fmla="*/ 298 w 1082"/>
                <a:gd name="T37" fmla="*/ 314 h 1215"/>
                <a:gd name="T38" fmla="*/ 217 w 1082"/>
                <a:gd name="T39" fmla="*/ 453 h 1215"/>
                <a:gd name="T40" fmla="*/ 192 w 1082"/>
                <a:gd name="T41" fmla="*/ 614 h 1215"/>
                <a:gd name="T42" fmla="*/ 217 w 1082"/>
                <a:gd name="T43" fmla="*/ 769 h 1215"/>
                <a:gd name="T44" fmla="*/ 295 w 1082"/>
                <a:gd name="T45" fmla="*/ 906 h 1215"/>
                <a:gd name="T46" fmla="*/ 434 w 1082"/>
                <a:gd name="T47" fmla="*/ 1003 h 1215"/>
                <a:gd name="T48" fmla="*/ 631 w 1082"/>
                <a:gd name="T49" fmla="*/ 1039 h 1215"/>
                <a:gd name="T50" fmla="*/ 800 w 1082"/>
                <a:gd name="T51" fmla="*/ 1008 h 1215"/>
                <a:gd name="T52" fmla="*/ 950 w 1082"/>
                <a:gd name="T53" fmla="*/ 911 h 1215"/>
                <a:gd name="T54" fmla="*/ 1081 w 1082"/>
                <a:gd name="T55" fmla="*/ 1042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2" h="1215">
                  <a:moveTo>
                    <a:pt x="1081" y="1042"/>
                  </a:moveTo>
                  <a:lnTo>
                    <a:pt x="1081" y="1042"/>
                  </a:lnTo>
                  <a:cubicBezTo>
                    <a:pt x="1020" y="1100"/>
                    <a:pt x="950" y="1144"/>
                    <a:pt x="873" y="1172"/>
                  </a:cubicBezTo>
                  <a:cubicBezTo>
                    <a:pt x="798" y="1200"/>
                    <a:pt x="717" y="1214"/>
                    <a:pt x="631" y="1214"/>
                  </a:cubicBezTo>
                  <a:cubicBezTo>
                    <a:pt x="523" y="1214"/>
                    <a:pt x="431" y="1197"/>
                    <a:pt x="350" y="1164"/>
                  </a:cubicBezTo>
                  <a:cubicBezTo>
                    <a:pt x="273" y="1130"/>
                    <a:pt x="206" y="1086"/>
                    <a:pt x="153" y="1028"/>
                  </a:cubicBezTo>
                  <a:cubicBezTo>
                    <a:pt x="103" y="972"/>
                    <a:pt x="64" y="908"/>
                    <a:pt x="39" y="836"/>
                  </a:cubicBezTo>
                  <a:cubicBezTo>
                    <a:pt x="14" y="764"/>
                    <a:pt x="0" y="692"/>
                    <a:pt x="0" y="614"/>
                  </a:cubicBezTo>
                  <a:cubicBezTo>
                    <a:pt x="0" y="536"/>
                    <a:pt x="14" y="461"/>
                    <a:pt x="39" y="389"/>
                  </a:cubicBezTo>
                  <a:cubicBezTo>
                    <a:pt x="67" y="314"/>
                    <a:pt x="103" y="250"/>
                    <a:pt x="156" y="192"/>
                  </a:cubicBezTo>
                  <a:cubicBezTo>
                    <a:pt x="209" y="133"/>
                    <a:pt x="273" y="89"/>
                    <a:pt x="353" y="53"/>
                  </a:cubicBezTo>
                  <a:cubicBezTo>
                    <a:pt x="431" y="17"/>
                    <a:pt x="525" y="0"/>
                    <a:pt x="631" y="0"/>
                  </a:cubicBezTo>
                  <a:cubicBezTo>
                    <a:pt x="711" y="0"/>
                    <a:pt x="789" y="14"/>
                    <a:pt x="864" y="44"/>
                  </a:cubicBezTo>
                  <a:cubicBezTo>
                    <a:pt x="939" y="72"/>
                    <a:pt x="1009" y="117"/>
                    <a:pt x="1070" y="178"/>
                  </a:cubicBezTo>
                  <a:cubicBezTo>
                    <a:pt x="942" y="297"/>
                    <a:pt x="942" y="297"/>
                    <a:pt x="942" y="297"/>
                  </a:cubicBezTo>
                  <a:cubicBezTo>
                    <a:pt x="898" y="256"/>
                    <a:pt x="850" y="225"/>
                    <a:pt x="795" y="206"/>
                  </a:cubicBezTo>
                  <a:cubicBezTo>
                    <a:pt x="742" y="186"/>
                    <a:pt x="686" y="178"/>
                    <a:pt x="631" y="178"/>
                  </a:cubicBezTo>
                  <a:cubicBezTo>
                    <a:pt x="556" y="178"/>
                    <a:pt x="489" y="189"/>
                    <a:pt x="434" y="214"/>
                  </a:cubicBezTo>
                  <a:cubicBezTo>
                    <a:pt x="378" y="239"/>
                    <a:pt x="334" y="272"/>
                    <a:pt x="298" y="314"/>
                  </a:cubicBezTo>
                  <a:cubicBezTo>
                    <a:pt x="261" y="356"/>
                    <a:pt x="234" y="400"/>
                    <a:pt x="217" y="453"/>
                  </a:cubicBezTo>
                  <a:cubicBezTo>
                    <a:pt x="200" y="506"/>
                    <a:pt x="192" y="558"/>
                    <a:pt x="192" y="614"/>
                  </a:cubicBezTo>
                  <a:cubicBezTo>
                    <a:pt x="192" y="667"/>
                    <a:pt x="200" y="719"/>
                    <a:pt x="217" y="769"/>
                  </a:cubicBezTo>
                  <a:cubicBezTo>
                    <a:pt x="234" y="822"/>
                    <a:pt x="261" y="867"/>
                    <a:pt x="295" y="906"/>
                  </a:cubicBezTo>
                  <a:cubicBezTo>
                    <a:pt x="331" y="947"/>
                    <a:pt x="378" y="978"/>
                    <a:pt x="434" y="1003"/>
                  </a:cubicBezTo>
                  <a:cubicBezTo>
                    <a:pt x="489" y="1028"/>
                    <a:pt x="553" y="1039"/>
                    <a:pt x="631" y="1039"/>
                  </a:cubicBezTo>
                  <a:cubicBezTo>
                    <a:pt x="686" y="1039"/>
                    <a:pt x="745" y="1028"/>
                    <a:pt x="800" y="1008"/>
                  </a:cubicBezTo>
                  <a:cubicBezTo>
                    <a:pt x="859" y="986"/>
                    <a:pt x="906" y="953"/>
                    <a:pt x="950" y="911"/>
                  </a:cubicBezTo>
                  <a:lnTo>
                    <a:pt x="1081" y="104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5" name="Freeform 2">
              <a:extLst>
                <a:ext uri="{FF2B5EF4-FFF2-40B4-BE49-F238E27FC236}">
                  <a16:creationId xmlns:a16="http://schemas.microsoft.com/office/drawing/2014/main" id="{73389FFB-63E9-3D46-A6C7-B696EDC8C0C3}"/>
                </a:ext>
              </a:extLst>
            </p:cNvPr>
            <p:cNvSpPr>
              <a:spLocks noChangeArrowheads="1"/>
            </p:cNvSpPr>
            <p:nvPr userDrawn="1"/>
          </p:nvSpPr>
          <p:spPr bwMode="auto">
            <a:xfrm>
              <a:off x="2268538" y="3149600"/>
              <a:ext cx="293687" cy="301625"/>
            </a:xfrm>
            <a:custGeom>
              <a:avLst/>
              <a:gdLst>
                <a:gd name="T0" fmla="*/ 175 w 815"/>
                <a:gd name="T1" fmla="*/ 0 h 837"/>
                <a:gd name="T2" fmla="*/ 175 w 815"/>
                <a:gd name="T3" fmla="*/ 0 h 837"/>
                <a:gd name="T4" fmla="*/ 175 w 815"/>
                <a:gd name="T5" fmla="*/ 439 h 837"/>
                <a:gd name="T6" fmla="*/ 233 w 815"/>
                <a:gd name="T7" fmla="*/ 611 h 837"/>
                <a:gd name="T8" fmla="*/ 406 w 815"/>
                <a:gd name="T9" fmla="*/ 675 h 837"/>
                <a:gd name="T10" fmla="*/ 500 w 815"/>
                <a:gd name="T11" fmla="*/ 658 h 837"/>
                <a:gd name="T12" fmla="*/ 572 w 815"/>
                <a:gd name="T13" fmla="*/ 602 h 837"/>
                <a:gd name="T14" fmla="*/ 622 w 815"/>
                <a:gd name="T15" fmla="*/ 525 h 837"/>
                <a:gd name="T16" fmla="*/ 639 w 815"/>
                <a:gd name="T17" fmla="*/ 427 h 837"/>
                <a:gd name="T18" fmla="*/ 639 w 815"/>
                <a:gd name="T19" fmla="*/ 0 h 837"/>
                <a:gd name="T20" fmla="*/ 814 w 815"/>
                <a:gd name="T21" fmla="*/ 0 h 837"/>
                <a:gd name="T22" fmla="*/ 814 w 815"/>
                <a:gd name="T23" fmla="*/ 825 h 837"/>
                <a:gd name="T24" fmla="*/ 656 w 815"/>
                <a:gd name="T25" fmla="*/ 825 h 837"/>
                <a:gd name="T26" fmla="*/ 645 w 815"/>
                <a:gd name="T27" fmla="*/ 702 h 837"/>
                <a:gd name="T28" fmla="*/ 514 w 815"/>
                <a:gd name="T29" fmla="*/ 805 h 837"/>
                <a:gd name="T30" fmla="*/ 356 w 815"/>
                <a:gd name="T31" fmla="*/ 836 h 837"/>
                <a:gd name="T32" fmla="*/ 211 w 815"/>
                <a:gd name="T33" fmla="*/ 811 h 837"/>
                <a:gd name="T34" fmla="*/ 100 w 815"/>
                <a:gd name="T35" fmla="*/ 733 h 837"/>
                <a:gd name="T36" fmla="*/ 25 w 815"/>
                <a:gd name="T37" fmla="*/ 608 h 837"/>
                <a:gd name="T38" fmla="*/ 0 w 815"/>
                <a:gd name="T39" fmla="*/ 441 h 837"/>
                <a:gd name="T40" fmla="*/ 0 w 815"/>
                <a:gd name="T41" fmla="*/ 0 h 837"/>
                <a:gd name="T42" fmla="*/ 175 w 815"/>
                <a:gd name="T43" fmla="*/ 0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5" h="837">
                  <a:moveTo>
                    <a:pt x="175" y="0"/>
                  </a:moveTo>
                  <a:lnTo>
                    <a:pt x="175" y="0"/>
                  </a:lnTo>
                  <a:cubicBezTo>
                    <a:pt x="175" y="439"/>
                    <a:pt x="175" y="439"/>
                    <a:pt x="175" y="439"/>
                  </a:cubicBezTo>
                  <a:cubicBezTo>
                    <a:pt x="175" y="508"/>
                    <a:pt x="195" y="566"/>
                    <a:pt x="233" y="611"/>
                  </a:cubicBezTo>
                  <a:cubicBezTo>
                    <a:pt x="275" y="655"/>
                    <a:pt x="331" y="675"/>
                    <a:pt x="406" y="675"/>
                  </a:cubicBezTo>
                  <a:cubicBezTo>
                    <a:pt x="439" y="675"/>
                    <a:pt x="470" y="669"/>
                    <a:pt x="500" y="658"/>
                  </a:cubicBezTo>
                  <a:cubicBezTo>
                    <a:pt x="528" y="644"/>
                    <a:pt x="553" y="627"/>
                    <a:pt x="572" y="602"/>
                  </a:cubicBezTo>
                  <a:cubicBezTo>
                    <a:pt x="595" y="580"/>
                    <a:pt x="611" y="555"/>
                    <a:pt x="622" y="525"/>
                  </a:cubicBezTo>
                  <a:cubicBezTo>
                    <a:pt x="633" y="494"/>
                    <a:pt x="639" y="461"/>
                    <a:pt x="639" y="427"/>
                  </a:cubicBezTo>
                  <a:cubicBezTo>
                    <a:pt x="639" y="0"/>
                    <a:pt x="639" y="0"/>
                    <a:pt x="639" y="0"/>
                  </a:cubicBezTo>
                  <a:cubicBezTo>
                    <a:pt x="814" y="0"/>
                    <a:pt x="814" y="0"/>
                    <a:pt x="814" y="0"/>
                  </a:cubicBezTo>
                  <a:cubicBezTo>
                    <a:pt x="814" y="825"/>
                    <a:pt x="814" y="825"/>
                    <a:pt x="814" y="825"/>
                  </a:cubicBezTo>
                  <a:cubicBezTo>
                    <a:pt x="656" y="825"/>
                    <a:pt x="656" y="825"/>
                    <a:pt x="656" y="825"/>
                  </a:cubicBezTo>
                  <a:cubicBezTo>
                    <a:pt x="645" y="702"/>
                    <a:pt x="645" y="702"/>
                    <a:pt x="645" y="702"/>
                  </a:cubicBezTo>
                  <a:cubicBezTo>
                    <a:pt x="603" y="750"/>
                    <a:pt x="561" y="783"/>
                    <a:pt x="514" y="805"/>
                  </a:cubicBezTo>
                  <a:cubicBezTo>
                    <a:pt x="467" y="825"/>
                    <a:pt x="414" y="836"/>
                    <a:pt x="356" y="836"/>
                  </a:cubicBezTo>
                  <a:cubicBezTo>
                    <a:pt x="303" y="836"/>
                    <a:pt x="256" y="827"/>
                    <a:pt x="211" y="811"/>
                  </a:cubicBezTo>
                  <a:cubicBezTo>
                    <a:pt x="170" y="791"/>
                    <a:pt x="131" y="766"/>
                    <a:pt x="100" y="733"/>
                  </a:cubicBezTo>
                  <a:cubicBezTo>
                    <a:pt x="70" y="700"/>
                    <a:pt x="45" y="658"/>
                    <a:pt x="25" y="608"/>
                  </a:cubicBezTo>
                  <a:cubicBezTo>
                    <a:pt x="8" y="561"/>
                    <a:pt x="0" y="505"/>
                    <a:pt x="0" y="441"/>
                  </a:cubicBezTo>
                  <a:cubicBezTo>
                    <a:pt x="0" y="0"/>
                    <a:pt x="0" y="0"/>
                    <a:pt x="0" y="0"/>
                  </a:cubicBezTo>
                  <a:lnTo>
                    <a:pt x="175"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6" name="Freeform 3">
              <a:extLst>
                <a:ext uri="{FF2B5EF4-FFF2-40B4-BE49-F238E27FC236}">
                  <a16:creationId xmlns:a16="http://schemas.microsoft.com/office/drawing/2014/main" id="{D9CFF887-01DB-6D43-A093-593C6A40C9BB}"/>
                </a:ext>
              </a:extLst>
            </p:cNvPr>
            <p:cNvSpPr>
              <a:spLocks noChangeArrowheads="1"/>
            </p:cNvSpPr>
            <p:nvPr userDrawn="1"/>
          </p:nvSpPr>
          <p:spPr bwMode="auto">
            <a:xfrm>
              <a:off x="2624138" y="3141663"/>
              <a:ext cx="268287" cy="314325"/>
            </a:xfrm>
            <a:custGeom>
              <a:avLst/>
              <a:gdLst>
                <a:gd name="T0" fmla="*/ 606 w 746"/>
                <a:gd name="T1" fmla="*/ 225 h 871"/>
                <a:gd name="T2" fmla="*/ 606 w 746"/>
                <a:gd name="T3" fmla="*/ 225 h 871"/>
                <a:gd name="T4" fmla="*/ 500 w 746"/>
                <a:gd name="T5" fmla="*/ 164 h 871"/>
                <a:gd name="T6" fmla="*/ 383 w 746"/>
                <a:gd name="T7" fmla="*/ 148 h 871"/>
                <a:gd name="T8" fmla="*/ 253 w 746"/>
                <a:gd name="T9" fmla="*/ 173 h 871"/>
                <a:gd name="T10" fmla="*/ 203 w 746"/>
                <a:gd name="T11" fmla="*/ 245 h 871"/>
                <a:gd name="T12" fmla="*/ 256 w 746"/>
                <a:gd name="T13" fmla="*/ 320 h 871"/>
                <a:gd name="T14" fmla="*/ 386 w 746"/>
                <a:gd name="T15" fmla="*/ 350 h 871"/>
                <a:gd name="T16" fmla="*/ 508 w 746"/>
                <a:gd name="T17" fmla="*/ 367 h 871"/>
                <a:gd name="T18" fmla="*/ 625 w 746"/>
                <a:gd name="T19" fmla="*/ 406 h 871"/>
                <a:gd name="T20" fmla="*/ 711 w 746"/>
                <a:gd name="T21" fmla="*/ 481 h 871"/>
                <a:gd name="T22" fmla="*/ 745 w 746"/>
                <a:gd name="T23" fmla="*/ 611 h 871"/>
                <a:gd name="T24" fmla="*/ 717 w 746"/>
                <a:gd name="T25" fmla="*/ 717 h 871"/>
                <a:gd name="T26" fmla="*/ 645 w 746"/>
                <a:gd name="T27" fmla="*/ 798 h 871"/>
                <a:gd name="T28" fmla="*/ 533 w 746"/>
                <a:gd name="T29" fmla="*/ 853 h 871"/>
                <a:gd name="T30" fmla="*/ 383 w 746"/>
                <a:gd name="T31" fmla="*/ 870 h 871"/>
                <a:gd name="T32" fmla="*/ 183 w 746"/>
                <a:gd name="T33" fmla="*/ 842 h 871"/>
                <a:gd name="T34" fmla="*/ 0 w 746"/>
                <a:gd name="T35" fmla="*/ 720 h 871"/>
                <a:gd name="T36" fmla="*/ 92 w 746"/>
                <a:gd name="T37" fmla="*/ 598 h 871"/>
                <a:gd name="T38" fmla="*/ 233 w 746"/>
                <a:gd name="T39" fmla="*/ 689 h 871"/>
                <a:gd name="T40" fmla="*/ 389 w 746"/>
                <a:gd name="T41" fmla="*/ 720 h 871"/>
                <a:gd name="T42" fmla="*/ 450 w 746"/>
                <a:gd name="T43" fmla="*/ 714 h 871"/>
                <a:gd name="T44" fmla="*/ 508 w 746"/>
                <a:gd name="T45" fmla="*/ 698 h 871"/>
                <a:gd name="T46" fmla="*/ 550 w 746"/>
                <a:gd name="T47" fmla="*/ 662 h 871"/>
                <a:gd name="T48" fmla="*/ 567 w 746"/>
                <a:gd name="T49" fmla="*/ 614 h 871"/>
                <a:gd name="T50" fmla="*/ 517 w 746"/>
                <a:gd name="T51" fmla="*/ 531 h 871"/>
                <a:gd name="T52" fmla="*/ 372 w 746"/>
                <a:gd name="T53" fmla="*/ 498 h 871"/>
                <a:gd name="T54" fmla="*/ 253 w 746"/>
                <a:gd name="T55" fmla="*/ 478 h 871"/>
                <a:gd name="T56" fmla="*/ 142 w 746"/>
                <a:gd name="T57" fmla="*/ 436 h 871"/>
                <a:gd name="T58" fmla="*/ 61 w 746"/>
                <a:gd name="T59" fmla="*/ 364 h 871"/>
                <a:gd name="T60" fmla="*/ 31 w 746"/>
                <a:gd name="T61" fmla="*/ 250 h 871"/>
                <a:gd name="T62" fmla="*/ 61 w 746"/>
                <a:gd name="T63" fmla="*/ 134 h 871"/>
                <a:gd name="T64" fmla="*/ 145 w 746"/>
                <a:gd name="T65" fmla="*/ 56 h 871"/>
                <a:gd name="T66" fmla="*/ 259 w 746"/>
                <a:gd name="T67" fmla="*/ 14 h 871"/>
                <a:gd name="T68" fmla="*/ 381 w 746"/>
                <a:gd name="T69" fmla="*/ 0 h 871"/>
                <a:gd name="T70" fmla="*/ 556 w 746"/>
                <a:gd name="T71" fmla="*/ 25 h 871"/>
                <a:gd name="T72" fmla="*/ 703 w 746"/>
                <a:gd name="T73" fmla="*/ 112 h 871"/>
                <a:gd name="T74" fmla="*/ 606 w 746"/>
                <a:gd name="T75" fmla="*/ 225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6" h="871">
                  <a:moveTo>
                    <a:pt x="606" y="225"/>
                  </a:moveTo>
                  <a:lnTo>
                    <a:pt x="606" y="225"/>
                  </a:lnTo>
                  <a:cubicBezTo>
                    <a:pt x="572" y="195"/>
                    <a:pt x="536" y="173"/>
                    <a:pt x="500" y="164"/>
                  </a:cubicBezTo>
                  <a:cubicBezTo>
                    <a:pt x="464" y="153"/>
                    <a:pt x="425" y="148"/>
                    <a:pt x="383" y="148"/>
                  </a:cubicBezTo>
                  <a:cubicBezTo>
                    <a:pt x="328" y="148"/>
                    <a:pt x="286" y="153"/>
                    <a:pt x="253" y="173"/>
                  </a:cubicBezTo>
                  <a:cubicBezTo>
                    <a:pt x="220" y="189"/>
                    <a:pt x="203" y="214"/>
                    <a:pt x="203" y="245"/>
                  </a:cubicBezTo>
                  <a:cubicBezTo>
                    <a:pt x="206" y="281"/>
                    <a:pt x="222" y="306"/>
                    <a:pt x="256" y="320"/>
                  </a:cubicBezTo>
                  <a:cubicBezTo>
                    <a:pt x="289" y="336"/>
                    <a:pt x="331" y="345"/>
                    <a:pt x="386" y="350"/>
                  </a:cubicBezTo>
                  <a:cubicBezTo>
                    <a:pt x="425" y="356"/>
                    <a:pt x="467" y="359"/>
                    <a:pt x="508" y="367"/>
                  </a:cubicBezTo>
                  <a:cubicBezTo>
                    <a:pt x="550" y="375"/>
                    <a:pt x="589" y="387"/>
                    <a:pt x="625" y="406"/>
                  </a:cubicBezTo>
                  <a:cubicBezTo>
                    <a:pt x="658" y="425"/>
                    <a:pt x="689" y="450"/>
                    <a:pt x="711" y="481"/>
                  </a:cubicBezTo>
                  <a:cubicBezTo>
                    <a:pt x="733" y="514"/>
                    <a:pt x="745" y="556"/>
                    <a:pt x="745" y="611"/>
                  </a:cubicBezTo>
                  <a:cubicBezTo>
                    <a:pt x="745" y="650"/>
                    <a:pt x="736" y="684"/>
                    <a:pt x="717" y="717"/>
                  </a:cubicBezTo>
                  <a:cubicBezTo>
                    <a:pt x="700" y="748"/>
                    <a:pt x="675" y="775"/>
                    <a:pt x="645" y="798"/>
                  </a:cubicBezTo>
                  <a:cubicBezTo>
                    <a:pt x="614" y="823"/>
                    <a:pt x="575" y="839"/>
                    <a:pt x="533" y="853"/>
                  </a:cubicBezTo>
                  <a:cubicBezTo>
                    <a:pt x="489" y="864"/>
                    <a:pt x="439" y="870"/>
                    <a:pt x="383" y="870"/>
                  </a:cubicBezTo>
                  <a:cubicBezTo>
                    <a:pt x="317" y="870"/>
                    <a:pt x="250" y="862"/>
                    <a:pt x="183" y="842"/>
                  </a:cubicBezTo>
                  <a:cubicBezTo>
                    <a:pt x="117" y="820"/>
                    <a:pt x="56" y="781"/>
                    <a:pt x="0" y="720"/>
                  </a:cubicBezTo>
                  <a:cubicBezTo>
                    <a:pt x="92" y="598"/>
                    <a:pt x="92" y="598"/>
                    <a:pt x="92" y="598"/>
                  </a:cubicBezTo>
                  <a:cubicBezTo>
                    <a:pt x="133" y="639"/>
                    <a:pt x="181" y="673"/>
                    <a:pt x="233" y="689"/>
                  </a:cubicBezTo>
                  <a:cubicBezTo>
                    <a:pt x="286" y="709"/>
                    <a:pt x="339" y="720"/>
                    <a:pt x="389" y="720"/>
                  </a:cubicBezTo>
                  <a:cubicBezTo>
                    <a:pt x="408" y="720"/>
                    <a:pt x="431" y="720"/>
                    <a:pt x="450" y="714"/>
                  </a:cubicBezTo>
                  <a:cubicBezTo>
                    <a:pt x="472" y="711"/>
                    <a:pt x="492" y="706"/>
                    <a:pt x="508" y="698"/>
                  </a:cubicBezTo>
                  <a:cubicBezTo>
                    <a:pt x="525" y="686"/>
                    <a:pt x="539" y="675"/>
                    <a:pt x="550" y="662"/>
                  </a:cubicBezTo>
                  <a:cubicBezTo>
                    <a:pt x="561" y="648"/>
                    <a:pt x="567" y="631"/>
                    <a:pt x="567" y="614"/>
                  </a:cubicBezTo>
                  <a:cubicBezTo>
                    <a:pt x="570" y="575"/>
                    <a:pt x="553" y="548"/>
                    <a:pt x="517" y="531"/>
                  </a:cubicBezTo>
                  <a:cubicBezTo>
                    <a:pt x="483" y="514"/>
                    <a:pt x="436" y="503"/>
                    <a:pt x="372" y="498"/>
                  </a:cubicBezTo>
                  <a:cubicBezTo>
                    <a:pt x="333" y="495"/>
                    <a:pt x="292" y="489"/>
                    <a:pt x="253" y="478"/>
                  </a:cubicBezTo>
                  <a:cubicBezTo>
                    <a:pt x="211" y="470"/>
                    <a:pt x="175" y="456"/>
                    <a:pt x="142" y="436"/>
                  </a:cubicBezTo>
                  <a:cubicBezTo>
                    <a:pt x="108" y="420"/>
                    <a:pt x="84" y="395"/>
                    <a:pt x="61" y="364"/>
                  </a:cubicBezTo>
                  <a:cubicBezTo>
                    <a:pt x="39" y="334"/>
                    <a:pt x="31" y="298"/>
                    <a:pt x="31" y="250"/>
                  </a:cubicBezTo>
                  <a:cubicBezTo>
                    <a:pt x="31" y="206"/>
                    <a:pt x="42" y="167"/>
                    <a:pt x="61" y="134"/>
                  </a:cubicBezTo>
                  <a:cubicBezTo>
                    <a:pt x="84" y="103"/>
                    <a:pt x="111" y="78"/>
                    <a:pt x="145" y="56"/>
                  </a:cubicBezTo>
                  <a:cubicBezTo>
                    <a:pt x="181" y="37"/>
                    <a:pt x="217" y="23"/>
                    <a:pt x="259" y="14"/>
                  </a:cubicBezTo>
                  <a:cubicBezTo>
                    <a:pt x="300" y="6"/>
                    <a:pt x="339" y="0"/>
                    <a:pt x="381" y="0"/>
                  </a:cubicBezTo>
                  <a:cubicBezTo>
                    <a:pt x="445" y="0"/>
                    <a:pt x="503" y="9"/>
                    <a:pt x="556" y="25"/>
                  </a:cubicBezTo>
                  <a:cubicBezTo>
                    <a:pt x="606" y="42"/>
                    <a:pt x="656" y="70"/>
                    <a:pt x="703" y="112"/>
                  </a:cubicBezTo>
                  <a:lnTo>
                    <a:pt x="606" y="2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7" name="Freeform 4">
              <a:extLst>
                <a:ext uri="{FF2B5EF4-FFF2-40B4-BE49-F238E27FC236}">
                  <a16:creationId xmlns:a16="http://schemas.microsoft.com/office/drawing/2014/main" id="{907AFE39-9233-9B44-912D-8D30BEAF8F0D}"/>
                </a:ext>
              </a:extLst>
            </p:cNvPr>
            <p:cNvSpPr>
              <a:spLocks noChangeArrowheads="1"/>
            </p:cNvSpPr>
            <p:nvPr userDrawn="1"/>
          </p:nvSpPr>
          <p:spPr bwMode="auto">
            <a:xfrm>
              <a:off x="2928938" y="3063875"/>
              <a:ext cx="223837" cy="387350"/>
            </a:xfrm>
            <a:custGeom>
              <a:avLst/>
              <a:gdLst>
                <a:gd name="T0" fmla="*/ 342 w 621"/>
                <a:gd name="T1" fmla="*/ 0 h 1076"/>
                <a:gd name="T2" fmla="*/ 342 w 621"/>
                <a:gd name="T3" fmla="*/ 0 h 1076"/>
                <a:gd name="T4" fmla="*/ 342 w 621"/>
                <a:gd name="T5" fmla="*/ 239 h 1076"/>
                <a:gd name="T6" fmla="*/ 586 w 621"/>
                <a:gd name="T7" fmla="*/ 239 h 1076"/>
                <a:gd name="T8" fmla="*/ 586 w 621"/>
                <a:gd name="T9" fmla="*/ 391 h 1076"/>
                <a:gd name="T10" fmla="*/ 339 w 621"/>
                <a:gd name="T11" fmla="*/ 391 h 1076"/>
                <a:gd name="T12" fmla="*/ 339 w 621"/>
                <a:gd name="T13" fmla="*/ 780 h 1076"/>
                <a:gd name="T14" fmla="*/ 369 w 621"/>
                <a:gd name="T15" fmla="*/ 880 h 1076"/>
                <a:gd name="T16" fmla="*/ 461 w 621"/>
                <a:gd name="T17" fmla="*/ 916 h 1076"/>
                <a:gd name="T18" fmla="*/ 514 w 621"/>
                <a:gd name="T19" fmla="*/ 908 h 1076"/>
                <a:gd name="T20" fmla="*/ 567 w 621"/>
                <a:gd name="T21" fmla="*/ 889 h 1076"/>
                <a:gd name="T22" fmla="*/ 620 w 621"/>
                <a:gd name="T23" fmla="*/ 1036 h 1076"/>
                <a:gd name="T24" fmla="*/ 533 w 621"/>
                <a:gd name="T25" fmla="*/ 1064 h 1076"/>
                <a:gd name="T26" fmla="*/ 450 w 621"/>
                <a:gd name="T27" fmla="*/ 1072 h 1076"/>
                <a:gd name="T28" fmla="*/ 236 w 621"/>
                <a:gd name="T29" fmla="*/ 1002 h 1076"/>
                <a:gd name="T30" fmla="*/ 164 w 621"/>
                <a:gd name="T31" fmla="*/ 783 h 1076"/>
                <a:gd name="T32" fmla="*/ 164 w 621"/>
                <a:gd name="T33" fmla="*/ 391 h 1076"/>
                <a:gd name="T34" fmla="*/ 0 w 621"/>
                <a:gd name="T35" fmla="*/ 391 h 1076"/>
                <a:gd name="T36" fmla="*/ 0 w 621"/>
                <a:gd name="T37" fmla="*/ 239 h 1076"/>
                <a:gd name="T38" fmla="*/ 164 w 621"/>
                <a:gd name="T39" fmla="*/ 239 h 1076"/>
                <a:gd name="T40" fmla="*/ 164 w 621"/>
                <a:gd name="T41" fmla="*/ 19 h 1076"/>
                <a:gd name="T42" fmla="*/ 342 w 621"/>
                <a:gd name="T43" fmla="*/ 0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1" h="1076">
                  <a:moveTo>
                    <a:pt x="342" y="0"/>
                  </a:moveTo>
                  <a:lnTo>
                    <a:pt x="342" y="0"/>
                  </a:lnTo>
                  <a:cubicBezTo>
                    <a:pt x="342" y="239"/>
                    <a:pt x="342" y="239"/>
                    <a:pt x="342" y="239"/>
                  </a:cubicBezTo>
                  <a:cubicBezTo>
                    <a:pt x="586" y="239"/>
                    <a:pt x="586" y="239"/>
                    <a:pt x="586" y="239"/>
                  </a:cubicBezTo>
                  <a:cubicBezTo>
                    <a:pt x="586" y="391"/>
                    <a:pt x="586" y="391"/>
                    <a:pt x="586" y="391"/>
                  </a:cubicBezTo>
                  <a:cubicBezTo>
                    <a:pt x="339" y="391"/>
                    <a:pt x="339" y="391"/>
                    <a:pt x="339" y="391"/>
                  </a:cubicBezTo>
                  <a:cubicBezTo>
                    <a:pt x="339" y="780"/>
                    <a:pt x="339" y="780"/>
                    <a:pt x="339" y="780"/>
                  </a:cubicBezTo>
                  <a:cubicBezTo>
                    <a:pt x="339" y="825"/>
                    <a:pt x="350" y="858"/>
                    <a:pt x="369" y="880"/>
                  </a:cubicBezTo>
                  <a:cubicBezTo>
                    <a:pt x="389" y="905"/>
                    <a:pt x="420" y="916"/>
                    <a:pt x="461" y="916"/>
                  </a:cubicBezTo>
                  <a:cubicBezTo>
                    <a:pt x="478" y="916"/>
                    <a:pt x="494" y="914"/>
                    <a:pt x="514" y="908"/>
                  </a:cubicBezTo>
                  <a:cubicBezTo>
                    <a:pt x="533" y="905"/>
                    <a:pt x="550" y="897"/>
                    <a:pt x="567" y="889"/>
                  </a:cubicBezTo>
                  <a:cubicBezTo>
                    <a:pt x="620" y="1036"/>
                    <a:pt x="620" y="1036"/>
                    <a:pt x="620" y="1036"/>
                  </a:cubicBezTo>
                  <a:cubicBezTo>
                    <a:pt x="589" y="1047"/>
                    <a:pt x="561" y="1058"/>
                    <a:pt x="533" y="1064"/>
                  </a:cubicBezTo>
                  <a:cubicBezTo>
                    <a:pt x="508" y="1069"/>
                    <a:pt x="481" y="1072"/>
                    <a:pt x="450" y="1072"/>
                  </a:cubicBezTo>
                  <a:cubicBezTo>
                    <a:pt x="358" y="1075"/>
                    <a:pt x="286" y="1050"/>
                    <a:pt x="236" y="1002"/>
                  </a:cubicBezTo>
                  <a:cubicBezTo>
                    <a:pt x="189" y="952"/>
                    <a:pt x="164" y="880"/>
                    <a:pt x="164" y="783"/>
                  </a:cubicBezTo>
                  <a:cubicBezTo>
                    <a:pt x="164" y="391"/>
                    <a:pt x="164" y="391"/>
                    <a:pt x="164" y="391"/>
                  </a:cubicBezTo>
                  <a:cubicBezTo>
                    <a:pt x="0" y="391"/>
                    <a:pt x="0" y="391"/>
                    <a:pt x="0" y="391"/>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8" name="Freeform 5">
              <a:extLst>
                <a:ext uri="{FF2B5EF4-FFF2-40B4-BE49-F238E27FC236}">
                  <a16:creationId xmlns:a16="http://schemas.microsoft.com/office/drawing/2014/main" id="{B05D13A4-466C-914B-BC0F-022412116FF4}"/>
                </a:ext>
              </a:extLst>
            </p:cNvPr>
            <p:cNvSpPr>
              <a:spLocks noChangeArrowheads="1"/>
            </p:cNvSpPr>
            <p:nvPr userDrawn="1"/>
          </p:nvSpPr>
          <p:spPr bwMode="auto">
            <a:xfrm>
              <a:off x="3186113" y="3143250"/>
              <a:ext cx="314325" cy="307975"/>
            </a:xfrm>
            <a:custGeom>
              <a:avLst/>
              <a:gdLst>
                <a:gd name="T0" fmla="*/ 433 w 873"/>
                <a:gd name="T1" fmla="*/ 0 h 857"/>
                <a:gd name="T2" fmla="*/ 433 w 873"/>
                <a:gd name="T3" fmla="*/ 0 h 857"/>
                <a:gd name="T4" fmla="*/ 611 w 873"/>
                <a:gd name="T5" fmla="*/ 33 h 857"/>
                <a:gd name="T6" fmla="*/ 750 w 873"/>
                <a:gd name="T7" fmla="*/ 125 h 857"/>
                <a:gd name="T8" fmla="*/ 839 w 873"/>
                <a:gd name="T9" fmla="*/ 261 h 857"/>
                <a:gd name="T10" fmla="*/ 872 w 873"/>
                <a:gd name="T11" fmla="*/ 428 h 857"/>
                <a:gd name="T12" fmla="*/ 839 w 873"/>
                <a:gd name="T13" fmla="*/ 597 h 857"/>
                <a:gd name="T14" fmla="*/ 753 w 873"/>
                <a:gd name="T15" fmla="*/ 733 h 857"/>
                <a:gd name="T16" fmla="*/ 614 w 873"/>
                <a:gd name="T17" fmla="*/ 825 h 857"/>
                <a:gd name="T18" fmla="*/ 433 w 873"/>
                <a:gd name="T19" fmla="*/ 856 h 857"/>
                <a:gd name="T20" fmla="*/ 256 w 873"/>
                <a:gd name="T21" fmla="*/ 825 h 857"/>
                <a:gd name="T22" fmla="*/ 117 w 873"/>
                <a:gd name="T23" fmla="*/ 733 h 857"/>
                <a:gd name="T24" fmla="*/ 31 w 873"/>
                <a:gd name="T25" fmla="*/ 597 h 857"/>
                <a:gd name="T26" fmla="*/ 0 w 873"/>
                <a:gd name="T27" fmla="*/ 428 h 857"/>
                <a:gd name="T28" fmla="*/ 31 w 873"/>
                <a:gd name="T29" fmla="*/ 261 h 857"/>
                <a:gd name="T30" fmla="*/ 120 w 873"/>
                <a:gd name="T31" fmla="*/ 125 h 857"/>
                <a:gd name="T32" fmla="*/ 256 w 873"/>
                <a:gd name="T33" fmla="*/ 33 h 857"/>
                <a:gd name="T34" fmla="*/ 433 w 873"/>
                <a:gd name="T35" fmla="*/ 0 h 857"/>
                <a:gd name="T36" fmla="*/ 433 w 873"/>
                <a:gd name="T37" fmla="*/ 161 h 857"/>
                <a:gd name="T38" fmla="*/ 433 w 873"/>
                <a:gd name="T39" fmla="*/ 161 h 857"/>
                <a:gd name="T40" fmla="*/ 325 w 873"/>
                <a:gd name="T41" fmla="*/ 181 h 857"/>
                <a:gd name="T42" fmla="*/ 245 w 873"/>
                <a:gd name="T43" fmla="*/ 242 h 857"/>
                <a:gd name="T44" fmla="*/ 195 w 873"/>
                <a:gd name="T45" fmla="*/ 328 h 857"/>
                <a:gd name="T46" fmla="*/ 175 w 873"/>
                <a:gd name="T47" fmla="*/ 430 h 857"/>
                <a:gd name="T48" fmla="*/ 195 w 873"/>
                <a:gd name="T49" fmla="*/ 533 h 857"/>
                <a:gd name="T50" fmla="*/ 245 w 873"/>
                <a:gd name="T51" fmla="*/ 617 h 857"/>
                <a:gd name="T52" fmla="*/ 325 w 873"/>
                <a:gd name="T53" fmla="*/ 675 h 857"/>
                <a:gd name="T54" fmla="*/ 433 w 873"/>
                <a:gd name="T55" fmla="*/ 697 h 857"/>
                <a:gd name="T56" fmla="*/ 542 w 873"/>
                <a:gd name="T57" fmla="*/ 675 h 857"/>
                <a:gd name="T58" fmla="*/ 625 w 873"/>
                <a:gd name="T59" fmla="*/ 617 h 857"/>
                <a:gd name="T60" fmla="*/ 675 w 873"/>
                <a:gd name="T61" fmla="*/ 533 h 857"/>
                <a:gd name="T62" fmla="*/ 694 w 873"/>
                <a:gd name="T63" fmla="*/ 430 h 857"/>
                <a:gd name="T64" fmla="*/ 675 w 873"/>
                <a:gd name="T65" fmla="*/ 328 h 857"/>
                <a:gd name="T66" fmla="*/ 622 w 873"/>
                <a:gd name="T67" fmla="*/ 242 h 857"/>
                <a:gd name="T68" fmla="*/ 539 w 873"/>
                <a:gd name="T69" fmla="*/ 181 h 857"/>
                <a:gd name="T70" fmla="*/ 433 w 873"/>
                <a:gd name="T71" fmla="*/ 161 h 857"/>
                <a:gd name="T72" fmla="*/ 433 w 873"/>
                <a:gd name="T73"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57">
                  <a:moveTo>
                    <a:pt x="433" y="0"/>
                  </a:moveTo>
                  <a:lnTo>
                    <a:pt x="433" y="0"/>
                  </a:lnTo>
                  <a:cubicBezTo>
                    <a:pt x="500" y="0"/>
                    <a:pt x="558" y="11"/>
                    <a:pt x="611" y="33"/>
                  </a:cubicBezTo>
                  <a:cubicBezTo>
                    <a:pt x="664" y="56"/>
                    <a:pt x="711" y="86"/>
                    <a:pt x="750" y="125"/>
                  </a:cubicBezTo>
                  <a:cubicBezTo>
                    <a:pt x="789" y="161"/>
                    <a:pt x="820" y="208"/>
                    <a:pt x="839" y="261"/>
                  </a:cubicBezTo>
                  <a:cubicBezTo>
                    <a:pt x="861" y="314"/>
                    <a:pt x="872" y="369"/>
                    <a:pt x="872" y="428"/>
                  </a:cubicBezTo>
                  <a:cubicBezTo>
                    <a:pt x="872" y="489"/>
                    <a:pt x="861" y="547"/>
                    <a:pt x="839" y="597"/>
                  </a:cubicBezTo>
                  <a:cubicBezTo>
                    <a:pt x="820" y="650"/>
                    <a:pt x="792" y="694"/>
                    <a:pt x="753" y="733"/>
                  </a:cubicBezTo>
                  <a:cubicBezTo>
                    <a:pt x="714" y="772"/>
                    <a:pt x="667" y="803"/>
                    <a:pt x="614" y="825"/>
                  </a:cubicBezTo>
                  <a:cubicBezTo>
                    <a:pt x="561" y="847"/>
                    <a:pt x="500" y="856"/>
                    <a:pt x="433" y="856"/>
                  </a:cubicBezTo>
                  <a:cubicBezTo>
                    <a:pt x="367" y="856"/>
                    <a:pt x="308" y="847"/>
                    <a:pt x="256" y="825"/>
                  </a:cubicBezTo>
                  <a:cubicBezTo>
                    <a:pt x="200" y="803"/>
                    <a:pt x="156" y="772"/>
                    <a:pt x="117" y="733"/>
                  </a:cubicBezTo>
                  <a:cubicBezTo>
                    <a:pt x="81" y="694"/>
                    <a:pt x="50" y="650"/>
                    <a:pt x="31" y="597"/>
                  </a:cubicBezTo>
                  <a:cubicBezTo>
                    <a:pt x="11" y="547"/>
                    <a:pt x="0" y="489"/>
                    <a:pt x="0" y="428"/>
                  </a:cubicBezTo>
                  <a:cubicBezTo>
                    <a:pt x="0" y="369"/>
                    <a:pt x="11" y="314"/>
                    <a:pt x="31" y="261"/>
                  </a:cubicBezTo>
                  <a:cubicBezTo>
                    <a:pt x="50" y="208"/>
                    <a:pt x="81" y="161"/>
                    <a:pt x="120" y="125"/>
                  </a:cubicBezTo>
                  <a:cubicBezTo>
                    <a:pt x="156" y="86"/>
                    <a:pt x="203" y="56"/>
                    <a:pt x="256" y="33"/>
                  </a:cubicBezTo>
                  <a:cubicBezTo>
                    <a:pt x="308" y="11"/>
                    <a:pt x="370" y="0"/>
                    <a:pt x="433" y="0"/>
                  </a:cubicBezTo>
                  <a:lnTo>
                    <a:pt x="433" y="161"/>
                  </a:lnTo>
                  <a:lnTo>
                    <a:pt x="433" y="161"/>
                  </a:lnTo>
                  <a:cubicBezTo>
                    <a:pt x="394" y="161"/>
                    <a:pt x="358" y="167"/>
                    <a:pt x="325" y="181"/>
                  </a:cubicBezTo>
                  <a:cubicBezTo>
                    <a:pt x="295" y="197"/>
                    <a:pt x="267" y="217"/>
                    <a:pt x="245" y="242"/>
                  </a:cubicBezTo>
                  <a:cubicBezTo>
                    <a:pt x="222" y="267"/>
                    <a:pt x="206" y="294"/>
                    <a:pt x="195" y="328"/>
                  </a:cubicBezTo>
                  <a:cubicBezTo>
                    <a:pt x="181" y="358"/>
                    <a:pt x="175" y="394"/>
                    <a:pt x="175" y="430"/>
                  </a:cubicBezTo>
                  <a:cubicBezTo>
                    <a:pt x="175" y="467"/>
                    <a:pt x="181" y="500"/>
                    <a:pt x="195" y="533"/>
                  </a:cubicBezTo>
                  <a:cubicBezTo>
                    <a:pt x="206" y="567"/>
                    <a:pt x="222" y="594"/>
                    <a:pt x="245" y="617"/>
                  </a:cubicBezTo>
                  <a:cubicBezTo>
                    <a:pt x="267" y="642"/>
                    <a:pt x="295" y="661"/>
                    <a:pt x="325" y="675"/>
                  </a:cubicBezTo>
                  <a:cubicBezTo>
                    <a:pt x="358" y="689"/>
                    <a:pt x="394" y="697"/>
                    <a:pt x="433" y="697"/>
                  </a:cubicBezTo>
                  <a:cubicBezTo>
                    <a:pt x="475" y="697"/>
                    <a:pt x="511" y="689"/>
                    <a:pt x="542" y="675"/>
                  </a:cubicBezTo>
                  <a:cubicBezTo>
                    <a:pt x="575" y="661"/>
                    <a:pt x="603" y="642"/>
                    <a:pt x="625" y="617"/>
                  </a:cubicBezTo>
                  <a:cubicBezTo>
                    <a:pt x="647" y="594"/>
                    <a:pt x="664" y="567"/>
                    <a:pt x="675" y="533"/>
                  </a:cubicBezTo>
                  <a:cubicBezTo>
                    <a:pt x="686" y="500"/>
                    <a:pt x="694" y="467"/>
                    <a:pt x="694" y="430"/>
                  </a:cubicBezTo>
                  <a:cubicBezTo>
                    <a:pt x="694" y="394"/>
                    <a:pt x="686" y="358"/>
                    <a:pt x="675" y="328"/>
                  </a:cubicBezTo>
                  <a:cubicBezTo>
                    <a:pt x="661" y="294"/>
                    <a:pt x="645" y="267"/>
                    <a:pt x="622" y="242"/>
                  </a:cubicBezTo>
                  <a:cubicBezTo>
                    <a:pt x="600" y="217"/>
                    <a:pt x="572" y="197"/>
                    <a:pt x="539" y="181"/>
                  </a:cubicBezTo>
                  <a:cubicBezTo>
                    <a:pt x="508" y="167"/>
                    <a:pt x="472" y="161"/>
                    <a:pt x="433" y="161"/>
                  </a:cubicBezTo>
                  <a:lnTo>
                    <a:pt x="433"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9" name="Freeform 6">
              <a:extLst>
                <a:ext uri="{FF2B5EF4-FFF2-40B4-BE49-F238E27FC236}">
                  <a16:creationId xmlns:a16="http://schemas.microsoft.com/office/drawing/2014/main" id="{0B563914-E8F2-A847-B0A9-747920D4C398}"/>
                </a:ext>
              </a:extLst>
            </p:cNvPr>
            <p:cNvSpPr>
              <a:spLocks noChangeArrowheads="1"/>
            </p:cNvSpPr>
            <p:nvPr userDrawn="1"/>
          </p:nvSpPr>
          <p:spPr bwMode="auto">
            <a:xfrm>
              <a:off x="3567113" y="3143250"/>
              <a:ext cx="476250" cy="301625"/>
            </a:xfrm>
            <a:custGeom>
              <a:avLst/>
              <a:gdLst>
                <a:gd name="T0" fmla="*/ 575 w 1321"/>
                <a:gd name="T1" fmla="*/ 839 h 840"/>
                <a:gd name="T2" fmla="*/ 575 w 1321"/>
                <a:gd name="T3" fmla="*/ 839 h 840"/>
                <a:gd name="T4" fmla="*/ 575 w 1321"/>
                <a:gd name="T5" fmla="*/ 386 h 840"/>
                <a:gd name="T6" fmla="*/ 561 w 1321"/>
                <a:gd name="T7" fmla="*/ 300 h 840"/>
                <a:gd name="T8" fmla="*/ 523 w 1321"/>
                <a:gd name="T9" fmla="*/ 228 h 840"/>
                <a:gd name="T10" fmla="*/ 461 w 1321"/>
                <a:gd name="T11" fmla="*/ 181 h 840"/>
                <a:gd name="T12" fmla="*/ 378 w 1321"/>
                <a:gd name="T13" fmla="*/ 161 h 840"/>
                <a:gd name="T14" fmla="*/ 295 w 1321"/>
                <a:gd name="T15" fmla="*/ 181 h 840"/>
                <a:gd name="T16" fmla="*/ 231 w 1321"/>
                <a:gd name="T17" fmla="*/ 228 h 840"/>
                <a:gd name="T18" fmla="*/ 189 w 1321"/>
                <a:gd name="T19" fmla="*/ 300 h 840"/>
                <a:gd name="T20" fmla="*/ 175 w 1321"/>
                <a:gd name="T21" fmla="*/ 386 h 840"/>
                <a:gd name="T22" fmla="*/ 175 w 1321"/>
                <a:gd name="T23" fmla="*/ 839 h 840"/>
                <a:gd name="T24" fmla="*/ 0 w 1321"/>
                <a:gd name="T25" fmla="*/ 839 h 840"/>
                <a:gd name="T26" fmla="*/ 0 w 1321"/>
                <a:gd name="T27" fmla="*/ 14 h 840"/>
                <a:gd name="T28" fmla="*/ 164 w 1321"/>
                <a:gd name="T29" fmla="*/ 14 h 840"/>
                <a:gd name="T30" fmla="*/ 175 w 1321"/>
                <a:gd name="T31" fmla="*/ 125 h 840"/>
                <a:gd name="T32" fmla="*/ 278 w 1321"/>
                <a:gd name="T33" fmla="*/ 28 h 840"/>
                <a:gd name="T34" fmla="*/ 411 w 1321"/>
                <a:gd name="T35" fmla="*/ 0 h 840"/>
                <a:gd name="T36" fmla="*/ 492 w 1321"/>
                <a:gd name="T37" fmla="*/ 8 h 840"/>
                <a:gd name="T38" fmla="*/ 564 w 1321"/>
                <a:gd name="T39" fmla="*/ 39 h 840"/>
                <a:gd name="T40" fmla="*/ 628 w 1321"/>
                <a:gd name="T41" fmla="*/ 89 h 840"/>
                <a:gd name="T42" fmla="*/ 675 w 1321"/>
                <a:gd name="T43" fmla="*/ 167 h 840"/>
                <a:gd name="T44" fmla="*/ 800 w 1321"/>
                <a:gd name="T45" fmla="*/ 39 h 840"/>
                <a:gd name="T46" fmla="*/ 964 w 1321"/>
                <a:gd name="T47" fmla="*/ 3 h 840"/>
                <a:gd name="T48" fmla="*/ 1231 w 1321"/>
                <a:gd name="T49" fmla="*/ 103 h 840"/>
                <a:gd name="T50" fmla="*/ 1320 w 1321"/>
                <a:gd name="T51" fmla="*/ 383 h 840"/>
                <a:gd name="T52" fmla="*/ 1320 w 1321"/>
                <a:gd name="T53" fmla="*/ 839 h 840"/>
                <a:gd name="T54" fmla="*/ 1142 w 1321"/>
                <a:gd name="T55" fmla="*/ 839 h 840"/>
                <a:gd name="T56" fmla="*/ 1142 w 1321"/>
                <a:gd name="T57" fmla="*/ 383 h 840"/>
                <a:gd name="T58" fmla="*/ 1131 w 1321"/>
                <a:gd name="T59" fmla="*/ 297 h 840"/>
                <a:gd name="T60" fmla="*/ 1095 w 1321"/>
                <a:gd name="T61" fmla="*/ 228 h 840"/>
                <a:gd name="T62" fmla="*/ 1039 w 1321"/>
                <a:gd name="T63" fmla="*/ 181 h 840"/>
                <a:gd name="T64" fmla="*/ 956 w 1321"/>
                <a:gd name="T65" fmla="*/ 164 h 840"/>
                <a:gd name="T66" fmla="*/ 873 w 1321"/>
                <a:gd name="T67" fmla="*/ 181 h 840"/>
                <a:gd name="T68" fmla="*/ 809 w 1321"/>
                <a:gd name="T69" fmla="*/ 228 h 840"/>
                <a:gd name="T70" fmla="*/ 767 w 1321"/>
                <a:gd name="T71" fmla="*/ 300 h 840"/>
                <a:gd name="T72" fmla="*/ 753 w 1321"/>
                <a:gd name="T73" fmla="*/ 386 h 840"/>
                <a:gd name="T74" fmla="*/ 753 w 1321"/>
                <a:gd name="T75" fmla="*/ 839 h 840"/>
                <a:gd name="T76" fmla="*/ 575 w 1321"/>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1" h="840">
                  <a:moveTo>
                    <a:pt x="575" y="839"/>
                  </a:moveTo>
                  <a:lnTo>
                    <a:pt x="575" y="839"/>
                  </a:lnTo>
                  <a:cubicBezTo>
                    <a:pt x="575" y="386"/>
                    <a:pt x="575" y="386"/>
                    <a:pt x="575" y="386"/>
                  </a:cubicBezTo>
                  <a:cubicBezTo>
                    <a:pt x="575" y="356"/>
                    <a:pt x="570" y="328"/>
                    <a:pt x="561" y="300"/>
                  </a:cubicBezTo>
                  <a:cubicBezTo>
                    <a:pt x="553" y="272"/>
                    <a:pt x="539" y="247"/>
                    <a:pt x="523" y="228"/>
                  </a:cubicBezTo>
                  <a:cubicBezTo>
                    <a:pt x="506" y="208"/>
                    <a:pt x="486" y="192"/>
                    <a:pt x="461" y="181"/>
                  </a:cubicBezTo>
                  <a:cubicBezTo>
                    <a:pt x="436" y="167"/>
                    <a:pt x="409" y="161"/>
                    <a:pt x="378" y="161"/>
                  </a:cubicBezTo>
                  <a:cubicBezTo>
                    <a:pt x="348" y="161"/>
                    <a:pt x="320" y="167"/>
                    <a:pt x="295" y="181"/>
                  </a:cubicBezTo>
                  <a:cubicBezTo>
                    <a:pt x="270" y="192"/>
                    <a:pt x="248" y="208"/>
                    <a:pt x="231" y="228"/>
                  </a:cubicBezTo>
                  <a:cubicBezTo>
                    <a:pt x="211" y="247"/>
                    <a:pt x="200" y="272"/>
                    <a:pt x="189" y="300"/>
                  </a:cubicBezTo>
                  <a:cubicBezTo>
                    <a:pt x="181" y="328"/>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198" y="78"/>
                    <a:pt x="234" y="47"/>
                    <a:pt x="278" y="28"/>
                  </a:cubicBezTo>
                  <a:cubicBezTo>
                    <a:pt x="323" y="11"/>
                    <a:pt x="367" y="0"/>
                    <a:pt x="411" y="0"/>
                  </a:cubicBezTo>
                  <a:cubicBezTo>
                    <a:pt x="439" y="0"/>
                    <a:pt x="464" y="3"/>
                    <a:pt x="492" y="8"/>
                  </a:cubicBezTo>
                  <a:cubicBezTo>
                    <a:pt x="517" y="14"/>
                    <a:pt x="542" y="25"/>
                    <a:pt x="564" y="39"/>
                  </a:cubicBezTo>
                  <a:cubicBezTo>
                    <a:pt x="589" y="50"/>
                    <a:pt x="609" y="69"/>
                    <a:pt x="628" y="89"/>
                  </a:cubicBezTo>
                  <a:cubicBezTo>
                    <a:pt x="647" y="111"/>
                    <a:pt x="661" y="136"/>
                    <a:pt x="675" y="167"/>
                  </a:cubicBezTo>
                  <a:cubicBezTo>
                    <a:pt x="709" y="106"/>
                    <a:pt x="750" y="64"/>
                    <a:pt x="800" y="39"/>
                  </a:cubicBezTo>
                  <a:cubicBezTo>
                    <a:pt x="850" y="14"/>
                    <a:pt x="906" y="3"/>
                    <a:pt x="964" y="3"/>
                  </a:cubicBezTo>
                  <a:cubicBezTo>
                    <a:pt x="1081" y="3"/>
                    <a:pt x="1170" y="36"/>
                    <a:pt x="1231" y="103"/>
                  </a:cubicBezTo>
                  <a:cubicBezTo>
                    <a:pt x="1289" y="172"/>
                    <a:pt x="1320" y="264"/>
                    <a:pt x="1320" y="383"/>
                  </a:cubicBezTo>
                  <a:cubicBezTo>
                    <a:pt x="1320" y="839"/>
                    <a:pt x="1320" y="839"/>
                    <a:pt x="1320" y="839"/>
                  </a:cubicBezTo>
                  <a:cubicBezTo>
                    <a:pt x="1142" y="839"/>
                    <a:pt x="1142" y="839"/>
                    <a:pt x="1142" y="839"/>
                  </a:cubicBezTo>
                  <a:cubicBezTo>
                    <a:pt x="1142" y="383"/>
                    <a:pt x="1142" y="383"/>
                    <a:pt x="1142" y="383"/>
                  </a:cubicBezTo>
                  <a:cubicBezTo>
                    <a:pt x="1142" y="353"/>
                    <a:pt x="1139" y="325"/>
                    <a:pt x="1131" y="297"/>
                  </a:cubicBezTo>
                  <a:cubicBezTo>
                    <a:pt x="1122" y="269"/>
                    <a:pt x="1111" y="247"/>
                    <a:pt x="1095" y="228"/>
                  </a:cubicBezTo>
                  <a:cubicBezTo>
                    <a:pt x="1081" y="206"/>
                    <a:pt x="1061" y="192"/>
                    <a:pt x="1039" y="181"/>
                  </a:cubicBezTo>
                  <a:cubicBezTo>
                    <a:pt x="1014" y="169"/>
                    <a:pt x="986" y="164"/>
                    <a:pt x="956" y="164"/>
                  </a:cubicBezTo>
                  <a:cubicBezTo>
                    <a:pt x="925" y="164"/>
                    <a:pt x="897" y="169"/>
                    <a:pt x="873" y="181"/>
                  </a:cubicBezTo>
                  <a:cubicBezTo>
                    <a:pt x="847" y="192"/>
                    <a:pt x="825" y="208"/>
                    <a:pt x="809" y="228"/>
                  </a:cubicBezTo>
                  <a:cubicBezTo>
                    <a:pt x="789" y="250"/>
                    <a:pt x="775" y="272"/>
                    <a:pt x="767" y="300"/>
                  </a:cubicBezTo>
                  <a:cubicBezTo>
                    <a:pt x="756" y="328"/>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0" name="Freeform 7">
              <a:extLst>
                <a:ext uri="{FF2B5EF4-FFF2-40B4-BE49-F238E27FC236}">
                  <a16:creationId xmlns:a16="http://schemas.microsoft.com/office/drawing/2014/main" id="{7CB4C28E-C58B-1448-B8CA-047CA764A162}"/>
                </a:ext>
              </a:extLst>
            </p:cNvPr>
            <p:cNvSpPr>
              <a:spLocks noChangeArrowheads="1"/>
            </p:cNvSpPr>
            <p:nvPr userDrawn="1"/>
          </p:nvSpPr>
          <p:spPr bwMode="auto">
            <a:xfrm>
              <a:off x="4105275" y="3141663"/>
              <a:ext cx="314325" cy="312737"/>
            </a:xfrm>
            <a:custGeom>
              <a:avLst/>
              <a:gdLst>
                <a:gd name="T0" fmla="*/ 864 w 874"/>
                <a:gd name="T1" fmla="*/ 498 h 868"/>
                <a:gd name="T2" fmla="*/ 864 w 874"/>
                <a:gd name="T3" fmla="*/ 498 h 868"/>
                <a:gd name="T4" fmla="*/ 181 w 874"/>
                <a:gd name="T5" fmla="*/ 498 h 868"/>
                <a:gd name="T6" fmla="*/ 267 w 874"/>
                <a:gd name="T7" fmla="*/ 650 h 868"/>
                <a:gd name="T8" fmla="*/ 456 w 874"/>
                <a:gd name="T9" fmla="*/ 706 h 868"/>
                <a:gd name="T10" fmla="*/ 592 w 874"/>
                <a:gd name="T11" fmla="*/ 684 h 868"/>
                <a:gd name="T12" fmla="*/ 700 w 874"/>
                <a:gd name="T13" fmla="*/ 617 h 868"/>
                <a:gd name="T14" fmla="*/ 814 w 874"/>
                <a:gd name="T15" fmla="*/ 725 h 868"/>
                <a:gd name="T16" fmla="*/ 739 w 874"/>
                <a:gd name="T17" fmla="*/ 786 h 868"/>
                <a:gd name="T18" fmla="*/ 650 w 874"/>
                <a:gd name="T19" fmla="*/ 831 h 868"/>
                <a:gd name="T20" fmla="*/ 553 w 874"/>
                <a:gd name="T21" fmla="*/ 859 h 868"/>
                <a:gd name="T22" fmla="*/ 453 w 874"/>
                <a:gd name="T23" fmla="*/ 867 h 868"/>
                <a:gd name="T24" fmla="*/ 267 w 874"/>
                <a:gd name="T25" fmla="*/ 836 h 868"/>
                <a:gd name="T26" fmla="*/ 123 w 874"/>
                <a:gd name="T27" fmla="*/ 748 h 868"/>
                <a:gd name="T28" fmla="*/ 31 w 874"/>
                <a:gd name="T29" fmla="*/ 609 h 868"/>
                <a:gd name="T30" fmla="*/ 0 w 874"/>
                <a:gd name="T31" fmla="*/ 431 h 868"/>
                <a:gd name="T32" fmla="*/ 31 w 874"/>
                <a:gd name="T33" fmla="*/ 256 h 868"/>
                <a:gd name="T34" fmla="*/ 123 w 874"/>
                <a:gd name="T35" fmla="*/ 120 h 868"/>
                <a:gd name="T36" fmla="*/ 261 w 874"/>
                <a:gd name="T37" fmla="*/ 31 h 868"/>
                <a:gd name="T38" fmla="*/ 442 w 874"/>
                <a:gd name="T39" fmla="*/ 0 h 868"/>
                <a:gd name="T40" fmla="*/ 628 w 874"/>
                <a:gd name="T41" fmla="*/ 31 h 868"/>
                <a:gd name="T42" fmla="*/ 767 w 874"/>
                <a:gd name="T43" fmla="*/ 125 h 868"/>
                <a:gd name="T44" fmla="*/ 850 w 874"/>
                <a:gd name="T45" fmla="*/ 278 h 868"/>
                <a:gd name="T46" fmla="*/ 864 w 874"/>
                <a:gd name="T47" fmla="*/ 498 h 868"/>
                <a:gd name="T48" fmla="*/ 187 w 874"/>
                <a:gd name="T49" fmla="*/ 353 h 868"/>
                <a:gd name="T50" fmla="*/ 187 w 874"/>
                <a:gd name="T51" fmla="*/ 353 h 868"/>
                <a:gd name="T52" fmla="*/ 695 w 874"/>
                <a:gd name="T53" fmla="*/ 353 h 868"/>
                <a:gd name="T54" fmla="*/ 620 w 874"/>
                <a:gd name="T55" fmla="*/ 203 h 868"/>
                <a:gd name="T56" fmla="*/ 448 w 874"/>
                <a:gd name="T57" fmla="*/ 153 h 868"/>
                <a:gd name="T58" fmla="*/ 278 w 874"/>
                <a:gd name="T59" fmla="*/ 203 h 868"/>
                <a:gd name="T60" fmla="*/ 187 w 874"/>
                <a:gd name="T61" fmla="*/ 353 h 868"/>
                <a:gd name="T62" fmla="*/ 864 w 874"/>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4" h="868">
                  <a:moveTo>
                    <a:pt x="864" y="498"/>
                  </a:moveTo>
                  <a:lnTo>
                    <a:pt x="864" y="498"/>
                  </a:lnTo>
                  <a:cubicBezTo>
                    <a:pt x="181" y="498"/>
                    <a:pt x="181" y="498"/>
                    <a:pt x="181" y="498"/>
                  </a:cubicBezTo>
                  <a:cubicBezTo>
                    <a:pt x="189" y="562"/>
                    <a:pt x="217" y="611"/>
                    <a:pt x="267" y="650"/>
                  </a:cubicBezTo>
                  <a:cubicBezTo>
                    <a:pt x="317" y="686"/>
                    <a:pt x="378" y="706"/>
                    <a:pt x="456" y="706"/>
                  </a:cubicBezTo>
                  <a:cubicBezTo>
                    <a:pt x="500" y="706"/>
                    <a:pt x="545" y="698"/>
                    <a:pt x="592" y="684"/>
                  </a:cubicBezTo>
                  <a:cubicBezTo>
                    <a:pt x="639" y="667"/>
                    <a:pt x="675" y="645"/>
                    <a:pt x="700" y="617"/>
                  </a:cubicBezTo>
                  <a:cubicBezTo>
                    <a:pt x="814" y="725"/>
                    <a:pt x="814" y="725"/>
                    <a:pt x="814" y="725"/>
                  </a:cubicBezTo>
                  <a:cubicBezTo>
                    <a:pt x="795" y="750"/>
                    <a:pt x="770" y="770"/>
                    <a:pt x="739" y="786"/>
                  </a:cubicBezTo>
                  <a:cubicBezTo>
                    <a:pt x="711" y="806"/>
                    <a:pt x="681" y="820"/>
                    <a:pt x="650" y="831"/>
                  </a:cubicBezTo>
                  <a:cubicBezTo>
                    <a:pt x="620" y="845"/>
                    <a:pt x="587" y="853"/>
                    <a:pt x="553" y="859"/>
                  </a:cubicBezTo>
                  <a:cubicBezTo>
                    <a:pt x="517" y="864"/>
                    <a:pt x="487" y="867"/>
                    <a:pt x="453" y="867"/>
                  </a:cubicBezTo>
                  <a:cubicBezTo>
                    <a:pt x="384" y="867"/>
                    <a:pt x="323" y="856"/>
                    <a:pt x="267" y="836"/>
                  </a:cubicBezTo>
                  <a:cubicBezTo>
                    <a:pt x="209" y="814"/>
                    <a:pt x="161" y="786"/>
                    <a:pt x="123" y="748"/>
                  </a:cubicBezTo>
                  <a:cubicBezTo>
                    <a:pt x="84" y="709"/>
                    <a:pt x="53" y="664"/>
                    <a:pt x="31" y="609"/>
                  </a:cubicBezTo>
                  <a:cubicBezTo>
                    <a:pt x="12" y="556"/>
                    <a:pt x="0" y="495"/>
                    <a:pt x="0" y="431"/>
                  </a:cubicBezTo>
                  <a:cubicBezTo>
                    <a:pt x="0" y="367"/>
                    <a:pt x="12" y="309"/>
                    <a:pt x="31" y="256"/>
                  </a:cubicBezTo>
                  <a:cubicBezTo>
                    <a:pt x="53" y="203"/>
                    <a:pt x="84" y="159"/>
                    <a:pt x="123" y="120"/>
                  </a:cubicBezTo>
                  <a:cubicBezTo>
                    <a:pt x="161" y="84"/>
                    <a:pt x="209" y="53"/>
                    <a:pt x="261" y="31"/>
                  </a:cubicBezTo>
                  <a:cubicBezTo>
                    <a:pt x="314" y="12"/>
                    <a:pt x="375" y="0"/>
                    <a:pt x="442" y="0"/>
                  </a:cubicBezTo>
                  <a:cubicBezTo>
                    <a:pt x="509" y="0"/>
                    <a:pt x="573" y="12"/>
                    <a:pt x="628" y="31"/>
                  </a:cubicBezTo>
                  <a:cubicBezTo>
                    <a:pt x="681" y="53"/>
                    <a:pt x="728" y="84"/>
                    <a:pt x="767" y="125"/>
                  </a:cubicBezTo>
                  <a:cubicBezTo>
                    <a:pt x="806" y="164"/>
                    <a:pt x="834" y="217"/>
                    <a:pt x="850" y="278"/>
                  </a:cubicBezTo>
                  <a:cubicBezTo>
                    <a:pt x="867" y="342"/>
                    <a:pt x="873" y="414"/>
                    <a:pt x="864" y="498"/>
                  </a:cubicBezTo>
                  <a:lnTo>
                    <a:pt x="187" y="353"/>
                  </a:lnTo>
                  <a:lnTo>
                    <a:pt x="187" y="353"/>
                  </a:lnTo>
                  <a:cubicBezTo>
                    <a:pt x="695" y="353"/>
                    <a:pt x="695" y="353"/>
                    <a:pt x="695" y="353"/>
                  </a:cubicBezTo>
                  <a:cubicBezTo>
                    <a:pt x="689" y="287"/>
                    <a:pt x="664" y="236"/>
                    <a:pt x="620" y="203"/>
                  </a:cubicBezTo>
                  <a:cubicBezTo>
                    <a:pt x="575" y="170"/>
                    <a:pt x="517" y="153"/>
                    <a:pt x="448" y="153"/>
                  </a:cubicBezTo>
                  <a:cubicBezTo>
                    <a:pt x="381" y="153"/>
                    <a:pt x="325" y="170"/>
                    <a:pt x="278" y="203"/>
                  </a:cubicBezTo>
                  <a:cubicBezTo>
                    <a:pt x="231" y="236"/>
                    <a:pt x="200" y="287"/>
                    <a:pt x="187"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1" name="Freeform 8">
              <a:extLst>
                <a:ext uri="{FF2B5EF4-FFF2-40B4-BE49-F238E27FC236}">
                  <a16:creationId xmlns:a16="http://schemas.microsoft.com/office/drawing/2014/main" id="{A95CF733-0C24-754C-BD5B-77257B556DD6}"/>
                </a:ext>
              </a:extLst>
            </p:cNvPr>
            <p:cNvSpPr>
              <a:spLocks noChangeArrowheads="1"/>
            </p:cNvSpPr>
            <p:nvPr userDrawn="1"/>
          </p:nvSpPr>
          <p:spPr bwMode="auto">
            <a:xfrm>
              <a:off x="4481513" y="3141663"/>
              <a:ext cx="227012" cy="303212"/>
            </a:xfrm>
            <a:custGeom>
              <a:avLst/>
              <a:gdLst>
                <a:gd name="T0" fmla="*/ 164 w 631"/>
                <a:gd name="T1" fmla="*/ 20 h 843"/>
                <a:gd name="T2" fmla="*/ 164 w 631"/>
                <a:gd name="T3" fmla="*/ 20 h 843"/>
                <a:gd name="T4" fmla="*/ 175 w 631"/>
                <a:gd name="T5" fmla="*/ 128 h 843"/>
                <a:gd name="T6" fmla="*/ 289 w 631"/>
                <a:gd name="T7" fmla="*/ 25 h 843"/>
                <a:gd name="T8" fmla="*/ 422 w 631"/>
                <a:gd name="T9" fmla="*/ 0 h 843"/>
                <a:gd name="T10" fmla="*/ 539 w 631"/>
                <a:gd name="T11" fmla="*/ 20 h 843"/>
                <a:gd name="T12" fmla="*/ 630 w 631"/>
                <a:gd name="T13" fmla="*/ 70 h 843"/>
                <a:gd name="T14" fmla="*/ 550 w 631"/>
                <a:gd name="T15" fmla="*/ 222 h 843"/>
                <a:gd name="T16" fmla="*/ 486 w 631"/>
                <a:gd name="T17" fmla="*/ 184 h 843"/>
                <a:gd name="T18" fmla="*/ 402 w 631"/>
                <a:gd name="T19" fmla="*/ 172 h 843"/>
                <a:gd name="T20" fmla="*/ 316 w 631"/>
                <a:gd name="T21" fmla="*/ 186 h 843"/>
                <a:gd name="T22" fmla="*/ 244 w 631"/>
                <a:gd name="T23" fmla="*/ 228 h 843"/>
                <a:gd name="T24" fmla="*/ 194 w 631"/>
                <a:gd name="T25" fmla="*/ 297 h 843"/>
                <a:gd name="T26" fmla="*/ 175 w 631"/>
                <a:gd name="T27" fmla="*/ 397 h 843"/>
                <a:gd name="T28" fmla="*/ 175 w 631"/>
                <a:gd name="T29" fmla="*/ 842 h 843"/>
                <a:gd name="T30" fmla="*/ 0 w 631"/>
                <a:gd name="T31" fmla="*/ 842 h 843"/>
                <a:gd name="T32" fmla="*/ 0 w 631"/>
                <a:gd name="T33" fmla="*/ 20 h 843"/>
                <a:gd name="T34" fmla="*/ 164 w 631"/>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1" h="843">
                  <a:moveTo>
                    <a:pt x="164" y="20"/>
                  </a:moveTo>
                  <a:lnTo>
                    <a:pt x="164" y="20"/>
                  </a:lnTo>
                  <a:cubicBezTo>
                    <a:pt x="175" y="128"/>
                    <a:pt x="175" y="128"/>
                    <a:pt x="175" y="128"/>
                  </a:cubicBezTo>
                  <a:cubicBezTo>
                    <a:pt x="205" y="75"/>
                    <a:pt x="244" y="42"/>
                    <a:pt x="289" y="25"/>
                  </a:cubicBezTo>
                  <a:cubicBezTo>
                    <a:pt x="333" y="9"/>
                    <a:pt x="378" y="0"/>
                    <a:pt x="422" y="0"/>
                  </a:cubicBezTo>
                  <a:cubicBezTo>
                    <a:pt x="464" y="0"/>
                    <a:pt x="502" y="9"/>
                    <a:pt x="539" y="20"/>
                  </a:cubicBezTo>
                  <a:cubicBezTo>
                    <a:pt x="577" y="34"/>
                    <a:pt x="608" y="50"/>
                    <a:pt x="630" y="70"/>
                  </a:cubicBezTo>
                  <a:cubicBezTo>
                    <a:pt x="550" y="222"/>
                    <a:pt x="550" y="222"/>
                    <a:pt x="550" y="222"/>
                  </a:cubicBezTo>
                  <a:cubicBezTo>
                    <a:pt x="530" y="206"/>
                    <a:pt x="508" y="192"/>
                    <a:pt x="486" y="184"/>
                  </a:cubicBezTo>
                  <a:cubicBezTo>
                    <a:pt x="464" y="175"/>
                    <a:pt x="436" y="172"/>
                    <a:pt x="402" y="172"/>
                  </a:cubicBezTo>
                  <a:cubicBezTo>
                    <a:pt x="372" y="172"/>
                    <a:pt x="341" y="175"/>
                    <a:pt x="316" y="186"/>
                  </a:cubicBezTo>
                  <a:cubicBezTo>
                    <a:pt x="289" y="195"/>
                    <a:pt x="264" y="209"/>
                    <a:pt x="244" y="228"/>
                  </a:cubicBezTo>
                  <a:cubicBezTo>
                    <a:pt x="222" y="245"/>
                    <a:pt x="205" y="270"/>
                    <a:pt x="194" y="297"/>
                  </a:cubicBezTo>
                  <a:cubicBezTo>
                    <a:pt x="180" y="325"/>
                    <a:pt x="175" y="359"/>
                    <a:pt x="175" y="397"/>
                  </a:cubicBezTo>
                  <a:cubicBezTo>
                    <a:pt x="175" y="842"/>
                    <a:pt x="175" y="842"/>
                    <a:pt x="175"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2" name="Freeform 9">
              <a:extLst>
                <a:ext uri="{FF2B5EF4-FFF2-40B4-BE49-F238E27FC236}">
                  <a16:creationId xmlns:a16="http://schemas.microsoft.com/office/drawing/2014/main" id="{32B6901F-DDF2-5045-AD50-E960B0652F60}"/>
                </a:ext>
              </a:extLst>
            </p:cNvPr>
            <p:cNvSpPr>
              <a:spLocks noChangeArrowheads="1"/>
            </p:cNvSpPr>
            <p:nvPr userDrawn="1"/>
          </p:nvSpPr>
          <p:spPr bwMode="auto">
            <a:xfrm>
              <a:off x="4872038" y="3141663"/>
              <a:ext cx="314325" cy="312737"/>
            </a:xfrm>
            <a:custGeom>
              <a:avLst/>
              <a:gdLst>
                <a:gd name="T0" fmla="*/ 863 w 872"/>
                <a:gd name="T1" fmla="*/ 498 h 868"/>
                <a:gd name="T2" fmla="*/ 863 w 872"/>
                <a:gd name="T3" fmla="*/ 498 h 868"/>
                <a:gd name="T4" fmla="*/ 183 w 872"/>
                <a:gd name="T5" fmla="*/ 498 h 868"/>
                <a:gd name="T6" fmla="*/ 266 w 872"/>
                <a:gd name="T7" fmla="*/ 650 h 868"/>
                <a:gd name="T8" fmla="*/ 458 w 872"/>
                <a:gd name="T9" fmla="*/ 706 h 868"/>
                <a:gd name="T10" fmla="*/ 590 w 872"/>
                <a:gd name="T11" fmla="*/ 684 h 868"/>
                <a:gd name="T12" fmla="*/ 699 w 872"/>
                <a:gd name="T13" fmla="*/ 617 h 868"/>
                <a:gd name="T14" fmla="*/ 815 w 872"/>
                <a:gd name="T15" fmla="*/ 725 h 868"/>
                <a:gd name="T16" fmla="*/ 740 w 872"/>
                <a:gd name="T17" fmla="*/ 786 h 868"/>
                <a:gd name="T18" fmla="*/ 649 w 872"/>
                <a:gd name="T19" fmla="*/ 831 h 868"/>
                <a:gd name="T20" fmla="*/ 551 w 872"/>
                <a:gd name="T21" fmla="*/ 859 h 868"/>
                <a:gd name="T22" fmla="*/ 452 w 872"/>
                <a:gd name="T23" fmla="*/ 867 h 868"/>
                <a:gd name="T24" fmla="*/ 266 w 872"/>
                <a:gd name="T25" fmla="*/ 836 h 868"/>
                <a:gd name="T26" fmla="*/ 122 w 872"/>
                <a:gd name="T27" fmla="*/ 748 h 868"/>
                <a:gd name="T28" fmla="*/ 30 w 872"/>
                <a:gd name="T29" fmla="*/ 609 h 868"/>
                <a:gd name="T30" fmla="*/ 0 w 872"/>
                <a:gd name="T31" fmla="*/ 431 h 868"/>
                <a:gd name="T32" fmla="*/ 30 w 872"/>
                <a:gd name="T33" fmla="*/ 256 h 868"/>
                <a:gd name="T34" fmla="*/ 122 w 872"/>
                <a:gd name="T35" fmla="*/ 120 h 868"/>
                <a:gd name="T36" fmla="*/ 261 w 872"/>
                <a:gd name="T37" fmla="*/ 31 h 868"/>
                <a:gd name="T38" fmla="*/ 441 w 872"/>
                <a:gd name="T39" fmla="*/ 0 h 868"/>
                <a:gd name="T40" fmla="*/ 626 w 872"/>
                <a:gd name="T41" fmla="*/ 31 h 868"/>
                <a:gd name="T42" fmla="*/ 765 w 872"/>
                <a:gd name="T43" fmla="*/ 125 h 868"/>
                <a:gd name="T44" fmla="*/ 849 w 872"/>
                <a:gd name="T45" fmla="*/ 278 h 868"/>
                <a:gd name="T46" fmla="*/ 863 w 872"/>
                <a:gd name="T47" fmla="*/ 498 h 868"/>
                <a:gd name="T48" fmla="*/ 186 w 872"/>
                <a:gd name="T49" fmla="*/ 353 h 868"/>
                <a:gd name="T50" fmla="*/ 186 w 872"/>
                <a:gd name="T51" fmla="*/ 353 h 868"/>
                <a:gd name="T52" fmla="*/ 696 w 872"/>
                <a:gd name="T53" fmla="*/ 353 h 868"/>
                <a:gd name="T54" fmla="*/ 621 w 872"/>
                <a:gd name="T55" fmla="*/ 203 h 868"/>
                <a:gd name="T56" fmla="*/ 447 w 872"/>
                <a:gd name="T57" fmla="*/ 153 h 868"/>
                <a:gd name="T58" fmla="*/ 278 w 872"/>
                <a:gd name="T59" fmla="*/ 203 h 868"/>
                <a:gd name="T60" fmla="*/ 186 w 872"/>
                <a:gd name="T61" fmla="*/ 353 h 868"/>
                <a:gd name="T62" fmla="*/ 863 w 872"/>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2" h="868">
                  <a:moveTo>
                    <a:pt x="863" y="498"/>
                  </a:moveTo>
                  <a:lnTo>
                    <a:pt x="863" y="498"/>
                  </a:lnTo>
                  <a:cubicBezTo>
                    <a:pt x="183" y="498"/>
                    <a:pt x="183" y="498"/>
                    <a:pt x="183" y="498"/>
                  </a:cubicBezTo>
                  <a:cubicBezTo>
                    <a:pt x="189" y="562"/>
                    <a:pt x="219" y="611"/>
                    <a:pt x="266" y="650"/>
                  </a:cubicBezTo>
                  <a:cubicBezTo>
                    <a:pt x="316" y="686"/>
                    <a:pt x="380" y="706"/>
                    <a:pt x="458" y="706"/>
                  </a:cubicBezTo>
                  <a:cubicBezTo>
                    <a:pt x="499" y="706"/>
                    <a:pt x="543" y="698"/>
                    <a:pt x="590" y="684"/>
                  </a:cubicBezTo>
                  <a:cubicBezTo>
                    <a:pt x="638" y="667"/>
                    <a:pt x="674" y="645"/>
                    <a:pt x="699" y="617"/>
                  </a:cubicBezTo>
                  <a:cubicBezTo>
                    <a:pt x="815" y="725"/>
                    <a:pt x="815" y="725"/>
                    <a:pt x="815" y="725"/>
                  </a:cubicBezTo>
                  <a:cubicBezTo>
                    <a:pt x="793" y="750"/>
                    <a:pt x="768" y="770"/>
                    <a:pt x="740" y="786"/>
                  </a:cubicBezTo>
                  <a:cubicBezTo>
                    <a:pt x="710" y="806"/>
                    <a:pt x="682" y="820"/>
                    <a:pt x="649" y="831"/>
                  </a:cubicBezTo>
                  <a:cubicBezTo>
                    <a:pt x="618" y="845"/>
                    <a:pt x="585" y="853"/>
                    <a:pt x="551" y="859"/>
                  </a:cubicBezTo>
                  <a:cubicBezTo>
                    <a:pt x="518" y="864"/>
                    <a:pt x="485" y="867"/>
                    <a:pt x="452" y="867"/>
                  </a:cubicBezTo>
                  <a:cubicBezTo>
                    <a:pt x="383" y="867"/>
                    <a:pt x="322" y="856"/>
                    <a:pt x="266" y="836"/>
                  </a:cubicBezTo>
                  <a:cubicBezTo>
                    <a:pt x="211" y="814"/>
                    <a:pt x="161" y="786"/>
                    <a:pt x="122" y="748"/>
                  </a:cubicBezTo>
                  <a:cubicBezTo>
                    <a:pt x="83" y="709"/>
                    <a:pt x="53" y="664"/>
                    <a:pt x="30" y="609"/>
                  </a:cubicBezTo>
                  <a:cubicBezTo>
                    <a:pt x="11" y="556"/>
                    <a:pt x="0" y="495"/>
                    <a:pt x="0" y="431"/>
                  </a:cubicBezTo>
                  <a:cubicBezTo>
                    <a:pt x="0" y="367"/>
                    <a:pt x="11" y="309"/>
                    <a:pt x="30" y="256"/>
                  </a:cubicBezTo>
                  <a:cubicBezTo>
                    <a:pt x="53" y="203"/>
                    <a:pt x="83" y="159"/>
                    <a:pt x="122" y="120"/>
                  </a:cubicBezTo>
                  <a:cubicBezTo>
                    <a:pt x="161" y="84"/>
                    <a:pt x="208" y="53"/>
                    <a:pt x="261" y="31"/>
                  </a:cubicBezTo>
                  <a:cubicBezTo>
                    <a:pt x="316" y="12"/>
                    <a:pt x="375" y="0"/>
                    <a:pt x="441" y="0"/>
                  </a:cubicBezTo>
                  <a:cubicBezTo>
                    <a:pt x="510" y="0"/>
                    <a:pt x="571" y="12"/>
                    <a:pt x="626" y="31"/>
                  </a:cubicBezTo>
                  <a:cubicBezTo>
                    <a:pt x="682" y="53"/>
                    <a:pt x="726" y="84"/>
                    <a:pt x="765" y="125"/>
                  </a:cubicBezTo>
                  <a:cubicBezTo>
                    <a:pt x="804" y="164"/>
                    <a:pt x="832" y="217"/>
                    <a:pt x="849" y="278"/>
                  </a:cubicBezTo>
                  <a:cubicBezTo>
                    <a:pt x="868" y="342"/>
                    <a:pt x="871" y="414"/>
                    <a:pt x="863" y="498"/>
                  </a:cubicBezTo>
                  <a:lnTo>
                    <a:pt x="186" y="353"/>
                  </a:lnTo>
                  <a:lnTo>
                    <a:pt x="186" y="353"/>
                  </a:lnTo>
                  <a:cubicBezTo>
                    <a:pt x="696" y="353"/>
                    <a:pt x="696" y="353"/>
                    <a:pt x="696" y="353"/>
                  </a:cubicBezTo>
                  <a:cubicBezTo>
                    <a:pt x="690" y="287"/>
                    <a:pt x="663" y="236"/>
                    <a:pt x="621" y="203"/>
                  </a:cubicBezTo>
                  <a:cubicBezTo>
                    <a:pt x="577" y="170"/>
                    <a:pt x="518" y="153"/>
                    <a:pt x="447" y="153"/>
                  </a:cubicBezTo>
                  <a:cubicBezTo>
                    <a:pt x="380" y="153"/>
                    <a:pt x="325" y="170"/>
                    <a:pt x="278" y="203"/>
                  </a:cubicBezTo>
                  <a:cubicBezTo>
                    <a:pt x="230" y="236"/>
                    <a:pt x="200" y="287"/>
                    <a:pt x="186" y="353"/>
                  </a:cubicBezTo>
                  <a:lnTo>
                    <a:pt x="863"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3" name="Freeform 10">
              <a:extLst>
                <a:ext uri="{FF2B5EF4-FFF2-40B4-BE49-F238E27FC236}">
                  <a16:creationId xmlns:a16="http://schemas.microsoft.com/office/drawing/2014/main" id="{A0D912B4-3BB5-BE4A-9993-C01D994A03B2}"/>
                </a:ext>
              </a:extLst>
            </p:cNvPr>
            <p:cNvSpPr>
              <a:spLocks noChangeArrowheads="1"/>
            </p:cNvSpPr>
            <p:nvPr userDrawn="1"/>
          </p:nvSpPr>
          <p:spPr bwMode="auto">
            <a:xfrm>
              <a:off x="5205413" y="3149600"/>
              <a:ext cx="301625" cy="296863"/>
            </a:xfrm>
            <a:custGeom>
              <a:avLst/>
              <a:gdLst>
                <a:gd name="T0" fmla="*/ 606 w 837"/>
                <a:gd name="T1" fmla="*/ 0 h 823"/>
                <a:gd name="T2" fmla="*/ 820 w 837"/>
                <a:gd name="T3" fmla="*/ 0 h 823"/>
                <a:gd name="T4" fmla="*/ 820 w 837"/>
                <a:gd name="T5" fmla="*/ 5 h 823"/>
                <a:gd name="T6" fmla="*/ 536 w 837"/>
                <a:gd name="T7" fmla="*/ 402 h 823"/>
                <a:gd name="T8" fmla="*/ 836 w 837"/>
                <a:gd name="T9" fmla="*/ 819 h 823"/>
                <a:gd name="T10" fmla="*/ 836 w 837"/>
                <a:gd name="T11" fmla="*/ 822 h 823"/>
                <a:gd name="T12" fmla="*/ 625 w 837"/>
                <a:gd name="T13" fmla="*/ 822 h 823"/>
                <a:gd name="T14" fmla="*/ 420 w 837"/>
                <a:gd name="T15" fmla="*/ 525 h 823"/>
                <a:gd name="T16" fmla="*/ 212 w 837"/>
                <a:gd name="T17" fmla="*/ 822 h 823"/>
                <a:gd name="T18" fmla="*/ 0 w 837"/>
                <a:gd name="T19" fmla="*/ 822 h 823"/>
                <a:gd name="T20" fmla="*/ 0 w 837"/>
                <a:gd name="T21" fmla="*/ 819 h 823"/>
                <a:gd name="T22" fmla="*/ 303 w 837"/>
                <a:gd name="T23" fmla="*/ 402 h 823"/>
                <a:gd name="T24" fmla="*/ 20 w 837"/>
                <a:gd name="T25" fmla="*/ 5 h 823"/>
                <a:gd name="T26" fmla="*/ 20 w 837"/>
                <a:gd name="T27" fmla="*/ 0 h 823"/>
                <a:gd name="T28" fmla="*/ 231 w 837"/>
                <a:gd name="T29" fmla="*/ 0 h 823"/>
                <a:gd name="T30" fmla="*/ 420 w 837"/>
                <a:gd name="T31" fmla="*/ 294 h 823"/>
                <a:gd name="T32" fmla="*/ 606 w 837"/>
                <a:gd name="T33"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7" h="823">
                  <a:moveTo>
                    <a:pt x="606" y="0"/>
                  </a:moveTo>
                  <a:lnTo>
                    <a:pt x="820" y="0"/>
                  </a:lnTo>
                  <a:lnTo>
                    <a:pt x="820" y="5"/>
                  </a:lnTo>
                  <a:lnTo>
                    <a:pt x="536" y="402"/>
                  </a:lnTo>
                  <a:lnTo>
                    <a:pt x="836" y="819"/>
                  </a:lnTo>
                  <a:lnTo>
                    <a:pt x="836" y="822"/>
                  </a:lnTo>
                  <a:lnTo>
                    <a:pt x="625" y="822"/>
                  </a:lnTo>
                  <a:lnTo>
                    <a:pt x="420" y="525"/>
                  </a:lnTo>
                  <a:lnTo>
                    <a:pt x="212" y="822"/>
                  </a:lnTo>
                  <a:lnTo>
                    <a:pt x="0" y="822"/>
                  </a:lnTo>
                  <a:lnTo>
                    <a:pt x="0" y="819"/>
                  </a:lnTo>
                  <a:lnTo>
                    <a:pt x="303" y="402"/>
                  </a:lnTo>
                  <a:lnTo>
                    <a:pt x="20" y="5"/>
                  </a:lnTo>
                  <a:lnTo>
                    <a:pt x="20" y="0"/>
                  </a:lnTo>
                  <a:lnTo>
                    <a:pt x="231" y="0"/>
                  </a:lnTo>
                  <a:lnTo>
                    <a:pt x="420" y="294"/>
                  </a:lnTo>
                  <a:lnTo>
                    <a:pt x="60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4" name="Freeform 11">
              <a:extLst>
                <a:ext uri="{FF2B5EF4-FFF2-40B4-BE49-F238E27FC236}">
                  <a16:creationId xmlns:a16="http://schemas.microsoft.com/office/drawing/2014/main" id="{794ABC0D-FBDD-7244-A442-8BE67BB237FC}"/>
                </a:ext>
              </a:extLst>
            </p:cNvPr>
            <p:cNvSpPr>
              <a:spLocks noChangeArrowheads="1"/>
            </p:cNvSpPr>
            <p:nvPr userDrawn="1"/>
          </p:nvSpPr>
          <p:spPr bwMode="auto">
            <a:xfrm>
              <a:off x="5557838" y="3143250"/>
              <a:ext cx="323850" cy="439738"/>
            </a:xfrm>
            <a:custGeom>
              <a:avLst/>
              <a:gdLst>
                <a:gd name="T0" fmla="*/ 0 w 898"/>
                <a:gd name="T1" fmla="*/ 1221 h 1222"/>
                <a:gd name="T2" fmla="*/ 0 w 898"/>
                <a:gd name="T3" fmla="*/ 1221 h 1222"/>
                <a:gd name="T4" fmla="*/ 0 w 898"/>
                <a:gd name="T5" fmla="*/ 17 h 1222"/>
                <a:gd name="T6" fmla="*/ 164 w 898"/>
                <a:gd name="T7" fmla="*/ 17 h 1222"/>
                <a:gd name="T8" fmla="*/ 175 w 898"/>
                <a:gd name="T9" fmla="*/ 150 h 1222"/>
                <a:gd name="T10" fmla="*/ 306 w 898"/>
                <a:gd name="T11" fmla="*/ 36 h 1222"/>
                <a:gd name="T12" fmla="*/ 472 w 898"/>
                <a:gd name="T13" fmla="*/ 0 h 1222"/>
                <a:gd name="T14" fmla="*/ 645 w 898"/>
                <a:gd name="T15" fmla="*/ 33 h 1222"/>
                <a:gd name="T16" fmla="*/ 781 w 898"/>
                <a:gd name="T17" fmla="*/ 122 h 1222"/>
                <a:gd name="T18" fmla="*/ 867 w 898"/>
                <a:gd name="T19" fmla="*/ 256 h 1222"/>
                <a:gd name="T20" fmla="*/ 897 w 898"/>
                <a:gd name="T21" fmla="*/ 428 h 1222"/>
                <a:gd name="T22" fmla="*/ 867 w 898"/>
                <a:gd name="T23" fmla="*/ 600 h 1222"/>
                <a:gd name="T24" fmla="*/ 783 w 898"/>
                <a:gd name="T25" fmla="*/ 736 h 1222"/>
                <a:gd name="T26" fmla="*/ 650 w 898"/>
                <a:gd name="T27" fmla="*/ 828 h 1222"/>
                <a:gd name="T28" fmla="*/ 472 w 898"/>
                <a:gd name="T29" fmla="*/ 858 h 1222"/>
                <a:gd name="T30" fmla="*/ 392 w 898"/>
                <a:gd name="T31" fmla="*/ 850 h 1222"/>
                <a:gd name="T32" fmla="*/ 308 w 898"/>
                <a:gd name="T33" fmla="*/ 828 h 1222"/>
                <a:gd name="T34" fmla="*/ 233 w 898"/>
                <a:gd name="T35" fmla="*/ 786 h 1222"/>
                <a:gd name="T36" fmla="*/ 175 w 898"/>
                <a:gd name="T37" fmla="*/ 719 h 1222"/>
                <a:gd name="T38" fmla="*/ 175 w 898"/>
                <a:gd name="T39" fmla="*/ 1221 h 1222"/>
                <a:gd name="T40" fmla="*/ 0 w 898"/>
                <a:gd name="T41" fmla="*/ 1221 h 1222"/>
                <a:gd name="T42" fmla="*/ 456 w 898"/>
                <a:gd name="T43" fmla="*/ 692 h 1222"/>
                <a:gd name="T44" fmla="*/ 456 w 898"/>
                <a:gd name="T45" fmla="*/ 692 h 1222"/>
                <a:gd name="T46" fmla="*/ 561 w 898"/>
                <a:gd name="T47" fmla="*/ 672 h 1222"/>
                <a:gd name="T48" fmla="*/ 647 w 898"/>
                <a:gd name="T49" fmla="*/ 617 h 1222"/>
                <a:gd name="T50" fmla="*/ 703 w 898"/>
                <a:gd name="T51" fmla="*/ 536 h 1222"/>
                <a:gd name="T52" fmla="*/ 722 w 898"/>
                <a:gd name="T53" fmla="*/ 428 h 1222"/>
                <a:gd name="T54" fmla="*/ 650 w 898"/>
                <a:gd name="T55" fmla="*/ 239 h 1222"/>
                <a:gd name="T56" fmla="*/ 456 w 898"/>
                <a:gd name="T57" fmla="*/ 167 h 1222"/>
                <a:gd name="T58" fmla="*/ 345 w 898"/>
                <a:gd name="T59" fmla="*/ 186 h 1222"/>
                <a:gd name="T60" fmla="*/ 261 w 898"/>
                <a:gd name="T61" fmla="*/ 242 h 1222"/>
                <a:gd name="T62" fmla="*/ 208 w 898"/>
                <a:gd name="T63" fmla="*/ 325 h 1222"/>
                <a:gd name="T64" fmla="*/ 192 w 898"/>
                <a:gd name="T65" fmla="*/ 428 h 1222"/>
                <a:gd name="T66" fmla="*/ 211 w 898"/>
                <a:gd name="T67" fmla="*/ 530 h 1222"/>
                <a:gd name="T68" fmla="*/ 264 w 898"/>
                <a:gd name="T69" fmla="*/ 617 h 1222"/>
                <a:gd name="T70" fmla="*/ 347 w 898"/>
                <a:gd name="T71" fmla="*/ 672 h 1222"/>
                <a:gd name="T72" fmla="*/ 456 w 898"/>
                <a:gd name="T73" fmla="*/ 69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8" h="1222">
                  <a:moveTo>
                    <a:pt x="0" y="1221"/>
                  </a:moveTo>
                  <a:lnTo>
                    <a:pt x="0" y="1221"/>
                  </a:lnTo>
                  <a:cubicBezTo>
                    <a:pt x="0" y="17"/>
                    <a:pt x="0" y="17"/>
                    <a:pt x="0" y="17"/>
                  </a:cubicBezTo>
                  <a:cubicBezTo>
                    <a:pt x="164" y="17"/>
                    <a:pt x="164" y="17"/>
                    <a:pt x="164" y="17"/>
                  </a:cubicBezTo>
                  <a:cubicBezTo>
                    <a:pt x="175" y="150"/>
                    <a:pt x="175" y="150"/>
                    <a:pt x="175" y="150"/>
                  </a:cubicBezTo>
                  <a:cubicBezTo>
                    <a:pt x="208" y="100"/>
                    <a:pt x="253" y="61"/>
                    <a:pt x="306" y="36"/>
                  </a:cubicBezTo>
                  <a:cubicBezTo>
                    <a:pt x="361" y="11"/>
                    <a:pt x="417" y="0"/>
                    <a:pt x="472" y="0"/>
                  </a:cubicBezTo>
                  <a:cubicBezTo>
                    <a:pt x="536" y="0"/>
                    <a:pt x="592" y="11"/>
                    <a:pt x="645" y="33"/>
                  </a:cubicBezTo>
                  <a:cubicBezTo>
                    <a:pt x="697" y="53"/>
                    <a:pt x="742" y="83"/>
                    <a:pt x="781" y="122"/>
                  </a:cubicBezTo>
                  <a:cubicBezTo>
                    <a:pt x="817" y="158"/>
                    <a:pt x="847" y="206"/>
                    <a:pt x="867" y="256"/>
                  </a:cubicBezTo>
                  <a:cubicBezTo>
                    <a:pt x="886" y="308"/>
                    <a:pt x="897" y="367"/>
                    <a:pt x="897" y="428"/>
                  </a:cubicBezTo>
                  <a:cubicBezTo>
                    <a:pt x="897" y="492"/>
                    <a:pt x="886" y="550"/>
                    <a:pt x="867" y="600"/>
                  </a:cubicBezTo>
                  <a:cubicBezTo>
                    <a:pt x="847" y="653"/>
                    <a:pt x="820" y="700"/>
                    <a:pt x="783" y="736"/>
                  </a:cubicBezTo>
                  <a:cubicBezTo>
                    <a:pt x="747" y="775"/>
                    <a:pt x="703" y="805"/>
                    <a:pt x="650" y="828"/>
                  </a:cubicBezTo>
                  <a:cubicBezTo>
                    <a:pt x="597" y="847"/>
                    <a:pt x="536" y="858"/>
                    <a:pt x="472" y="858"/>
                  </a:cubicBezTo>
                  <a:cubicBezTo>
                    <a:pt x="447" y="858"/>
                    <a:pt x="420" y="856"/>
                    <a:pt x="392" y="850"/>
                  </a:cubicBezTo>
                  <a:cubicBezTo>
                    <a:pt x="364" y="847"/>
                    <a:pt x="336" y="839"/>
                    <a:pt x="308" y="828"/>
                  </a:cubicBezTo>
                  <a:cubicBezTo>
                    <a:pt x="283" y="817"/>
                    <a:pt x="258" y="803"/>
                    <a:pt x="233" y="786"/>
                  </a:cubicBezTo>
                  <a:cubicBezTo>
                    <a:pt x="211" y="767"/>
                    <a:pt x="192" y="744"/>
                    <a:pt x="175" y="719"/>
                  </a:cubicBezTo>
                  <a:cubicBezTo>
                    <a:pt x="175" y="1221"/>
                    <a:pt x="175" y="1221"/>
                    <a:pt x="175" y="1221"/>
                  </a:cubicBezTo>
                  <a:lnTo>
                    <a:pt x="0" y="1221"/>
                  </a:lnTo>
                  <a:close/>
                  <a:moveTo>
                    <a:pt x="456" y="692"/>
                  </a:moveTo>
                  <a:lnTo>
                    <a:pt x="456" y="692"/>
                  </a:lnTo>
                  <a:cubicBezTo>
                    <a:pt x="495" y="692"/>
                    <a:pt x="531" y="686"/>
                    <a:pt x="561" y="672"/>
                  </a:cubicBezTo>
                  <a:cubicBezTo>
                    <a:pt x="595" y="658"/>
                    <a:pt x="622" y="642"/>
                    <a:pt x="647" y="617"/>
                  </a:cubicBezTo>
                  <a:cubicBezTo>
                    <a:pt x="669" y="594"/>
                    <a:pt x="689" y="567"/>
                    <a:pt x="703" y="536"/>
                  </a:cubicBezTo>
                  <a:cubicBezTo>
                    <a:pt x="714" y="503"/>
                    <a:pt x="722" y="467"/>
                    <a:pt x="722" y="428"/>
                  </a:cubicBezTo>
                  <a:cubicBezTo>
                    <a:pt x="722" y="350"/>
                    <a:pt x="697" y="289"/>
                    <a:pt x="650" y="239"/>
                  </a:cubicBezTo>
                  <a:cubicBezTo>
                    <a:pt x="600" y="192"/>
                    <a:pt x="536" y="167"/>
                    <a:pt x="456" y="167"/>
                  </a:cubicBezTo>
                  <a:cubicBezTo>
                    <a:pt x="414" y="167"/>
                    <a:pt x="378" y="172"/>
                    <a:pt x="345" y="186"/>
                  </a:cubicBezTo>
                  <a:cubicBezTo>
                    <a:pt x="314" y="200"/>
                    <a:pt x="286" y="219"/>
                    <a:pt x="261" y="242"/>
                  </a:cubicBezTo>
                  <a:cubicBezTo>
                    <a:pt x="239" y="267"/>
                    <a:pt x="222" y="294"/>
                    <a:pt x="208" y="325"/>
                  </a:cubicBezTo>
                  <a:cubicBezTo>
                    <a:pt x="197" y="358"/>
                    <a:pt x="192" y="392"/>
                    <a:pt x="192" y="428"/>
                  </a:cubicBezTo>
                  <a:cubicBezTo>
                    <a:pt x="192" y="467"/>
                    <a:pt x="197" y="500"/>
                    <a:pt x="211" y="530"/>
                  </a:cubicBezTo>
                  <a:cubicBezTo>
                    <a:pt x="222" y="564"/>
                    <a:pt x="242" y="592"/>
                    <a:pt x="264" y="617"/>
                  </a:cubicBezTo>
                  <a:cubicBezTo>
                    <a:pt x="289" y="639"/>
                    <a:pt x="317" y="658"/>
                    <a:pt x="347" y="672"/>
                  </a:cubicBezTo>
                  <a:cubicBezTo>
                    <a:pt x="381" y="683"/>
                    <a:pt x="417" y="692"/>
                    <a:pt x="456" y="692"/>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5" name="Freeform 12">
              <a:extLst>
                <a:ext uri="{FF2B5EF4-FFF2-40B4-BE49-F238E27FC236}">
                  <a16:creationId xmlns:a16="http://schemas.microsoft.com/office/drawing/2014/main" id="{8DC4AC5D-A60F-664C-A054-183CFACD9BBC}"/>
                </a:ext>
              </a:extLst>
            </p:cNvPr>
            <p:cNvSpPr>
              <a:spLocks noChangeArrowheads="1"/>
            </p:cNvSpPr>
            <p:nvPr userDrawn="1"/>
          </p:nvSpPr>
          <p:spPr bwMode="auto">
            <a:xfrm>
              <a:off x="5929313" y="3141663"/>
              <a:ext cx="315912" cy="312737"/>
            </a:xfrm>
            <a:custGeom>
              <a:avLst/>
              <a:gdLst>
                <a:gd name="T0" fmla="*/ 867 w 876"/>
                <a:gd name="T1" fmla="*/ 498 h 868"/>
                <a:gd name="T2" fmla="*/ 867 w 876"/>
                <a:gd name="T3" fmla="*/ 498 h 868"/>
                <a:gd name="T4" fmla="*/ 184 w 876"/>
                <a:gd name="T5" fmla="*/ 498 h 868"/>
                <a:gd name="T6" fmla="*/ 270 w 876"/>
                <a:gd name="T7" fmla="*/ 650 h 868"/>
                <a:gd name="T8" fmla="*/ 459 w 876"/>
                <a:gd name="T9" fmla="*/ 706 h 868"/>
                <a:gd name="T10" fmla="*/ 595 w 876"/>
                <a:gd name="T11" fmla="*/ 684 h 868"/>
                <a:gd name="T12" fmla="*/ 703 w 876"/>
                <a:gd name="T13" fmla="*/ 617 h 868"/>
                <a:gd name="T14" fmla="*/ 817 w 876"/>
                <a:gd name="T15" fmla="*/ 725 h 868"/>
                <a:gd name="T16" fmla="*/ 742 w 876"/>
                <a:gd name="T17" fmla="*/ 786 h 868"/>
                <a:gd name="T18" fmla="*/ 653 w 876"/>
                <a:gd name="T19" fmla="*/ 831 h 868"/>
                <a:gd name="T20" fmla="*/ 553 w 876"/>
                <a:gd name="T21" fmla="*/ 859 h 868"/>
                <a:gd name="T22" fmla="*/ 456 w 876"/>
                <a:gd name="T23" fmla="*/ 867 h 868"/>
                <a:gd name="T24" fmla="*/ 267 w 876"/>
                <a:gd name="T25" fmla="*/ 836 h 868"/>
                <a:gd name="T26" fmla="*/ 125 w 876"/>
                <a:gd name="T27" fmla="*/ 748 h 868"/>
                <a:gd name="T28" fmla="*/ 34 w 876"/>
                <a:gd name="T29" fmla="*/ 609 h 868"/>
                <a:gd name="T30" fmla="*/ 0 w 876"/>
                <a:gd name="T31" fmla="*/ 431 h 868"/>
                <a:gd name="T32" fmla="*/ 34 w 876"/>
                <a:gd name="T33" fmla="*/ 256 h 868"/>
                <a:gd name="T34" fmla="*/ 125 w 876"/>
                <a:gd name="T35" fmla="*/ 120 h 868"/>
                <a:gd name="T36" fmla="*/ 264 w 876"/>
                <a:gd name="T37" fmla="*/ 31 h 868"/>
                <a:gd name="T38" fmla="*/ 442 w 876"/>
                <a:gd name="T39" fmla="*/ 0 h 868"/>
                <a:gd name="T40" fmla="*/ 628 w 876"/>
                <a:gd name="T41" fmla="*/ 31 h 868"/>
                <a:gd name="T42" fmla="*/ 770 w 876"/>
                <a:gd name="T43" fmla="*/ 125 h 868"/>
                <a:gd name="T44" fmla="*/ 853 w 876"/>
                <a:gd name="T45" fmla="*/ 278 h 868"/>
                <a:gd name="T46" fmla="*/ 867 w 876"/>
                <a:gd name="T47" fmla="*/ 498 h 868"/>
                <a:gd name="T48" fmla="*/ 186 w 876"/>
                <a:gd name="T49" fmla="*/ 353 h 868"/>
                <a:gd name="T50" fmla="*/ 186 w 876"/>
                <a:gd name="T51" fmla="*/ 353 h 868"/>
                <a:gd name="T52" fmla="*/ 698 w 876"/>
                <a:gd name="T53" fmla="*/ 353 h 868"/>
                <a:gd name="T54" fmla="*/ 623 w 876"/>
                <a:gd name="T55" fmla="*/ 203 h 868"/>
                <a:gd name="T56" fmla="*/ 448 w 876"/>
                <a:gd name="T57" fmla="*/ 153 h 868"/>
                <a:gd name="T58" fmla="*/ 278 w 876"/>
                <a:gd name="T59" fmla="*/ 203 h 868"/>
                <a:gd name="T60" fmla="*/ 186 w 876"/>
                <a:gd name="T61" fmla="*/ 353 h 868"/>
                <a:gd name="T62" fmla="*/ 867 w 876"/>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8">
                  <a:moveTo>
                    <a:pt x="867" y="498"/>
                  </a:moveTo>
                  <a:lnTo>
                    <a:pt x="867" y="498"/>
                  </a:lnTo>
                  <a:cubicBezTo>
                    <a:pt x="184" y="498"/>
                    <a:pt x="184" y="498"/>
                    <a:pt x="184" y="498"/>
                  </a:cubicBezTo>
                  <a:cubicBezTo>
                    <a:pt x="192" y="562"/>
                    <a:pt x="220" y="611"/>
                    <a:pt x="270" y="650"/>
                  </a:cubicBezTo>
                  <a:cubicBezTo>
                    <a:pt x="317" y="686"/>
                    <a:pt x="381" y="706"/>
                    <a:pt x="459" y="706"/>
                  </a:cubicBezTo>
                  <a:cubicBezTo>
                    <a:pt x="503" y="706"/>
                    <a:pt x="547" y="698"/>
                    <a:pt x="595" y="684"/>
                  </a:cubicBezTo>
                  <a:cubicBezTo>
                    <a:pt x="639" y="667"/>
                    <a:pt x="675" y="645"/>
                    <a:pt x="703" y="617"/>
                  </a:cubicBezTo>
                  <a:cubicBezTo>
                    <a:pt x="817" y="725"/>
                    <a:pt x="817" y="725"/>
                    <a:pt x="817" y="725"/>
                  </a:cubicBezTo>
                  <a:cubicBezTo>
                    <a:pt x="795" y="750"/>
                    <a:pt x="770" y="770"/>
                    <a:pt x="742" y="786"/>
                  </a:cubicBezTo>
                  <a:cubicBezTo>
                    <a:pt x="714" y="806"/>
                    <a:pt x="684" y="820"/>
                    <a:pt x="653" y="831"/>
                  </a:cubicBezTo>
                  <a:cubicBezTo>
                    <a:pt x="620" y="845"/>
                    <a:pt x="589" y="853"/>
                    <a:pt x="553" y="859"/>
                  </a:cubicBezTo>
                  <a:cubicBezTo>
                    <a:pt x="520" y="864"/>
                    <a:pt x="486" y="867"/>
                    <a:pt x="456" y="867"/>
                  </a:cubicBezTo>
                  <a:cubicBezTo>
                    <a:pt x="386" y="867"/>
                    <a:pt x="323" y="856"/>
                    <a:pt x="267" y="836"/>
                  </a:cubicBezTo>
                  <a:cubicBezTo>
                    <a:pt x="211" y="814"/>
                    <a:pt x="164" y="786"/>
                    <a:pt x="125" y="748"/>
                  </a:cubicBezTo>
                  <a:cubicBezTo>
                    <a:pt x="86" y="709"/>
                    <a:pt x="56" y="664"/>
                    <a:pt x="34" y="609"/>
                  </a:cubicBezTo>
                  <a:cubicBezTo>
                    <a:pt x="11" y="556"/>
                    <a:pt x="0" y="495"/>
                    <a:pt x="0" y="431"/>
                  </a:cubicBezTo>
                  <a:cubicBezTo>
                    <a:pt x="0" y="367"/>
                    <a:pt x="11" y="309"/>
                    <a:pt x="34" y="256"/>
                  </a:cubicBezTo>
                  <a:cubicBezTo>
                    <a:pt x="56" y="203"/>
                    <a:pt x="86" y="159"/>
                    <a:pt x="125" y="120"/>
                  </a:cubicBezTo>
                  <a:cubicBezTo>
                    <a:pt x="161" y="84"/>
                    <a:pt x="209" y="53"/>
                    <a:pt x="264" y="31"/>
                  </a:cubicBezTo>
                  <a:cubicBezTo>
                    <a:pt x="317" y="12"/>
                    <a:pt x="378" y="0"/>
                    <a:pt x="442" y="0"/>
                  </a:cubicBezTo>
                  <a:cubicBezTo>
                    <a:pt x="511" y="0"/>
                    <a:pt x="573" y="12"/>
                    <a:pt x="628" y="31"/>
                  </a:cubicBezTo>
                  <a:cubicBezTo>
                    <a:pt x="684" y="53"/>
                    <a:pt x="731" y="84"/>
                    <a:pt x="770" y="125"/>
                  </a:cubicBezTo>
                  <a:cubicBezTo>
                    <a:pt x="806" y="164"/>
                    <a:pt x="834" y="217"/>
                    <a:pt x="853" y="278"/>
                  </a:cubicBezTo>
                  <a:cubicBezTo>
                    <a:pt x="870" y="342"/>
                    <a:pt x="875" y="414"/>
                    <a:pt x="867" y="498"/>
                  </a:cubicBezTo>
                  <a:lnTo>
                    <a:pt x="186" y="353"/>
                  </a:lnTo>
                  <a:lnTo>
                    <a:pt x="186" y="353"/>
                  </a:lnTo>
                  <a:cubicBezTo>
                    <a:pt x="698" y="353"/>
                    <a:pt x="698" y="353"/>
                    <a:pt x="698" y="353"/>
                  </a:cubicBezTo>
                  <a:cubicBezTo>
                    <a:pt x="692" y="287"/>
                    <a:pt x="667" y="236"/>
                    <a:pt x="623" y="203"/>
                  </a:cubicBezTo>
                  <a:cubicBezTo>
                    <a:pt x="578" y="170"/>
                    <a:pt x="520" y="153"/>
                    <a:pt x="448" y="153"/>
                  </a:cubicBezTo>
                  <a:cubicBezTo>
                    <a:pt x="384" y="153"/>
                    <a:pt x="328" y="170"/>
                    <a:pt x="278" y="203"/>
                  </a:cubicBezTo>
                  <a:cubicBezTo>
                    <a:pt x="231" y="236"/>
                    <a:pt x="200" y="287"/>
                    <a:pt x="186" y="353"/>
                  </a:cubicBezTo>
                  <a:lnTo>
                    <a:pt x="867"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6" name="Freeform 13">
              <a:extLst>
                <a:ext uri="{FF2B5EF4-FFF2-40B4-BE49-F238E27FC236}">
                  <a16:creationId xmlns:a16="http://schemas.microsoft.com/office/drawing/2014/main" id="{AE239619-F835-844B-8ADF-19E5F1049E64}"/>
                </a:ext>
              </a:extLst>
            </p:cNvPr>
            <p:cNvSpPr>
              <a:spLocks noChangeArrowheads="1"/>
            </p:cNvSpPr>
            <p:nvPr userDrawn="1"/>
          </p:nvSpPr>
          <p:spPr bwMode="auto">
            <a:xfrm>
              <a:off x="6305550" y="3141663"/>
              <a:ext cx="228600" cy="303212"/>
            </a:xfrm>
            <a:custGeom>
              <a:avLst/>
              <a:gdLst>
                <a:gd name="T0" fmla="*/ 164 w 634"/>
                <a:gd name="T1" fmla="*/ 20 h 843"/>
                <a:gd name="T2" fmla="*/ 164 w 634"/>
                <a:gd name="T3" fmla="*/ 20 h 843"/>
                <a:gd name="T4" fmla="*/ 177 w 634"/>
                <a:gd name="T5" fmla="*/ 128 h 843"/>
                <a:gd name="T6" fmla="*/ 289 w 634"/>
                <a:gd name="T7" fmla="*/ 25 h 843"/>
                <a:gd name="T8" fmla="*/ 425 w 634"/>
                <a:gd name="T9" fmla="*/ 0 h 843"/>
                <a:gd name="T10" fmla="*/ 541 w 634"/>
                <a:gd name="T11" fmla="*/ 20 h 843"/>
                <a:gd name="T12" fmla="*/ 633 w 634"/>
                <a:gd name="T13" fmla="*/ 70 h 843"/>
                <a:gd name="T14" fmla="*/ 552 w 634"/>
                <a:gd name="T15" fmla="*/ 222 h 843"/>
                <a:gd name="T16" fmla="*/ 486 w 634"/>
                <a:gd name="T17" fmla="*/ 184 h 843"/>
                <a:gd name="T18" fmla="*/ 405 w 634"/>
                <a:gd name="T19" fmla="*/ 172 h 843"/>
                <a:gd name="T20" fmla="*/ 316 w 634"/>
                <a:gd name="T21" fmla="*/ 186 h 843"/>
                <a:gd name="T22" fmla="*/ 244 w 634"/>
                <a:gd name="T23" fmla="*/ 228 h 843"/>
                <a:gd name="T24" fmla="*/ 197 w 634"/>
                <a:gd name="T25" fmla="*/ 297 h 843"/>
                <a:gd name="T26" fmla="*/ 177 w 634"/>
                <a:gd name="T27" fmla="*/ 397 h 843"/>
                <a:gd name="T28" fmla="*/ 177 w 634"/>
                <a:gd name="T29" fmla="*/ 842 h 843"/>
                <a:gd name="T30" fmla="*/ 0 w 634"/>
                <a:gd name="T31" fmla="*/ 842 h 843"/>
                <a:gd name="T32" fmla="*/ 0 w 634"/>
                <a:gd name="T33" fmla="*/ 20 h 843"/>
                <a:gd name="T34" fmla="*/ 164 w 634"/>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4" h="843">
                  <a:moveTo>
                    <a:pt x="164" y="20"/>
                  </a:moveTo>
                  <a:lnTo>
                    <a:pt x="164" y="20"/>
                  </a:lnTo>
                  <a:cubicBezTo>
                    <a:pt x="177" y="128"/>
                    <a:pt x="177" y="128"/>
                    <a:pt x="177" y="128"/>
                  </a:cubicBezTo>
                  <a:cubicBezTo>
                    <a:pt x="208" y="75"/>
                    <a:pt x="244" y="42"/>
                    <a:pt x="289" y="25"/>
                  </a:cubicBezTo>
                  <a:cubicBezTo>
                    <a:pt x="333" y="9"/>
                    <a:pt x="380" y="0"/>
                    <a:pt x="425" y="0"/>
                  </a:cubicBezTo>
                  <a:cubicBezTo>
                    <a:pt x="466" y="0"/>
                    <a:pt x="505" y="9"/>
                    <a:pt x="541" y="20"/>
                  </a:cubicBezTo>
                  <a:cubicBezTo>
                    <a:pt x="577" y="34"/>
                    <a:pt x="608" y="50"/>
                    <a:pt x="633" y="70"/>
                  </a:cubicBezTo>
                  <a:cubicBezTo>
                    <a:pt x="552" y="222"/>
                    <a:pt x="552" y="222"/>
                    <a:pt x="552" y="222"/>
                  </a:cubicBezTo>
                  <a:cubicBezTo>
                    <a:pt x="530" y="206"/>
                    <a:pt x="508" y="192"/>
                    <a:pt x="486" y="184"/>
                  </a:cubicBezTo>
                  <a:cubicBezTo>
                    <a:pt x="464" y="175"/>
                    <a:pt x="436" y="172"/>
                    <a:pt x="405" y="172"/>
                  </a:cubicBezTo>
                  <a:cubicBezTo>
                    <a:pt x="372" y="172"/>
                    <a:pt x="344" y="175"/>
                    <a:pt x="316" y="186"/>
                  </a:cubicBezTo>
                  <a:cubicBezTo>
                    <a:pt x="289" y="195"/>
                    <a:pt x="266" y="209"/>
                    <a:pt x="244" y="228"/>
                  </a:cubicBezTo>
                  <a:cubicBezTo>
                    <a:pt x="225" y="245"/>
                    <a:pt x="208" y="270"/>
                    <a:pt x="197" y="297"/>
                  </a:cubicBezTo>
                  <a:cubicBezTo>
                    <a:pt x="183" y="325"/>
                    <a:pt x="177" y="359"/>
                    <a:pt x="177" y="397"/>
                  </a:cubicBezTo>
                  <a:cubicBezTo>
                    <a:pt x="177" y="842"/>
                    <a:pt x="177" y="842"/>
                    <a:pt x="177"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7" name="Freeform 14">
              <a:extLst>
                <a:ext uri="{FF2B5EF4-FFF2-40B4-BE49-F238E27FC236}">
                  <a16:creationId xmlns:a16="http://schemas.microsoft.com/office/drawing/2014/main" id="{8AA14F52-A996-604F-8054-FED728847032}"/>
                </a:ext>
              </a:extLst>
            </p:cNvPr>
            <p:cNvSpPr>
              <a:spLocks noChangeArrowheads="1"/>
            </p:cNvSpPr>
            <p:nvPr userDrawn="1"/>
          </p:nvSpPr>
          <p:spPr bwMode="auto">
            <a:xfrm>
              <a:off x="6577013" y="3148013"/>
              <a:ext cx="63500" cy="296862"/>
            </a:xfrm>
            <a:custGeom>
              <a:avLst/>
              <a:gdLst>
                <a:gd name="T0" fmla="*/ 175 w 176"/>
                <a:gd name="T1" fmla="*/ 825 h 826"/>
                <a:gd name="T2" fmla="*/ 0 w 176"/>
                <a:gd name="T3" fmla="*/ 825 h 826"/>
                <a:gd name="T4" fmla="*/ 0 w 176"/>
                <a:gd name="T5" fmla="*/ 0 h 826"/>
                <a:gd name="T6" fmla="*/ 175 w 176"/>
                <a:gd name="T7" fmla="*/ 0 h 826"/>
                <a:gd name="T8" fmla="*/ 175 w 176"/>
                <a:gd name="T9" fmla="*/ 825 h 826"/>
              </a:gdLst>
              <a:ahLst/>
              <a:cxnLst>
                <a:cxn ang="0">
                  <a:pos x="T0" y="T1"/>
                </a:cxn>
                <a:cxn ang="0">
                  <a:pos x="T2" y="T3"/>
                </a:cxn>
                <a:cxn ang="0">
                  <a:pos x="T4" y="T5"/>
                </a:cxn>
                <a:cxn ang="0">
                  <a:pos x="T6" y="T7"/>
                </a:cxn>
                <a:cxn ang="0">
                  <a:pos x="T8" y="T9"/>
                </a:cxn>
              </a:cxnLst>
              <a:rect l="0" t="0" r="r" b="b"/>
              <a:pathLst>
                <a:path w="176" h="826">
                  <a:moveTo>
                    <a:pt x="175" y="825"/>
                  </a:moveTo>
                  <a:lnTo>
                    <a:pt x="0" y="825"/>
                  </a:lnTo>
                  <a:lnTo>
                    <a:pt x="0" y="0"/>
                  </a:lnTo>
                  <a:lnTo>
                    <a:pt x="175" y="0"/>
                  </a:lnTo>
                  <a:lnTo>
                    <a:pt x="175" y="8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8" name="Freeform 15">
              <a:extLst>
                <a:ext uri="{FF2B5EF4-FFF2-40B4-BE49-F238E27FC236}">
                  <a16:creationId xmlns:a16="http://schemas.microsoft.com/office/drawing/2014/main" id="{5A1C5DF4-763B-6E42-A4E8-5C52C47CA15E}"/>
                </a:ext>
              </a:extLst>
            </p:cNvPr>
            <p:cNvSpPr>
              <a:spLocks noChangeArrowheads="1"/>
            </p:cNvSpPr>
            <p:nvPr userDrawn="1"/>
          </p:nvSpPr>
          <p:spPr bwMode="auto">
            <a:xfrm>
              <a:off x="6707188" y="3141663"/>
              <a:ext cx="314325" cy="312737"/>
            </a:xfrm>
            <a:custGeom>
              <a:avLst/>
              <a:gdLst>
                <a:gd name="T0" fmla="*/ 864 w 873"/>
                <a:gd name="T1" fmla="*/ 498 h 868"/>
                <a:gd name="T2" fmla="*/ 864 w 873"/>
                <a:gd name="T3" fmla="*/ 498 h 868"/>
                <a:gd name="T4" fmla="*/ 184 w 873"/>
                <a:gd name="T5" fmla="*/ 498 h 868"/>
                <a:gd name="T6" fmla="*/ 267 w 873"/>
                <a:gd name="T7" fmla="*/ 650 h 868"/>
                <a:gd name="T8" fmla="*/ 459 w 873"/>
                <a:gd name="T9" fmla="*/ 706 h 868"/>
                <a:gd name="T10" fmla="*/ 592 w 873"/>
                <a:gd name="T11" fmla="*/ 684 h 868"/>
                <a:gd name="T12" fmla="*/ 700 w 873"/>
                <a:gd name="T13" fmla="*/ 617 h 868"/>
                <a:gd name="T14" fmla="*/ 817 w 873"/>
                <a:gd name="T15" fmla="*/ 725 h 868"/>
                <a:gd name="T16" fmla="*/ 742 w 873"/>
                <a:gd name="T17" fmla="*/ 786 h 868"/>
                <a:gd name="T18" fmla="*/ 650 w 873"/>
                <a:gd name="T19" fmla="*/ 831 h 868"/>
                <a:gd name="T20" fmla="*/ 553 w 873"/>
                <a:gd name="T21" fmla="*/ 859 h 868"/>
                <a:gd name="T22" fmla="*/ 453 w 873"/>
                <a:gd name="T23" fmla="*/ 867 h 868"/>
                <a:gd name="T24" fmla="*/ 267 w 873"/>
                <a:gd name="T25" fmla="*/ 836 h 868"/>
                <a:gd name="T26" fmla="*/ 123 w 873"/>
                <a:gd name="T27" fmla="*/ 748 h 868"/>
                <a:gd name="T28" fmla="*/ 34 w 873"/>
                <a:gd name="T29" fmla="*/ 609 h 868"/>
                <a:gd name="T30" fmla="*/ 0 w 873"/>
                <a:gd name="T31" fmla="*/ 431 h 868"/>
                <a:gd name="T32" fmla="*/ 34 w 873"/>
                <a:gd name="T33" fmla="*/ 256 h 868"/>
                <a:gd name="T34" fmla="*/ 123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7 w 873"/>
                <a:gd name="T53" fmla="*/ 353 h 868"/>
                <a:gd name="T54" fmla="*/ 622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4" y="498"/>
                    <a:pt x="184" y="498"/>
                    <a:pt x="184" y="498"/>
                  </a:cubicBezTo>
                  <a:cubicBezTo>
                    <a:pt x="189" y="562"/>
                    <a:pt x="220" y="611"/>
                    <a:pt x="267" y="650"/>
                  </a:cubicBezTo>
                  <a:cubicBezTo>
                    <a:pt x="317" y="686"/>
                    <a:pt x="381" y="706"/>
                    <a:pt x="459" y="706"/>
                  </a:cubicBezTo>
                  <a:cubicBezTo>
                    <a:pt x="500" y="706"/>
                    <a:pt x="545" y="698"/>
                    <a:pt x="592" y="684"/>
                  </a:cubicBezTo>
                  <a:cubicBezTo>
                    <a:pt x="639" y="667"/>
                    <a:pt x="675" y="645"/>
                    <a:pt x="700" y="617"/>
                  </a:cubicBezTo>
                  <a:cubicBezTo>
                    <a:pt x="817" y="725"/>
                    <a:pt x="817" y="725"/>
                    <a:pt x="817" y="725"/>
                  </a:cubicBezTo>
                  <a:cubicBezTo>
                    <a:pt x="795" y="750"/>
                    <a:pt x="770" y="770"/>
                    <a:pt x="742" y="786"/>
                  </a:cubicBezTo>
                  <a:cubicBezTo>
                    <a:pt x="711" y="806"/>
                    <a:pt x="684" y="820"/>
                    <a:pt x="650" y="831"/>
                  </a:cubicBezTo>
                  <a:cubicBezTo>
                    <a:pt x="620" y="845"/>
                    <a:pt x="586" y="853"/>
                    <a:pt x="553" y="859"/>
                  </a:cubicBezTo>
                  <a:cubicBezTo>
                    <a:pt x="520" y="864"/>
                    <a:pt x="486" y="867"/>
                    <a:pt x="453" y="867"/>
                  </a:cubicBezTo>
                  <a:cubicBezTo>
                    <a:pt x="384" y="867"/>
                    <a:pt x="322" y="856"/>
                    <a:pt x="267" y="836"/>
                  </a:cubicBezTo>
                  <a:cubicBezTo>
                    <a:pt x="211" y="814"/>
                    <a:pt x="164" y="786"/>
                    <a:pt x="123" y="748"/>
                  </a:cubicBezTo>
                  <a:cubicBezTo>
                    <a:pt x="84" y="709"/>
                    <a:pt x="53" y="664"/>
                    <a:pt x="34" y="609"/>
                  </a:cubicBezTo>
                  <a:cubicBezTo>
                    <a:pt x="11" y="556"/>
                    <a:pt x="0" y="495"/>
                    <a:pt x="0" y="431"/>
                  </a:cubicBezTo>
                  <a:cubicBezTo>
                    <a:pt x="0" y="367"/>
                    <a:pt x="11" y="309"/>
                    <a:pt x="34" y="256"/>
                  </a:cubicBezTo>
                  <a:cubicBezTo>
                    <a:pt x="53" y="203"/>
                    <a:pt x="84" y="159"/>
                    <a:pt x="123" y="120"/>
                  </a:cubicBezTo>
                  <a:cubicBezTo>
                    <a:pt x="161" y="84"/>
                    <a:pt x="209" y="53"/>
                    <a:pt x="261" y="31"/>
                  </a:cubicBezTo>
                  <a:cubicBezTo>
                    <a:pt x="317" y="12"/>
                    <a:pt x="375" y="0"/>
                    <a:pt x="442" y="0"/>
                  </a:cubicBezTo>
                  <a:cubicBezTo>
                    <a:pt x="511" y="0"/>
                    <a:pt x="572" y="12"/>
                    <a:pt x="628" y="31"/>
                  </a:cubicBezTo>
                  <a:cubicBezTo>
                    <a:pt x="684" y="53"/>
                    <a:pt x="728" y="84"/>
                    <a:pt x="767" y="125"/>
                  </a:cubicBezTo>
                  <a:cubicBezTo>
                    <a:pt x="806" y="164"/>
                    <a:pt x="834" y="217"/>
                    <a:pt x="850" y="278"/>
                  </a:cubicBezTo>
                  <a:cubicBezTo>
                    <a:pt x="870" y="342"/>
                    <a:pt x="872" y="414"/>
                    <a:pt x="864" y="498"/>
                  </a:cubicBezTo>
                  <a:lnTo>
                    <a:pt x="186" y="353"/>
                  </a:lnTo>
                  <a:lnTo>
                    <a:pt x="186" y="353"/>
                  </a:lnTo>
                  <a:cubicBezTo>
                    <a:pt x="697" y="353"/>
                    <a:pt x="697" y="353"/>
                    <a:pt x="697" y="353"/>
                  </a:cubicBezTo>
                  <a:cubicBezTo>
                    <a:pt x="692" y="287"/>
                    <a:pt x="667" y="236"/>
                    <a:pt x="622" y="203"/>
                  </a:cubicBezTo>
                  <a:cubicBezTo>
                    <a:pt x="578" y="170"/>
                    <a:pt x="520" y="153"/>
                    <a:pt x="447" y="153"/>
                  </a:cubicBezTo>
                  <a:cubicBezTo>
                    <a:pt x="384"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9" name="Freeform 16">
              <a:extLst>
                <a:ext uri="{FF2B5EF4-FFF2-40B4-BE49-F238E27FC236}">
                  <a16:creationId xmlns:a16="http://schemas.microsoft.com/office/drawing/2014/main" id="{BAC46370-E32B-374D-9DCD-B11D21D51FB5}"/>
                </a:ext>
              </a:extLst>
            </p:cNvPr>
            <p:cNvSpPr>
              <a:spLocks noChangeArrowheads="1"/>
            </p:cNvSpPr>
            <p:nvPr userDrawn="1"/>
          </p:nvSpPr>
          <p:spPr bwMode="auto">
            <a:xfrm>
              <a:off x="7083425" y="3144838"/>
              <a:ext cx="293688" cy="301625"/>
            </a:xfrm>
            <a:custGeom>
              <a:avLst/>
              <a:gdLst>
                <a:gd name="T0" fmla="*/ 638 w 817"/>
                <a:gd name="T1" fmla="*/ 836 h 837"/>
                <a:gd name="T2" fmla="*/ 638 w 817"/>
                <a:gd name="T3" fmla="*/ 836 h 837"/>
                <a:gd name="T4" fmla="*/ 638 w 817"/>
                <a:gd name="T5" fmla="*/ 397 h 837"/>
                <a:gd name="T6" fmla="*/ 580 w 817"/>
                <a:gd name="T7" fmla="*/ 225 h 837"/>
                <a:gd name="T8" fmla="*/ 411 w 817"/>
                <a:gd name="T9" fmla="*/ 161 h 837"/>
                <a:gd name="T10" fmla="*/ 313 w 817"/>
                <a:gd name="T11" fmla="*/ 180 h 837"/>
                <a:gd name="T12" fmla="*/ 241 w 817"/>
                <a:gd name="T13" fmla="*/ 233 h 837"/>
                <a:gd name="T14" fmla="*/ 194 w 817"/>
                <a:gd name="T15" fmla="*/ 311 h 837"/>
                <a:gd name="T16" fmla="*/ 175 w 817"/>
                <a:gd name="T17" fmla="*/ 408 h 837"/>
                <a:gd name="T18" fmla="*/ 175 w 817"/>
                <a:gd name="T19" fmla="*/ 836 h 837"/>
                <a:gd name="T20" fmla="*/ 0 w 817"/>
                <a:gd name="T21" fmla="*/ 836 h 837"/>
                <a:gd name="T22" fmla="*/ 0 w 817"/>
                <a:gd name="T23" fmla="*/ 11 h 837"/>
                <a:gd name="T24" fmla="*/ 161 w 817"/>
                <a:gd name="T25" fmla="*/ 11 h 837"/>
                <a:gd name="T26" fmla="*/ 172 w 817"/>
                <a:gd name="T27" fmla="*/ 133 h 837"/>
                <a:gd name="T28" fmla="*/ 455 w 817"/>
                <a:gd name="T29" fmla="*/ 0 h 837"/>
                <a:gd name="T30" fmla="*/ 597 w 817"/>
                <a:gd name="T31" fmla="*/ 25 h 837"/>
                <a:gd name="T32" fmla="*/ 711 w 817"/>
                <a:gd name="T33" fmla="*/ 103 h 837"/>
                <a:gd name="T34" fmla="*/ 788 w 817"/>
                <a:gd name="T35" fmla="*/ 225 h 837"/>
                <a:gd name="T36" fmla="*/ 816 w 817"/>
                <a:gd name="T37" fmla="*/ 394 h 837"/>
                <a:gd name="T38" fmla="*/ 816 w 817"/>
                <a:gd name="T39" fmla="*/ 836 h 837"/>
                <a:gd name="T40" fmla="*/ 638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8" y="836"/>
                  </a:moveTo>
                  <a:lnTo>
                    <a:pt x="638" y="836"/>
                  </a:lnTo>
                  <a:cubicBezTo>
                    <a:pt x="638" y="397"/>
                    <a:pt x="638" y="397"/>
                    <a:pt x="638" y="397"/>
                  </a:cubicBezTo>
                  <a:cubicBezTo>
                    <a:pt x="638" y="325"/>
                    <a:pt x="619" y="269"/>
                    <a:pt x="580" y="225"/>
                  </a:cubicBezTo>
                  <a:cubicBezTo>
                    <a:pt x="541" y="183"/>
                    <a:pt x="483" y="161"/>
                    <a:pt x="411" y="161"/>
                  </a:cubicBezTo>
                  <a:cubicBezTo>
                    <a:pt x="375" y="161"/>
                    <a:pt x="344" y="166"/>
                    <a:pt x="313" y="180"/>
                  </a:cubicBezTo>
                  <a:cubicBezTo>
                    <a:pt x="286" y="191"/>
                    <a:pt x="261" y="211"/>
                    <a:pt x="241" y="233"/>
                  </a:cubicBezTo>
                  <a:cubicBezTo>
                    <a:pt x="219" y="255"/>
                    <a:pt x="205" y="283"/>
                    <a:pt x="194" y="311"/>
                  </a:cubicBezTo>
                  <a:cubicBezTo>
                    <a:pt x="180" y="341"/>
                    <a:pt x="175" y="375"/>
                    <a:pt x="175" y="408"/>
                  </a:cubicBezTo>
                  <a:cubicBezTo>
                    <a:pt x="175" y="836"/>
                    <a:pt x="175" y="836"/>
                    <a:pt x="175" y="836"/>
                  </a:cubicBezTo>
                  <a:cubicBezTo>
                    <a:pt x="0" y="836"/>
                    <a:pt x="0" y="836"/>
                    <a:pt x="0" y="836"/>
                  </a:cubicBezTo>
                  <a:cubicBezTo>
                    <a:pt x="0" y="11"/>
                    <a:pt x="0" y="11"/>
                    <a:pt x="0" y="11"/>
                  </a:cubicBezTo>
                  <a:cubicBezTo>
                    <a:pt x="161" y="11"/>
                    <a:pt x="161" y="11"/>
                    <a:pt x="161" y="11"/>
                  </a:cubicBezTo>
                  <a:cubicBezTo>
                    <a:pt x="172" y="133"/>
                    <a:pt x="172" y="133"/>
                    <a:pt x="172" y="133"/>
                  </a:cubicBezTo>
                  <a:cubicBezTo>
                    <a:pt x="250" y="44"/>
                    <a:pt x="344" y="0"/>
                    <a:pt x="455" y="0"/>
                  </a:cubicBezTo>
                  <a:cubicBezTo>
                    <a:pt x="505" y="0"/>
                    <a:pt x="552" y="8"/>
                    <a:pt x="597" y="25"/>
                  </a:cubicBezTo>
                  <a:cubicBezTo>
                    <a:pt x="641" y="44"/>
                    <a:pt x="677" y="69"/>
                    <a:pt x="711" y="103"/>
                  </a:cubicBezTo>
                  <a:cubicBezTo>
                    <a:pt x="744" y="136"/>
                    <a:pt x="769" y="178"/>
                    <a:pt x="788" y="225"/>
                  </a:cubicBezTo>
                  <a:cubicBezTo>
                    <a:pt x="808" y="275"/>
                    <a:pt x="816" y="330"/>
                    <a:pt x="816" y="394"/>
                  </a:cubicBezTo>
                  <a:cubicBezTo>
                    <a:pt x="816" y="836"/>
                    <a:pt x="816" y="836"/>
                    <a:pt x="816" y="836"/>
                  </a:cubicBezTo>
                  <a:lnTo>
                    <a:pt x="638"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0" name="Freeform 17">
              <a:extLst>
                <a:ext uri="{FF2B5EF4-FFF2-40B4-BE49-F238E27FC236}">
                  <a16:creationId xmlns:a16="http://schemas.microsoft.com/office/drawing/2014/main" id="{87609B4C-8025-C048-93ED-1B2FCED70675}"/>
                </a:ext>
              </a:extLst>
            </p:cNvPr>
            <p:cNvSpPr>
              <a:spLocks noChangeArrowheads="1"/>
            </p:cNvSpPr>
            <p:nvPr userDrawn="1"/>
          </p:nvSpPr>
          <p:spPr bwMode="auto">
            <a:xfrm>
              <a:off x="7440613" y="3141663"/>
              <a:ext cx="274637" cy="311150"/>
            </a:xfrm>
            <a:custGeom>
              <a:avLst/>
              <a:gdLst>
                <a:gd name="T0" fmla="*/ 761 w 762"/>
                <a:gd name="T1" fmla="*/ 736 h 865"/>
                <a:gd name="T2" fmla="*/ 761 w 762"/>
                <a:gd name="T3" fmla="*/ 736 h 865"/>
                <a:gd name="T4" fmla="*/ 614 w 762"/>
                <a:gd name="T5" fmla="*/ 833 h 865"/>
                <a:gd name="T6" fmla="*/ 442 w 762"/>
                <a:gd name="T7" fmla="*/ 864 h 865"/>
                <a:gd name="T8" fmla="*/ 272 w 762"/>
                <a:gd name="T9" fmla="*/ 836 h 865"/>
                <a:gd name="T10" fmla="*/ 131 w 762"/>
                <a:gd name="T11" fmla="*/ 756 h 865"/>
                <a:gd name="T12" fmla="*/ 34 w 762"/>
                <a:gd name="T13" fmla="*/ 620 h 865"/>
                <a:gd name="T14" fmla="*/ 0 w 762"/>
                <a:gd name="T15" fmla="*/ 431 h 865"/>
                <a:gd name="T16" fmla="*/ 34 w 762"/>
                <a:gd name="T17" fmla="*/ 245 h 865"/>
                <a:gd name="T18" fmla="*/ 131 w 762"/>
                <a:gd name="T19" fmla="*/ 109 h 865"/>
                <a:gd name="T20" fmla="*/ 270 w 762"/>
                <a:gd name="T21" fmla="*/ 28 h 865"/>
                <a:gd name="T22" fmla="*/ 442 w 762"/>
                <a:gd name="T23" fmla="*/ 0 h 865"/>
                <a:gd name="T24" fmla="*/ 603 w 762"/>
                <a:gd name="T25" fmla="*/ 28 h 865"/>
                <a:gd name="T26" fmla="*/ 747 w 762"/>
                <a:gd name="T27" fmla="*/ 122 h 865"/>
                <a:gd name="T28" fmla="*/ 633 w 762"/>
                <a:gd name="T29" fmla="*/ 236 h 865"/>
                <a:gd name="T30" fmla="*/ 545 w 762"/>
                <a:gd name="T31" fmla="*/ 181 h 865"/>
                <a:gd name="T32" fmla="*/ 445 w 762"/>
                <a:gd name="T33" fmla="*/ 164 h 865"/>
                <a:gd name="T34" fmla="*/ 339 w 762"/>
                <a:gd name="T35" fmla="*/ 181 h 865"/>
                <a:gd name="T36" fmla="*/ 253 w 762"/>
                <a:gd name="T37" fmla="*/ 236 h 865"/>
                <a:gd name="T38" fmla="*/ 195 w 762"/>
                <a:gd name="T39" fmla="*/ 320 h 865"/>
                <a:gd name="T40" fmla="*/ 175 w 762"/>
                <a:gd name="T41" fmla="*/ 431 h 865"/>
                <a:gd name="T42" fmla="*/ 197 w 762"/>
                <a:gd name="T43" fmla="*/ 547 h 865"/>
                <a:gd name="T44" fmla="*/ 253 w 762"/>
                <a:gd name="T45" fmla="*/ 631 h 865"/>
                <a:gd name="T46" fmla="*/ 339 w 762"/>
                <a:gd name="T47" fmla="*/ 681 h 865"/>
                <a:gd name="T48" fmla="*/ 442 w 762"/>
                <a:gd name="T49" fmla="*/ 697 h 865"/>
                <a:gd name="T50" fmla="*/ 550 w 762"/>
                <a:gd name="T51" fmla="*/ 681 h 865"/>
                <a:gd name="T52" fmla="*/ 642 w 762"/>
                <a:gd name="T53" fmla="*/ 620 h 865"/>
                <a:gd name="T54" fmla="*/ 761 w 762"/>
                <a:gd name="T55" fmla="*/ 736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62" h="865">
                  <a:moveTo>
                    <a:pt x="761" y="736"/>
                  </a:moveTo>
                  <a:lnTo>
                    <a:pt x="761" y="736"/>
                  </a:lnTo>
                  <a:cubicBezTo>
                    <a:pt x="714" y="781"/>
                    <a:pt x="664" y="814"/>
                    <a:pt x="614" y="833"/>
                  </a:cubicBezTo>
                  <a:cubicBezTo>
                    <a:pt x="561" y="856"/>
                    <a:pt x="503" y="864"/>
                    <a:pt x="442" y="864"/>
                  </a:cubicBezTo>
                  <a:cubicBezTo>
                    <a:pt x="383" y="864"/>
                    <a:pt x="325" y="856"/>
                    <a:pt x="272" y="836"/>
                  </a:cubicBezTo>
                  <a:cubicBezTo>
                    <a:pt x="217" y="820"/>
                    <a:pt x="170" y="792"/>
                    <a:pt x="131" y="756"/>
                  </a:cubicBezTo>
                  <a:cubicBezTo>
                    <a:pt x="89" y="720"/>
                    <a:pt x="58" y="675"/>
                    <a:pt x="34" y="620"/>
                  </a:cubicBezTo>
                  <a:cubicBezTo>
                    <a:pt x="11" y="567"/>
                    <a:pt x="0" y="503"/>
                    <a:pt x="0" y="431"/>
                  </a:cubicBezTo>
                  <a:cubicBezTo>
                    <a:pt x="0" y="361"/>
                    <a:pt x="11" y="297"/>
                    <a:pt x="34" y="245"/>
                  </a:cubicBezTo>
                  <a:cubicBezTo>
                    <a:pt x="58" y="189"/>
                    <a:pt x="89" y="145"/>
                    <a:pt x="131" y="109"/>
                  </a:cubicBezTo>
                  <a:cubicBezTo>
                    <a:pt x="170" y="72"/>
                    <a:pt x="217" y="45"/>
                    <a:pt x="270" y="28"/>
                  </a:cubicBezTo>
                  <a:cubicBezTo>
                    <a:pt x="325" y="9"/>
                    <a:pt x="381" y="0"/>
                    <a:pt x="442" y="0"/>
                  </a:cubicBezTo>
                  <a:cubicBezTo>
                    <a:pt x="500" y="0"/>
                    <a:pt x="556" y="9"/>
                    <a:pt x="603" y="28"/>
                  </a:cubicBezTo>
                  <a:cubicBezTo>
                    <a:pt x="653" y="47"/>
                    <a:pt x="700" y="78"/>
                    <a:pt x="747" y="122"/>
                  </a:cubicBezTo>
                  <a:cubicBezTo>
                    <a:pt x="633" y="236"/>
                    <a:pt x="633" y="236"/>
                    <a:pt x="633" y="236"/>
                  </a:cubicBezTo>
                  <a:cubicBezTo>
                    <a:pt x="608" y="211"/>
                    <a:pt x="578" y="192"/>
                    <a:pt x="545" y="181"/>
                  </a:cubicBezTo>
                  <a:cubicBezTo>
                    <a:pt x="511" y="170"/>
                    <a:pt x="478" y="164"/>
                    <a:pt x="445" y="164"/>
                  </a:cubicBezTo>
                  <a:cubicBezTo>
                    <a:pt x="406" y="164"/>
                    <a:pt x="372" y="170"/>
                    <a:pt x="339" y="181"/>
                  </a:cubicBezTo>
                  <a:cubicBezTo>
                    <a:pt x="306" y="195"/>
                    <a:pt x="278" y="214"/>
                    <a:pt x="253" y="236"/>
                  </a:cubicBezTo>
                  <a:cubicBezTo>
                    <a:pt x="228" y="259"/>
                    <a:pt x="209" y="289"/>
                    <a:pt x="195" y="320"/>
                  </a:cubicBezTo>
                  <a:cubicBezTo>
                    <a:pt x="181" y="353"/>
                    <a:pt x="175" y="392"/>
                    <a:pt x="175" y="431"/>
                  </a:cubicBezTo>
                  <a:cubicBezTo>
                    <a:pt x="175" y="475"/>
                    <a:pt x="181" y="514"/>
                    <a:pt x="197" y="547"/>
                  </a:cubicBezTo>
                  <a:cubicBezTo>
                    <a:pt x="211" y="578"/>
                    <a:pt x="231" y="606"/>
                    <a:pt x="253" y="631"/>
                  </a:cubicBezTo>
                  <a:cubicBezTo>
                    <a:pt x="278" y="653"/>
                    <a:pt x="309" y="670"/>
                    <a:pt x="339" y="681"/>
                  </a:cubicBezTo>
                  <a:cubicBezTo>
                    <a:pt x="372" y="692"/>
                    <a:pt x="406" y="697"/>
                    <a:pt x="442" y="697"/>
                  </a:cubicBezTo>
                  <a:cubicBezTo>
                    <a:pt x="478" y="697"/>
                    <a:pt x="514" y="692"/>
                    <a:pt x="550" y="681"/>
                  </a:cubicBezTo>
                  <a:cubicBezTo>
                    <a:pt x="583" y="670"/>
                    <a:pt x="614" y="647"/>
                    <a:pt x="642" y="620"/>
                  </a:cubicBezTo>
                  <a:lnTo>
                    <a:pt x="761" y="7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1" name="Freeform 18">
              <a:extLst>
                <a:ext uri="{FF2B5EF4-FFF2-40B4-BE49-F238E27FC236}">
                  <a16:creationId xmlns:a16="http://schemas.microsoft.com/office/drawing/2014/main" id="{9BE5CECE-76E7-FC4D-B5AF-D21157C162A8}"/>
                </a:ext>
              </a:extLst>
            </p:cNvPr>
            <p:cNvSpPr>
              <a:spLocks noChangeArrowheads="1"/>
            </p:cNvSpPr>
            <p:nvPr userDrawn="1"/>
          </p:nvSpPr>
          <p:spPr bwMode="auto">
            <a:xfrm>
              <a:off x="7747000" y="3141663"/>
              <a:ext cx="314325" cy="312737"/>
            </a:xfrm>
            <a:custGeom>
              <a:avLst/>
              <a:gdLst>
                <a:gd name="T0" fmla="*/ 864 w 873"/>
                <a:gd name="T1" fmla="*/ 498 h 868"/>
                <a:gd name="T2" fmla="*/ 864 w 873"/>
                <a:gd name="T3" fmla="*/ 498 h 868"/>
                <a:gd name="T4" fmla="*/ 181 w 873"/>
                <a:gd name="T5" fmla="*/ 498 h 868"/>
                <a:gd name="T6" fmla="*/ 267 w 873"/>
                <a:gd name="T7" fmla="*/ 650 h 868"/>
                <a:gd name="T8" fmla="*/ 456 w 873"/>
                <a:gd name="T9" fmla="*/ 706 h 868"/>
                <a:gd name="T10" fmla="*/ 592 w 873"/>
                <a:gd name="T11" fmla="*/ 684 h 868"/>
                <a:gd name="T12" fmla="*/ 700 w 873"/>
                <a:gd name="T13" fmla="*/ 617 h 868"/>
                <a:gd name="T14" fmla="*/ 817 w 873"/>
                <a:gd name="T15" fmla="*/ 725 h 868"/>
                <a:gd name="T16" fmla="*/ 739 w 873"/>
                <a:gd name="T17" fmla="*/ 786 h 868"/>
                <a:gd name="T18" fmla="*/ 650 w 873"/>
                <a:gd name="T19" fmla="*/ 831 h 868"/>
                <a:gd name="T20" fmla="*/ 553 w 873"/>
                <a:gd name="T21" fmla="*/ 859 h 868"/>
                <a:gd name="T22" fmla="*/ 453 w 873"/>
                <a:gd name="T23" fmla="*/ 867 h 868"/>
                <a:gd name="T24" fmla="*/ 267 w 873"/>
                <a:gd name="T25" fmla="*/ 836 h 868"/>
                <a:gd name="T26" fmla="*/ 122 w 873"/>
                <a:gd name="T27" fmla="*/ 748 h 868"/>
                <a:gd name="T28" fmla="*/ 31 w 873"/>
                <a:gd name="T29" fmla="*/ 609 h 868"/>
                <a:gd name="T30" fmla="*/ 0 w 873"/>
                <a:gd name="T31" fmla="*/ 431 h 868"/>
                <a:gd name="T32" fmla="*/ 31 w 873"/>
                <a:gd name="T33" fmla="*/ 256 h 868"/>
                <a:gd name="T34" fmla="*/ 122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4 w 873"/>
                <a:gd name="T53" fmla="*/ 353 h 868"/>
                <a:gd name="T54" fmla="*/ 619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1" y="498"/>
                    <a:pt x="181" y="498"/>
                    <a:pt x="181" y="498"/>
                  </a:cubicBezTo>
                  <a:cubicBezTo>
                    <a:pt x="189" y="562"/>
                    <a:pt x="219" y="611"/>
                    <a:pt x="267" y="650"/>
                  </a:cubicBezTo>
                  <a:cubicBezTo>
                    <a:pt x="317" y="686"/>
                    <a:pt x="381" y="706"/>
                    <a:pt x="456" y="706"/>
                  </a:cubicBezTo>
                  <a:cubicBezTo>
                    <a:pt x="500" y="706"/>
                    <a:pt x="544" y="698"/>
                    <a:pt x="592" y="684"/>
                  </a:cubicBezTo>
                  <a:cubicBezTo>
                    <a:pt x="639" y="667"/>
                    <a:pt x="675" y="645"/>
                    <a:pt x="700" y="617"/>
                  </a:cubicBezTo>
                  <a:cubicBezTo>
                    <a:pt x="817" y="725"/>
                    <a:pt x="817" y="725"/>
                    <a:pt x="817" y="725"/>
                  </a:cubicBezTo>
                  <a:cubicBezTo>
                    <a:pt x="794" y="750"/>
                    <a:pt x="769" y="770"/>
                    <a:pt x="739" y="786"/>
                  </a:cubicBezTo>
                  <a:cubicBezTo>
                    <a:pt x="711" y="806"/>
                    <a:pt x="681" y="820"/>
                    <a:pt x="650" y="831"/>
                  </a:cubicBezTo>
                  <a:cubicBezTo>
                    <a:pt x="619" y="845"/>
                    <a:pt x="586" y="853"/>
                    <a:pt x="553" y="859"/>
                  </a:cubicBezTo>
                  <a:cubicBezTo>
                    <a:pt x="519" y="864"/>
                    <a:pt x="486" y="867"/>
                    <a:pt x="453" y="867"/>
                  </a:cubicBezTo>
                  <a:cubicBezTo>
                    <a:pt x="383" y="867"/>
                    <a:pt x="322" y="856"/>
                    <a:pt x="267" y="836"/>
                  </a:cubicBezTo>
                  <a:cubicBezTo>
                    <a:pt x="208" y="814"/>
                    <a:pt x="161" y="786"/>
                    <a:pt x="122" y="748"/>
                  </a:cubicBezTo>
                  <a:cubicBezTo>
                    <a:pt x="83" y="709"/>
                    <a:pt x="53" y="664"/>
                    <a:pt x="31" y="609"/>
                  </a:cubicBezTo>
                  <a:cubicBezTo>
                    <a:pt x="11" y="556"/>
                    <a:pt x="0" y="495"/>
                    <a:pt x="0" y="431"/>
                  </a:cubicBezTo>
                  <a:cubicBezTo>
                    <a:pt x="0" y="367"/>
                    <a:pt x="11" y="309"/>
                    <a:pt x="31" y="256"/>
                  </a:cubicBezTo>
                  <a:cubicBezTo>
                    <a:pt x="53" y="203"/>
                    <a:pt x="83" y="159"/>
                    <a:pt x="122" y="120"/>
                  </a:cubicBezTo>
                  <a:cubicBezTo>
                    <a:pt x="161" y="84"/>
                    <a:pt x="208" y="53"/>
                    <a:pt x="261" y="31"/>
                  </a:cubicBezTo>
                  <a:cubicBezTo>
                    <a:pt x="314" y="12"/>
                    <a:pt x="375" y="0"/>
                    <a:pt x="442" y="0"/>
                  </a:cubicBezTo>
                  <a:cubicBezTo>
                    <a:pt x="508" y="0"/>
                    <a:pt x="572" y="12"/>
                    <a:pt x="628" y="31"/>
                  </a:cubicBezTo>
                  <a:cubicBezTo>
                    <a:pt x="681" y="53"/>
                    <a:pt x="728" y="84"/>
                    <a:pt x="767" y="125"/>
                  </a:cubicBezTo>
                  <a:cubicBezTo>
                    <a:pt x="806" y="164"/>
                    <a:pt x="833" y="217"/>
                    <a:pt x="850" y="278"/>
                  </a:cubicBezTo>
                  <a:cubicBezTo>
                    <a:pt x="867" y="342"/>
                    <a:pt x="872" y="414"/>
                    <a:pt x="864" y="498"/>
                  </a:cubicBezTo>
                  <a:lnTo>
                    <a:pt x="186" y="353"/>
                  </a:lnTo>
                  <a:lnTo>
                    <a:pt x="186" y="353"/>
                  </a:lnTo>
                  <a:cubicBezTo>
                    <a:pt x="694" y="353"/>
                    <a:pt x="694" y="353"/>
                    <a:pt x="694" y="353"/>
                  </a:cubicBezTo>
                  <a:cubicBezTo>
                    <a:pt x="689" y="287"/>
                    <a:pt x="664" y="236"/>
                    <a:pt x="619" y="203"/>
                  </a:cubicBezTo>
                  <a:cubicBezTo>
                    <a:pt x="575" y="170"/>
                    <a:pt x="519" y="153"/>
                    <a:pt x="447" y="153"/>
                  </a:cubicBezTo>
                  <a:cubicBezTo>
                    <a:pt x="381"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2" name="Freeform 19">
              <a:extLst>
                <a:ext uri="{FF2B5EF4-FFF2-40B4-BE49-F238E27FC236}">
                  <a16:creationId xmlns:a16="http://schemas.microsoft.com/office/drawing/2014/main" id="{435AF856-D4F8-3541-860A-32D295D56D23}"/>
                </a:ext>
              </a:extLst>
            </p:cNvPr>
            <p:cNvSpPr>
              <a:spLocks noChangeArrowheads="1"/>
            </p:cNvSpPr>
            <p:nvPr userDrawn="1"/>
          </p:nvSpPr>
          <p:spPr bwMode="auto">
            <a:xfrm>
              <a:off x="1828800" y="3743325"/>
              <a:ext cx="323850" cy="311150"/>
            </a:xfrm>
            <a:custGeom>
              <a:avLst/>
              <a:gdLst>
                <a:gd name="T0" fmla="*/ 722 w 901"/>
                <a:gd name="T1" fmla="*/ 147 h 865"/>
                <a:gd name="T2" fmla="*/ 722 w 901"/>
                <a:gd name="T3" fmla="*/ 147 h 865"/>
                <a:gd name="T4" fmla="*/ 728 w 901"/>
                <a:gd name="T5" fmla="*/ 17 h 865"/>
                <a:gd name="T6" fmla="*/ 900 w 901"/>
                <a:gd name="T7" fmla="*/ 17 h 865"/>
                <a:gd name="T8" fmla="*/ 900 w 901"/>
                <a:gd name="T9" fmla="*/ 842 h 865"/>
                <a:gd name="T10" fmla="*/ 731 w 901"/>
                <a:gd name="T11" fmla="*/ 842 h 865"/>
                <a:gd name="T12" fmla="*/ 722 w 901"/>
                <a:gd name="T13" fmla="*/ 709 h 865"/>
                <a:gd name="T14" fmla="*/ 669 w 901"/>
                <a:gd name="T15" fmla="*/ 778 h 865"/>
                <a:gd name="T16" fmla="*/ 597 w 901"/>
                <a:gd name="T17" fmla="*/ 825 h 865"/>
                <a:gd name="T18" fmla="*/ 514 w 901"/>
                <a:gd name="T19" fmla="*/ 856 h 865"/>
                <a:gd name="T20" fmla="*/ 433 w 901"/>
                <a:gd name="T21" fmla="*/ 864 h 865"/>
                <a:gd name="T22" fmla="*/ 261 w 901"/>
                <a:gd name="T23" fmla="*/ 836 h 865"/>
                <a:gd name="T24" fmla="*/ 125 w 901"/>
                <a:gd name="T25" fmla="*/ 753 h 865"/>
                <a:gd name="T26" fmla="*/ 33 w 901"/>
                <a:gd name="T27" fmla="*/ 617 h 865"/>
                <a:gd name="T28" fmla="*/ 0 w 901"/>
                <a:gd name="T29" fmla="*/ 428 h 865"/>
                <a:gd name="T30" fmla="*/ 36 w 901"/>
                <a:gd name="T31" fmla="*/ 245 h 865"/>
                <a:gd name="T32" fmla="*/ 128 w 901"/>
                <a:gd name="T33" fmla="*/ 111 h 865"/>
                <a:gd name="T34" fmla="*/ 267 w 901"/>
                <a:gd name="T35" fmla="*/ 28 h 865"/>
                <a:gd name="T36" fmla="*/ 436 w 901"/>
                <a:gd name="T37" fmla="*/ 0 h 865"/>
                <a:gd name="T38" fmla="*/ 606 w 901"/>
                <a:gd name="T39" fmla="*/ 39 h 865"/>
                <a:gd name="T40" fmla="*/ 722 w 901"/>
                <a:gd name="T41" fmla="*/ 147 h 865"/>
                <a:gd name="T42" fmla="*/ 450 w 901"/>
                <a:gd name="T43" fmla="*/ 156 h 865"/>
                <a:gd name="T44" fmla="*/ 450 w 901"/>
                <a:gd name="T45" fmla="*/ 156 h 865"/>
                <a:gd name="T46" fmla="*/ 344 w 901"/>
                <a:gd name="T47" fmla="*/ 175 h 865"/>
                <a:gd name="T48" fmla="*/ 258 w 901"/>
                <a:gd name="T49" fmla="*/ 231 h 865"/>
                <a:gd name="T50" fmla="*/ 197 w 901"/>
                <a:gd name="T51" fmla="*/ 317 h 865"/>
                <a:gd name="T52" fmla="*/ 178 w 901"/>
                <a:gd name="T53" fmla="*/ 428 h 865"/>
                <a:gd name="T54" fmla="*/ 197 w 901"/>
                <a:gd name="T55" fmla="*/ 545 h 865"/>
                <a:gd name="T56" fmla="*/ 258 w 901"/>
                <a:gd name="T57" fmla="*/ 631 h 865"/>
                <a:gd name="T58" fmla="*/ 344 w 901"/>
                <a:gd name="T59" fmla="*/ 684 h 865"/>
                <a:gd name="T60" fmla="*/ 450 w 901"/>
                <a:gd name="T61" fmla="*/ 703 h 865"/>
                <a:gd name="T62" fmla="*/ 600 w 901"/>
                <a:gd name="T63" fmla="*/ 664 h 865"/>
                <a:gd name="T64" fmla="*/ 692 w 901"/>
                <a:gd name="T65" fmla="*/ 561 h 865"/>
                <a:gd name="T66" fmla="*/ 722 w 901"/>
                <a:gd name="T67" fmla="*/ 431 h 865"/>
                <a:gd name="T68" fmla="*/ 692 w 901"/>
                <a:gd name="T69" fmla="*/ 298 h 865"/>
                <a:gd name="T70" fmla="*/ 600 w 901"/>
                <a:gd name="T71" fmla="*/ 198 h 865"/>
                <a:gd name="T72" fmla="*/ 450 w 901"/>
                <a:gd name="T73" fmla="*/ 156 h 865"/>
                <a:gd name="T74" fmla="*/ 722 w 901"/>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1" h="865">
                  <a:moveTo>
                    <a:pt x="722" y="147"/>
                  </a:moveTo>
                  <a:lnTo>
                    <a:pt x="722" y="147"/>
                  </a:lnTo>
                  <a:cubicBezTo>
                    <a:pt x="728" y="17"/>
                    <a:pt x="728" y="17"/>
                    <a:pt x="728" y="17"/>
                  </a:cubicBezTo>
                  <a:cubicBezTo>
                    <a:pt x="900" y="17"/>
                    <a:pt x="900" y="17"/>
                    <a:pt x="900" y="17"/>
                  </a:cubicBezTo>
                  <a:cubicBezTo>
                    <a:pt x="900" y="842"/>
                    <a:pt x="900" y="842"/>
                    <a:pt x="900" y="842"/>
                  </a:cubicBezTo>
                  <a:cubicBezTo>
                    <a:pt x="731" y="842"/>
                    <a:pt x="731" y="842"/>
                    <a:pt x="731" y="842"/>
                  </a:cubicBezTo>
                  <a:cubicBezTo>
                    <a:pt x="722" y="709"/>
                    <a:pt x="722" y="709"/>
                    <a:pt x="722" y="709"/>
                  </a:cubicBezTo>
                  <a:cubicBezTo>
                    <a:pt x="708" y="736"/>
                    <a:pt x="692" y="759"/>
                    <a:pt x="669" y="778"/>
                  </a:cubicBezTo>
                  <a:cubicBezTo>
                    <a:pt x="647" y="797"/>
                    <a:pt x="622" y="814"/>
                    <a:pt x="597" y="825"/>
                  </a:cubicBezTo>
                  <a:cubicBezTo>
                    <a:pt x="569" y="839"/>
                    <a:pt x="542" y="847"/>
                    <a:pt x="514" y="856"/>
                  </a:cubicBezTo>
                  <a:cubicBezTo>
                    <a:pt x="486" y="861"/>
                    <a:pt x="458" y="864"/>
                    <a:pt x="433" y="864"/>
                  </a:cubicBezTo>
                  <a:cubicBezTo>
                    <a:pt x="372" y="864"/>
                    <a:pt x="314" y="853"/>
                    <a:pt x="261" y="836"/>
                  </a:cubicBezTo>
                  <a:cubicBezTo>
                    <a:pt x="208" y="817"/>
                    <a:pt x="164" y="789"/>
                    <a:pt x="125" y="753"/>
                  </a:cubicBezTo>
                  <a:cubicBezTo>
                    <a:pt x="86" y="714"/>
                    <a:pt x="56" y="670"/>
                    <a:pt x="33" y="617"/>
                  </a:cubicBezTo>
                  <a:cubicBezTo>
                    <a:pt x="11" y="561"/>
                    <a:pt x="0" y="500"/>
                    <a:pt x="0" y="428"/>
                  </a:cubicBezTo>
                  <a:cubicBezTo>
                    <a:pt x="0" y="361"/>
                    <a:pt x="11" y="300"/>
                    <a:pt x="36" y="245"/>
                  </a:cubicBezTo>
                  <a:cubicBezTo>
                    <a:pt x="58" y="192"/>
                    <a:pt x="89" y="147"/>
                    <a:pt x="128" y="111"/>
                  </a:cubicBezTo>
                  <a:cubicBezTo>
                    <a:pt x="167" y="75"/>
                    <a:pt x="214" y="48"/>
                    <a:pt x="267" y="28"/>
                  </a:cubicBezTo>
                  <a:cubicBezTo>
                    <a:pt x="319" y="9"/>
                    <a:pt x="375" y="0"/>
                    <a:pt x="436" y="0"/>
                  </a:cubicBezTo>
                  <a:cubicBezTo>
                    <a:pt x="497" y="0"/>
                    <a:pt x="553" y="14"/>
                    <a:pt x="606" y="39"/>
                  </a:cubicBezTo>
                  <a:cubicBezTo>
                    <a:pt x="658" y="64"/>
                    <a:pt x="697" y="103"/>
                    <a:pt x="722" y="147"/>
                  </a:cubicBezTo>
                  <a:lnTo>
                    <a:pt x="450" y="156"/>
                  </a:lnTo>
                  <a:lnTo>
                    <a:pt x="450" y="156"/>
                  </a:lnTo>
                  <a:cubicBezTo>
                    <a:pt x="414" y="156"/>
                    <a:pt x="378" y="164"/>
                    <a:pt x="344" y="175"/>
                  </a:cubicBezTo>
                  <a:cubicBezTo>
                    <a:pt x="311" y="189"/>
                    <a:pt x="283" y="206"/>
                    <a:pt x="258" y="231"/>
                  </a:cubicBezTo>
                  <a:cubicBezTo>
                    <a:pt x="233" y="253"/>
                    <a:pt x="211" y="284"/>
                    <a:pt x="197" y="317"/>
                  </a:cubicBezTo>
                  <a:cubicBezTo>
                    <a:pt x="183" y="350"/>
                    <a:pt x="178" y="386"/>
                    <a:pt x="178" y="428"/>
                  </a:cubicBezTo>
                  <a:cubicBezTo>
                    <a:pt x="178" y="472"/>
                    <a:pt x="183" y="509"/>
                    <a:pt x="197" y="545"/>
                  </a:cubicBezTo>
                  <a:cubicBezTo>
                    <a:pt x="211" y="578"/>
                    <a:pt x="233" y="606"/>
                    <a:pt x="258" y="631"/>
                  </a:cubicBezTo>
                  <a:cubicBezTo>
                    <a:pt x="283" y="653"/>
                    <a:pt x="311" y="672"/>
                    <a:pt x="344" y="684"/>
                  </a:cubicBezTo>
                  <a:cubicBezTo>
                    <a:pt x="378" y="698"/>
                    <a:pt x="414" y="703"/>
                    <a:pt x="450" y="703"/>
                  </a:cubicBezTo>
                  <a:cubicBezTo>
                    <a:pt x="511" y="703"/>
                    <a:pt x="561" y="689"/>
                    <a:pt x="600" y="664"/>
                  </a:cubicBezTo>
                  <a:cubicBezTo>
                    <a:pt x="642" y="636"/>
                    <a:pt x="672" y="603"/>
                    <a:pt x="692" y="561"/>
                  </a:cubicBezTo>
                  <a:cubicBezTo>
                    <a:pt x="714" y="522"/>
                    <a:pt x="722" y="478"/>
                    <a:pt x="722" y="431"/>
                  </a:cubicBezTo>
                  <a:cubicBezTo>
                    <a:pt x="722" y="384"/>
                    <a:pt x="714" y="339"/>
                    <a:pt x="692" y="298"/>
                  </a:cubicBezTo>
                  <a:cubicBezTo>
                    <a:pt x="672" y="259"/>
                    <a:pt x="642" y="223"/>
                    <a:pt x="600" y="198"/>
                  </a:cubicBezTo>
                  <a:cubicBezTo>
                    <a:pt x="561" y="170"/>
                    <a:pt x="511"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3" name="Freeform 20">
              <a:extLst>
                <a:ext uri="{FF2B5EF4-FFF2-40B4-BE49-F238E27FC236}">
                  <a16:creationId xmlns:a16="http://schemas.microsoft.com/office/drawing/2014/main" id="{46ABC618-DCB1-8A44-999F-D33CDE3BFDFA}"/>
                </a:ext>
              </a:extLst>
            </p:cNvPr>
            <p:cNvSpPr>
              <a:spLocks noChangeArrowheads="1"/>
            </p:cNvSpPr>
            <p:nvPr userDrawn="1"/>
          </p:nvSpPr>
          <p:spPr bwMode="auto">
            <a:xfrm>
              <a:off x="2214563" y="3743325"/>
              <a:ext cx="266700" cy="312738"/>
            </a:xfrm>
            <a:custGeom>
              <a:avLst/>
              <a:gdLst>
                <a:gd name="T0" fmla="*/ 603 w 743"/>
                <a:gd name="T1" fmla="*/ 222 h 870"/>
                <a:gd name="T2" fmla="*/ 603 w 743"/>
                <a:gd name="T3" fmla="*/ 222 h 870"/>
                <a:gd name="T4" fmla="*/ 500 w 743"/>
                <a:gd name="T5" fmla="*/ 161 h 870"/>
                <a:gd name="T6" fmla="*/ 381 w 743"/>
                <a:gd name="T7" fmla="*/ 147 h 870"/>
                <a:gd name="T8" fmla="*/ 250 w 743"/>
                <a:gd name="T9" fmla="*/ 169 h 870"/>
                <a:gd name="T10" fmla="*/ 203 w 743"/>
                <a:gd name="T11" fmla="*/ 244 h 870"/>
                <a:gd name="T12" fmla="*/ 253 w 743"/>
                <a:gd name="T13" fmla="*/ 319 h 870"/>
                <a:gd name="T14" fmla="*/ 386 w 743"/>
                <a:gd name="T15" fmla="*/ 349 h 870"/>
                <a:gd name="T16" fmla="*/ 506 w 743"/>
                <a:gd name="T17" fmla="*/ 366 h 870"/>
                <a:gd name="T18" fmla="*/ 622 w 743"/>
                <a:gd name="T19" fmla="*/ 405 h 870"/>
                <a:gd name="T20" fmla="*/ 708 w 743"/>
                <a:gd name="T21" fmla="*/ 480 h 870"/>
                <a:gd name="T22" fmla="*/ 742 w 743"/>
                <a:gd name="T23" fmla="*/ 608 h 870"/>
                <a:gd name="T24" fmla="*/ 717 w 743"/>
                <a:gd name="T25" fmla="*/ 713 h 870"/>
                <a:gd name="T26" fmla="*/ 645 w 743"/>
                <a:gd name="T27" fmla="*/ 797 h 870"/>
                <a:gd name="T28" fmla="*/ 531 w 743"/>
                <a:gd name="T29" fmla="*/ 849 h 870"/>
                <a:gd name="T30" fmla="*/ 383 w 743"/>
                <a:gd name="T31" fmla="*/ 869 h 870"/>
                <a:gd name="T32" fmla="*/ 184 w 743"/>
                <a:gd name="T33" fmla="*/ 838 h 870"/>
                <a:gd name="T34" fmla="*/ 0 w 743"/>
                <a:gd name="T35" fmla="*/ 716 h 870"/>
                <a:gd name="T36" fmla="*/ 92 w 743"/>
                <a:gd name="T37" fmla="*/ 597 h 870"/>
                <a:gd name="T38" fmla="*/ 231 w 743"/>
                <a:gd name="T39" fmla="*/ 688 h 870"/>
                <a:gd name="T40" fmla="*/ 386 w 743"/>
                <a:gd name="T41" fmla="*/ 719 h 870"/>
                <a:gd name="T42" fmla="*/ 450 w 743"/>
                <a:gd name="T43" fmla="*/ 713 h 870"/>
                <a:gd name="T44" fmla="*/ 506 w 743"/>
                <a:gd name="T45" fmla="*/ 694 h 870"/>
                <a:gd name="T46" fmla="*/ 550 w 743"/>
                <a:gd name="T47" fmla="*/ 661 h 870"/>
                <a:gd name="T48" fmla="*/ 567 w 743"/>
                <a:gd name="T49" fmla="*/ 611 h 870"/>
                <a:gd name="T50" fmla="*/ 517 w 743"/>
                <a:gd name="T51" fmla="*/ 530 h 870"/>
                <a:gd name="T52" fmla="*/ 372 w 743"/>
                <a:gd name="T53" fmla="*/ 497 h 870"/>
                <a:gd name="T54" fmla="*/ 250 w 743"/>
                <a:gd name="T55" fmla="*/ 477 h 870"/>
                <a:gd name="T56" fmla="*/ 142 w 743"/>
                <a:gd name="T57" fmla="*/ 436 h 870"/>
                <a:gd name="T58" fmla="*/ 61 w 743"/>
                <a:gd name="T59" fmla="*/ 363 h 870"/>
                <a:gd name="T60" fmla="*/ 28 w 743"/>
                <a:gd name="T61" fmla="*/ 249 h 870"/>
                <a:gd name="T62" fmla="*/ 61 w 743"/>
                <a:gd name="T63" fmla="*/ 133 h 870"/>
                <a:gd name="T64" fmla="*/ 145 w 743"/>
                <a:gd name="T65" fmla="*/ 55 h 870"/>
                <a:gd name="T66" fmla="*/ 258 w 743"/>
                <a:gd name="T67" fmla="*/ 11 h 870"/>
                <a:gd name="T68" fmla="*/ 378 w 743"/>
                <a:gd name="T69" fmla="*/ 0 h 870"/>
                <a:gd name="T70" fmla="*/ 553 w 743"/>
                <a:gd name="T71" fmla="*/ 22 h 870"/>
                <a:gd name="T72" fmla="*/ 703 w 743"/>
                <a:gd name="T73" fmla="*/ 108 h 870"/>
                <a:gd name="T74" fmla="*/ 603 w 743"/>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3" h="870">
                  <a:moveTo>
                    <a:pt x="603" y="222"/>
                  </a:moveTo>
                  <a:lnTo>
                    <a:pt x="603" y="222"/>
                  </a:lnTo>
                  <a:cubicBezTo>
                    <a:pt x="572" y="191"/>
                    <a:pt x="536" y="172"/>
                    <a:pt x="500" y="161"/>
                  </a:cubicBezTo>
                  <a:cubicBezTo>
                    <a:pt x="464" y="149"/>
                    <a:pt x="425" y="147"/>
                    <a:pt x="381" y="147"/>
                  </a:cubicBezTo>
                  <a:cubicBezTo>
                    <a:pt x="328" y="144"/>
                    <a:pt x="284" y="152"/>
                    <a:pt x="250" y="169"/>
                  </a:cubicBezTo>
                  <a:cubicBezTo>
                    <a:pt x="220" y="188"/>
                    <a:pt x="203" y="211"/>
                    <a:pt x="203" y="244"/>
                  </a:cubicBezTo>
                  <a:cubicBezTo>
                    <a:pt x="203" y="280"/>
                    <a:pt x="220" y="302"/>
                    <a:pt x="253" y="319"/>
                  </a:cubicBezTo>
                  <a:cubicBezTo>
                    <a:pt x="286" y="333"/>
                    <a:pt x="331" y="344"/>
                    <a:pt x="386" y="349"/>
                  </a:cubicBezTo>
                  <a:cubicBezTo>
                    <a:pt x="425" y="352"/>
                    <a:pt x="464" y="358"/>
                    <a:pt x="506" y="366"/>
                  </a:cubicBezTo>
                  <a:cubicBezTo>
                    <a:pt x="550" y="372"/>
                    <a:pt x="586" y="386"/>
                    <a:pt x="622" y="405"/>
                  </a:cubicBezTo>
                  <a:cubicBezTo>
                    <a:pt x="658" y="422"/>
                    <a:pt x="686" y="447"/>
                    <a:pt x="708" y="480"/>
                  </a:cubicBezTo>
                  <a:cubicBezTo>
                    <a:pt x="731" y="513"/>
                    <a:pt x="742" y="555"/>
                    <a:pt x="742" y="608"/>
                  </a:cubicBezTo>
                  <a:cubicBezTo>
                    <a:pt x="742" y="647"/>
                    <a:pt x="733" y="683"/>
                    <a:pt x="717" y="713"/>
                  </a:cubicBezTo>
                  <a:cubicBezTo>
                    <a:pt x="700" y="747"/>
                    <a:pt x="675" y="774"/>
                    <a:pt x="645" y="797"/>
                  </a:cubicBezTo>
                  <a:cubicBezTo>
                    <a:pt x="614" y="819"/>
                    <a:pt x="575" y="838"/>
                    <a:pt x="531" y="849"/>
                  </a:cubicBezTo>
                  <a:cubicBezTo>
                    <a:pt x="486" y="863"/>
                    <a:pt x="439" y="869"/>
                    <a:pt x="383" y="869"/>
                  </a:cubicBezTo>
                  <a:cubicBezTo>
                    <a:pt x="317" y="869"/>
                    <a:pt x="247" y="858"/>
                    <a:pt x="184" y="838"/>
                  </a:cubicBezTo>
                  <a:cubicBezTo>
                    <a:pt x="117" y="819"/>
                    <a:pt x="56" y="777"/>
                    <a:pt x="0" y="716"/>
                  </a:cubicBezTo>
                  <a:cubicBezTo>
                    <a:pt x="92" y="597"/>
                    <a:pt x="92" y="597"/>
                    <a:pt x="92" y="597"/>
                  </a:cubicBezTo>
                  <a:cubicBezTo>
                    <a:pt x="131" y="638"/>
                    <a:pt x="178" y="669"/>
                    <a:pt x="231" y="688"/>
                  </a:cubicBezTo>
                  <a:cubicBezTo>
                    <a:pt x="286" y="708"/>
                    <a:pt x="336" y="719"/>
                    <a:pt x="386" y="719"/>
                  </a:cubicBezTo>
                  <a:cubicBezTo>
                    <a:pt x="408" y="719"/>
                    <a:pt x="428" y="716"/>
                    <a:pt x="450" y="713"/>
                  </a:cubicBezTo>
                  <a:cubicBezTo>
                    <a:pt x="470" y="708"/>
                    <a:pt x="489" y="702"/>
                    <a:pt x="506" y="694"/>
                  </a:cubicBezTo>
                  <a:cubicBezTo>
                    <a:pt x="522" y="686"/>
                    <a:pt x="539" y="674"/>
                    <a:pt x="550" y="661"/>
                  </a:cubicBezTo>
                  <a:cubicBezTo>
                    <a:pt x="561" y="647"/>
                    <a:pt x="567" y="630"/>
                    <a:pt x="567" y="611"/>
                  </a:cubicBezTo>
                  <a:cubicBezTo>
                    <a:pt x="567" y="574"/>
                    <a:pt x="550" y="547"/>
                    <a:pt x="517" y="530"/>
                  </a:cubicBezTo>
                  <a:cubicBezTo>
                    <a:pt x="483" y="513"/>
                    <a:pt x="433" y="502"/>
                    <a:pt x="372" y="497"/>
                  </a:cubicBezTo>
                  <a:cubicBezTo>
                    <a:pt x="331" y="494"/>
                    <a:pt x="292" y="486"/>
                    <a:pt x="250" y="477"/>
                  </a:cubicBezTo>
                  <a:cubicBezTo>
                    <a:pt x="211" y="469"/>
                    <a:pt x="175" y="455"/>
                    <a:pt x="142" y="436"/>
                  </a:cubicBezTo>
                  <a:cubicBezTo>
                    <a:pt x="109" y="416"/>
                    <a:pt x="81" y="394"/>
                    <a:pt x="61" y="363"/>
                  </a:cubicBezTo>
                  <a:cubicBezTo>
                    <a:pt x="39" y="333"/>
                    <a:pt x="28" y="294"/>
                    <a:pt x="28" y="249"/>
                  </a:cubicBezTo>
                  <a:cubicBezTo>
                    <a:pt x="28" y="202"/>
                    <a:pt x="39" y="166"/>
                    <a:pt x="61" y="133"/>
                  </a:cubicBezTo>
                  <a:cubicBezTo>
                    <a:pt x="84" y="102"/>
                    <a:pt x="111" y="74"/>
                    <a:pt x="145" y="55"/>
                  </a:cubicBezTo>
                  <a:cubicBezTo>
                    <a:pt x="178" y="36"/>
                    <a:pt x="217" y="22"/>
                    <a:pt x="258" y="11"/>
                  </a:cubicBezTo>
                  <a:cubicBezTo>
                    <a:pt x="297" y="2"/>
                    <a:pt x="339" y="0"/>
                    <a:pt x="378" y="0"/>
                  </a:cubicBezTo>
                  <a:cubicBezTo>
                    <a:pt x="445" y="0"/>
                    <a:pt x="503" y="8"/>
                    <a:pt x="553" y="22"/>
                  </a:cubicBezTo>
                  <a:cubicBezTo>
                    <a:pt x="606" y="38"/>
                    <a:pt x="656" y="66"/>
                    <a:pt x="703" y="108"/>
                  </a:cubicBezTo>
                  <a:lnTo>
                    <a:pt x="603"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4" name="Freeform 21">
              <a:extLst>
                <a:ext uri="{FF2B5EF4-FFF2-40B4-BE49-F238E27FC236}">
                  <a16:creationId xmlns:a16="http://schemas.microsoft.com/office/drawing/2014/main" id="{562B112A-8D16-DC41-8612-0F6CE633BB94}"/>
                </a:ext>
              </a:extLst>
            </p:cNvPr>
            <p:cNvSpPr>
              <a:spLocks noChangeArrowheads="1"/>
            </p:cNvSpPr>
            <p:nvPr userDrawn="1"/>
          </p:nvSpPr>
          <p:spPr bwMode="auto">
            <a:xfrm>
              <a:off x="2698750" y="3749675"/>
              <a:ext cx="63500" cy="298450"/>
            </a:xfrm>
            <a:custGeom>
              <a:avLst/>
              <a:gdLst>
                <a:gd name="T0" fmla="*/ 175 w 176"/>
                <a:gd name="T1" fmla="*/ 828 h 829"/>
                <a:gd name="T2" fmla="*/ 0 w 176"/>
                <a:gd name="T3" fmla="*/ 828 h 829"/>
                <a:gd name="T4" fmla="*/ 0 w 176"/>
                <a:gd name="T5" fmla="*/ 0 h 829"/>
                <a:gd name="T6" fmla="*/ 175 w 176"/>
                <a:gd name="T7" fmla="*/ 0 h 829"/>
                <a:gd name="T8" fmla="*/ 175 w 176"/>
                <a:gd name="T9" fmla="*/ 828 h 829"/>
              </a:gdLst>
              <a:ahLst/>
              <a:cxnLst>
                <a:cxn ang="0">
                  <a:pos x="T0" y="T1"/>
                </a:cxn>
                <a:cxn ang="0">
                  <a:pos x="T2" y="T3"/>
                </a:cxn>
                <a:cxn ang="0">
                  <a:pos x="T4" y="T5"/>
                </a:cxn>
                <a:cxn ang="0">
                  <a:pos x="T6" y="T7"/>
                </a:cxn>
                <a:cxn ang="0">
                  <a:pos x="T8" y="T9"/>
                </a:cxn>
              </a:cxnLst>
              <a:rect l="0" t="0" r="r" b="b"/>
              <a:pathLst>
                <a:path w="176" h="829">
                  <a:moveTo>
                    <a:pt x="175" y="828"/>
                  </a:moveTo>
                  <a:lnTo>
                    <a:pt x="0" y="828"/>
                  </a:lnTo>
                  <a:lnTo>
                    <a:pt x="0" y="0"/>
                  </a:lnTo>
                  <a:lnTo>
                    <a:pt x="175" y="0"/>
                  </a:lnTo>
                  <a:lnTo>
                    <a:pt x="175" y="82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5" name="Freeform 22">
              <a:extLst>
                <a:ext uri="{FF2B5EF4-FFF2-40B4-BE49-F238E27FC236}">
                  <a16:creationId xmlns:a16="http://schemas.microsoft.com/office/drawing/2014/main" id="{2C5908FC-9194-FF47-BCE8-89EA7E0C0E99}"/>
                </a:ext>
              </a:extLst>
            </p:cNvPr>
            <p:cNvSpPr>
              <a:spLocks noChangeArrowheads="1"/>
            </p:cNvSpPr>
            <p:nvPr userDrawn="1"/>
          </p:nvSpPr>
          <p:spPr bwMode="auto">
            <a:xfrm>
              <a:off x="2822575" y="3665538"/>
              <a:ext cx="223838" cy="385762"/>
            </a:xfrm>
            <a:custGeom>
              <a:avLst/>
              <a:gdLst>
                <a:gd name="T0" fmla="*/ 342 w 620"/>
                <a:gd name="T1" fmla="*/ 0 h 1073"/>
                <a:gd name="T2" fmla="*/ 342 w 620"/>
                <a:gd name="T3" fmla="*/ 0 h 1073"/>
                <a:gd name="T4" fmla="*/ 342 w 620"/>
                <a:gd name="T5" fmla="*/ 239 h 1073"/>
                <a:gd name="T6" fmla="*/ 586 w 620"/>
                <a:gd name="T7" fmla="*/ 239 h 1073"/>
                <a:gd name="T8" fmla="*/ 586 w 620"/>
                <a:gd name="T9" fmla="*/ 389 h 1073"/>
                <a:gd name="T10" fmla="*/ 339 w 620"/>
                <a:gd name="T11" fmla="*/ 389 h 1073"/>
                <a:gd name="T12" fmla="*/ 339 w 620"/>
                <a:gd name="T13" fmla="*/ 780 h 1073"/>
                <a:gd name="T14" fmla="*/ 369 w 620"/>
                <a:gd name="T15" fmla="*/ 880 h 1073"/>
                <a:gd name="T16" fmla="*/ 461 w 620"/>
                <a:gd name="T17" fmla="*/ 917 h 1073"/>
                <a:gd name="T18" fmla="*/ 514 w 620"/>
                <a:gd name="T19" fmla="*/ 908 h 1073"/>
                <a:gd name="T20" fmla="*/ 566 w 620"/>
                <a:gd name="T21" fmla="*/ 886 h 1073"/>
                <a:gd name="T22" fmla="*/ 619 w 620"/>
                <a:gd name="T23" fmla="*/ 1033 h 1073"/>
                <a:gd name="T24" fmla="*/ 533 w 620"/>
                <a:gd name="T25" fmla="*/ 1061 h 1073"/>
                <a:gd name="T26" fmla="*/ 450 w 620"/>
                <a:gd name="T27" fmla="*/ 1072 h 1073"/>
                <a:gd name="T28" fmla="*/ 236 w 620"/>
                <a:gd name="T29" fmla="*/ 1000 h 1073"/>
                <a:gd name="T30" fmla="*/ 164 w 620"/>
                <a:gd name="T31" fmla="*/ 780 h 1073"/>
                <a:gd name="T32" fmla="*/ 164 w 620"/>
                <a:gd name="T33" fmla="*/ 389 h 1073"/>
                <a:gd name="T34" fmla="*/ 0 w 620"/>
                <a:gd name="T35" fmla="*/ 389 h 1073"/>
                <a:gd name="T36" fmla="*/ 0 w 620"/>
                <a:gd name="T37" fmla="*/ 239 h 1073"/>
                <a:gd name="T38" fmla="*/ 164 w 620"/>
                <a:gd name="T39" fmla="*/ 239 h 1073"/>
                <a:gd name="T40" fmla="*/ 164 w 620"/>
                <a:gd name="T41" fmla="*/ 19 h 1073"/>
                <a:gd name="T42" fmla="*/ 342 w 620"/>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0" h="1073">
                  <a:moveTo>
                    <a:pt x="342" y="0"/>
                  </a:moveTo>
                  <a:lnTo>
                    <a:pt x="342" y="0"/>
                  </a:lnTo>
                  <a:cubicBezTo>
                    <a:pt x="342" y="239"/>
                    <a:pt x="342" y="239"/>
                    <a:pt x="342" y="239"/>
                  </a:cubicBezTo>
                  <a:cubicBezTo>
                    <a:pt x="586" y="239"/>
                    <a:pt x="586" y="239"/>
                    <a:pt x="586" y="239"/>
                  </a:cubicBezTo>
                  <a:cubicBezTo>
                    <a:pt x="586" y="389"/>
                    <a:pt x="586" y="389"/>
                    <a:pt x="586" y="389"/>
                  </a:cubicBezTo>
                  <a:cubicBezTo>
                    <a:pt x="339" y="389"/>
                    <a:pt x="339" y="389"/>
                    <a:pt x="339" y="389"/>
                  </a:cubicBezTo>
                  <a:cubicBezTo>
                    <a:pt x="339" y="780"/>
                    <a:pt x="339" y="780"/>
                    <a:pt x="339" y="780"/>
                  </a:cubicBezTo>
                  <a:cubicBezTo>
                    <a:pt x="339" y="825"/>
                    <a:pt x="350" y="858"/>
                    <a:pt x="369" y="880"/>
                  </a:cubicBezTo>
                  <a:cubicBezTo>
                    <a:pt x="389" y="905"/>
                    <a:pt x="419" y="917"/>
                    <a:pt x="461" y="917"/>
                  </a:cubicBezTo>
                  <a:cubicBezTo>
                    <a:pt x="478" y="917"/>
                    <a:pt x="494" y="914"/>
                    <a:pt x="514" y="908"/>
                  </a:cubicBezTo>
                  <a:cubicBezTo>
                    <a:pt x="533" y="903"/>
                    <a:pt x="550" y="897"/>
                    <a:pt x="566" y="886"/>
                  </a:cubicBezTo>
                  <a:cubicBezTo>
                    <a:pt x="619" y="1033"/>
                    <a:pt x="619" y="1033"/>
                    <a:pt x="619" y="1033"/>
                  </a:cubicBezTo>
                  <a:cubicBezTo>
                    <a:pt x="589" y="1047"/>
                    <a:pt x="561" y="1055"/>
                    <a:pt x="533" y="1061"/>
                  </a:cubicBezTo>
                  <a:cubicBezTo>
                    <a:pt x="508" y="1069"/>
                    <a:pt x="480" y="1072"/>
                    <a:pt x="450" y="1072"/>
                  </a:cubicBezTo>
                  <a:cubicBezTo>
                    <a:pt x="358" y="1072"/>
                    <a:pt x="286" y="1050"/>
                    <a:pt x="236" y="1000"/>
                  </a:cubicBezTo>
                  <a:cubicBezTo>
                    <a:pt x="189" y="953"/>
                    <a:pt x="164" y="878"/>
                    <a:pt x="164" y="780"/>
                  </a:cubicBezTo>
                  <a:cubicBezTo>
                    <a:pt x="164" y="389"/>
                    <a:pt x="164" y="389"/>
                    <a:pt x="164" y="389"/>
                  </a:cubicBezTo>
                  <a:cubicBezTo>
                    <a:pt x="0" y="389"/>
                    <a:pt x="0" y="389"/>
                    <a:pt x="0" y="389"/>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6" name="Freeform 23">
              <a:extLst>
                <a:ext uri="{FF2B5EF4-FFF2-40B4-BE49-F238E27FC236}">
                  <a16:creationId xmlns:a16="http://schemas.microsoft.com/office/drawing/2014/main" id="{9E297F47-9AEA-0346-B352-AB9A867E9247}"/>
                </a:ext>
              </a:extLst>
            </p:cNvPr>
            <p:cNvSpPr>
              <a:spLocks noChangeArrowheads="1"/>
            </p:cNvSpPr>
            <p:nvPr userDrawn="1"/>
          </p:nvSpPr>
          <p:spPr bwMode="auto">
            <a:xfrm>
              <a:off x="3208338" y="3749675"/>
              <a:ext cx="492125" cy="298450"/>
            </a:xfrm>
            <a:custGeom>
              <a:avLst/>
              <a:gdLst>
                <a:gd name="T0" fmla="*/ 761 w 1368"/>
                <a:gd name="T1" fmla="*/ 0 h 829"/>
                <a:gd name="T2" fmla="*/ 961 w 1368"/>
                <a:gd name="T3" fmla="*/ 647 h 829"/>
                <a:gd name="T4" fmla="*/ 1169 w 1368"/>
                <a:gd name="T5" fmla="*/ 0 h 829"/>
                <a:gd name="T6" fmla="*/ 1367 w 1368"/>
                <a:gd name="T7" fmla="*/ 0 h 829"/>
                <a:gd name="T8" fmla="*/ 1072 w 1368"/>
                <a:gd name="T9" fmla="*/ 828 h 829"/>
                <a:gd name="T10" fmla="*/ 867 w 1368"/>
                <a:gd name="T11" fmla="*/ 828 h 829"/>
                <a:gd name="T12" fmla="*/ 767 w 1368"/>
                <a:gd name="T13" fmla="*/ 555 h 829"/>
                <a:gd name="T14" fmla="*/ 686 w 1368"/>
                <a:gd name="T15" fmla="*/ 267 h 829"/>
                <a:gd name="T16" fmla="*/ 603 w 1368"/>
                <a:gd name="T17" fmla="*/ 555 h 829"/>
                <a:gd name="T18" fmla="*/ 503 w 1368"/>
                <a:gd name="T19" fmla="*/ 828 h 829"/>
                <a:gd name="T20" fmla="*/ 297 w 1368"/>
                <a:gd name="T21" fmla="*/ 828 h 829"/>
                <a:gd name="T22" fmla="*/ 0 w 1368"/>
                <a:gd name="T23" fmla="*/ 0 h 829"/>
                <a:gd name="T24" fmla="*/ 200 w 1368"/>
                <a:gd name="T25" fmla="*/ 0 h 829"/>
                <a:gd name="T26" fmla="*/ 408 w 1368"/>
                <a:gd name="T27" fmla="*/ 647 h 829"/>
                <a:gd name="T28" fmla="*/ 608 w 1368"/>
                <a:gd name="T29" fmla="*/ 0 h 829"/>
                <a:gd name="T30" fmla="*/ 761 w 1368"/>
                <a:gd name="T31" fmla="*/ 0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8" h="829">
                  <a:moveTo>
                    <a:pt x="761" y="0"/>
                  </a:moveTo>
                  <a:lnTo>
                    <a:pt x="961" y="647"/>
                  </a:lnTo>
                  <a:lnTo>
                    <a:pt x="1169" y="0"/>
                  </a:lnTo>
                  <a:lnTo>
                    <a:pt x="1367" y="0"/>
                  </a:lnTo>
                  <a:lnTo>
                    <a:pt x="1072" y="828"/>
                  </a:lnTo>
                  <a:lnTo>
                    <a:pt x="867" y="828"/>
                  </a:lnTo>
                  <a:lnTo>
                    <a:pt x="767" y="555"/>
                  </a:lnTo>
                  <a:lnTo>
                    <a:pt x="686" y="267"/>
                  </a:lnTo>
                  <a:lnTo>
                    <a:pt x="603" y="555"/>
                  </a:lnTo>
                  <a:lnTo>
                    <a:pt x="503" y="828"/>
                  </a:lnTo>
                  <a:lnTo>
                    <a:pt x="297" y="828"/>
                  </a:lnTo>
                  <a:lnTo>
                    <a:pt x="0" y="0"/>
                  </a:lnTo>
                  <a:lnTo>
                    <a:pt x="200" y="0"/>
                  </a:lnTo>
                  <a:lnTo>
                    <a:pt x="408" y="647"/>
                  </a:lnTo>
                  <a:lnTo>
                    <a:pt x="608" y="0"/>
                  </a:lnTo>
                  <a:lnTo>
                    <a:pt x="761"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7" name="Freeform 24">
              <a:extLst>
                <a:ext uri="{FF2B5EF4-FFF2-40B4-BE49-F238E27FC236}">
                  <a16:creationId xmlns:a16="http://schemas.microsoft.com/office/drawing/2014/main" id="{F9BA96BF-089B-AE47-9AE7-B1E25CDBCE15}"/>
                </a:ext>
              </a:extLst>
            </p:cNvPr>
            <p:cNvSpPr>
              <a:spLocks noChangeArrowheads="1"/>
            </p:cNvSpPr>
            <p:nvPr userDrawn="1"/>
          </p:nvSpPr>
          <p:spPr bwMode="auto">
            <a:xfrm>
              <a:off x="37322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3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8" y="147"/>
                    <a:pt x="127" y="111"/>
                  </a:cubicBezTo>
                  <a:cubicBezTo>
                    <a:pt x="166" y="75"/>
                    <a:pt x="211" y="48"/>
                    <a:pt x="263"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38" y="636"/>
                    <a:pt x="669" y="603"/>
                    <a:pt x="691" y="561"/>
                  </a:cubicBezTo>
                  <a:cubicBezTo>
                    <a:pt x="711" y="522"/>
                    <a:pt x="722" y="478"/>
                    <a:pt x="722" y="431"/>
                  </a:cubicBezTo>
                  <a:cubicBezTo>
                    <a:pt x="722" y="384"/>
                    <a:pt x="711" y="339"/>
                    <a:pt x="691" y="298"/>
                  </a:cubicBezTo>
                  <a:cubicBezTo>
                    <a:pt x="669" y="259"/>
                    <a:pt x="638"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8" name="Freeform 25">
              <a:extLst>
                <a:ext uri="{FF2B5EF4-FFF2-40B4-BE49-F238E27FC236}">
                  <a16:creationId xmlns:a16="http://schemas.microsoft.com/office/drawing/2014/main" id="{B7B9AD65-5075-7D44-840A-B56986360C78}"/>
                </a:ext>
              </a:extLst>
            </p:cNvPr>
            <p:cNvSpPr>
              <a:spLocks noChangeArrowheads="1"/>
            </p:cNvSpPr>
            <p:nvPr userDrawn="1"/>
          </p:nvSpPr>
          <p:spPr bwMode="auto">
            <a:xfrm>
              <a:off x="4116388" y="3743325"/>
              <a:ext cx="268287" cy="312738"/>
            </a:xfrm>
            <a:custGeom>
              <a:avLst/>
              <a:gdLst>
                <a:gd name="T0" fmla="*/ 605 w 745"/>
                <a:gd name="T1" fmla="*/ 222 h 870"/>
                <a:gd name="T2" fmla="*/ 605 w 745"/>
                <a:gd name="T3" fmla="*/ 222 h 870"/>
                <a:gd name="T4" fmla="*/ 500 w 745"/>
                <a:gd name="T5" fmla="*/ 161 h 870"/>
                <a:gd name="T6" fmla="*/ 383 w 745"/>
                <a:gd name="T7" fmla="*/ 147 h 870"/>
                <a:gd name="T8" fmla="*/ 253 w 745"/>
                <a:gd name="T9" fmla="*/ 169 h 870"/>
                <a:gd name="T10" fmla="*/ 203 w 745"/>
                <a:gd name="T11" fmla="*/ 244 h 870"/>
                <a:gd name="T12" fmla="*/ 256 w 745"/>
                <a:gd name="T13" fmla="*/ 319 h 870"/>
                <a:gd name="T14" fmla="*/ 386 w 745"/>
                <a:gd name="T15" fmla="*/ 349 h 870"/>
                <a:gd name="T16" fmla="*/ 508 w 745"/>
                <a:gd name="T17" fmla="*/ 366 h 870"/>
                <a:gd name="T18" fmla="*/ 625 w 745"/>
                <a:gd name="T19" fmla="*/ 405 h 870"/>
                <a:gd name="T20" fmla="*/ 711 w 745"/>
                <a:gd name="T21" fmla="*/ 480 h 870"/>
                <a:gd name="T22" fmla="*/ 744 w 745"/>
                <a:gd name="T23" fmla="*/ 608 h 870"/>
                <a:gd name="T24" fmla="*/ 717 w 745"/>
                <a:gd name="T25" fmla="*/ 713 h 870"/>
                <a:gd name="T26" fmla="*/ 644 w 745"/>
                <a:gd name="T27" fmla="*/ 797 h 870"/>
                <a:gd name="T28" fmla="*/ 533 w 745"/>
                <a:gd name="T29" fmla="*/ 849 h 870"/>
                <a:gd name="T30" fmla="*/ 386 w 745"/>
                <a:gd name="T31" fmla="*/ 869 h 870"/>
                <a:gd name="T32" fmla="*/ 183 w 745"/>
                <a:gd name="T33" fmla="*/ 838 h 870"/>
                <a:gd name="T34" fmla="*/ 0 w 745"/>
                <a:gd name="T35" fmla="*/ 716 h 870"/>
                <a:gd name="T36" fmla="*/ 92 w 745"/>
                <a:gd name="T37" fmla="*/ 597 h 870"/>
                <a:gd name="T38" fmla="*/ 233 w 745"/>
                <a:gd name="T39" fmla="*/ 688 h 870"/>
                <a:gd name="T40" fmla="*/ 389 w 745"/>
                <a:gd name="T41" fmla="*/ 719 h 870"/>
                <a:gd name="T42" fmla="*/ 450 w 745"/>
                <a:gd name="T43" fmla="*/ 713 h 870"/>
                <a:gd name="T44" fmla="*/ 508 w 745"/>
                <a:gd name="T45" fmla="*/ 694 h 870"/>
                <a:gd name="T46" fmla="*/ 550 w 745"/>
                <a:gd name="T47" fmla="*/ 661 h 870"/>
                <a:gd name="T48" fmla="*/ 567 w 745"/>
                <a:gd name="T49" fmla="*/ 611 h 870"/>
                <a:gd name="T50" fmla="*/ 519 w 745"/>
                <a:gd name="T51" fmla="*/ 530 h 870"/>
                <a:gd name="T52" fmla="*/ 372 w 745"/>
                <a:gd name="T53" fmla="*/ 497 h 870"/>
                <a:gd name="T54" fmla="*/ 253 w 745"/>
                <a:gd name="T55" fmla="*/ 477 h 870"/>
                <a:gd name="T56" fmla="*/ 142 w 745"/>
                <a:gd name="T57" fmla="*/ 436 h 870"/>
                <a:gd name="T58" fmla="*/ 61 w 745"/>
                <a:gd name="T59" fmla="*/ 363 h 870"/>
                <a:gd name="T60" fmla="*/ 30 w 745"/>
                <a:gd name="T61" fmla="*/ 249 h 870"/>
                <a:gd name="T62" fmla="*/ 61 w 745"/>
                <a:gd name="T63" fmla="*/ 133 h 870"/>
                <a:gd name="T64" fmla="*/ 147 w 745"/>
                <a:gd name="T65" fmla="*/ 55 h 870"/>
                <a:gd name="T66" fmla="*/ 258 w 745"/>
                <a:gd name="T67" fmla="*/ 11 h 870"/>
                <a:gd name="T68" fmla="*/ 381 w 745"/>
                <a:gd name="T69" fmla="*/ 0 h 870"/>
                <a:gd name="T70" fmla="*/ 556 w 745"/>
                <a:gd name="T71" fmla="*/ 22 h 870"/>
                <a:gd name="T72" fmla="*/ 705 w 745"/>
                <a:gd name="T73" fmla="*/ 108 h 870"/>
                <a:gd name="T74" fmla="*/ 605 w 745"/>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5" h="870">
                  <a:moveTo>
                    <a:pt x="605" y="222"/>
                  </a:moveTo>
                  <a:lnTo>
                    <a:pt x="605" y="222"/>
                  </a:lnTo>
                  <a:cubicBezTo>
                    <a:pt x="572" y="191"/>
                    <a:pt x="536" y="172"/>
                    <a:pt x="500" y="161"/>
                  </a:cubicBezTo>
                  <a:cubicBezTo>
                    <a:pt x="464" y="149"/>
                    <a:pt x="425" y="147"/>
                    <a:pt x="383" y="147"/>
                  </a:cubicBezTo>
                  <a:cubicBezTo>
                    <a:pt x="328" y="144"/>
                    <a:pt x="286" y="152"/>
                    <a:pt x="253" y="169"/>
                  </a:cubicBezTo>
                  <a:cubicBezTo>
                    <a:pt x="219" y="188"/>
                    <a:pt x="203" y="211"/>
                    <a:pt x="203" y="244"/>
                  </a:cubicBezTo>
                  <a:cubicBezTo>
                    <a:pt x="206" y="280"/>
                    <a:pt x="222" y="302"/>
                    <a:pt x="256" y="319"/>
                  </a:cubicBezTo>
                  <a:cubicBezTo>
                    <a:pt x="289" y="333"/>
                    <a:pt x="333" y="344"/>
                    <a:pt x="386" y="349"/>
                  </a:cubicBezTo>
                  <a:cubicBezTo>
                    <a:pt x="425" y="352"/>
                    <a:pt x="467" y="358"/>
                    <a:pt x="508" y="366"/>
                  </a:cubicBezTo>
                  <a:cubicBezTo>
                    <a:pt x="550" y="372"/>
                    <a:pt x="589" y="386"/>
                    <a:pt x="625" y="405"/>
                  </a:cubicBezTo>
                  <a:cubicBezTo>
                    <a:pt x="658" y="422"/>
                    <a:pt x="689" y="447"/>
                    <a:pt x="711" y="480"/>
                  </a:cubicBezTo>
                  <a:cubicBezTo>
                    <a:pt x="733" y="513"/>
                    <a:pt x="744" y="555"/>
                    <a:pt x="744" y="608"/>
                  </a:cubicBezTo>
                  <a:cubicBezTo>
                    <a:pt x="744" y="647"/>
                    <a:pt x="736" y="683"/>
                    <a:pt x="717" y="713"/>
                  </a:cubicBezTo>
                  <a:cubicBezTo>
                    <a:pt x="700" y="747"/>
                    <a:pt x="678" y="774"/>
                    <a:pt x="644" y="797"/>
                  </a:cubicBezTo>
                  <a:cubicBezTo>
                    <a:pt x="614" y="819"/>
                    <a:pt x="578" y="838"/>
                    <a:pt x="533" y="849"/>
                  </a:cubicBezTo>
                  <a:cubicBezTo>
                    <a:pt x="489" y="863"/>
                    <a:pt x="439" y="869"/>
                    <a:pt x="386" y="869"/>
                  </a:cubicBezTo>
                  <a:cubicBezTo>
                    <a:pt x="317" y="869"/>
                    <a:pt x="250" y="858"/>
                    <a:pt x="183" y="838"/>
                  </a:cubicBezTo>
                  <a:cubicBezTo>
                    <a:pt x="117" y="819"/>
                    <a:pt x="56" y="777"/>
                    <a:pt x="0" y="716"/>
                  </a:cubicBezTo>
                  <a:cubicBezTo>
                    <a:pt x="92" y="597"/>
                    <a:pt x="92" y="597"/>
                    <a:pt x="92" y="597"/>
                  </a:cubicBezTo>
                  <a:cubicBezTo>
                    <a:pt x="133" y="638"/>
                    <a:pt x="181" y="669"/>
                    <a:pt x="233" y="688"/>
                  </a:cubicBezTo>
                  <a:cubicBezTo>
                    <a:pt x="286" y="708"/>
                    <a:pt x="339" y="719"/>
                    <a:pt x="389" y="719"/>
                  </a:cubicBezTo>
                  <a:cubicBezTo>
                    <a:pt x="408" y="719"/>
                    <a:pt x="430" y="716"/>
                    <a:pt x="450" y="713"/>
                  </a:cubicBezTo>
                  <a:cubicBezTo>
                    <a:pt x="472" y="708"/>
                    <a:pt x="492" y="702"/>
                    <a:pt x="508" y="694"/>
                  </a:cubicBezTo>
                  <a:cubicBezTo>
                    <a:pt x="525" y="686"/>
                    <a:pt x="539" y="674"/>
                    <a:pt x="550" y="661"/>
                  </a:cubicBezTo>
                  <a:cubicBezTo>
                    <a:pt x="561" y="647"/>
                    <a:pt x="567" y="630"/>
                    <a:pt x="567" y="611"/>
                  </a:cubicBezTo>
                  <a:cubicBezTo>
                    <a:pt x="569" y="574"/>
                    <a:pt x="553" y="547"/>
                    <a:pt x="519" y="530"/>
                  </a:cubicBezTo>
                  <a:cubicBezTo>
                    <a:pt x="483" y="513"/>
                    <a:pt x="436" y="502"/>
                    <a:pt x="372" y="497"/>
                  </a:cubicBezTo>
                  <a:cubicBezTo>
                    <a:pt x="333" y="494"/>
                    <a:pt x="292" y="486"/>
                    <a:pt x="253" y="477"/>
                  </a:cubicBezTo>
                  <a:cubicBezTo>
                    <a:pt x="211" y="469"/>
                    <a:pt x="175" y="455"/>
                    <a:pt x="142" y="436"/>
                  </a:cubicBezTo>
                  <a:cubicBezTo>
                    <a:pt x="108" y="416"/>
                    <a:pt x="83" y="394"/>
                    <a:pt x="61" y="363"/>
                  </a:cubicBezTo>
                  <a:cubicBezTo>
                    <a:pt x="42" y="333"/>
                    <a:pt x="30" y="294"/>
                    <a:pt x="30" y="249"/>
                  </a:cubicBezTo>
                  <a:cubicBezTo>
                    <a:pt x="30" y="202"/>
                    <a:pt x="42" y="166"/>
                    <a:pt x="61" y="133"/>
                  </a:cubicBezTo>
                  <a:cubicBezTo>
                    <a:pt x="83" y="102"/>
                    <a:pt x="111" y="74"/>
                    <a:pt x="147" y="55"/>
                  </a:cubicBezTo>
                  <a:cubicBezTo>
                    <a:pt x="181" y="36"/>
                    <a:pt x="217" y="22"/>
                    <a:pt x="258" y="11"/>
                  </a:cubicBezTo>
                  <a:cubicBezTo>
                    <a:pt x="300" y="2"/>
                    <a:pt x="339" y="0"/>
                    <a:pt x="381" y="0"/>
                  </a:cubicBezTo>
                  <a:cubicBezTo>
                    <a:pt x="444" y="0"/>
                    <a:pt x="503" y="8"/>
                    <a:pt x="556" y="22"/>
                  </a:cubicBezTo>
                  <a:cubicBezTo>
                    <a:pt x="605" y="38"/>
                    <a:pt x="656" y="66"/>
                    <a:pt x="705" y="108"/>
                  </a:cubicBezTo>
                  <a:lnTo>
                    <a:pt x="605"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9" name="Freeform 26">
              <a:extLst>
                <a:ext uri="{FF2B5EF4-FFF2-40B4-BE49-F238E27FC236}">
                  <a16:creationId xmlns:a16="http://schemas.microsoft.com/office/drawing/2014/main" id="{63D095FD-145D-6047-BEC5-289CE2CE0B68}"/>
                </a:ext>
              </a:extLst>
            </p:cNvPr>
            <p:cNvSpPr>
              <a:spLocks noChangeArrowheads="1"/>
            </p:cNvSpPr>
            <p:nvPr userDrawn="1"/>
          </p:nvSpPr>
          <p:spPr bwMode="auto">
            <a:xfrm>
              <a:off x="4600575" y="3744913"/>
              <a:ext cx="476250" cy="301625"/>
            </a:xfrm>
            <a:custGeom>
              <a:avLst/>
              <a:gdLst>
                <a:gd name="T0" fmla="*/ 575 w 1322"/>
                <a:gd name="T1" fmla="*/ 839 h 840"/>
                <a:gd name="T2" fmla="*/ 575 w 1322"/>
                <a:gd name="T3" fmla="*/ 839 h 840"/>
                <a:gd name="T4" fmla="*/ 575 w 1322"/>
                <a:gd name="T5" fmla="*/ 386 h 840"/>
                <a:gd name="T6" fmla="*/ 564 w 1322"/>
                <a:gd name="T7" fmla="*/ 300 h 840"/>
                <a:gd name="T8" fmla="*/ 525 w 1322"/>
                <a:gd name="T9" fmla="*/ 228 h 840"/>
                <a:gd name="T10" fmla="*/ 461 w 1322"/>
                <a:gd name="T11" fmla="*/ 178 h 840"/>
                <a:gd name="T12" fmla="*/ 381 w 1322"/>
                <a:gd name="T13" fmla="*/ 161 h 840"/>
                <a:gd name="T14" fmla="*/ 295 w 1322"/>
                <a:gd name="T15" fmla="*/ 178 h 840"/>
                <a:gd name="T16" fmla="*/ 231 w 1322"/>
                <a:gd name="T17" fmla="*/ 228 h 840"/>
                <a:gd name="T18" fmla="*/ 192 w 1322"/>
                <a:gd name="T19" fmla="*/ 300 h 840"/>
                <a:gd name="T20" fmla="*/ 175 w 1322"/>
                <a:gd name="T21" fmla="*/ 386 h 840"/>
                <a:gd name="T22" fmla="*/ 175 w 1322"/>
                <a:gd name="T23" fmla="*/ 839 h 840"/>
                <a:gd name="T24" fmla="*/ 0 w 1322"/>
                <a:gd name="T25" fmla="*/ 839 h 840"/>
                <a:gd name="T26" fmla="*/ 0 w 1322"/>
                <a:gd name="T27" fmla="*/ 14 h 840"/>
                <a:gd name="T28" fmla="*/ 164 w 1322"/>
                <a:gd name="T29" fmla="*/ 14 h 840"/>
                <a:gd name="T30" fmla="*/ 175 w 1322"/>
                <a:gd name="T31" fmla="*/ 125 h 840"/>
                <a:gd name="T32" fmla="*/ 278 w 1322"/>
                <a:gd name="T33" fmla="*/ 28 h 840"/>
                <a:gd name="T34" fmla="*/ 411 w 1322"/>
                <a:gd name="T35" fmla="*/ 0 h 840"/>
                <a:gd name="T36" fmla="*/ 492 w 1322"/>
                <a:gd name="T37" fmla="*/ 8 h 840"/>
                <a:gd name="T38" fmla="*/ 567 w 1322"/>
                <a:gd name="T39" fmla="*/ 36 h 840"/>
                <a:gd name="T40" fmla="*/ 631 w 1322"/>
                <a:gd name="T41" fmla="*/ 89 h 840"/>
                <a:gd name="T42" fmla="*/ 675 w 1322"/>
                <a:gd name="T43" fmla="*/ 167 h 840"/>
                <a:gd name="T44" fmla="*/ 803 w 1322"/>
                <a:gd name="T45" fmla="*/ 39 h 840"/>
                <a:gd name="T46" fmla="*/ 964 w 1322"/>
                <a:gd name="T47" fmla="*/ 3 h 840"/>
                <a:gd name="T48" fmla="*/ 1230 w 1322"/>
                <a:gd name="T49" fmla="*/ 103 h 840"/>
                <a:gd name="T50" fmla="*/ 1321 w 1322"/>
                <a:gd name="T51" fmla="*/ 383 h 840"/>
                <a:gd name="T52" fmla="*/ 1321 w 1322"/>
                <a:gd name="T53" fmla="*/ 839 h 840"/>
                <a:gd name="T54" fmla="*/ 1145 w 1322"/>
                <a:gd name="T55" fmla="*/ 839 h 840"/>
                <a:gd name="T56" fmla="*/ 1145 w 1322"/>
                <a:gd name="T57" fmla="*/ 381 h 840"/>
                <a:gd name="T58" fmla="*/ 1134 w 1322"/>
                <a:gd name="T59" fmla="*/ 297 h 840"/>
                <a:gd name="T60" fmla="*/ 1097 w 1322"/>
                <a:gd name="T61" fmla="*/ 225 h 840"/>
                <a:gd name="T62" fmla="*/ 1039 w 1322"/>
                <a:gd name="T63" fmla="*/ 178 h 840"/>
                <a:gd name="T64" fmla="*/ 959 w 1322"/>
                <a:gd name="T65" fmla="*/ 161 h 840"/>
                <a:gd name="T66" fmla="*/ 872 w 1322"/>
                <a:gd name="T67" fmla="*/ 181 h 840"/>
                <a:gd name="T68" fmla="*/ 809 w 1322"/>
                <a:gd name="T69" fmla="*/ 228 h 840"/>
                <a:gd name="T70" fmla="*/ 767 w 1322"/>
                <a:gd name="T71" fmla="*/ 300 h 840"/>
                <a:gd name="T72" fmla="*/ 753 w 1322"/>
                <a:gd name="T73" fmla="*/ 386 h 840"/>
                <a:gd name="T74" fmla="*/ 753 w 1322"/>
                <a:gd name="T75" fmla="*/ 839 h 840"/>
                <a:gd name="T76" fmla="*/ 575 w 1322"/>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2" h="840">
                  <a:moveTo>
                    <a:pt x="575" y="839"/>
                  </a:moveTo>
                  <a:lnTo>
                    <a:pt x="575" y="839"/>
                  </a:lnTo>
                  <a:cubicBezTo>
                    <a:pt x="575" y="386"/>
                    <a:pt x="575" y="386"/>
                    <a:pt x="575" y="386"/>
                  </a:cubicBezTo>
                  <a:cubicBezTo>
                    <a:pt x="575" y="356"/>
                    <a:pt x="572" y="325"/>
                    <a:pt x="564" y="300"/>
                  </a:cubicBezTo>
                  <a:cubicBezTo>
                    <a:pt x="556" y="272"/>
                    <a:pt x="542" y="247"/>
                    <a:pt x="525" y="228"/>
                  </a:cubicBezTo>
                  <a:cubicBezTo>
                    <a:pt x="509" y="206"/>
                    <a:pt x="486" y="189"/>
                    <a:pt x="461" y="178"/>
                  </a:cubicBezTo>
                  <a:cubicBezTo>
                    <a:pt x="436" y="167"/>
                    <a:pt x="411" y="161"/>
                    <a:pt x="381" y="161"/>
                  </a:cubicBezTo>
                  <a:cubicBezTo>
                    <a:pt x="347" y="161"/>
                    <a:pt x="320" y="167"/>
                    <a:pt x="295" y="178"/>
                  </a:cubicBezTo>
                  <a:cubicBezTo>
                    <a:pt x="270" y="189"/>
                    <a:pt x="250" y="206"/>
                    <a:pt x="231" y="228"/>
                  </a:cubicBezTo>
                  <a:cubicBezTo>
                    <a:pt x="214" y="247"/>
                    <a:pt x="200" y="272"/>
                    <a:pt x="192" y="300"/>
                  </a:cubicBezTo>
                  <a:cubicBezTo>
                    <a:pt x="181" y="325"/>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200" y="78"/>
                    <a:pt x="234" y="47"/>
                    <a:pt x="278" y="28"/>
                  </a:cubicBezTo>
                  <a:cubicBezTo>
                    <a:pt x="323" y="8"/>
                    <a:pt x="367" y="0"/>
                    <a:pt x="411" y="0"/>
                  </a:cubicBezTo>
                  <a:cubicBezTo>
                    <a:pt x="439" y="0"/>
                    <a:pt x="467" y="3"/>
                    <a:pt x="492" y="8"/>
                  </a:cubicBezTo>
                  <a:cubicBezTo>
                    <a:pt x="520" y="14"/>
                    <a:pt x="542" y="22"/>
                    <a:pt x="567" y="36"/>
                  </a:cubicBezTo>
                  <a:cubicBezTo>
                    <a:pt x="589" y="50"/>
                    <a:pt x="611" y="67"/>
                    <a:pt x="631" y="89"/>
                  </a:cubicBezTo>
                  <a:cubicBezTo>
                    <a:pt x="647" y="111"/>
                    <a:pt x="664" y="136"/>
                    <a:pt x="675" y="167"/>
                  </a:cubicBezTo>
                  <a:cubicBezTo>
                    <a:pt x="711" y="106"/>
                    <a:pt x="753" y="61"/>
                    <a:pt x="803" y="39"/>
                  </a:cubicBezTo>
                  <a:cubicBezTo>
                    <a:pt x="853" y="14"/>
                    <a:pt x="906" y="3"/>
                    <a:pt x="964" y="3"/>
                  </a:cubicBezTo>
                  <a:cubicBezTo>
                    <a:pt x="1084" y="3"/>
                    <a:pt x="1172" y="36"/>
                    <a:pt x="1230" y="103"/>
                  </a:cubicBezTo>
                  <a:cubicBezTo>
                    <a:pt x="1291" y="169"/>
                    <a:pt x="1321" y="264"/>
                    <a:pt x="1321" y="383"/>
                  </a:cubicBezTo>
                  <a:cubicBezTo>
                    <a:pt x="1321" y="839"/>
                    <a:pt x="1321" y="839"/>
                    <a:pt x="1321" y="839"/>
                  </a:cubicBezTo>
                  <a:cubicBezTo>
                    <a:pt x="1145" y="839"/>
                    <a:pt x="1145" y="839"/>
                    <a:pt x="1145" y="839"/>
                  </a:cubicBezTo>
                  <a:cubicBezTo>
                    <a:pt x="1145" y="381"/>
                    <a:pt x="1145" y="381"/>
                    <a:pt x="1145" y="381"/>
                  </a:cubicBezTo>
                  <a:cubicBezTo>
                    <a:pt x="1145" y="353"/>
                    <a:pt x="1139" y="322"/>
                    <a:pt x="1134" y="297"/>
                  </a:cubicBezTo>
                  <a:cubicBezTo>
                    <a:pt x="1125" y="269"/>
                    <a:pt x="1114" y="247"/>
                    <a:pt x="1097" y="225"/>
                  </a:cubicBezTo>
                  <a:cubicBezTo>
                    <a:pt x="1081" y="206"/>
                    <a:pt x="1061" y="189"/>
                    <a:pt x="1039" y="178"/>
                  </a:cubicBezTo>
                  <a:cubicBezTo>
                    <a:pt x="1017" y="167"/>
                    <a:pt x="989" y="161"/>
                    <a:pt x="959" y="161"/>
                  </a:cubicBezTo>
                  <a:cubicBezTo>
                    <a:pt x="928" y="161"/>
                    <a:pt x="900" y="169"/>
                    <a:pt x="872" y="181"/>
                  </a:cubicBezTo>
                  <a:cubicBezTo>
                    <a:pt x="847" y="192"/>
                    <a:pt x="825" y="208"/>
                    <a:pt x="809" y="228"/>
                  </a:cubicBezTo>
                  <a:cubicBezTo>
                    <a:pt x="792" y="247"/>
                    <a:pt x="778" y="272"/>
                    <a:pt x="767" y="300"/>
                  </a:cubicBezTo>
                  <a:cubicBezTo>
                    <a:pt x="759" y="325"/>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0" name="Freeform 27">
              <a:extLst>
                <a:ext uri="{FF2B5EF4-FFF2-40B4-BE49-F238E27FC236}">
                  <a16:creationId xmlns:a16="http://schemas.microsoft.com/office/drawing/2014/main" id="{7C10FC10-5A5F-1844-A065-1B221F00F695}"/>
                </a:ext>
              </a:extLst>
            </p:cNvPr>
            <p:cNvSpPr>
              <a:spLocks noChangeArrowheads="1"/>
            </p:cNvSpPr>
            <p:nvPr userDrawn="1"/>
          </p:nvSpPr>
          <p:spPr bwMode="auto">
            <a:xfrm>
              <a:off x="5138738" y="3743325"/>
              <a:ext cx="315912"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2 w 876"/>
                <a:gd name="T11" fmla="*/ 680 h 864"/>
                <a:gd name="T12" fmla="*/ 703 w 876"/>
                <a:gd name="T13" fmla="*/ 616 h 864"/>
                <a:gd name="T14" fmla="*/ 817 w 876"/>
                <a:gd name="T15" fmla="*/ 724 h 864"/>
                <a:gd name="T16" fmla="*/ 742 w 876"/>
                <a:gd name="T17" fmla="*/ 786 h 864"/>
                <a:gd name="T18" fmla="*/ 653 w 876"/>
                <a:gd name="T19" fmla="*/ 830 h 864"/>
                <a:gd name="T20" fmla="*/ 553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3 w 876"/>
                <a:gd name="T35" fmla="*/ 119 h 864"/>
                <a:gd name="T36" fmla="*/ 261 w 876"/>
                <a:gd name="T37" fmla="*/ 30 h 864"/>
                <a:gd name="T38" fmla="*/ 442 w 876"/>
                <a:gd name="T39" fmla="*/ 0 h 864"/>
                <a:gd name="T40" fmla="*/ 628 w 876"/>
                <a:gd name="T41" fmla="*/ 30 h 864"/>
                <a:gd name="T42" fmla="*/ 767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2 w 876"/>
                <a:gd name="T55" fmla="*/ 202 h 864"/>
                <a:gd name="T56" fmla="*/ 448 w 876"/>
                <a:gd name="T57" fmla="*/ 152 h 864"/>
                <a:gd name="T58" fmla="*/ 278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17" y="686"/>
                    <a:pt x="381" y="705"/>
                    <a:pt x="459" y="705"/>
                  </a:cubicBezTo>
                  <a:cubicBezTo>
                    <a:pt x="500" y="705"/>
                    <a:pt x="548" y="697"/>
                    <a:pt x="592" y="680"/>
                  </a:cubicBezTo>
                  <a:cubicBezTo>
                    <a:pt x="639" y="666"/>
                    <a:pt x="675" y="644"/>
                    <a:pt x="703" y="616"/>
                  </a:cubicBezTo>
                  <a:cubicBezTo>
                    <a:pt x="817" y="724"/>
                    <a:pt x="817" y="724"/>
                    <a:pt x="817" y="724"/>
                  </a:cubicBezTo>
                  <a:cubicBezTo>
                    <a:pt x="795" y="747"/>
                    <a:pt x="770" y="769"/>
                    <a:pt x="742" y="786"/>
                  </a:cubicBezTo>
                  <a:cubicBezTo>
                    <a:pt x="714" y="802"/>
                    <a:pt x="684" y="819"/>
                    <a:pt x="653" y="830"/>
                  </a:cubicBezTo>
                  <a:cubicBezTo>
                    <a:pt x="620" y="841"/>
                    <a:pt x="589" y="849"/>
                    <a:pt x="553" y="855"/>
                  </a:cubicBezTo>
                  <a:cubicBezTo>
                    <a:pt x="520" y="861"/>
                    <a:pt x="486" y="863"/>
                    <a:pt x="456" y="863"/>
                  </a:cubicBezTo>
                  <a:cubicBezTo>
                    <a:pt x="386" y="863"/>
                    <a:pt x="323" y="855"/>
                    <a:pt x="267" y="833"/>
                  </a:cubicBezTo>
                  <a:cubicBezTo>
                    <a:pt x="211" y="813"/>
                    <a:pt x="164" y="783"/>
                    <a:pt x="125" y="747"/>
                  </a:cubicBezTo>
                  <a:cubicBezTo>
                    <a:pt x="86" y="708"/>
                    <a:pt x="56" y="661"/>
                    <a:pt x="34" y="608"/>
                  </a:cubicBezTo>
                  <a:cubicBezTo>
                    <a:pt x="11" y="552"/>
                    <a:pt x="0" y="494"/>
                    <a:pt x="0" y="427"/>
                  </a:cubicBezTo>
                  <a:cubicBezTo>
                    <a:pt x="0" y="366"/>
                    <a:pt x="11" y="308"/>
                    <a:pt x="34" y="255"/>
                  </a:cubicBezTo>
                  <a:cubicBezTo>
                    <a:pt x="56" y="202"/>
                    <a:pt x="84" y="158"/>
                    <a:pt x="123" y="119"/>
                  </a:cubicBezTo>
                  <a:cubicBezTo>
                    <a:pt x="161" y="80"/>
                    <a:pt x="209" y="52"/>
                    <a:pt x="261" y="30"/>
                  </a:cubicBezTo>
                  <a:cubicBezTo>
                    <a:pt x="317" y="8"/>
                    <a:pt x="378" y="0"/>
                    <a:pt x="442" y="0"/>
                  </a:cubicBezTo>
                  <a:cubicBezTo>
                    <a:pt x="511" y="0"/>
                    <a:pt x="573" y="8"/>
                    <a:pt x="628" y="30"/>
                  </a:cubicBezTo>
                  <a:cubicBezTo>
                    <a:pt x="684" y="50"/>
                    <a:pt x="731" y="80"/>
                    <a:pt x="767" y="122"/>
                  </a:cubicBezTo>
                  <a:cubicBezTo>
                    <a:pt x="806" y="163"/>
                    <a:pt x="834" y="216"/>
                    <a:pt x="853" y="277"/>
                  </a:cubicBezTo>
                  <a:cubicBezTo>
                    <a:pt x="870" y="341"/>
                    <a:pt x="875" y="413"/>
                    <a:pt x="867" y="497"/>
                  </a:cubicBezTo>
                  <a:lnTo>
                    <a:pt x="186" y="352"/>
                  </a:lnTo>
                  <a:lnTo>
                    <a:pt x="186" y="352"/>
                  </a:lnTo>
                  <a:cubicBezTo>
                    <a:pt x="698" y="352"/>
                    <a:pt x="698" y="352"/>
                    <a:pt x="698" y="352"/>
                  </a:cubicBezTo>
                  <a:cubicBezTo>
                    <a:pt x="692" y="286"/>
                    <a:pt x="667" y="236"/>
                    <a:pt x="622" y="202"/>
                  </a:cubicBezTo>
                  <a:cubicBezTo>
                    <a:pt x="578" y="169"/>
                    <a:pt x="520" y="152"/>
                    <a:pt x="448" y="152"/>
                  </a:cubicBezTo>
                  <a:cubicBezTo>
                    <a:pt x="384" y="152"/>
                    <a:pt x="328" y="169"/>
                    <a:pt x="278"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1" name="Freeform 28">
              <a:extLst>
                <a:ext uri="{FF2B5EF4-FFF2-40B4-BE49-F238E27FC236}">
                  <a16:creationId xmlns:a16="http://schemas.microsoft.com/office/drawing/2014/main" id="{0B2929B2-C2F0-C645-B08B-4B54702C7C2F}"/>
                </a:ext>
              </a:extLst>
            </p:cNvPr>
            <p:cNvSpPr>
              <a:spLocks noChangeArrowheads="1"/>
            </p:cNvSpPr>
            <p:nvPr userDrawn="1"/>
          </p:nvSpPr>
          <p:spPr bwMode="auto">
            <a:xfrm>
              <a:off x="54975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4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9" y="147"/>
                    <a:pt x="127" y="111"/>
                  </a:cubicBezTo>
                  <a:cubicBezTo>
                    <a:pt x="166" y="75"/>
                    <a:pt x="211" y="48"/>
                    <a:pt x="264"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41" y="636"/>
                    <a:pt x="669" y="603"/>
                    <a:pt x="691" y="561"/>
                  </a:cubicBezTo>
                  <a:cubicBezTo>
                    <a:pt x="711" y="522"/>
                    <a:pt x="722" y="478"/>
                    <a:pt x="722" y="431"/>
                  </a:cubicBezTo>
                  <a:cubicBezTo>
                    <a:pt x="722" y="384"/>
                    <a:pt x="711" y="339"/>
                    <a:pt x="691" y="298"/>
                  </a:cubicBezTo>
                  <a:cubicBezTo>
                    <a:pt x="669" y="259"/>
                    <a:pt x="641"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2" name="Freeform 29">
              <a:extLst>
                <a:ext uri="{FF2B5EF4-FFF2-40B4-BE49-F238E27FC236}">
                  <a16:creationId xmlns:a16="http://schemas.microsoft.com/office/drawing/2014/main" id="{ED1FBB31-A161-B54F-8C97-BEE06BBF3972}"/>
                </a:ext>
              </a:extLst>
            </p:cNvPr>
            <p:cNvSpPr>
              <a:spLocks noChangeArrowheads="1"/>
            </p:cNvSpPr>
            <p:nvPr userDrawn="1"/>
          </p:nvSpPr>
          <p:spPr bwMode="auto">
            <a:xfrm>
              <a:off x="5905500" y="3746500"/>
              <a:ext cx="293688" cy="301625"/>
            </a:xfrm>
            <a:custGeom>
              <a:avLst/>
              <a:gdLst>
                <a:gd name="T0" fmla="*/ 639 w 817"/>
                <a:gd name="T1" fmla="*/ 836 h 837"/>
                <a:gd name="T2" fmla="*/ 639 w 817"/>
                <a:gd name="T3" fmla="*/ 836 h 837"/>
                <a:gd name="T4" fmla="*/ 639 w 817"/>
                <a:gd name="T5" fmla="*/ 397 h 837"/>
                <a:gd name="T6" fmla="*/ 580 w 817"/>
                <a:gd name="T7" fmla="*/ 225 h 837"/>
                <a:gd name="T8" fmla="*/ 411 w 817"/>
                <a:gd name="T9" fmla="*/ 158 h 837"/>
                <a:gd name="T10" fmla="*/ 316 w 817"/>
                <a:gd name="T11" fmla="*/ 178 h 837"/>
                <a:gd name="T12" fmla="*/ 241 w 817"/>
                <a:gd name="T13" fmla="*/ 230 h 837"/>
                <a:gd name="T14" fmla="*/ 194 w 817"/>
                <a:gd name="T15" fmla="*/ 311 h 837"/>
                <a:gd name="T16" fmla="*/ 177 w 817"/>
                <a:gd name="T17" fmla="*/ 405 h 837"/>
                <a:gd name="T18" fmla="*/ 177 w 817"/>
                <a:gd name="T19" fmla="*/ 836 h 837"/>
                <a:gd name="T20" fmla="*/ 0 w 817"/>
                <a:gd name="T21" fmla="*/ 836 h 837"/>
                <a:gd name="T22" fmla="*/ 0 w 817"/>
                <a:gd name="T23" fmla="*/ 11 h 837"/>
                <a:gd name="T24" fmla="*/ 161 w 817"/>
                <a:gd name="T25" fmla="*/ 11 h 837"/>
                <a:gd name="T26" fmla="*/ 172 w 817"/>
                <a:gd name="T27" fmla="*/ 130 h 837"/>
                <a:gd name="T28" fmla="*/ 455 w 817"/>
                <a:gd name="T29" fmla="*/ 0 h 837"/>
                <a:gd name="T30" fmla="*/ 597 w 817"/>
                <a:gd name="T31" fmla="*/ 25 h 837"/>
                <a:gd name="T32" fmla="*/ 711 w 817"/>
                <a:gd name="T33" fmla="*/ 100 h 837"/>
                <a:gd name="T34" fmla="*/ 789 w 817"/>
                <a:gd name="T35" fmla="*/ 225 h 837"/>
                <a:gd name="T36" fmla="*/ 816 w 817"/>
                <a:gd name="T37" fmla="*/ 394 h 837"/>
                <a:gd name="T38" fmla="*/ 816 w 817"/>
                <a:gd name="T39" fmla="*/ 836 h 837"/>
                <a:gd name="T40" fmla="*/ 639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9" y="836"/>
                  </a:moveTo>
                  <a:lnTo>
                    <a:pt x="639" y="836"/>
                  </a:lnTo>
                  <a:cubicBezTo>
                    <a:pt x="639" y="397"/>
                    <a:pt x="639" y="397"/>
                    <a:pt x="639" y="397"/>
                  </a:cubicBezTo>
                  <a:cubicBezTo>
                    <a:pt x="639" y="325"/>
                    <a:pt x="619" y="266"/>
                    <a:pt x="580" y="225"/>
                  </a:cubicBezTo>
                  <a:cubicBezTo>
                    <a:pt x="541" y="180"/>
                    <a:pt x="486" y="158"/>
                    <a:pt x="411" y="158"/>
                  </a:cubicBezTo>
                  <a:cubicBezTo>
                    <a:pt x="377" y="158"/>
                    <a:pt x="344" y="166"/>
                    <a:pt x="316" y="178"/>
                  </a:cubicBezTo>
                  <a:cubicBezTo>
                    <a:pt x="286" y="192"/>
                    <a:pt x="261" y="208"/>
                    <a:pt x="241" y="230"/>
                  </a:cubicBezTo>
                  <a:cubicBezTo>
                    <a:pt x="222" y="255"/>
                    <a:pt x="205" y="280"/>
                    <a:pt x="194" y="311"/>
                  </a:cubicBezTo>
                  <a:cubicBezTo>
                    <a:pt x="183" y="341"/>
                    <a:pt x="177" y="372"/>
                    <a:pt x="177" y="405"/>
                  </a:cubicBezTo>
                  <a:cubicBezTo>
                    <a:pt x="177" y="836"/>
                    <a:pt x="177" y="836"/>
                    <a:pt x="177" y="836"/>
                  </a:cubicBezTo>
                  <a:cubicBezTo>
                    <a:pt x="0" y="836"/>
                    <a:pt x="0" y="836"/>
                    <a:pt x="0" y="836"/>
                  </a:cubicBezTo>
                  <a:cubicBezTo>
                    <a:pt x="0" y="11"/>
                    <a:pt x="0" y="11"/>
                    <a:pt x="0" y="11"/>
                  </a:cubicBezTo>
                  <a:cubicBezTo>
                    <a:pt x="161" y="11"/>
                    <a:pt x="161" y="11"/>
                    <a:pt x="161" y="11"/>
                  </a:cubicBezTo>
                  <a:cubicBezTo>
                    <a:pt x="172" y="130"/>
                    <a:pt x="172" y="130"/>
                    <a:pt x="172" y="130"/>
                  </a:cubicBezTo>
                  <a:cubicBezTo>
                    <a:pt x="250" y="42"/>
                    <a:pt x="344" y="0"/>
                    <a:pt x="455" y="0"/>
                  </a:cubicBezTo>
                  <a:cubicBezTo>
                    <a:pt x="505" y="0"/>
                    <a:pt x="552" y="8"/>
                    <a:pt x="597" y="25"/>
                  </a:cubicBezTo>
                  <a:cubicBezTo>
                    <a:pt x="641" y="42"/>
                    <a:pt x="680" y="66"/>
                    <a:pt x="711" y="100"/>
                  </a:cubicBezTo>
                  <a:cubicBezTo>
                    <a:pt x="744" y="133"/>
                    <a:pt x="769" y="175"/>
                    <a:pt x="789" y="225"/>
                  </a:cubicBezTo>
                  <a:cubicBezTo>
                    <a:pt x="808" y="275"/>
                    <a:pt x="816" y="330"/>
                    <a:pt x="816" y="394"/>
                  </a:cubicBezTo>
                  <a:cubicBezTo>
                    <a:pt x="816" y="836"/>
                    <a:pt x="816" y="836"/>
                    <a:pt x="816" y="836"/>
                  </a:cubicBezTo>
                  <a:lnTo>
                    <a:pt x="639"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3" name="Freeform 30">
              <a:extLst>
                <a:ext uri="{FF2B5EF4-FFF2-40B4-BE49-F238E27FC236}">
                  <a16:creationId xmlns:a16="http://schemas.microsoft.com/office/drawing/2014/main" id="{A547C90C-D8AA-F74D-AB09-501656F8FCB5}"/>
                </a:ext>
              </a:extLst>
            </p:cNvPr>
            <p:cNvSpPr>
              <a:spLocks noChangeArrowheads="1"/>
            </p:cNvSpPr>
            <p:nvPr userDrawn="1"/>
          </p:nvSpPr>
          <p:spPr bwMode="auto">
            <a:xfrm>
              <a:off x="6251575"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4" name="Freeform 31">
              <a:extLst>
                <a:ext uri="{FF2B5EF4-FFF2-40B4-BE49-F238E27FC236}">
                  <a16:creationId xmlns:a16="http://schemas.microsoft.com/office/drawing/2014/main" id="{33D700A9-ED2C-DF4F-A617-187701246D0D}"/>
                </a:ext>
              </a:extLst>
            </p:cNvPr>
            <p:cNvSpPr>
              <a:spLocks noChangeArrowheads="1"/>
            </p:cNvSpPr>
            <p:nvPr userDrawn="1"/>
          </p:nvSpPr>
          <p:spPr bwMode="auto">
            <a:xfrm>
              <a:off x="6643688"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5" name="Freeform 32">
              <a:extLst>
                <a:ext uri="{FF2B5EF4-FFF2-40B4-BE49-F238E27FC236}">
                  <a16:creationId xmlns:a16="http://schemas.microsoft.com/office/drawing/2014/main" id="{CB036C5E-8288-CF44-8971-B3867DC06200}"/>
                </a:ext>
              </a:extLst>
            </p:cNvPr>
            <p:cNvSpPr>
              <a:spLocks noChangeArrowheads="1"/>
            </p:cNvSpPr>
            <p:nvPr userDrawn="1"/>
          </p:nvSpPr>
          <p:spPr bwMode="auto">
            <a:xfrm>
              <a:off x="6897688" y="3743325"/>
              <a:ext cx="314325" cy="309563"/>
            </a:xfrm>
            <a:custGeom>
              <a:avLst/>
              <a:gdLst>
                <a:gd name="T0" fmla="*/ 436 w 873"/>
                <a:gd name="T1" fmla="*/ 0 h 860"/>
                <a:gd name="T2" fmla="*/ 436 w 873"/>
                <a:gd name="T3" fmla="*/ 0 h 860"/>
                <a:gd name="T4" fmla="*/ 611 w 873"/>
                <a:gd name="T5" fmla="*/ 34 h 860"/>
                <a:gd name="T6" fmla="*/ 750 w 873"/>
                <a:gd name="T7" fmla="*/ 125 h 860"/>
                <a:gd name="T8" fmla="*/ 842 w 873"/>
                <a:gd name="T9" fmla="*/ 261 h 860"/>
                <a:gd name="T10" fmla="*/ 872 w 873"/>
                <a:gd name="T11" fmla="*/ 431 h 860"/>
                <a:gd name="T12" fmla="*/ 842 w 873"/>
                <a:gd name="T13" fmla="*/ 600 h 860"/>
                <a:gd name="T14" fmla="*/ 753 w 873"/>
                <a:gd name="T15" fmla="*/ 736 h 860"/>
                <a:gd name="T16" fmla="*/ 614 w 873"/>
                <a:gd name="T17" fmla="*/ 825 h 860"/>
                <a:gd name="T18" fmla="*/ 436 w 873"/>
                <a:gd name="T19" fmla="*/ 859 h 860"/>
                <a:gd name="T20" fmla="*/ 256 w 873"/>
                <a:gd name="T21" fmla="*/ 825 h 860"/>
                <a:gd name="T22" fmla="*/ 119 w 873"/>
                <a:gd name="T23" fmla="*/ 736 h 860"/>
                <a:gd name="T24" fmla="*/ 31 w 873"/>
                <a:gd name="T25" fmla="*/ 600 h 860"/>
                <a:gd name="T26" fmla="*/ 0 w 873"/>
                <a:gd name="T27" fmla="*/ 431 h 860"/>
                <a:gd name="T28" fmla="*/ 31 w 873"/>
                <a:gd name="T29" fmla="*/ 261 h 860"/>
                <a:gd name="T30" fmla="*/ 119 w 873"/>
                <a:gd name="T31" fmla="*/ 125 h 860"/>
                <a:gd name="T32" fmla="*/ 258 w 873"/>
                <a:gd name="T33" fmla="*/ 34 h 860"/>
                <a:gd name="T34" fmla="*/ 436 w 873"/>
                <a:gd name="T35" fmla="*/ 0 h 860"/>
                <a:gd name="T36" fmla="*/ 436 w 873"/>
                <a:gd name="T37" fmla="*/ 161 h 860"/>
                <a:gd name="T38" fmla="*/ 436 w 873"/>
                <a:gd name="T39" fmla="*/ 161 h 860"/>
                <a:gd name="T40" fmla="*/ 328 w 873"/>
                <a:gd name="T41" fmla="*/ 184 h 860"/>
                <a:gd name="T42" fmla="*/ 247 w 873"/>
                <a:gd name="T43" fmla="*/ 242 h 860"/>
                <a:gd name="T44" fmla="*/ 194 w 873"/>
                <a:gd name="T45" fmla="*/ 328 h 860"/>
                <a:gd name="T46" fmla="*/ 178 w 873"/>
                <a:gd name="T47" fmla="*/ 431 h 860"/>
                <a:gd name="T48" fmla="*/ 194 w 873"/>
                <a:gd name="T49" fmla="*/ 536 h 860"/>
                <a:gd name="T50" fmla="*/ 247 w 873"/>
                <a:gd name="T51" fmla="*/ 620 h 860"/>
                <a:gd name="T52" fmla="*/ 328 w 873"/>
                <a:gd name="T53" fmla="*/ 678 h 860"/>
                <a:gd name="T54" fmla="*/ 436 w 873"/>
                <a:gd name="T55" fmla="*/ 698 h 860"/>
                <a:gd name="T56" fmla="*/ 544 w 873"/>
                <a:gd name="T57" fmla="*/ 678 h 860"/>
                <a:gd name="T58" fmla="*/ 625 w 873"/>
                <a:gd name="T59" fmla="*/ 620 h 860"/>
                <a:gd name="T60" fmla="*/ 678 w 873"/>
                <a:gd name="T61" fmla="*/ 536 h 860"/>
                <a:gd name="T62" fmla="*/ 694 w 873"/>
                <a:gd name="T63" fmla="*/ 431 h 860"/>
                <a:gd name="T64" fmla="*/ 675 w 873"/>
                <a:gd name="T65" fmla="*/ 328 h 860"/>
                <a:gd name="T66" fmla="*/ 622 w 873"/>
                <a:gd name="T67" fmla="*/ 242 h 860"/>
                <a:gd name="T68" fmla="*/ 542 w 873"/>
                <a:gd name="T69" fmla="*/ 184 h 860"/>
                <a:gd name="T70" fmla="*/ 436 w 873"/>
                <a:gd name="T71" fmla="*/ 161 h 860"/>
                <a:gd name="T72" fmla="*/ 436 w 873"/>
                <a:gd name="T73"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60">
                  <a:moveTo>
                    <a:pt x="436" y="0"/>
                  </a:moveTo>
                  <a:lnTo>
                    <a:pt x="436" y="0"/>
                  </a:lnTo>
                  <a:cubicBezTo>
                    <a:pt x="500" y="0"/>
                    <a:pt x="558" y="11"/>
                    <a:pt x="611" y="34"/>
                  </a:cubicBezTo>
                  <a:cubicBezTo>
                    <a:pt x="667" y="59"/>
                    <a:pt x="711" y="86"/>
                    <a:pt x="750" y="125"/>
                  </a:cubicBezTo>
                  <a:cubicBezTo>
                    <a:pt x="789" y="164"/>
                    <a:pt x="819" y="209"/>
                    <a:pt x="842" y="261"/>
                  </a:cubicBezTo>
                  <a:cubicBezTo>
                    <a:pt x="861" y="314"/>
                    <a:pt x="872" y="370"/>
                    <a:pt x="872" y="431"/>
                  </a:cubicBezTo>
                  <a:cubicBezTo>
                    <a:pt x="872" y="492"/>
                    <a:pt x="861" y="547"/>
                    <a:pt x="842" y="600"/>
                  </a:cubicBezTo>
                  <a:cubicBezTo>
                    <a:pt x="819" y="653"/>
                    <a:pt x="792" y="698"/>
                    <a:pt x="753" y="736"/>
                  </a:cubicBezTo>
                  <a:cubicBezTo>
                    <a:pt x="714" y="775"/>
                    <a:pt x="669" y="806"/>
                    <a:pt x="614" y="825"/>
                  </a:cubicBezTo>
                  <a:cubicBezTo>
                    <a:pt x="561" y="847"/>
                    <a:pt x="500" y="859"/>
                    <a:pt x="436" y="859"/>
                  </a:cubicBezTo>
                  <a:cubicBezTo>
                    <a:pt x="369" y="859"/>
                    <a:pt x="308" y="847"/>
                    <a:pt x="256" y="825"/>
                  </a:cubicBezTo>
                  <a:cubicBezTo>
                    <a:pt x="203" y="806"/>
                    <a:pt x="156" y="775"/>
                    <a:pt x="119" y="736"/>
                  </a:cubicBezTo>
                  <a:cubicBezTo>
                    <a:pt x="80" y="698"/>
                    <a:pt x="53" y="653"/>
                    <a:pt x="31" y="600"/>
                  </a:cubicBezTo>
                  <a:cubicBezTo>
                    <a:pt x="11" y="547"/>
                    <a:pt x="0" y="492"/>
                    <a:pt x="0" y="431"/>
                  </a:cubicBezTo>
                  <a:cubicBezTo>
                    <a:pt x="0" y="370"/>
                    <a:pt x="11" y="314"/>
                    <a:pt x="31" y="261"/>
                  </a:cubicBezTo>
                  <a:cubicBezTo>
                    <a:pt x="53" y="209"/>
                    <a:pt x="80" y="164"/>
                    <a:pt x="119" y="125"/>
                  </a:cubicBezTo>
                  <a:cubicBezTo>
                    <a:pt x="158" y="86"/>
                    <a:pt x="203" y="59"/>
                    <a:pt x="258" y="34"/>
                  </a:cubicBezTo>
                  <a:cubicBezTo>
                    <a:pt x="311" y="11"/>
                    <a:pt x="369" y="0"/>
                    <a:pt x="436" y="0"/>
                  </a:cubicBezTo>
                  <a:lnTo>
                    <a:pt x="436" y="161"/>
                  </a:lnTo>
                  <a:lnTo>
                    <a:pt x="436" y="161"/>
                  </a:lnTo>
                  <a:cubicBezTo>
                    <a:pt x="394" y="161"/>
                    <a:pt x="358" y="170"/>
                    <a:pt x="328" y="184"/>
                  </a:cubicBezTo>
                  <a:cubicBezTo>
                    <a:pt x="294" y="198"/>
                    <a:pt x="269" y="217"/>
                    <a:pt x="247" y="242"/>
                  </a:cubicBezTo>
                  <a:cubicBezTo>
                    <a:pt x="225" y="267"/>
                    <a:pt x="206" y="298"/>
                    <a:pt x="194" y="328"/>
                  </a:cubicBezTo>
                  <a:cubicBezTo>
                    <a:pt x="183" y="361"/>
                    <a:pt x="178" y="395"/>
                    <a:pt x="178" y="431"/>
                  </a:cubicBezTo>
                  <a:cubicBezTo>
                    <a:pt x="178" y="470"/>
                    <a:pt x="183" y="503"/>
                    <a:pt x="194" y="536"/>
                  </a:cubicBezTo>
                  <a:cubicBezTo>
                    <a:pt x="206" y="567"/>
                    <a:pt x="225" y="595"/>
                    <a:pt x="247" y="620"/>
                  </a:cubicBezTo>
                  <a:cubicBezTo>
                    <a:pt x="269" y="645"/>
                    <a:pt x="294" y="664"/>
                    <a:pt x="328" y="678"/>
                  </a:cubicBezTo>
                  <a:cubicBezTo>
                    <a:pt x="358" y="692"/>
                    <a:pt x="394" y="698"/>
                    <a:pt x="436" y="698"/>
                  </a:cubicBezTo>
                  <a:cubicBezTo>
                    <a:pt x="475" y="698"/>
                    <a:pt x="511" y="692"/>
                    <a:pt x="544" y="678"/>
                  </a:cubicBezTo>
                  <a:cubicBezTo>
                    <a:pt x="575" y="664"/>
                    <a:pt x="603" y="645"/>
                    <a:pt x="625" y="620"/>
                  </a:cubicBezTo>
                  <a:cubicBezTo>
                    <a:pt x="647" y="595"/>
                    <a:pt x="664" y="567"/>
                    <a:pt x="678" y="536"/>
                  </a:cubicBezTo>
                  <a:cubicBezTo>
                    <a:pt x="689" y="503"/>
                    <a:pt x="694" y="470"/>
                    <a:pt x="694" y="431"/>
                  </a:cubicBezTo>
                  <a:cubicBezTo>
                    <a:pt x="694" y="395"/>
                    <a:pt x="689" y="361"/>
                    <a:pt x="675" y="328"/>
                  </a:cubicBezTo>
                  <a:cubicBezTo>
                    <a:pt x="664" y="298"/>
                    <a:pt x="644" y="267"/>
                    <a:pt x="622" y="242"/>
                  </a:cubicBezTo>
                  <a:cubicBezTo>
                    <a:pt x="600" y="217"/>
                    <a:pt x="572" y="198"/>
                    <a:pt x="542" y="184"/>
                  </a:cubicBezTo>
                  <a:cubicBezTo>
                    <a:pt x="508" y="170"/>
                    <a:pt x="472" y="161"/>
                    <a:pt x="436" y="161"/>
                  </a:cubicBezTo>
                  <a:lnTo>
                    <a:pt x="43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6" name="Freeform 33">
              <a:extLst>
                <a:ext uri="{FF2B5EF4-FFF2-40B4-BE49-F238E27FC236}">
                  <a16:creationId xmlns:a16="http://schemas.microsoft.com/office/drawing/2014/main" id="{AA1C64EB-7578-4549-A742-1A557634305F}"/>
                </a:ext>
              </a:extLst>
            </p:cNvPr>
            <p:cNvSpPr>
              <a:spLocks noChangeArrowheads="1"/>
            </p:cNvSpPr>
            <p:nvPr userDrawn="1"/>
          </p:nvSpPr>
          <p:spPr bwMode="auto">
            <a:xfrm>
              <a:off x="7431088" y="3627438"/>
              <a:ext cx="323850" cy="427037"/>
            </a:xfrm>
            <a:custGeom>
              <a:avLst/>
              <a:gdLst>
                <a:gd name="T0" fmla="*/ 175 w 898"/>
                <a:gd name="T1" fmla="*/ 0 h 1185"/>
                <a:gd name="T2" fmla="*/ 175 w 898"/>
                <a:gd name="T3" fmla="*/ 0 h 1185"/>
                <a:gd name="T4" fmla="*/ 175 w 898"/>
                <a:gd name="T5" fmla="*/ 472 h 1185"/>
                <a:gd name="T6" fmla="*/ 231 w 898"/>
                <a:gd name="T7" fmla="*/ 409 h 1185"/>
                <a:gd name="T8" fmla="*/ 306 w 898"/>
                <a:gd name="T9" fmla="*/ 361 h 1185"/>
                <a:gd name="T10" fmla="*/ 389 w 898"/>
                <a:gd name="T11" fmla="*/ 334 h 1185"/>
                <a:gd name="T12" fmla="*/ 472 w 898"/>
                <a:gd name="T13" fmla="*/ 325 h 1185"/>
                <a:gd name="T14" fmla="*/ 639 w 898"/>
                <a:gd name="T15" fmla="*/ 353 h 1185"/>
                <a:gd name="T16" fmla="*/ 775 w 898"/>
                <a:gd name="T17" fmla="*/ 434 h 1185"/>
                <a:gd name="T18" fmla="*/ 867 w 898"/>
                <a:gd name="T19" fmla="*/ 570 h 1185"/>
                <a:gd name="T20" fmla="*/ 897 w 898"/>
                <a:gd name="T21" fmla="*/ 753 h 1185"/>
                <a:gd name="T22" fmla="*/ 864 w 898"/>
                <a:gd name="T23" fmla="*/ 936 h 1185"/>
                <a:gd name="T24" fmla="*/ 775 w 898"/>
                <a:gd name="T25" fmla="*/ 1072 h 1185"/>
                <a:gd name="T26" fmla="*/ 639 w 898"/>
                <a:gd name="T27" fmla="*/ 1156 h 1185"/>
                <a:gd name="T28" fmla="*/ 467 w 898"/>
                <a:gd name="T29" fmla="*/ 1184 h 1185"/>
                <a:gd name="T30" fmla="*/ 303 w 898"/>
                <a:gd name="T31" fmla="*/ 1150 h 1185"/>
                <a:gd name="T32" fmla="*/ 175 w 898"/>
                <a:gd name="T33" fmla="*/ 1036 h 1185"/>
                <a:gd name="T34" fmla="*/ 167 w 898"/>
                <a:gd name="T35" fmla="*/ 1167 h 1185"/>
                <a:gd name="T36" fmla="*/ 0 w 898"/>
                <a:gd name="T37" fmla="*/ 1167 h 1185"/>
                <a:gd name="T38" fmla="*/ 0 w 898"/>
                <a:gd name="T39" fmla="*/ 0 h 1185"/>
                <a:gd name="T40" fmla="*/ 175 w 898"/>
                <a:gd name="T41" fmla="*/ 0 h 1185"/>
                <a:gd name="T42" fmla="*/ 456 w 898"/>
                <a:gd name="T43" fmla="*/ 486 h 1185"/>
                <a:gd name="T44" fmla="*/ 456 w 898"/>
                <a:gd name="T45" fmla="*/ 486 h 1185"/>
                <a:gd name="T46" fmla="*/ 353 w 898"/>
                <a:gd name="T47" fmla="*/ 506 h 1185"/>
                <a:gd name="T48" fmla="*/ 267 w 898"/>
                <a:gd name="T49" fmla="*/ 559 h 1185"/>
                <a:gd name="T50" fmla="*/ 208 w 898"/>
                <a:gd name="T51" fmla="*/ 645 h 1185"/>
                <a:gd name="T52" fmla="*/ 186 w 898"/>
                <a:gd name="T53" fmla="*/ 753 h 1185"/>
                <a:gd name="T54" fmla="*/ 208 w 898"/>
                <a:gd name="T55" fmla="*/ 864 h 1185"/>
                <a:gd name="T56" fmla="*/ 267 w 898"/>
                <a:gd name="T57" fmla="*/ 950 h 1185"/>
                <a:gd name="T58" fmla="*/ 350 w 898"/>
                <a:gd name="T59" fmla="*/ 1003 h 1185"/>
                <a:gd name="T60" fmla="*/ 456 w 898"/>
                <a:gd name="T61" fmla="*/ 1023 h 1185"/>
                <a:gd name="T62" fmla="*/ 558 w 898"/>
                <a:gd name="T63" fmla="*/ 1006 h 1185"/>
                <a:gd name="T64" fmla="*/ 645 w 898"/>
                <a:gd name="T65" fmla="*/ 950 h 1185"/>
                <a:gd name="T66" fmla="*/ 700 w 898"/>
                <a:gd name="T67" fmla="*/ 867 h 1185"/>
                <a:gd name="T68" fmla="*/ 722 w 898"/>
                <a:gd name="T69" fmla="*/ 753 h 1185"/>
                <a:gd name="T70" fmla="*/ 700 w 898"/>
                <a:gd name="T71" fmla="*/ 639 h 1185"/>
                <a:gd name="T72" fmla="*/ 645 w 898"/>
                <a:gd name="T73" fmla="*/ 556 h 1185"/>
                <a:gd name="T74" fmla="*/ 558 w 898"/>
                <a:gd name="T75" fmla="*/ 503 h 1185"/>
                <a:gd name="T76" fmla="*/ 456 w 898"/>
                <a:gd name="T77" fmla="*/ 48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8" h="1185">
                  <a:moveTo>
                    <a:pt x="175" y="0"/>
                  </a:moveTo>
                  <a:lnTo>
                    <a:pt x="175" y="0"/>
                  </a:lnTo>
                  <a:cubicBezTo>
                    <a:pt x="175" y="472"/>
                    <a:pt x="175" y="472"/>
                    <a:pt x="175" y="472"/>
                  </a:cubicBezTo>
                  <a:cubicBezTo>
                    <a:pt x="189" y="448"/>
                    <a:pt x="208" y="425"/>
                    <a:pt x="231" y="409"/>
                  </a:cubicBezTo>
                  <a:cubicBezTo>
                    <a:pt x="253" y="389"/>
                    <a:pt x="278" y="373"/>
                    <a:pt x="306" y="361"/>
                  </a:cubicBezTo>
                  <a:cubicBezTo>
                    <a:pt x="334" y="350"/>
                    <a:pt x="361" y="339"/>
                    <a:pt x="389" y="334"/>
                  </a:cubicBezTo>
                  <a:cubicBezTo>
                    <a:pt x="417" y="328"/>
                    <a:pt x="445" y="325"/>
                    <a:pt x="472" y="325"/>
                  </a:cubicBezTo>
                  <a:cubicBezTo>
                    <a:pt x="531" y="325"/>
                    <a:pt x="589" y="334"/>
                    <a:pt x="639" y="353"/>
                  </a:cubicBezTo>
                  <a:cubicBezTo>
                    <a:pt x="692" y="370"/>
                    <a:pt x="739" y="397"/>
                    <a:pt x="775" y="434"/>
                  </a:cubicBezTo>
                  <a:cubicBezTo>
                    <a:pt x="814" y="470"/>
                    <a:pt x="845" y="514"/>
                    <a:pt x="867" y="570"/>
                  </a:cubicBezTo>
                  <a:cubicBezTo>
                    <a:pt x="886" y="623"/>
                    <a:pt x="897" y="684"/>
                    <a:pt x="897" y="753"/>
                  </a:cubicBezTo>
                  <a:cubicBezTo>
                    <a:pt x="897" y="823"/>
                    <a:pt x="886" y="884"/>
                    <a:pt x="864" y="936"/>
                  </a:cubicBezTo>
                  <a:cubicBezTo>
                    <a:pt x="842" y="989"/>
                    <a:pt x="811" y="1036"/>
                    <a:pt x="775" y="1072"/>
                  </a:cubicBezTo>
                  <a:cubicBezTo>
                    <a:pt x="736" y="1109"/>
                    <a:pt x="692" y="1136"/>
                    <a:pt x="639" y="1156"/>
                  </a:cubicBezTo>
                  <a:cubicBezTo>
                    <a:pt x="586" y="1175"/>
                    <a:pt x="531" y="1184"/>
                    <a:pt x="467" y="1184"/>
                  </a:cubicBezTo>
                  <a:cubicBezTo>
                    <a:pt x="411" y="1184"/>
                    <a:pt x="356" y="1172"/>
                    <a:pt x="303" y="1150"/>
                  </a:cubicBezTo>
                  <a:cubicBezTo>
                    <a:pt x="253" y="1128"/>
                    <a:pt x="208" y="1089"/>
                    <a:pt x="175" y="1036"/>
                  </a:cubicBezTo>
                  <a:cubicBezTo>
                    <a:pt x="167" y="1167"/>
                    <a:pt x="167" y="1167"/>
                    <a:pt x="167" y="1167"/>
                  </a:cubicBezTo>
                  <a:cubicBezTo>
                    <a:pt x="0" y="1167"/>
                    <a:pt x="0" y="1167"/>
                    <a:pt x="0" y="1167"/>
                  </a:cubicBezTo>
                  <a:cubicBezTo>
                    <a:pt x="0" y="0"/>
                    <a:pt x="0" y="0"/>
                    <a:pt x="0" y="0"/>
                  </a:cubicBezTo>
                  <a:lnTo>
                    <a:pt x="175" y="0"/>
                  </a:lnTo>
                  <a:close/>
                  <a:moveTo>
                    <a:pt x="456" y="486"/>
                  </a:moveTo>
                  <a:lnTo>
                    <a:pt x="456" y="486"/>
                  </a:lnTo>
                  <a:cubicBezTo>
                    <a:pt x="420" y="486"/>
                    <a:pt x="383" y="492"/>
                    <a:pt x="353" y="506"/>
                  </a:cubicBezTo>
                  <a:cubicBezTo>
                    <a:pt x="320" y="517"/>
                    <a:pt x="289" y="536"/>
                    <a:pt x="267" y="559"/>
                  </a:cubicBezTo>
                  <a:cubicBezTo>
                    <a:pt x="242" y="584"/>
                    <a:pt x="222" y="611"/>
                    <a:pt x="208" y="645"/>
                  </a:cubicBezTo>
                  <a:cubicBezTo>
                    <a:pt x="195" y="678"/>
                    <a:pt x="186" y="714"/>
                    <a:pt x="186" y="753"/>
                  </a:cubicBezTo>
                  <a:cubicBezTo>
                    <a:pt x="186" y="795"/>
                    <a:pt x="195" y="831"/>
                    <a:pt x="208" y="864"/>
                  </a:cubicBezTo>
                  <a:cubicBezTo>
                    <a:pt x="222" y="897"/>
                    <a:pt x="242" y="925"/>
                    <a:pt x="267" y="950"/>
                  </a:cubicBezTo>
                  <a:cubicBezTo>
                    <a:pt x="289" y="972"/>
                    <a:pt x="320" y="992"/>
                    <a:pt x="350" y="1003"/>
                  </a:cubicBezTo>
                  <a:cubicBezTo>
                    <a:pt x="383" y="1017"/>
                    <a:pt x="420" y="1023"/>
                    <a:pt x="456" y="1023"/>
                  </a:cubicBezTo>
                  <a:cubicBezTo>
                    <a:pt x="492" y="1023"/>
                    <a:pt x="528" y="1017"/>
                    <a:pt x="558" y="1006"/>
                  </a:cubicBezTo>
                  <a:cubicBezTo>
                    <a:pt x="592" y="992"/>
                    <a:pt x="620" y="975"/>
                    <a:pt x="645" y="950"/>
                  </a:cubicBezTo>
                  <a:cubicBezTo>
                    <a:pt x="667" y="928"/>
                    <a:pt x="686" y="900"/>
                    <a:pt x="700" y="867"/>
                  </a:cubicBezTo>
                  <a:cubicBezTo>
                    <a:pt x="714" y="834"/>
                    <a:pt x="722" y="795"/>
                    <a:pt x="722" y="753"/>
                  </a:cubicBezTo>
                  <a:cubicBezTo>
                    <a:pt x="722" y="711"/>
                    <a:pt x="714" y="672"/>
                    <a:pt x="700" y="639"/>
                  </a:cubicBezTo>
                  <a:cubicBezTo>
                    <a:pt x="686" y="609"/>
                    <a:pt x="667" y="581"/>
                    <a:pt x="645" y="556"/>
                  </a:cubicBezTo>
                  <a:cubicBezTo>
                    <a:pt x="620" y="534"/>
                    <a:pt x="592" y="517"/>
                    <a:pt x="558" y="503"/>
                  </a:cubicBezTo>
                  <a:cubicBezTo>
                    <a:pt x="528" y="492"/>
                    <a:pt x="492" y="486"/>
                    <a:pt x="456" y="486"/>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7" name="Freeform 34">
              <a:extLst>
                <a:ext uri="{FF2B5EF4-FFF2-40B4-BE49-F238E27FC236}">
                  <a16:creationId xmlns:a16="http://schemas.microsoft.com/office/drawing/2014/main" id="{BE3E163F-70AE-E74D-B024-B0870A96A1DB}"/>
                </a:ext>
              </a:extLst>
            </p:cNvPr>
            <p:cNvSpPr>
              <a:spLocks noChangeArrowheads="1"/>
            </p:cNvSpPr>
            <p:nvPr userDrawn="1"/>
          </p:nvSpPr>
          <p:spPr bwMode="auto">
            <a:xfrm>
              <a:off x="7804150" y="3743325"/>
              <a:ext cx="315913"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5 w 876"/>
                <a:gd name="T11" fmla="*/ 680 h 864"/>
                <a:gd name="T12" fmla="*/ 703 w 876"/>
                <a:gd name="T13" fmla="*/ 616 h 864"/>
                <a:gd name="T14" fmla="*/ 817 w 876"/>
                <a:gd name="T15" fmla="*/ 724 h 864"/>
                <a:gd name="T16" fmla="*/ 742 w 876"/>
                <a:gd name="T17" fmla="*/ 786 h 864"/>
                <a:gd name="T18" fmla="*/ 653 w 876"/>
                <a:gd name="T19" fmla="*/ 830 h 864"/>
                <a:gd name="T20" fmla="*/ 556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5 w 876"/>
                <a:gd name="T35" fmla="*/ 119 h 864"/>
                <a:gd name="T36" fmla="*/ 264 w 876"/>
                <a:gd name="T37" fmla="*/ 30 h 864"/>
                <a:gd name="T38" fmla="*/ 445 w 876"/>
                <a:gd name="T39" fmla="*/ 0 h 864"/>
                <a:gd name="T40" fmla="*/ 628 w 876"/>
                <a:gd name="T41" fmla="*/ 30 h 864"/>
                <a:gd name="T42" fmla="*/ 770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3 w 876"/>
                <a:gd name="T55" fmla="*/ 202 h 864"/>
                <a:gd name="T56" fmla="*/ 450 w 876"/>
                <a:gd name="T57" fmla="*/ 152 h 864"/>
                <a:gd name="T58" fmla="*/ 281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20" y="686"/>
                    <a:pt x="381" y="705"/>
                    <a:pt x="459" y="705"/>
                  </a:cubicBezTo>
                  <a:cubicBezTo>
                    <a:pt x="503" y="705"/>
                    <a:pt x="548" y="697"/>
                    <a:pt x="595" y="680"/>
                  </a:cubicBezTo>
                  <a:cubicBezTo>
                    <a:pt x="642" y="666"/>
                    <a:pt x="678" y="644"/>
                    <a:pt x="703" y="616"/>
                  </a:cubicBezTo>
                  <a:cubicBezTo>
                    <a:pt x="817" y="724"/>
                    <a:pt x="817" y="724"/>
                    <a:pt x="817" y="724"/>
                  </a:cubicBezTo>
                  <a:cubicBezTo>
                    <a:pt x="798" y="747"/>
                    <a:pt x="770" y="769"/>
                    <a:pt x="742" y="786"/>
                  </a:cubicBezTo>
                  <a:cubicBezTo>
                    <a:pt x="714" y="802"/>
                    <a:pt x="684" y="819"/>
                    <a:pt x="653" y="830"/>
                  </a:cubicBezTo>
                  <a:cubicBezTo>
                    <a:pt x="623" y="841"/>
                    <a:pt x="589" y="849"/>
                    <a:pt x="556" y="855"/>
                  </a:cubicBezTo>
                  <a:cubicBezTo>
                    <a:pt x="520" y="861"/>
                    <a:pt x="486" y="863"/>
                    <a:pt x="456" y="863"/>
                  </a:cubicBezTo>
                  <a:cubicBezTo>
                    <a:pt x="386" y="863"/>
                    <a:pt x="323" y="855"/>
                    <a:pt x="267" y="833"/>
                  </a:cubicBezTo>
                  <a:cubicBezTo>
                    <a:pt x="212" y="813"/>
                    <a:pt x="164" y="783"/>
                    <a:pt x="125" y="747"/>
                  </a:cubicBezTo>
                  <a:cubicBezTo>
                    <a:pt x="86" y="708"/>
                    <a:pt x="56" y="661"/>
                    <a:pt x="34" y="608"/>
                  </a:cubicBezTo>
                  <a:cubicBezTo>
                    <a:pt x="12" y="552"/>
                    <a:pt x="0" y="494"/>
                    <a:pt x="0" y="427"/>
                  </a:cubicBezTo>
                  <a:cubicBezTo>
                    <a:pt x="0" y="366"/>
                    <a:pt x="12" y="308"/>
                    <a:pt x="34" y="255"/>
                  </a:cubicBezTo>
                  <a:cubicBezTo>
                    <a:pt x="56" y="202"/>
                    <a:pt x="86" y="158"/>
                    <a:pt x="125" y="119"/>
                  </a:cubicBezTo>
                  <a:cubicBezTo>
                    <a:pt x="164" y="80"/>
                    <a:pt x="209" y="52"/>
                    <a:pt x="264" y="30"/>
                  </a:cubicBezTo>
                  <a:cubicBezTo>
                    <a:pt x="317" y="8"/>
                    <a:pt x="378" y="0"/>
                    <a:pt x="445" y="0"/>
                  </a:cubicBezTo>
                  <a:cubicBezTo>
                    <a:pt x="511" y="0"/>
                    <a:pt x="573" y="8"/>
                    <a:pt x="628" y="30"/>
                  </a:cubicBezTo>
                  <a:cubicBezTo>
                    <a:pt x="684" y="50"/>
                    <a:pt x="731" y="80"/>
                    <a:pt x="770" y="122"/>
                  </a:cubicBezTo>
                  <a:cubicBezTo>
                    <a:pt x="809" y="163"/>
                    <a:pt x="836" y="216"/>
                    <a:pt x="853" y="277"/>
                  </a:cubicBezTo>
                  <a:cubicBezTo>
                    <a:pt x="870" y="341"/>
                    <a:pt x="875" y="413"/>
                    <a:pt x="867" y="497"/>
                  </a:cubicBezTo>
                  <a:lnTo>
                    <a:pt x="186" y="352"/>
                  </a:lnTo>
                  <a:lnTo>
                    <a:pt x="186" y="352"/>
                  </a:lnTo>
                  <a:cubicBezTo>
                    <a:pt x="698" y="352"/>
                    <a:pt x="698" y="352"/>
                    <a:pt x="698" y="352"/>
                  </a:cubicBezTo>
                  <a:cubicBezTo>
                    <a:pt x="692" y="286"/>
                    <a:pt x="667" y="236"/>
                    <a:pt x="623" y="202"/>
                  </a:cubicBezTo>
                  <a:cubicBezTo>
                    <a:pt x="578" y="169"/>
                    <a:pt x="520" y="152"/>
                    <a:pt x="450" y="152"/>
                  </a:cubicBezTo>
                  <a:cubicBezTo>
                    <a:pt x="384" y="152"/>
                    <a:pt x="328" y="169"/>
                    <a:pt x="281"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8" name="Freeform 36">
              <a:extLst>
                <a:ext uri="{FF2B5EF4-FFF2-40B4-BE49-F238E27FC236}">
                  <a16:creationId xmlns:a16="http://schemas.microsoft.com/office/drawing/2014/main" id="{F6A2A127-8E2A-BB46-88AE-E6004D55B654}"/>
                </a:ext>
              </a:extLst>
            </p:cNvPr>
            <p:cNvSpPr>
              <a:spLocks noChangeArrowheads="1"/>
            </p:cNvSpPr>
            <p:nvPr userDrawn="1"/>
          </p:nvSpPr>
          <p:spPr bwMode="auto">
            <a:xfrm>
              <a:off x="6570663" y="3024188"/>
              <a:ext cx="77787" cy="76200"/>
            </a:xfrm>
            <a:custGeom>
              <a:avLst/>
              <a:gdLst>
                <a:gd name="T0" fmla="*/ 0 w 218"/>
                <a:gd name="T1" fmla="*/ 106 h 213"/>
                <a:gd name="T2" fmla="*/ 0 w 218"/>
                <a:gd name="T3" fmla="*/ 106 h 213"/>
                <a:gd name="T4" fmla="*/ 33 w 218"/>
                <a:gd name="T5" fmla="*/ 25 h 213"/>
                <a:gd name="T6" fmla="*/ 108 w 218"/>
                <a:gd name="T7" fmla="*/ 0 h 213"/>
                <a:gd name="T8" fmla="*/ 183 w 218"/>
                <a:gd name="T9" fmla="*/ 25 h 213"/>
                <a:gd name="T10" fmla="*/ 217 w 218"/>
                <a:gd name="T11" fmla="*/ 106 h 213"/>
                <a:gd name="T12" fmla="*/ 183 w 218"/>
                <a:gd name="T13" fmla="*/ 184 h 213"/>
                <a:gd name="T14" fmla="*/ 108 w 218"/>
                <a:gd name="T15" fmla="*/ 212 h 213"/>
                <a:gd name="T16" fmla="*/ 33 w 218"/>
                <a:gd name="T17" fmla="*/ 184 h 213"/>
                <a:gd name="T18" fmla="*/ 0 w 218"/>
                <a:gd name="T19" fmla="*/ 10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3">
                  <a:moveTo>
                    <a:pt x="0" y="106"/>
                  </a:moveTo>
                  <a:lnTo>
                    <a:pt x="0" y="106"/>
                  </a:lnTo>
                  <a:cubicBezTo>
                    <a:pt x="0" y="70"/>
                    <a:pt x="11" y="42"/>
                    <a:pt x="33" y="25"/>
                  </a:cubicBezTo>
                  <a:cubicBezTo>
                    <a:pt x="56" y="9"/>
                    <a:pt x="80" y="0"/>
                    <a:pt x="108" y="0"/>
                  </a:cubicBezTo>
                  <a:cubicBezTo>
                    <a:pt x="136" y="0"/>
                    <a:pt x="161" y="9"/>
                    <a:pt x="183" y="25"/>
                  </a:cubicBezTo>
                  <a:cubicBezTo>
                    <a:pt x="206" y="42"/>
                    <a:pt x="217" y="70"/>
                    <a:pt x="217" y="106"/>
                  </a:cubicBezTo>
                  <a:cubicBezTo>
                    <a:pt x="217" y="139"/>
                    <a:pt x="206" y="167"/>
                    <a:pt x="183" y="184"/>
                  </a:cubicBezTo>
                  <a:cubicBezTo>
                    <a:pt x="161" y="203"/>
                    <a:pt x="136" y="212"/>
                    <a:pt x="108" y="212"/>
                  </a:cubicBezTo>
                  <a:cubicBezTo>
                    <a:pt x="80" y="212"/>
                    <a:pt x="56" y="203"/>
                    <a:pt x="33" y="184"/>
                  </a:cubicBezTo>
                  <a:cubicBezTo>
                    <a:pt x="11" y="167"/>
                    <a:pt x="0" y="139"/>
                    <a:pt x="0" y="106"/>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9" name="Freeform 37">
              <a:extLst>
                <a:ext uri="{FF2B5EF4-FFF2-40B4-BE49-F238E27FC236}">
                  <a16:creationId xmlns:a16="http://schemas.microsoft.com/office/drawing/2014/main" id="{71668889-0017-5F49-ADFA-A54F1110F4DF}"/>
                </a:ext>
              </a:extLst>
            </p:cNvPr>
            <p:cNvSpPr>
              <a:spLocks noChangeArrowheads="1"/>
            </p:cNvSpPr>
            <p:nvPr userDrawn="1"/>
          </p:nvSpPr>
          <p:spPr bwMode="auto">
            <a:xfrm>
              <a:off x="2690813" y="3625850"/>
              <a:ext cx="79375" cy="77788"/>
            </a:xfrm>
            <a:custGeom>
              <a:avLst/>
              <a:gdLst>
                <a:gd name="T0" fmla="*/ 0 w 221"/>
                <a:gd name="T1" fmla="*/ 105 h 215"/>
                <a:gd name="T2" fmla="*/ 0 w 221"/>
                <a:gd name="T3" fmla="*/ 105 h 215"/>
                <a:gd name="T4" fmla="*/ 34 w 221"/>
                <a:gd name="T5" fmla="*/ 28 h 215"/>
                <a:gd name="T6" fmla="*/ 111 w 221"/>
                <a:gd name="T7" fmla="*/ 0 h 215"/>
                <a:gd name="T8" fmla="*/ 186 w 221"/>
                <a:gd name="T9" fmla="*/ 28 h 215"/>
                <a:gd name="T10" fmla="*/ 220 w 221"/>
                <a:gd name="T11" fmla="*/ 105 h 215"/>
                <a:gd name="T12" fmla="*/ 186 w 221"/>
                <a:gd name="T13" fmla="*/ 186 h 215"/>
                <a:gd name="T14" fmla="*/ 111 w 221"/>
                <a:gd name="T15" fmla="*/ 214 h 215"/>
                <a:gd name="T16" fmla="*/ 34 w 221"/>
                <a:gd name="T17" fmla="*/ 186 h 215"/>
                <a:gd name="T18" fmla="*/ 0 w 221"/>
                <a:gd name="T19" fmla="*/ 10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215">
                  <a:moveTo>
                    <a:pt x="0" y="105"/>
                  </a:moveTo>
                  <a:lnTo>
                    <a:pt x="0" y="105"/>
                  </a:lnTo>
                  <a:cubicBezTo>
                    <a:pt x="0" y="69"/>
                    <a:pt x="11" y="44"/>
                    <a:pt x="34" y="28"/>
                  </a:cubicBezTo>
                  <a:cubicBezTo>
                    <a:pt x="59" y="8"/>
                    <a:pt x="84" y="0"/>
                    <a:pt x="111" y="0"/>
                  </a:cubicBezTo>
                  <a:cubicBezTo>
                    <a:pt x="136" y="0"/>
                    <a:pt x="161" y="8"/>
                    <a:pt x="186" y="28"/>
                  </a:cubicBezTo>
                  <a:cubicBezTo>
                    <a:pt x="209" y="44"/>
                    <a:pt x="220" y="69"/>
                    <a:pt x="220" y="105"/>
                  </a:cubicBezTo>
                  <a:cubicBezTo>
                    <a:pt x="220" y="141"/>
                    <a:pt x="209" y="169"/>
                    <a:pt x="186" y="186"/>
                  </a:cubicBezTo>
                  <a:cubicBezTo>
                    <a:pt x="161" y="202"/>
                    <a:pt x="136" y="214"/>
                    <a:pt x="111" y="214"/>
                  </a:cubicBezTo>
                  <a:cubicBezTo>
                    <a:pt x="84" y="214"/>
                    <a:pt x="59" y="202"/>
                    <a:pt x="34" y="186"/>
                  </a:cubicBezTo>
                  <a:cubicBezTo>
                    <a:pt x="11" y="169"/>
                    <a:pt x="0" y="141"/>
                    <a:pt x="0" y="105"/>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
        <p:nvSpPr>
          <p:cNvPr id="53" name="Freeform 1">
            <a:extLst>
              <a:ext uri="{FF2B5EF4-FFF2-40B4-BE49-F238E27FC236}">
                <a16:creationId xmlns:a16="http://schemas.microsoft.com/office/drawing/2014/main" id="{CD176246-222A-A84B-BE67-B1217F40D35A}"/>
              </a:ext>
            </a:extLst>
          </p:cNvPr>
          <p:cNvSpPr>
            <a:spLocks noChangeArrowheads="1"/>
          </p:cNvSpPr>
          <p:nvPr/>
        </p:nvSpPr>
        <p:spPr bwMode="auto">
          <a:xfrm>
            <a:off x="6717187" y="428048"/>
            <a:ext cx="1995013" cy="1911515"/>
          </a:xfrm>
          <a:custGeom>
            <a:avLst/>
            <a:gdLst>
              <a:gd name="T0" fmla="*/ 0 w 9182"/>
              <a:gd name="T1" fmla="*/ 0 h 8794"/>
              <a:gd name="T2" fmla="*/ 0 w 9182"/>
              <a:gd name="T3" fmla="*/ 1368563 h 8794"/>
              <a:gd name="T4" fmla="*/ 1796572 w 9182"/>
              <a:gd name="T5" fmla="*/ 1368563 h 8794"/>
              <a:gd name="T6" fmla="*/ 1796572 w 9182"/>
              <a:gd name="T7" fmla="*/ 3165116 h 8794"/>
              <a:gd name="T8" fmla="*/ 3304815 w 9182"/>
              <a:gd name="T9" fmla="*/ 3165116 h 8794"/>
              <a:gd name="T10" fmla="*/ 3304815 w 9182"/>
              <a:gd name="T11" fmla="*/ 0 h 8794"/>
              <a:gd name="T12" fmla="*/ 0 w 9182"/>
              <a:gd name="T13" fmla="*/ 0 h 87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182" h="8794">
                <a:moveTo>
                  <a:pt x="0" y="0"/>
                </a:moveTo>
                <a:lnTo>
                  <a:pt x="0" y="3802"/>
                </a:lnTo>
                <a:lnTo>
                  <a:pt x="4991" y="3802"/>
                </a:lnTo>
                <a:lnTo>
                  <a:pt x="4991" y="8793"/>
                </a:lnTo>
                <a:lnTo>
                  <a:pt x="9181" y="8793"/>
                </a:lnTo>
                <a:lnTo>
                  <a:pt x="9181"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4" name="Freeform 2">
            <a:extLst>
              <a:ext uri="{FF2B5EF4-FFF2-40B4-BE49-F238E27FC236}">
                <a16:creationId xmlns:a16="http://schemas.microsoft.com/office/drawing/2014/main" id="{5CE06423-3EAE-214C-BF22-4AB459871883}"/>
              </a:ext>
            </a:extLst>
          </p:cNvPr>
          <p:cNvSpPr>
            <a:spLocks noChangeArrowheads="1"/>
          </p:cNvSpPr>
          <p:nvPr/>
        </p:nvSpPr>
        <p:spPr bwMode="auto">
          <a:xfrm>
            <a:off x="4724829" y="3186378"/>
            <a:ext cx="3904745" cy="3823029"/>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5" name="Rectangle 54">
            <a:extLst>
              <a:ext uri="{FF2B5EF4-FFF2-40B4-BE49-F238E27FC236}">
                <a16:creationId xmlns:a16="http://schemas.microsoft.com/office/drawing/2014/main" id="{ACAC6EF0-DA8B-4F4C-AFE9-61F72A9663B7}"/>
              </a:ext>
            </a:extLst>
          </p:cNvPr>
          <p:cNvSpPr/>
          <p:nvPr userDrawn="1"/>
        </p:nvSpPr>
        <p:spPr>
          <a:xfrm>
            <a:off x="0" y="1347788"/>
            <a:ext cx="3455989" cy="37957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8" name="TextBox 57">
            <a:extLst>
              <a:ext uri="{FF2B5EF4-FFF2-40B4-BE49-F238E27FC236}">
                <a16:creationId xmlns:a16="http://schemas.microsoft.com/office/drawing/2014/main" id="{2D7B7D32-96D6-494C-BB98-9833A5306838}"/>
              </a:ext>
            </a:extLst>
          </p:cNvPr>
          <p:cNvSpPr txBox="1"/>
          <p:nvPr userDrawn="1"/>
        </p:nvSpPr>
        <p:spPr>
          <a:xfrm>
            <a:off x="0" y="1986952"/>
            <a:ext cx="3455988" cy="2534787"/>
          </a:xfrm>
          <a:prstGeom prst="rect">
            <a:avLst/>
          </a:prstGeom>
        </p:spPr>
        <p:txBody>
          <a:bodyPr wrap="square" lIns="432000" tIns="0" rIns="360000" bIns="72000" rtlCol="0">
            <a:spAutoFit/>
          </a:bodyPr>
          <a:lstStyle/>
          <a:p>
            <a:pPr marL="0" marR="0" lvl="0" indent="0" algn="l" defTabSz="685800" rtl="0" eaLnBrk="1" fontAlgn="auto" latinLnBrk="0" hangingPunct="1">
              <a:lnSpc>
                <a:spcPct val="120000"/>
              </a:lnSpc>
              <a:spcBef>
                <a:spcPts val="60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mn-lt"/>
                <a:ea typeface="+mn-ea"/>
                <a:cs typeface="+mn-cs"/>
              </a:rPr>
              <a:t>Odigo helps big organizations connect with individuals through world-class, cloud-based contact center solutions. Our cutting-edge, proprietary technologies enable a seamless, efficient, omnichannel experience for your customers and a satisfying, engaging experience for your service agents.</a:t>
            </a:r>
          </a:p>
          <a:p>
            <a:pPr marL="0" marR="0" lvl="0" indent="0" algn="l" defTabSz="685800" rtl="0" eaLnBrk="1" fontAlgn="auto" latinLnBrk="0" hangingPunct="1">
              <a:lnSpc>
                <a:spcPct val="120000"/>
              </a:lnSpc>
              <a:spcBef>
                <a:spcPts val="60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mn-lt"/>
                <a:ea typeface="+mn-ea"/>
                <a:cs typeface="+mn-cs"/>
              </a:rPr>
              <a:t>Odigo serves more than 400,000 agents and business users globally. With a 25-year history of industry firsts, Odigo has more than 350 clients around the world.</a:t>
            </a:r>
          </a:p>
          <a:p>
            <a:pPr marL="0" marR="0" lvl="0" indent="0" algn="l" defTabSz="685800" rtl="0" eaLnBrk="1" fontAlgn="auto" latinLnBrk="0" hangingPunct="1">
              <a:lnSpc>
                <a:spcPct val="120000"/>
              </a:lnSpc>
              <a:spcBef>
                <a:spcPts val="60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mn-lt"/>
                <a:ea typeface="+mn-ea"/>
                <a:cs typeface="+mn-cs"/>
              </a:rPr>
              <a:t>Odigo is a Capgemini brand, which means we benefit from the scale and expertise of one of the world’s foremost providers of consulting, technology services and digital transformation.</a:t>
            </a:r>
          </a:p>
          <a:p>
            <a:pPr marL="0" marR="0" lvl="0" indent="0" algn="l" defTabSz="685800" rtl="0" eaLnBrk="1" fontAlgn="auto" latinLnBrk="0" hangingPunct="1">
              <a:lnSpc>
                <a:spcPct val="120000"/>
              </a:lnSpc>
              <a:spcBef>
                <a:spcPts val="60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mn-lt"/>
                <a:ea typeface="+mn-ea"/>
                <a:cs typeface="+mn-cs"/>
              </a:rPr>
              <a:t>Visit us at</a:t>
            </a:r>
          </a:p>
          <a:p>
            <a:pPr marL="0" marR="0" lvl="0" indent="0" algn="l" defTabSz="685800" rtl="0" eaLnBrk="1" fontAlgn="auto" latinLnBrk="0" hangingPunct="1">
              <a:lnSpc>
                <a:spcPct val="120000"/>
              </a:lnSpc>
              <a:spcBef>
                <a:spcPts val="150"/>
              </a:spcBef>
              <a:spcAft>
                <a:spcPts val="0"/>
              </a:spcAft>
              <a:buClrTx/>
              <a:buSzTx/>
              <a:buFontTx/>
              <a:buNone/>
              <a:tabLst/>
              <a:defRPr/>
            </a:pPr>
            <a:r>
              <a:rPr kumimoji="0" lang="en-US" sz="1000" b="0" i="0" u="none" strike="noStrike" kern="1200" cap="none" spc="0" normalizeH="0" baseline="0" noProof="0">
                <a:ln>
                  <a:noFill/>
                </a:ln>
                <a:solidFill>
                  <a:srgbClr val="FF3466"/>
                </a:solidFill>
                <a:effectLst/>
                <a:uLnTx/>
                <a:uFillTx/>
                <a:latin typeface="+mn-lt"/>
                <a:ea typeface="+mn-ea"/>
                <a:cs typeface="+mn-cs"/>
                <a:hlinkClick r:id="rId2">
                  <a:extLst>
                    <a:ext uri="{A12FA001-AC4F-418D-AE19-62706E023703}">
                      <ahyp:hlinkClr xmlns:ahyp="http://schemas.microsoft.com/office/drawing/2018/hyperlinkcolor" val="tx"/>
                    </a:ext>
                  </a:extLst>
                </a:hlinkClick>
              </a:rPr>
              <a:t>www.odigo.com</a:t>
            </a:r>
            <a:endParaRPr kumimoji="0" lang="en-US" sz="1000" b="0" i="0" u="none" strike="noStrike" kern="1200" cap="none" spc="0" normalizeH="0" baseline="0" noProof="0">
              <a:ln>
                <a:noFill/>
              </a:ln>
              <a:solidFill>
                <a:srgbClr val="FF3466"/>
              </a:solidFill>
              <a:effectLst/>
              <a:uLnTx/>
              <a:uFillTx/>
              <a:latin typeface="+mn-lt"/>
              <a:ea typeface="+mn-ea"/>
              <a:cs typeface="+mn-cs"/>
            </a:endParaRPr>
          </a:p>
        </p:txBody>
      </p:sp>
      <p:sp>
        <p:nvSpPr>
          <p:cNvPr id="60" name="Footer Placeholder 13">
            <a:extLst>
              <a:ext uri="{FF2B5EF4-FFF2-40B4-BE49-F238E27FC236}">
                <a16:creationId xmlns:a16="http://schemas.microsoft.com/office/drawing/2014/main" id="{C6375F62-BFE9-DB4E-B7AB-659ADD0EDF00}"/>
              </a:ext>
            </a:extLst>
          </p:cNvPr>
          <p:cNvSpPr txBox="1">
            <a:spLocks/>
          </p:cNvSpPr>
          <p:nvPr userDrawn="1"/>
        </p:nvSpPr>
        <p:spPr>
          <a:xfrm>
            <a:off x="10090" y="4581322"/>
            <a:ext cx="3461514" cy="552430"/>
          </a:xfrm>
          <a:prstGeom prst="rect">
            <a:avLst/>
          </a:prstGeom>
        </p:spPr>
        <p:txBody>
          <a:bodyPr vert="horz" wrap="none" lIns="432000" tIns="0" rIns="0" bIns="180000" anchor="b" anchorCtr="0">
            <a:noAutofit/>
          </a:bodyPr>
          <a:lstStyle>
            <a:defPPr>
              <a:defRPr lang="pt-PT"/>
            </a:defPPr>
            <a:lvl1pPr marL="0" algn="l" defTabSz="685800" rtl="0" eaLnBrk="1" latinLnBrk="0" hangingPunct="1">
              <a:defRPr lang="pl-PL" sz="600" kern="1200" dirty="0">
                <a:solidFill>
                  <a:schemeClr val="accent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450"/>
              </a:spcAft>
            </a:pPr>
            <a:r>
              <a:rPr lang="en-US" sz="600" noProof="0">
                <a:solidFill>
                  <a:schemeClr val="bg1"/>
                </a:solidFill>
                <a:latin typeface="+mn-lt"/>
                <a:cs typeface="Arial"/>
              </a:rPr>
              <a:t>This message contains information that may be privileged</a:t>
            </a:r>
            <a:br>
              <a:rPr lang="en-US" sz="600" noProof="0">
                <a:solidFill>
                  <a:schemeClr val="bg1"/>
                </a:solidFill>
                <a:latin typeface="+mn-lt"/>
                <a:cs typeface="Arial"/>
              </a:rPr>
            </a:br>
            <a:r>
              <a:rPr lang="en-US" sz="600" noProof="0">
                <a:solidFill>
                  <a:schemeClr val="bg1"/>
                </a:solidFill>
                <a:latin typeface="+mn-lt"/>
                <a:cs typeface="Arial"/>
              </a:rPr>
              <a:t>or confidential and is the property of the Odigo.</a:t>
            </a:r>
            <a:br>
              <a:rPr lang="en-US" sz="600" noProof="0">
                <a:solidFill>
                  <a:schemeClr val="bg1"/>
                </a:solidFill>
                <a:latin typeface="+mn-lt"/>
                <a:cs typeface="Arial"/>
              </a:rPr>
            </a:br>
            <a:r>
              <a:rPr lang="en-US" sz="600" noProof="0">
                <a:solidFill>
                  <a:schemeClr val="bg1"/>
                </a:solidFill>
                <a:latin typeface="+mn-lt"/>
                <a:cs typeface="Arial"/>
              </a:rPr>
              <a:t>Copyright © 2018 Odigo. All rights reserved.</a:t>
            </a:r>
          </a:p>
        </p:txBody>
      </p:sp>
      <p:sp>
        <p:nvSpPr>
          <p:cNvPr id="61" name="Title 1">
            <a:extLst>
              <a:ext uri="{FF2B5EF4-FFF2-40B4-BE49-F238E27FC236}">
                <a16:creationId xmlns:a16="http://schemas.microsoft.com/office/drawing/2014/main" id="{382C367C-80E9-0C44-8361-28CBE50C42B7}"/>
              </a:ext>
            </a:extLst>
          </p:cNvPr>
          <p:cNvSpPr txBox="1">
            <a:spLocks/>
          </p:cNvSpPr>
          <p:nvPr userDrawn="1"/>
        </p:nvSpPr>
        <p:spPr>
          <a:xfrm>
            <a:off x="3473930" y="1491075"/>
            <a:ext cx="1836885" cy="486930"/>
          </a:xfrm>
          <a:prstGeom prst="rect">
            <a:avLst/>
          </a:prstGeom>
        </p:spPr>
        <p:txBody>
          <a:bodyPr lIns="432000" tIns="180000" rIns="72000" bIns="0"/>
          <a:lstStyle>
            <a:lvl1pPr marL="0" marR="0" indent="0" algn="l" defTabSz="685800" rtl="0" eaLnBrk="1" fontAlgn="auto" latinLnBrk="0" hangingPunct="1">
              <a:lnSpc>
                <a:spcPct val="90000"/>
              </a:lnSpc>
              <a:spcBef>
                <a:spcPct val="0"/>
              </a:spcBef>
              <a:spcAft>
                <a:spcPts val="0"/>
              </a:spcAft>
              <a:buClrTx/>
              <a:buSzTx/>
              <a:buFontTx/>
              <a:buNone/>
              <a:tabLst/>
              <a:defRPr kumimoji="0" lang="pl-PL" sz="1200" b="0" i="0" u="none" strike="noStrike" kern="1200" cap="none" spc="0" normalizeH="0" baseline="0" noProof="0" smtClean="0">
                <a:ln>
                  <a:noFill/>
                </a:ln>
                <a:solidFill>
                  <a:schemeClr val="accent2"/>
                </a:solidFill>
                <a:effectLst/>
                <a:uLnTx/>
                <a:uFillTx/>
                <a:latin typeface="+mj-lt"/>
                <a:ea typeface="+mj-ea"/>
                <a:cs typeface="+mj-cs"/>
              </a:defRPr>
            </a:lvl1pPr>
          </a:lstStyle>
          <a:p>
            <a:r>
              <a:rPr lang="en-US" noProof="0"/>
              <a:t>Contact us</a:t>
            </a:r>
            <a:br>
              <a:rPr lang="en-US" noProof="0"/>
            </a:br>
            <a:endParaRPr lang="en-US" noProof="0"/>
          </a:p>
        </p:txBody>
      </p:sp>
      <p:sp>
        <p:nvSpPr>
          <p:cNvPr id="71" name="Title 1">
            <a:extLst>
              <a:ext uri="{FF2B5EF4-FFF2-40B4-BE49-F238E27FC236}">
                <a16:creationId xmlns:a16="http://schemas.microsoft.com/office/drawing/2014/main" id="{157E951B-0B21-604B-AAE6-EA08AC350E8B}"/>
              </a:ext>
            </a:extLst>
          </p:cNvPr>
          <p:cNvSpPr txBox="1">
            <a:spLocks/>
          </p:cNvSpPr>
          <p:nvPr userDrawn="1"/>
        </p:nvSpPr>
        <p:spPr>
          <a:xfrm>
            <a:off x="-1299" y="1491075"/>
            <a:ext cx="3455988" cy="486930"/>
          </a:xfrm>
          <a:prstGeom prst="rect">
            <a:avLst/>
          </a:prstGeom>
        </p:spPr>
        <p:txBody>
          <a:bodyPr lIns="432000" tIns="180000" rIns="72000" bIns="0"/>
          <a:lstStyle>
            <a:lvl1pPr marL="0" marR="0" indent="0" algn="l" defTabSz="685800" rtl="0" eaLnBrk="1" fontAlgn="auto" latinLnBrk="0" hangingPunct="1">
              <a:lnSpc>
                <a:spcPct val="90000"/>
              </a:lnSpc>
              <a:spcBef>
                <a:spcPct val="0"/>
              </a:spcBef>
              <a:spcAft>
                <a:spcPts val="0"/>
              </a:spcAft>
              <a:buClrTx/>
              <a:buSzTx/>
              <a:buFontTx/>
              <a:buNone/>
              <a:tabLst/>
              <a:defRPr kumimoji="0" lang="pl-PL" sz="1200" b="0" i="0" u="none" strike="noStrike" kern="1200" cap="none" spc="0" normalizeH="0" baseline="0" noProof="0" smtClean="0">
                <a:ln>
                  <a:noFill/>
                </a:ln>
                <a:solidFill>
                  <a:schemeClr val="accent2"/>
                </a:solidFill>
                <a:effectLst/>
                <a:uLnTx/>
                <a:uFillTx/>
                <a:latin typeface="+mj-lt"/>
                <a:ea typeface="+mj-ea"/>
                <a:cs typeface="+mj-cs"/>
              </a:defRPr>
            </a:lvl1pPr>
          </a:lstStyle>
          <a:p>
            <a:r>
              <a:rPr lang="en-US" noProof="0"/>
              <a:t>About Odigo</a:t>
            </a:r>
          </a:p>
        </p:txBody>
      </p:sp>
    </p:spTree>
    <p:extLst>
      <p:ext uri="{BB962C8B-B14F-4D97-AF65-F5344CB8AC3E}">
        <p14:creationId xmlns:p14="http://schemas.microsoft.com/office/powerpoint/2010/main" val="417827964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Odigo-Content_Blank">
    <p:bg>
      <p:bgRef idx="1001">
        <a:schemeClr val="bg2"/>
      </p:bgRef>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57048AE-5A29-1C48-9464-DADD21F7E925}"/>
              </a:ext>
            </a:extLst>
          </p:cNvPr>
          <p:cNvGrpSpPr/>
          <p:nvPr userDrawn="1"/>
        </p:nvGrpSpPr>
        <p:grpSpPr>
          <a:xfrm>
            <a:off x="431799" y="428048"/>
            <a:ext cx="1336166" cy="539307"/>
            <a:chOff x="2286000" y="2193925"/>
            <a:chExt cx="6835775" cy="2759075"/>
          </a:xfrm>
          <a:solidFill>
            <a:schemeClr val="tx1"/>
          </a:solidFill>
        </p:grpSpPr>
        <p:sp>
          <p:nvSpPr>
            <p:cNvPr id="5" name="Freeform 1">
              <a:extLst>
                <a:ext uri="{FF2B5EF4-FFF2-40B4-BE49-F238E27FC236}">
                  <a16:creationId xmlns:a16="http://schemas.microsoft.com/office/drawing/2014/main" id="{8D07A38D-A753-0443-B6AA-63015C2B3BD7}"/>
                </a:ext>
              </a:extLst>
            </p:cNvPr>
            <p:cNvSpPr>
              <a:spLocks noChangeArrowheads="1"/>
            </p:cNvSpPr>
            <p:nvPr/>
          </p:nvSpPr>
          <p:spPr bwMode="auto">
            <a:xfrm>
              <a:off x="8378825" y="2471738"/>
              <a:ext cx="742950" cy="706437"/>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 name="Freeform 2">
              <a:extLst>
                <a:ext uri="{FF2B5EF4-FFF2-40B4-BE49-F238E27FC236}">
                  <a16:creationId xmlns:a16="http://schemas.microsoft.com/office/drawing/2014/main" id="{2A007321-8D64-1A4D-B846-723B3A6BE586}"/>
                </a:ext>
              </a:extLst>
            </p:cNvPr>
            <p:cNvSpPr>
              <a:spLocks noChangeArrowheads="1"/>
            </p:cNvSpPr>
            <p:nvPr/>
          </p:nvSpPr>
          <p:spPr bwMode="auto">
            <a:xfrm>
              <a:off x="5299075" y="2781300"/>
              <a:ext cx="333375" cy="1349375"/>
            </a:xfrm>
            <a:custGeom>
              <a:avLst/>
              <a:gdLst>
                <a:gd name="T0" fmla="*/ 0 w 927"/>
                <a:gd name="T1" fmla="*/ 3749 h 3750"/>
                <a:gd name="T2" fmla="*/ 926 w 927"/>
                <a:gd name="T3" fmla="*/ 3749 h 3750"/>
                <a:gd name="T4" fmla="*/ 926 w 927"/>
                <a:gd name="T5" fmla="*/ 0 h 3750"/>
                <a:gd name="T6" fmla="*/ 0 w 927"/>
                <a:gd name="T7" fmla="*/ 0 h 3750"/>
                <a:gd name="T8" fmla="*/ 0 w 927"/>
                <a:gd name="T9" fmla="*/ 3749 h 3750"/>
              </a:gdLst>
              <a:ahLst/>
              <a:cxnLst>
                <a:cxn ang="0">
                  <a:pos x="T0" y="T1"/>
                </a:cxn>
                <a:cxn ang="0">
                  <a:pos x="T2" y="T3"/>
                </a:cxn>
                <a:cxn ang="0">
                  <a:pos x="T4" y="T5"/>
                </a:cxn>
                <a:cxn ang="0">
                  <a:pos x="T6" y="T7"/>
                </a:cxn>
                <a:cxn ang="0">
                  <a:pos x="T8" y="T9"/>
                </a:cxn>
              </a:cxnLst>
              <a:rect l="0" t="0" r="r" b="b"/>
              <a:pathLst>
                <a:path w="927" h="3750">
                  <a:moveTo>
                    <a:pt x="0" y="3749"/>
                  </a:moveTo>
                  <a:lnTo>
                    <a:pt x="926" y="3749"/>
                  </a:lnTo>
                  <a:lnTo>
                    <a:pt x="926" y="0"/>
                  </a:lnTo>
                  <a:lnTo>
                    <a:pt x="0" y="0"/>
                  </a:lnTo>
                  <a:lnTo>
                    <a:pt x="0" y="374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 name="Freeform 3">
              <a:extLst>
                <a:ext uri="{FF2B5EF4-FFF2-40B4-BE49-F238E27FC236}">
                  <a16:creationId xmlns:a16="http://schemas.microsoft.com/office/drawing/2014/main" id="{97FBB182-0D5E-EC49-8F05-82CBA0087A02}"/>
                </a:ext>
              </a:extLst>
            </p:cNvPr>
            <p:cNvSpPr>
              <a:spLocks noChangeArrowheads="1"/>
            </p:cNvSpPr>
            <p:nvPr/>
          </p:nvSpPr>
          <p:spPr bwMode="auto">
            <a:xfrm>
              <a:off x="3781425" y="2193925"/>
              <a:ext cx="1206500" cy="1973263"/>
            </a:xfrm>
            <a:custGeom>
              <a:avLst/>
              <a:gdLst>
                <a:gd name="T0" fmla="*/ 2426 w 3353"/>
                <a:gd name="T1" fmla="*/ 1631 h 5480"/>
                <a:gd name="T2" fmla="*/ 2426 w 3353"/>
                <a:gd name="T3" fmla="*/ 1631 h 5480"/>
                <a:gd name="T4" fmla="*/ 2459 w 3353"/>
                <a:gd name="T5" fmla="*/ 1940 h 5480"/>
                <a:gd name="T6" fmla="*/ 1290 w 3353"/>
                <a:gd name="T7" fmla="*/ 1532 h 5480"/>
                <a:gd name="T8" fmla="*/ 0 w 3353"/>
                <a:gd name="T9" fmla="*/ 1995 h 5480"/>
                <a:gd name="T10" fmla="*/ 463 w 3353"/>
                <a:gd name="T11" fmla="*/ 2833 h 5480"/>
                <a:gd name="T12" fmla="*/ 1323 w 3353"/>
                <a:gd name="T13" fmla="*/ 2403 h 5480"/>
                <a:gd name="T14" fmla="*/ 2393 w 3353"/>
                <a:gd name="T15" fmla="*/ 3506 h 5480"/>
                <a:gd name="T16" fmla="*/ 1323 w 3353"/>
                <a:gd name="T17" fmla="*/ 4619 h 5480"/>
                <a:gd name="T18" fmla="*/ 485 w 3353"/>
                <a:gd name="T19" fmla="*/ 4178 h 5480"/>
                <a:gd name="T20" fmla="*/ 0 w 3353"/>
                <a:gd name="T21" fmla="*/ 5049 h 5480"/>
                <a:gd name="T22" fmla="*/ 1290 w 3353"/>
                <a:gd name="T23" fmla="*/ 5479 h 5480"/>
                <a:gd name="T24" fmla="*/ 2459 w 3353"/>
                <a:gd name="T25" fmla="*/ 5071 h 5480"/>
                <a:gd name="T26" fmla="*/ 2492 w 3353"/>
                <a:gd name="T27" fmla="*/ 5380 h 5480"/>
                <a:gd name="T28" fmla="*/ 3352 w 3353"/>
                <a:gd name="T29" fmla="*/ 5380 h 5480"/>
                <a:gd name="T30" fmla="*/ 3352 w 3353"/>
                <a:gd name="T31" fmla="*/ 0 h 5480"/>
                <a:gd name="T32" fmla="*/ 2426 w 3353"/>
                <a:gd name="T33" fmla="*/ 0 h 5480"/>
                <a:gd name="T34" fmla="*/ 2426 w 3353"/>
                <a:gd name="T35" fmla="*/ 1631 h 5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53" h="5480">
                  <a:moveTo>
                    <a:pt x="2426" y="1631"/>
                  </a:moveTo>
                  <a:lnTo>
                    <a:pt x="2426" y="1631"/>
                  </a:lnTo>
                  <a:cubicBezTo>
                    <a:pt x="2426" y="1819"/>
                    <a:pt x="2459" y="1940"/>
                    <a:pt x="2459" y="1940"/>
                  </a:cubicBezTo>
                  <a:cubicBezTo>
                    <a:pt x="2150" y="1720"/>
                    <a:pt x="1786" y="1532"/>
                    <a:pt x="1290" y="1532"/>
                  </a:cubicBezTo>
                  <a:cubicBezTo>
                    <a:pt x="794" y="1532"/>
                    <a:pt x="364" y="1720"/>
                    <a:pt x="0" y="1995"/>
                  </a:cubicBezTo>
                  <a:cubicBezTo>
                    <a:pt x="210" y="2249"/>
                    <a:pt x="364" y="2524"/>
                    <a:pt x="463" y="2833"/>
                  </a:cubicBezTo>
                  <a:cubicBezTo>
                    <a:pt x="673" y="2557"/>
                    <a:pt x="948" y="2403"/>
                    <a:pt x="1323" y="2403"/>
                  </a:cubicBezTo>
                  <a:cubicBezTo>
                    <a:pt x="1963" y="2403"/>
                    <a:pt x="2393" y="2833"/>
                    <a:pt x="2393" y="3506"/>
                  </a:cubicBezTo>
                  <a:cubicBezTo>
                    <a:pt x="2393" y="4211"/>
                    <a:pt x="1941" y="4619"/>
                    <a:pt x="1323" y="4619"/>
                  </a:cubicBezTo>
                  <a:cubicBezTo>
                    <a:pt x="982" y="4619"/>
                    <a:pt x="673" y="4465"/>
                    <a:pt x="485" y="4178"/>
                  </a:cubicBezTo>
                  <a:cubicBezTo>
                    <a:pt x="397" y="4520"/>
                    <a:pt x="210" y="4795"/>
                    <a:pt x="0" y="5049"/>
                  </a:cubicBezTo>
                  <a:cubicBezTo>
                    <a:pt x="364" y="5325"/>
                    <a:pt x="794" y="5479"/>
                    <a:pt x="1290" y="5479"/>
                  </a:cubicBezTo>
                  <a:cubicBezTo>
                    <a:pt x="1753" y="5479"/>
                    <a:pt x="2183" y="5292"/>
                    <a:pt x="2459" y="5071"/>
                  </a:cubicBezTo>
                  <a:cubicBezTo>
                    <a:pt x="2492" y="5380"/>
                    <a:pt x="2492" y="5380"/>
                    <a:pt x="2492" y="5380"/>
                  </a:cubicBezTo>
                  <a:cubicBezTo>
                    <a:pt x="3352" y="5380"/>
                    <a:pt x="3352" y="5380"/>
                    <a:pt x="3352" y="5380"/>
                  </a:cubicBezTo>
                  <a:cubicBezTo>
                    <a:pt x="3352" y="0"/>
                    <a:pt x="3352" y="0"/>
                    <a:pt x="3352" y="0"/>
                  </a:cubicBezTo>
                  <a:cubicBezTo>
                    <a:pt x="2426" y="0"/>
                    <a:pt x="2426" y="0"/>
                    <a:pt x="2426" y="0"/>
                  </a:cubicBezTo>
                  <a:lnTo>
                    <a:pt x="2426" y="163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 name="Freeform 4">
              <a:extLst>
                <a:ext uri="{FF2B5EF4-FFF2-40B4-BE49-F238E27FC236}">
                  <a16:creationId xmlns:a16="http://schemas.microsoft.com/office/drawing/2014/main" id="{CD7DDCCF-518A-934B-99F1-76621186F127}"/>
                </a:ext>
              </a:extLst>
            </p:cNvPr>
            <p:cNvSpPr>
              <a:spLocks noChangeArrowheads="1"/>
            </p:cNvSpPr>
            <p:nvPr/>
          </p:nvSpPr>
          <p:spPr bwMode="auto">
            <a:xfrm>
              <a:off x="2286000" y="2746375"/>
              <a:ext cx="1441450" cy="1420813"/>
            </a:xfrm>
            <a:custGeom>
              <a:avLst/>
              <a:gdLst>
                <a:gd name="T0" fmla="*/ 1995 w 4003"/>
                <a:gd name="T1" fmla="*/ 0 h 3948"/>
                <a:gd name="T2" fmla="*/ 1995 w 4003"/>
                <a:gd name="T3" fmla="*/ 0 h 3948"/>
                <a:gd name="T4" fmla="*/ 0 w 4003"/>
                <a:gd name="T5" fmla="*/ 1974 h 3948"/>
                <a:gd name="T6" fmla="*/ 1995 w 4003"/>
                <a:gd name="T7" fmla="*/ 3947 h 3948"/>
                <a:gd name="T8" fmla="*/ 4002 w 4003"/>
                <a:gd name="T9" fmla="*/ 1974 h 3948"/>
                <a:gd name="T10" fmla="*/ 1995 w 4003"/>
                <a:gd name="T11" fmla="*/ 0 h 3948"/>
                <a:gd name="T12" fmla="*/ 1995 w 4003"/>
                <a:gd name="T13" fmla="*/ 3087 h 3948"/>
                <a:gd name="T14" fmla="*/ 1995 w 4003"/>
                <a:gd name="T15" fmla="*/ 3087 h 3948"/>
                <a:gd name="T16" fmla="*/ 926 w 4003"/>
                <a:gd name="T17" fmla="*/ 1974 h 3948"/>
                <a:gd name="T18" fmla="*/ 1995 w 4003"/>
                <a:gd name="T19" fmla="*/ 871 h 3948"/>
                <a:gd name="T20" fmla="*/ 3076 w 4003"/>
                <a:gd name="T21" fmla="*/ 1974 h 3948"/>
                <a:gd name="T22" fmla="*/ 1995 w 4003"/>
                <a:gd name="T23" fmla="*/ 3087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3" h="3948">
                  <a:moveTo>
                    <a:pt x="1995" y="0"/>
                  </a:moveTo>
                  <a:lnTo>
                    <a:pt x="1995" y="0"/>
                  </a:lnTo>
                  <a:cubicBezTo>
                    <a:pt x="860" y="0"/>
                    <a:pt x="0" y="893"/>
                    <a:pt x="0" y="1974"/>
                  </a:cubicBezTo>
                  <a:cubicBezTo>
                    <a:pt x="0" y="3109"/>
                    <a:pt x="860" y="3947"/>
                    <a:pt x="1995" y="3947"/>
                  </a:cubicBezTo>
                  <a:cubicBezTo>
                    <a:pt x="3142" y="3947"/>
                    <a:pt x="4002" y="3109"/>
                    <a:pt x="4002" y="1974"/>
                  </a:cubicBezTo>
                  <a:cubicBezTo>
                    <a:pt x="4002" y="893"/>
                    <a:pt x="3142" y="0"/>
                    <a:pt x="1995" y="0"/>
                  </a:cubicBezTo>
                  <a:close/>
                  <a:moveTo>
                    <a:pt x="1995" y="3087"/>
                  </a:moveTo>
                  <a:lnTo>
                    <a:pt x="1995" y="3087"/>
                  </a:lnTo>
                  <a:cubicBezTo>
                    <a:pt x="1389" y="3087"/>
                    <a:pt x="926" y="2624"/>
                    <a:pt x="926" y="1974"/>
                  </a:cubicBezTo>
                  <a:cubicBezTo>
                    <a:pt x="926" y="1356"/>
                    <a:pt x="1356" y="871"/>
                    <a:pt x="1995" y="871"/>
                  </a:cubicBezTo>
                  <a:cubicBezTo>
                    <a:pt x="2646" y="871"/>
                    <a:pt x="3076" y="1356"/>
                    <a:pt x="3076" y="1974"/>
                  </a:cubicBezTo>
                  <a:cubicBezTo>
                    <a:pt x="3076" y="2624"/>
                    <a:pt x="2613" y="3087"/>
                    <a:pt x="1995" y="308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 name="Freeform 5">
              <a:extLst>
                <a:ext uri="{FF2B5EF4-FFF2-40B4-BE49-F238E27FC236}">
                  <a16:creationId xmlns:a16="http://schemas.microsoft.com/office/drawing/2014/main" id="{6B4F01FC-FE2D-BB48-BD49-7269564FDED8}"/>
                </a:ext>
              </a:extLst>
            </p:cNvPr>
            <p:cNvSpPr>
              <a:spLocks noChangeArrowheads="1"/>
            </p:cNvSpPr>
            <p:nvPr/>
          </p:nvSpPr>
          <p:spPr bwMode="auto">
            <a:xfrm>
              <a:off x="5862638" y="2627313"/>
              <a:ext cx="1420812" cy="2325687"/>
            </a:xfrm>
            <a:custGeom>
              <a:avLst/>
              <a:gdLst>
                <a:gd name="T0" fmla="*/ 3914 w 3948"/>
                <a:gd name="T1" fmla="*/ 2216 h 6462"/>
                <a:gd name="T2" fmla="*/ 3914 w 3948"/>
                <a:gd name="T3" fmla="*/ 2216 h 6462"/>
                <a:gd name="T4" fmla="*/ 3517 w 3948"/>
                <a:gd name="T5" fmla="*/ 1048 h 6462"/>
                <a:gd name="T6" fmla="*/ 3947 w 3948"/>
                <a:gd name="T7" fmla="*/ 519 h 6462"/>
                <a:gd name="T8" fmla="*/ 3263 w 3948"/>
                <a:gd name="T9" fmla="*/ 0 h 6462"/>
                <a:gd name="T10" fmla="*/ 2800 w 3948"/>
                <a:gd name="T11" fmla="*/ 519 h 6462"/>
                <a:gd name="T12" fmla="*/ 1940 w 3948"/>
                <a:gd name="T13" fmla="*/ 331 h 6462"/>
                <a:gd name="T14" fmla="*/ 0 w 3948"/>
                <a:gd name="T15" fmla="*/ 2305 h 6462"/>
                <a:gd name="T16" fmla="*/ 1510 w 3948"/>
                <a:gd name="T17" fmla="*/ 4057 h 6462"/>
                <a:gd name="T18" fmla="*/ 2954 w 3948"/>
                <a:gd name="T19" fmla="*/ 4895 h 6462"/>
                <a:gd name="T20" fmla="*/ 2061 w 3948"/>
                <a:gd name="T21" fmla="*/ 5568 h 6462"/>
                <a:gd name="T22" fmla="*/ 1080 w 3948"/>
                <a:gd name="T23" fmla="*/ 4829 h 6462"/>
                <a:gd name="T24" fmla="*/ 1080 w 3948"/>
                <a:gd name="T25" fmla="*/ 4741 h 6462"/>
                <a:gd name="T26" fmla="*/ 132 w 3948"/>
                <a:gd name="T27" fmla="*/ 4741 h 6462"/>
                <a:gd name="T28" fmla="*/ 132 w 3948"/>
                <a:gd name="T29" fmla="*/ 4829 h 6462"/>
                <a:gd name="T30" fmla="*/ 2039 w 3948"/>
                <a:gd name="T31" fmla="*/ 6461 h 6462"/>
                <a:gd name="T32" fmla="*/ 3914 w 3948"/>
                <a:gd name="T33" fmla="*/ 4951 h 6462"/>
                <a:gd name="T34" fmla="*/ 3021 w 3948"/>
                <a:gd name="T35" fmla="*/ 3694 h 6462"/>
                <a:gd name="T36" fmla="*/ 3914 w 3948"/>
                <a:gd name="T37" fmla="*/ 2216 h 6462"/>
                <a:gd name="T38" fmla="*/ 1940 w 3948"/>
                <a:gd name="T39" fmla="*/ 3286 h 6462"/>
                <a:gd name="T40" fmla="*/ 1940 w 3948"/>
                <a:gd name="T41" fmla="*/ 3286 h 6462"/>
                <a:gd name="T42" fmla="*/ 959 w 3948"/>
                <a:gd name="T43" fmla="*/ 2238 h 6462"/>
                <a:gd name="T44" fmla="*/ 1940 w 3948"/>
                <a:gd name="T45" fmla="*/ 1202 h 6462"/>
                <a:gd name="T46" fmla="*/ 2954 w 3948"/>
                <a:gd name="T47" fmla="*/ 2238 h 6462"/>
                <a:gd name="T48" fmla="*/ 1940 w 3948"/>
                <a:gd name="T49" fmla="*/ 3286 h 6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8" h="6462">
                  <a:moveTo>
                    <a:pt x="3914" y="2216"/>
                  </a:moveTo>
                  <a:lnTo>
                    <a:pt x="3914" y="2216"/>
                  </a:lnTo>
                  <a:cubicBezTo>
                    <a:pt x="3914" y="1786"/>
                    <a:pt x="3759" y="1356"/>
                    <a:pt x="3517" y="1048"/>
                  </a:cubicBezTo>
                  <a:cubicBezTo>
                    <a:pt x="3947" y="519"/>
                    <a:pt x="3947" y="519"/>
                    <a:pt x="3947" y="519"/>
                  </a:cubicBezTo>
                  <a:cubicBezTo>
                    <a:pt x="3263" y="0"/>
                    <a:pt x="3263" y="0"/>
                    <a:pt x="3263" y="0"/>
                  </a:cubicBezTo>
                  <a:cubicBezTo>
                    <a:pt x="2800" y="519"/>
                    <a:pt x="2800" y="519"/>
                    <a:pt x="2800" y="519"/>
                  </a:cubicBezTo>
                  <a:cubicBezTo>
                    <a:pt x="2558" y="397"/>
                    <a:pt x="2282" y="331"/>
                    <a:pt x="1940" y="331"/>
                  </a:cubicBezTo>
                  <a:cubicBezTo>
                    <a:pt x="805" y="331"/>
                    <a:pt x="0" y="1202"/>
                    <a:pt x="0" y="2305"/>
                  </a:cubicBezTo>
                  <a:cubicBezTo>
                    <a:pt x="0" y="3286"/>
                    <a:pt x="595" y="3903"/>
                    <a:pt x="1510" y="4057"/>
                  </a:cubicBezTo>
                  <a:cubicBezTo>
                    <a:pt x="2128" y="4179"/>
                    <a:pt x="2954" y="4157"/>
                    <a:pt x="2954" y="4895"/>
                  </a:cubicBezTo>
                  <a:cubicBezTo>
                    <a:pt x="2954" y="5292"/>
                    <a:pt x="2679" y="5568"/>
                    <a:pt x="2061" y="5568"/>
                  </a:cubicBezTo>
                  <a:cubicBezTo>
                    <a:pt x="1422" y="5568"/>
                    <a:pt x="1080" y="5193"/>
                    <a:pt x="1080" y="4829"/>
                  </a:cubicBezTo>
                  <a:cubicBezTo>
                    <a:pt x="1080" y="4796"/>
                    <a:pt x="1080" y="4763"/>
                    <a:pt x="1080" y="4741"/>
                  </a:cubicBezTo>
                  <a:cubicBezTo>
                    <a:pt x="132" y="4741"/>
                    <a:pt x="132" y="4741"/>
                    <a:pt x="132" y="4741"/>
                  </a:cubicBezTo>
                  <a:cubicBezTo>
                    <a:pt x="132" y="4763"/>
                    <a:pt x="132" y="4796"/>
                    <a:pt x="132" y="4829"/>
                  </a:cubicBezTo>
                  <a:cubicBezTo>
                    <a:pt x="132" y="5689"/>
                    <a:pt x="871" y="6461"/>
                    <a:pt x="2039" y="6461"/>
                  </a:cubicBezTo>
                  <a:cubicBezTo>
                    <a:pt x="3329" y="6461"/>
                    <a:pt x="3914" y="5689"/>
                    <a:pt x="3914" y="4951"/>
                  </a:cubicBezTo>
                  <a:cubicBezTo>
                    <a:pt x="3914" y="4245"/>
                    <a:pt x="3539" y="3870"/>
                    <a:pt x="3021" y="3694"/>
                  </a:cubicBezTo>
                  <a:cubicBezTo>
                    <a:pt x="3539" y="3440"/>
                    <a:pt x="3914" y="2889"/>
                    <a:pt x="3914" y="2216"/>
                  </a:cubicBezTo>
                  <a:close/>
                  <a:moveTo>
                    <a:pt x="1940" y="3286"/>
                  </a:moveTo>
                  <a:lnTo>
                    <a:pt x="1940" y="3286"/>
                  </a:lnTo>
                  <a:cubicBezTo>
                    <a:pt x="1356" y="3286"/>
                    <a:pt x="959" y="2889"/>
                    <a:pt x="959" y="2238"/>
                  </a:cubicBezTo>
                  <a:cubicBezTo>
                    <a:pt x="959" y="1632"/>
                    <a:pt x="1334" y="1202"/>
                    <a:pt x="1940" y="1202"/>
                  </a:cubicBezTo>
                  <a:cubicBezTo>
                    <a:pt x="2591" y="1202"/>
                    <a:pt x="2954" y="1632"/>
                    <a:pt x="2954" y="2238"/>
                  </a:cubicBezTo>
                  <a:cubicBezTo>
                    <a:pt x="2954" y="2889"/>
                    <a:pt x="2624" y="3286"/>
                    <a:pt x="1940" y="32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 name="Freeform 6">
              <a:extLst>
                <a:ext uri="{FF2B5EF4-FFF2-40B4-BE49-F238E27FC236}">
                  <a16:creationId xmlns:a16="http://schemas.microsoft.com/office/drawing/2014/main" id="{D55659F8-9AC6-A142-8130-2B932F652580}"/>
                </a:ext>
              </a:extLst>
            </p:cNvPr>
            <p:cNvSpPr>
              <a:spLocks noChangeArrowheads="1"/>
            </p:cNvSpPr>
            <p:nvPr/>
          </p:nvSpPr>
          <p:spPr bwMode="auto">
            <a:xfrm>
              <a:off x="5299075" y="2193925"/>
              <a:ext cx="333375" cy="322263"/>
            </a:xfrm>
            <a:custGeom>
              <a:avLst/>
              <a:gdLst>
                <a:gd name="T0" fmla="*/ 0 w 927"/>
                <a:gd name="T1" fmla="*/ 893 h 894"/>
                <a:gd name="T2" fmla="*/ 926 w 927"/>
                <a:gd name="T3" fmla="*/ 893 h 894"/>
                <a:gd name="T4" fmla="*/ 926 w 927"/>
                <a:gd name="T5" fmla="*/ 0 h 894"/>
                <a:gd name="T6" fmla="*/ 0 w 927"/>
                <a:gd name="T7" fmla="*/ 0 h 894"/>
                <a:gd name="T8" fmla="*/ 0 w 927"/>
                <a:gd name="T9" fmla="*/ 893 h 894"/>
              </a:gdLst>
              <a:ahLst/>
              <a:cxnLst>
                <a:cxn ang="0">
                  <a:pos x="T0" y="T1"/>
                </a:cxn>
                <a:cxn ang="0">
                  <a:pos x="T2" y="T3"/>
                </a:cxn>
                <a:cxn ang="0">
                  <a:pos x="T4" y="T5"/>
                </a:cxn>
                <a:cxn ang="0">
                  <a:pos x="T6" y="T7"/>
                </a:cxn>
                <a:cxn ang="0">
                  <a:pos x="T8" y="T9"/>
                </a:cxn>
              </a:cxnLst>
              <a:rect l="0" t="0" r="r" b="b"/>
              <a:pathLst>
                <a:path w="927" h="894">
                  <a:moveTo>
                    <a:pt x="0" y="893"/>
                  </a:moveTo>
                  <a:lnTo>
                    <a:pt x="926" y="893"/>
                  </a:lnTo>
                  <a:lnTo>
                    <a:pt x="926" y="0"/>
                  </a:lnTo>
                  <a:lnTo>
                    <a:pt x="0" y="0"/>
                  </a:lnTo>
                  <a:lnTo>
                    <a:pt x="0" y="8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1" name="Freeform 7">
              <a:extLst>
                <a:ext uri="{FF2B5EF4-FFF2-40B4-BE49-F238E27FC236}">
                  <a16:creationId xmlns:a16="http://schemas.microsoft.com/office/drawing/2014/main" id="{7F76781D-69A6-5545-B792-0A211C051C22}"/>
                </a:ext>
              </a:extLst>
            </p:cNvPr>
            <p:cNvSpPr>
              <a:spLocks noChangeArrowheads="1"/>
            </p:cNvSpPr>
            <p:nvPr/>
          </p:nvSpPr>
          <p:spPr bwMode="auto">
            <a:xfrm>
              <a:off x="7458075" y="2746375"/>
              <a:ext cx="1452563" cy="1420813"/>
            </a:xfrm>
            <a:custGeom>
              <a:avLst/>
              <a:gdLst>
                <a:gd name="T0" fmla="*/ 3076 w 4036"/>
                <a:gd name="T1" fmla="*/ 1764 h 3948"/>
                <a:gd name="T2" fmla="*/ 3076 w 4036"/>
                <a:gd name="T3" fmla="*/ 1764 h 3948"/>
                <a:gd name="T4" fmla="*/ 3076 w 4036"/>
                <a:gd name="T5" fmla="*/ 1974 h 3948"/>
                <a:gd name="T6" fmla="*/ 2007 w 4036"/>
                <a:gd name="T7" fmla="*/ 3087 h 3948"/>
                <a:gd name="T8" fmla="*/ 959 w 4036"/>
                <a:gd name="T9" fmla="*/ 1974 h 3948"/>
                <a:gd name="T10" fmla="*/ 2007 w 4036"/>
                <a:gd name="T11" fmla="*/ 871 h 3948"/>
                <a:gd name="T12" fmla="*/ 2062 w 4036"/>
                <a:gd name="T13" fmla="*/ 871 h 3948"/>
                <a:gd name="T14" fmla="*/ 2062 w 4036"/>
                <a:gd name="T15" fmla="*/ 0 h 3948"/>
                <a:gd name="T16" fmla="*/ 2007 w 4036"/>
                <a:gd name="T17" fmla="*/ 0 h 3948"/>
                <a:gd name="T18" fmla="*/ 0 w 4036"/>
                <a:gd name="T19" fmla="*/ 1974 h 3948"/>
                <a:gd name="T20" fmla="*/ 2007 w 4036"/>
                <a:gd name="T21" fmla="*/ 3947 h 3948"/>
                <a:gd name="T22" fmla="*/ 4035 w 4036"/>
                <a:gd name="T23" fmla="*/ 1974 h 3948"/>
                <a:gd name="T24" fmla="*/ 4002 w 4036"/>
                <a:gd name="T25" fmla="*/ 1764 h 3948"/>
                <a:gd name="T26" fmla="*/ 3076 w 4036"/>
                <a:gd name="T27" fmla="*/ 1764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6" h="3948">
                  <a:moveTo>
                    <a:pt x="3076" y="1764"/>
                  </a:moveTo>
                  <a:lnTo>
                    <a:pt x="3076" y="1764"/>
                  </a:lnTo>
                  <a:cubicBezTo>
                    <a:pt x="3076" y="1852"/>
                    <a:pt x="3076" y="1907"/>
                    <a:pt x="3076" y="1974"/>
                  </a:cubicBezTo>
                  <a:cubicBezTo>
                    <a:pt x="3076" y="2624"/>
                    <a:pt x="2624" y="3087"/>
                    <a:pt x="2007" y="3087"/>
                  </a:cubicBezTo>
                  <a:cubicBezTo>
                    <a:pt x="1422" y="3087"/>
                    <a:pt x="959" y="2624"/>
                    <a:pt x="959" y="1974"/>
                  </a:cubicBezTo>
                  <a:cubicBezTo>
                    <a:pt x="959" y="1356"/>
                    <a:pt x="1389" y="871"/>
                    <a:pt x="2007" y="871"/>
                  </a:cubicBezTo>
                  <a:cubicBezTo>
                    <a:pt x="2040" y="871"/>
                    <a:pt x="2040" y="871"/>
                    <a:pt x="2062" y="871"/>
                  </a:cubicBezTo>
                  <a:cubicBezTo>
                    <a:pt x="2062" y="0"/>
                    <a:pt x="2062" y="0"/>
                    <a:pt x="2062" y="0"/>
                  </a:cubicBezTo>
                  <a:cubicBezTo>
                    <a:pt x="2040" y="0"/>
                    <a:pt x="2040" y="0"/>
                    <a:pt x="2007" y="0"/>
                  </a:cubicBezTo>
                  <a:cubicBezTo>
                    <a:pt x="871" y="0"/>
                    <a:pt x="0" y="893"/>
                    <a:pt x="0" y="1974"/>
                  </a:cubicBezTo>
                  <a:cubicBezTo>
                    <a:pt x="0" y="3109"/>
                    <a:pt x="871" y="3947"/>
                    <a:pt x="2007" y="3947"/>
                  </a:cubicBezTo>
                  <a:cubicBezTo>
                    <a:pt x="3175" y="3947"/>
                    <a:pt x="4035" y="3109"/>
                    <a:pt x="4035" y="1974"/>
                  </a:cubicBezTo>
                  <a:cubicBezTo>
                    <a:pt x="4035" y="1907"/>
                    <a:pt x="4035" y="1852"/>
                    <a:pt x="4002" y="1764"/>
                  </a:cubicBezTo>
                  <a:lnTo>
                    <a:pt x="3076" y="17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grpSp>
        <p:nvGrpSpPr>
          <p:cNvPr id="12" name="Group 11">
            <a:extLst>
              <a:ext uri="{FF2B5EF4-FFF2-40B4-BE49-F238E27FC236}">
                <a16:creationId xmlns:a16="http://schemas.microsoft.com/office/drawing/2014/main" id="{F2DBC2B8-6D29-D546-9550-2589FF9C97D9}"/>
              </a:ext>
            </a:extLst>
          </p:cNvPr>
          <p:cNvGrpSpPr/>
          <p:nvPr userDrawn="1"/>
        </p:nvGrpSpPr>
        <p:grpSpPr>
          <a:xfrm>
            <a:off x="7019217" y="4429239"/>
            <a:ext cx="1692983" cy="279387"/>
            <a:chOff x="1828800" y="3017838"/>
            <a:chExt cx="6291263" cy="1038225"/>
          </a:xfrm>
          <a:solidFill>
            <a:schemeClr val="tx1"/>
          </a:solidFill>
        </p:grpSpPr>
        <p:sp>
          <p:nvSpPr>
            <p:cNvPr id="13" name="Freeform 1">
              <a:extLst>
                <a:ext uri="{FF2B5EF4-FFF2-40B4-BE49-F238E27FC236}">
                  <a16:creationId xmlns:a16="http://schemas.microsoft.com/office/drawing/2014/main" id="{1E1E4E2A-D609-4D45-8164-F60C7C0ED623}"/>
                </a:ext>
              </a:extLst>
            </p:cNvPr>
            <p:cNvSpPr>
              <a:spLocks noChangeArrowheads="1"/>
            </p:cNvSpPr>
            <p:nvPr userDrawn="1"/>
          </p:nvSpPr>
          <p:spPr bwMode="auto">
            <a:xfrm>
              <a:off x="1831975" y="3017838"/>
              <a:ext cx="388938" cy="438150"/>
            </a:xfrm>
            <a:custGeom>
              <a:avLst/>
              <a:gdLst>
                <a:gd name="T0" fmla="*/ 1081 w 1082"/>
                <a:gd name="T1" fmla="*/ 1042 h 1215"/>
                <a:gd name="T2" fmla="*/ 1081 w 1082"/>
                <a:gd name="T3" fmla="*/ 1042 h 1215"/>
                <a:gd name="T4" fmla="*/ 873 w 1082"/>
                <a:gd name="T5" fmla="*/ 1172 h 1215"/>
                <a:gd name="T6" fmla="*/ 631 w 1082"/>
                <a:gd name="T7" fmla="*/ 1214 h 1215"/>
                <a:gd name="T8" fmla="*/ 350 w 1082"/>
                <a:gd name="T9" fmla="*/ 1164 h 1215"/>
                <a:gd name="T10" fmla="*/ 153 w 1082"/>
                <a:gd name="T11" fmla="*/ 1028 h 1215"/>
                <a:gd name="T12" fmla="*/ 39 w 1082"/>
                <a:gd name="T13" fmla="*/ 836 h 1215"/>
                <a:gd name="T14" fmla="*/ 0 w 1082"/>
                <a:gd name="T15" fmla="*/ 614 h 1215"/>
                <a:gd name="T16" fmla="*/ 39 w 1082"/>
                <a:gd name="T17" fmla="*/ 389 h 1215"/>
                <a:gd name="T18" fmla="*/ 156 w 1082"/>
                <a:gd name="T19" fmla="*/ 192 h 1215"/>
                <a:gd name="T20" fmla="*/ 353 w 1082"/>
                <a:gd name="T21" fmla="*/ 53 h 1215"/>
                <a:gd name="T22" fmla="*/ 631 w 1082"/>
                <a:gd name="T23" fmla="*/ 0 h 1215"/>
                <a:gd name="T24" fmla="*/ 864 w 1082"/>
                <a:gd name="T25" fmla="*/ 44 h 1215"/>
                <a:gd name="T26" fmla="*/ 1070 w 1082"/>
                <a:gd name="T27" fmla="*/ 178 h 1215"/>
                <a:gd name="T28" fmla="*/ 942 w 1082"/>
                <a:gd name="T29" fmla="*/ 297 h 1215"/>
                <a:gd name="T30" fmla="*/ 795 w 1082"/>
                <a:gd name="T31" fmla="*/ 206 h 1215"/>
                <a:gd name="T32" fmla="*/ 631 w 1082"/>
                <a:gd name="T33" fmla="*/ 178 h 1215"/>
                <a:gd name="T34" fmla="*/ 434 w 1082"/>
                <a:gd name="T35" fmla="*/ 214 h 1215"/>
                <a:gd name="T36" fmla="*/ 298 w 1082"/>
                <a:gd name="T37" fmla="*/ 314 h 1215"/>
                <a:gd name="T38" fmla="*/ 217 w 1082"/>
                <a:gd name="T39" fmla="*/ 453 h 1215"/>
                <a:gd name="T40" fmla="*/ 192 w 1082"/>
                <a:gd name="T41" fmla="*/ 614 h 1215"/>
                <a:gd name="T42" fmla="*/ 217 w 1082"/>
                <a:gd name="T43" fmla="*/ 769 h 1215"/>
                <a:gd name="T44" fmla="*/ 295 w 1082"/>
                <a:gd name="T45" fmla="*/ 906 h 1215"/>
                <a:gd name="T46" fmla="*/ 434 w 1082"/>
                <a:gd name="T47" fmla="*/ 1003 h 1215"/>
                <a:gd name="T48" fmla="*/ 631 w 1082"/>
                <a:gd name="T49" fmla="*/ 1039 h 1215"/>
                <a:gd name="T50" fmla="*/ 800 w 1082"/>
                <a:gd name="T51" fmla="*/ 1008 h 1215"/>
                <a:gd name="T52" fmla="*/ 950 w 1082"/>
                <a:gd name="T53" fmla="*/ 911 h 1215"/>
                <a:gd name="T54" fmla="*/ 1081 w 1082"/>
                <a:gd name="T55" fmla="*/ 1042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2" h="1215">
                  <a:moveTo>
                    <a:pt x="1081" y="1042"/>
                  </a:moveTo>
                  <a:lnTo>
                    <a:pt x="1081" y="1042"/>
                  </a:lnTo>
                  <a:cubicBezTo>
                    <a:pt x="1020" y="1100"/>
                    <a:pt x="950" y="1144"/>
                    <a:pt x="873" y="1172"/>
                  </a:cubicBezTo>
                  <a:cubicBezTo>
                    <a:pt x="798" y="1200"/>
                    <a:pt x="717" y="1214"/>
                    <a:pt x="631" y="1214"/>
                  </a:cubicBezTo>
                  <a:cubicBezTo>
                    <a:pt x="523" y="1214"/>
                    <a:pt x="431" y="1197"/>
                    <a:pt x="350" y="1164"/>
                  </a:cubicBezTo>
                  <a:cubicBezTo>
                    <a:pt x="273" y="1130"/>
                    <a:pt x="206" y="1086"/>
                    <a:pt x="153" y="1028"/>
                  </a:cubicBezTo>
                  <a:cubicBezTo>
                    <a:pt x="103" y="972"/>
                    <a:pt x="64" y="908"/>
                    <a:pt x="39" y="836"/>
                  </a:cubicBezTo>
                  <a:cubicBezTo>
                    <a:pt x="14" y="764"/>
                    <a:pt x="0" y="692"/>
                    <a:pt x="0" y="614"/>
                  </a:cubicBezTo>
                  <a:cubicBezTo>
                    <a:pt x="0" y="536"/>
                    <a:pt x="14" y="461"/>
                    <a:pt x="39" y="389"/>
                  </a:cubicBezTo>
                  <a:cubicBezTo>
                    <a:pt x="67" y="314"/>
                    <a:pt x="103" y="250"/>
                    <a:pt x="156" y="192"/>
                  </a:cubicBezTo>
                  <a:cubicBezTo>
                    <a:pt x="209" y="133"/>
                    <a:pt x="273" y="89"/>
                    <a:pt x="353" y="53"/>
                  </a:cubicBezTo>
                  <a:cubicBezTo>
                    <a:pt x="431" y="17"/>
                    <a:pt x="525" y="0"/>
                    <a:pt x="631" y="0"/>
                  </a:cubicBezTo>
                  <a:cubicBezTo>
                    <a:pt x="711" y="0"/>
                    <a:pt x="789" y="14"/>
                    <a:pt x="864" y="44"/>
                  </a:cubicBezTo>
                  <a:cubicBezTo>
                    <a:pt x="939" y="72"/>
                    <a:pt x="1009" y="117"/>
                    <a:pt x="1070" y="178"/>
                  </a:cubicBezTo>
                  <a:cubicBezTo>
                    <a:pt x="942" y="297"/>
                    <a:pt x="942" y="297"/>
                    <a:pt x="942" y="297"/>
                  </a:cubicBezTo>
                  <a:cubicBezTo>
                    <a:pt x="898" y="256"/>
                    <a:pt x="850" y="225"/>
                    <a:pt x="795" y="206"/>
                  </a:cubicBezTo>
                  <a:cubicBezTo>
                    <a:pt x="742" y="186"/>
                    <a:pt x="686" y="178"/>
                    <a:pt x="631" y="178"/>
                  </a:cubicBezTo>
                  <a:cubicBezTo>
                    <a:pt x="556" y="178"/>
                    <a:pt x="489" y="189"/>
                    <a:pt x="434" y="214"/>
                  </a:cubicBezTo>
                  <a:cubicBezTo>
                    <a:pt x="378" y="239"/>
                    <a:pt x="334" y="272"/>
                    <a:pt x="298" y="314"/>
                  </a:cubicBezTo>
                  <a:cubicBezTo>
                    <a:pt x="261" y="356"/>
                    <a:pt x="234" y="400"/>
                    <a:pt x="217" y="453"/>
                  </a:cubicBezTo>
                  <a:cubicBezTo>
                    <a:pt x="200" y="506"/>
                    <a:pt x="192" y="558"/>
                    <a:pt x="192" y="614"/>
                  </a:cubicBezTo>
                  <a:cubicBezTo>
                    <a:pt x="192" y="667"/>
                    <a:pt x="200" y="719"/>
                    <a:pt x="217" y="769"/>
                  </a:cubicBezTo>
                  <a:cubicBezTo>
                    <a:pt x="234" y="822"/>
                    <a:pt x="261" y="867"/>
                    <a:pt x="295" y="906"/>
                  </a:cubicBezTo>
                  <a:cubicBezTo>
                    <a:pt x="331" y="947"/>
                    <a:pt x="378" y="978"/>
                    <a:pt x="434" y="1003"/>
                  </a:cubicBezTo>
                  <a:cubicBezTo>
                    <a:pt x="489" y="1028"/>
                    <a:pt x="553" y="1039"/>
                    <a:pt x="631" y="1039"/>
                  </a:cubicBezTo>
                  <a:cubicBezTo>
                    <a:pt x="686" y="1039"/>
                    <a:pt x="745" y="1028"/>
                    <a:pt x="800" y="1008"/>
                  </a:cubicBezTo>
                  <a:cubicBezTo>
                    <a:pt x="859" y="986"/>
                    <a:pt x="906" y="953"/>
                    <a:pt x="950" y="911"/>
                  </a:cubicBezTo>
                  <a:lnTo>
                    <a:pt x="1081" y="104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4" name="Freeform 2">
              <a:extLst>
                <a:ext uri="{FF2B5EF4-FFF2-40B4-BE49-F238E27FC236}">
                  <a16:creationId xmlns:a16="http://schemas.microsoft.com/office/drawing/2014/main" id="{2ECAC523-6058-1F4C-A105-103C84878002}"/>
                </a:ext>
              </a:extLst>
            </p:cNvPr>
            <p:cNvSpPr>
              <a:spLocks noChangeArrowheads="1"/>
            </p:cNvSpPr>
            <p:nvPr userDrawn="1"/>
          </p:nvSpPr>
          <p:spPr bwMode="auto">
            <a:xfrm>
              <a:off x="2268538" y="3149600"/>
              <a:ext cx="293687" cy="301625"/>
            </a:xfrm>
            <a:custGeom>
              <a:avLst/>
              <a:gdLst>
                <a:gd name="T0" fmla="*/ 175 w 815"/>
                <a:gd name="T1" fmla="*/ 0 h 837"/>
                <a:gd name="T2" fmla="*/ 175 w 815"/>
                <a:gd name="T3" fmla="*/ 0 h 837"/>
                <a:gd name="T4" fmla="*/ 175 w 815"/>
                <a:gd name="T5" fmla="*/ 439 h 837"/>
                <a:gd name="T6" fmla="*/ 233 w 815"/>
                <a:gd name="T7" fmla="*/ 611 h 837"/>
                <a:gd name="T8" fmla="*/ 406 w 815"/>
                <a:gd name="T9" fmla="*/ 675 h 837"/>
                <a:gd name="T10" fmla="*/ 500 w 815"/>
                <a:gd name="T11" fmla="*/ 658 h 837"/>
                <a:gd name="T12" fmla="*/ 572 w 815"/>
                <a:gd name="T13" fmla="*/ 602 h 837"/>
                <a:gd name="T14" fmla="*/ 622 w 815"/>
                <a:gd name="T15" fmla="*/ 525 h 837"/>
                <a:gd name="T16" fmla="*/ 639 w 815"/>
                <a:gd name="T17" fmla="*/ 427 h 837"/>
                <a:gd name="T18" fmla="*/ 639 w 815"/>
                <a:gd name="T19" fmla="*/ 0 h 837"/>
                <a:gd name="T20" fmla="*/ 814 w 815"/>
                <a:gd name="T21" fmla="*/ 0 h 837"/>
                <a:gd name="T22" fmla="*/ 814 w 815"/>
                <a:gd name="T23" fmla="*/ 825 h 837"/>
                <a:gd name="T24" fmla="*/ 656 w 815"/>
                <a:gd name="T25" fmla="*/ 825 h 837"/>
                <a:gd name="T26" fmla="*/ 645 w 815"/>
                <a:gd name="T27" fmla="*/ 702 h 837"/>
                <a:gd name="T28" fmla="*/ 514 w 815"/>
                <a:gd name="T29" fmla="*/ 805 h 837"/>
                <a:gd name="T30" fmla="*/ 356 w 815"/>
                <a:gd name="T31" fmla="*/ 836 h 837"/>
                <a:gd name="T32" fmla="*/ 211 w 815"/>
                <a:gd name="T33" fmla="*/ 811 h 837"/>
                <a:gd name="T34" fmla="*/ 100 w 815"/>
                <a:gd name="T35" fmla="*/ 733 h 837"/>
                <a:gd name="T36" fmla="*/ 25 w 815"/>
                <a:gd name="T37" fmla="*/ 608 h 837"/>
                <a:gd name="T38" fmla="*/ 0 w 815"/>
                <a:gd name="T39" fmla="*/ 441 h 837"/>
                <a:gd name="T40" fmla="*/ 0 w 815"/>
                <a:gd name="T41" fmla="*/ 0 h 837"/>
                <a:gd name="T42" fmla="*/ 175 w 815"/>
                <a:gd name="T43" fmla="*/ 0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5" h="837">
                  <a:moveTo>
                    <a:pt x="175" y="0"/>
                  </a:moveTo>
                  <a:lnTo>
                    <a:pt x="175" y="0"/>
                  </a:lnTo>
                  <a:cubicBezTo>
                    <a:pt x="175" y="439"/>
                    <a:pt x="175" y="439"/>
                    <a:pt x="175" y="439"/>
                  </a:cubicBezTo>
                  <a:cubicBezTo>
                    <a:pt x="175" y="508"/>
                    <a:pt x="195" y="566"/>
                    <a:pt x="233" y="611"/>
                  </a:cubicBezTo>
                  <a:cubicBezTo>
                    <a:pt x="275" y="655"/>
                    <a:pt x="331" y="675"/>
                    <a:pt x="406" y="675"/>
                  </a:cubicBezTo>
                  <a:cubicBezTo>
                    <a:pt x="439" y="675"/>
                    <a:pt x="470" y="669"/>
                    <a:pt x="500" y="658"/>
                  </a:cubicBezTo>
                  <a:cubicBezTo>
                    <a:pt x="528" y="644"/>
                    <a:pt x="553" y="627"/>
                    <a:pt x="572" y="602"/>
                  </a:cubicBezTo>
                  <a:cubicBezTo>
                    <a:pt x="595" y="580"/>
                    <a:pt x="611" y="555"/>
                    <a:pt x="622" y="525"/>
                  </a:cubicBezTo>
                  <a:cubicBezTo>
                    <a:pt x="633" y="494"/>
                    <a:pt x="639" y="461"/>
                    <a:pt x="639" y="427"/>
                  </a:cubicBezTo>
                  <a:cubicBezTo>
                    <a:pt x="639" y="0"/>
                    <a:pt x="639" y="0"/>
                    <a:pt x="639" y="0"/>
                  </a:cubicBezTo>
                  <a:cubicBezTo>
                    <a:pt x="814" y="0"/>
                    <a:pt x="814" y="0"/>
                    <a:pt x="814" y="0"/>
                  </a:cubicBezTo>
                  <a:cubicBezTo>
                    <a:pt x="814" y="825"/>
                    <a:pt x="814" y="825"/>
                    <a:pt x="814" y="825"/>
                  </a:cubicBezTo>
                  <a:cubicBezTo>
                    <a:pt x="656" y="825"/>
                    <a:pt x="656" y="825"/>
                    <a:pt x="656" y="825"/>
                  </a:cubicBezTo>
                  <a:cubicBezTo>
                    <a:pt x="645" y="702"/>
                    <a:pt x="645" y="702"/>
                    <a:pt x="645" y="702"/>
                  </a:cubicBezTo>
                  <a:cubicBezTo>
                    <a:pt x="603" y="750"/>
                    <a:pt x="561" y="783"/>
                    <a:pt x="514" y="805"/>
                  </a:cubicBezTo>
                  <a:cubicBezTo>
                    <a:pt x="467" y="825"/>
                    <a:pt x="414" y="836"/>
                    <a:pt x="356" y="836"/>
                  </a:cubicBezTo>
                  <a:cubicBezTo>
                    <a:pt x="303" y="836"/>
                    <a:pt x="256" y="827"/>
                    <a:pt x="211" y="811"/>
                  </a:cubicBezTo>
                  <a:cubicBezTo>
                    <a:pt x="170" y="791"/>
                    <a:pt x="131" y="766"/>
                    <a:pt x="100" y="733"/>
                  </a:cubicBezTo>
                  <a:cubicBezTo>
                    <a:pt x="70" y="700"/>
                    <a:pt x="45" y="658"/>
                    <a:pt x="25" y="608"/>
                  </a:cubicBezTo>
                  <a:cubicBezTo>
                    <a:pt x="8" y="561"/>
                    <a:pt x="0" y="505"/>
                    <a:pt x="0" y="441"/>
                  </a:cubicBezTo>
                  <a:cubicBezTo>
                    <a:pt x="0" y="0"/>
                    <a:pt x="0" y="0"/>
                    <a:pt x="0" y="0"/>
                  </a:cubicBezTo>
                  <a:lnTo>
                    <a:pt x="17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5" name="Freeform 3">
              <a:extLst>
                <a:ext uri="{FF2B5EF4-FFF2-40B4-BE49-F238E27FC236}">
                  <a16:creationId xmlns:a16="http://schemas.microsoft.com/office/drawing/2014/main" id="{F86C75D4-E3DC-9548-8D2C-66BC4C4A867B}"/>
                </a:ext>
              </a:extLst>
            </p:cNvPr>
            <p:cNvSpPr>
              <a:spLocks noChangeArrowheads="1"/>
            </p:cNvSpPr>
            <p:nvPr userDrawn="1"/>
          </p:nvSpPr>
          <p:spPr bwMode="auto">
            <a:xfrm>
              <a:off x="2624138" y="3141663"/>
              <a:ext cx="268287" cy="314325"/>
            </a:xfrm>
            <a:custGeom>
              <a:avLst/>
              <a:gdLst>
                <a:gd name="T0" fmla="*/ 606 w 746"/>
                <a:gd name="T1" fmla="*/ 225 h 871"/>
                <a:gd name="T2" fmla="*/ 606 w 746"/>
                <a:gd name="T3" fmla="*/ 225 h 871"/>
                <a:gd name="T4" fmla="*/ 500 w 746"/>
                <a:gd name="T5" fmla="*/ 164 h 871"/>
                <a:gd name="T6" fmla="*/ 383 w 746"/>
                <a:gd name="T7" fmla="*/ 148 h 871"/>
                <a:gd name="T8" fmla="*/ 253 w 746"/>
                <a:gd name="T9" fmla="*/ 173 h 871"/>
                <a:gd name="T10" fmla="*/ 203 w 746"/>
                <a:gd name="T11" fmla="*/ 245 h 871"/>
                <a:gd name="T12" fmla="*/ 256 w 746"/>
                <a:gd name="T13" fmla="*/ 320 h 871"/>
                <a:gd name="T14" fmla="*/ 386 w 746"/>
                <a:gd name="T15" fmla="*/ 350 h 871"/>
                <a:gd name="T16" fmla="*/ 508 w 746"/>
                <a:gd name="T17" fmla="*/ 367 h 871"/>
                <a:gd name="T18" fmla="*/ 625 w 746"/>
                <a:gd name="T19" fmla="*/ 406 h 871"/>
                <a:gd name="T20" fmla="*/ 711 w 746"/>
                <a:gd name="T21" fmla="*/ 481 h 871"/>
                <a:gd name="T22" fmla="*/ 745 w 746"/>
                <a:gd name="T23" fmla="*/ 611 h 871"/>
                <a:gd name="T24" fmla="*/ 717 w 746"/>
                <a:gd name="T25" fmla="*/ 717 h 871"/>
                <a:gd name="T26" fmla="*/ 645 w 746"/>
                <a:gd name="T27" fmla="*/ 798 h 871"/>
                <a:gd name="T28" fmla="*/ 533 w 746"/>
                <a:gd name="T29" fmla="*/ 853 h 871"/>
                <a:gd name="T30" fmla="*/ 383 w 746"/>
                <a:gd name="T31" fmla="*/ 870 h 871"/>
                <a:gd name="T32" fmla="*/ 183 w 746"/>
                <a:gd name="T33" fmla="*/ 842 h 871"/>
                <a:gd name="T34" fmla="*/ 0 w 746"/>
                <a:gd name="T35" fmla="*/ 720 h 871"/>
                <a:gd name="T36" fmla="*/ 92 w 746"/>
                <a:gd name="T37" fmla="*/ 598 h 871"/>
                <a:gd name="T38" fmla="*/ 233 w 746"/>
                <a:gd name="T39" fmla="*/ 689 h 871"/>
                <a:gd name="T40" fmla="*/ 389 w 746"/>
                <a:gd name="T41" fmla="*/ 720 h 871"/>
                <a:gd name="T42" fmla="*/ 450 w 746"/>
                <a:gd name="T43" fmla="*/ 714 h 871"/>
                <a:gd name="T44" fmla="*/ 508 w 746"/>
                <a:gd name="T45" fmla="*/ 698 h 871"/>
                <a:gd name="T46" fmla="*/ 550 w 746"/>
                <a:gd name="T47" fmla="*/ 662 h 871"/>
                <a:gd name="T48" fmla="*/ 567 w 746"/>
                <a:gd name="T49" fmla="*/ 614 h 871"/>
                <a:gd name="T50" fmla="*/ 517 w 746"/>
                <a:gd name="T51" fmla="*/ 531 h 871"/>
                <a:gd name="T52" fmla="*/ 372 w 746"/>
                <a:gd name="T53" fmla="*/ 498 h 871"/>
                <a:gd name="T54" fmla="*/ 253 w 746"/>
                <a:gd name="T55" fmla="*/ 478 h 871"/>
                <a:gd name="T56" fmla="*/ 142 w 746"/>
                <a:gd name="T57" fmla="*/ 436 h 871"/>
                <a:gd name="T58" fmla="*/ 61 w 746"/>
                <a:gd name="T59" fmla="*/ 364 h 871"/>
                <a:gd name="T60" fmla="*/ 31 w 746"/>
                <a:gd name="T61" fmla="*/ 250 h 871"/>
                <a:gd name="T62" fmla="*/ 61 w 746"/>
                <a:gd name="T63" fmla="*/ 134 h 871"/>
                <a:gd name="T64" fmla="*/ 145 w 746"/>
                <a:gd name="T65" fmla="*/ 56 h 871"/>
                <a:gd name="T66" fmla="*/ 259 w 746"/>
                <a:gd name="T67" fmla="*/ 14 h 871"/>
                <a:gd name="T68" fmla="*/ 381 w 746"/>
                <a:gd name="T69" fmla="*/ 0 h 871"/>
                <a:gd name="T70" fmla="*/ 556 w 746"/>
                <a:gd name="T71" fmla="*/ 25 h 871"/>
                <a:gd name="T72" fmla="*/ 703 w 746"/>
                <a:gd name="T73" fmla="*/ 112 h 871"/>
                <a:gd name="T74" fmla="*/ 606 w 746"/>
                <a:gd name="T75" fmla="*/ 225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6" h="871">
                  <a:moveTo>
                    <a:pt x="606" y="225"/>
                  </a:moveTo>
                  <a:lnTo>
                    <a:pt x="606" y="225"/>
                  </a:lnTo>
                  <a:cubicBezTo>
                    <a:pt x="572" y="195"/>
                    <a:pt x="536" y="173"/>
                    <a:pt x="500" y="164"/>
                  </a:cubicBezTo>
                  <a:cubicBezTo>
                    <a:pt x="464" y="153"/>
                    <a:pt x="425" y="148"/>
                    <a:pt x="383" y="148"/>
                  </a:cubicBezTo>
                  <a:cubicBezTo>
                    <a:pt x="328" y="148"/>
                    <a:pt x="286" y="153"/>
                    <a:pt x="253" y="173"/>
                  </a:cubicBezTo>
                  <a:cubicBezTo>
                    <a:pt x="220" y="189"/>
                    <a:pt x="203" y="214"/>
                    <a:pt x="203" y="245"/>
                  </a:cubicBezTo>
                  <a:cubicBezTo>
                    <a:pt x="206" y="281"/>
                    <a:pt x="222" y="306"/>
                    <a:pt x="256" y="320"/>
                  </a:cubicBezTo>
                  <a:cubicBezTo>
                    <a:pt x="289" y="336"/>
                    <a:pt x="331" y="345"/>
                    <a:pt x="386" y="350"/>
                  </a:cubicBezTo>
                  <a:cubicBezTo>
                    <a:pt x="425" y="356"/>
                    <a:pt x="467" y="359"/>
                    <a:pt x="508" y="367"/>
                  </a:cubicBezTo>
                  <a:cubicBezTo>
                    <a:pt x="550" y="375"/>
                    <a:pt x="589" y="387"/>
                    <a:pt x="625" y="406"/>
                  </a:cubicBezTo>
                  <a:cubicBezTo>
                    <a:pt x="658" y="425"/>
                    <a:pt x="689" y="450"/>
                    <a:pt x="711" y="481"/>
                  </a:cubicBezTo>
                  <a:cubicBezTo>
                    <a:pt x="733" y="514"/>
                    <a:pt x="745" y="556"/>
                    <a:pt x="745" y="611"/>
                  </a:cubicBezTo>
                  <a:cubicBezTo>
                    <a:pt x="745" y="650"/>
                    <a:pt x="736" y="684"/>
                    <a:pt x="717" y="717"/>
                  </a:cubicBezTo>
                  <a:cubicBezTo>
                    <a:pt x="700" y="748"/>
                    <a:pt x="675" y="775"/>
                    <a:pt x="645" y="798"/>
                  </a:cubicBezTo>
                  <a:cubicBezTo>
                    <a:pt x="614" y="823"/>
                    <a:pt x="575" y="839"/>
                    <a:pt x="533" y="853"/>
                  </a:cubicBezTo>
                  <a:cubicBezTo>
                    <a:pt x="489" y="864"/>
                    <a:pt x="439" y="870"/>
                    <a:pt x="383" y="870"/>
                  </a:cubicBezTo>
                  <a:cubicBezTo>
                    <a:pt x="317" y="870"/>
                    <a:pt x="250" y="862"/>
                    <a:pt x="183" y="842"/>
                  </a:cubicBezTo>
                  <a:cubicBezTo>
                    <a:pt x="117" y="820"/>
                    <a:pt x="56" y="781"/>
                    <a:pt x="0" y="720"/>
                  </a:cubicBezTo>
                  <a:cubicBezTo>
                    <a:pt x="92" y="598"/>
                    <a:pt x="92" y="598"/>
                    <a:pt x="92" y="598"/>
                  </a:cubicBezTo>
                  <a:cubicBezTo>
                    <a:pt x="133" y="639"/>
                    <a:pt x="181" y="673"/>
                    <a:pt x="233" y="689"/>
                  </a:cubicBezTo>
                  <a:cubicBezTo>
                    <a:pt x="286" y="709"/>
                    <a:pt x="339" y="720"/>
                    <a:pt x="389" y="720"/>
                  </a:cubicBezTo>
                  <a:cubicBezTo>
                    <a:pt x="408" y="720"/>
                    <a:pt x="431" y="720"/>
                    <a:pt x="450" y="714"/>
                  </a:cubicBezTo>
                  <a:cubicBezTo>
                    <a:pt x="472" y="711"/>
                    <a:pt x="492" y="706"/>
                    <a:pt x="508" y="698"/>
                  </a:cubicBezTo>
                  <a:cubicBezTo>
                    <a:pt x="525" y="686"/>
                    <a:pt x="539" y="675"/>
                    <a:pt x="550" y="662"/>
                  </a:cubicBezTo>
                  <a:cubicBezTo>
                    <a:pt x="561" y="648"/>
                    <a:pt x="567" y="631"/>
                    <a:pt x="567" y="614"/>
                  </a:cubicBezTo>
                  <a:cubicBezTo>
                    <a:pt x="570" y="575"/>
                    <a:pt x="553" y="548"/>
                    <a:pt x="517" y="531"/>
                  </a:cubicBezTo>
                  <a:cubicBezTo>
                    <a:pt x="483" y="514"/>
                    <a:pt x="436" y="503"/>
                    <a:pt x="372" y="498"/>
                  </a:cubicBezTo>
                  <a:cubicBezTo>
                    <a:pt x="333" y="495"/>
                    <a:pt x="292" y="489"/>
                    <a:pt x="253" y="478"/>
                  </a:cubicBezTo>
                  <a:cubicBezTo>
                    <a:pt x="211" y="470"/>
                    <a:pt x="175" y="456"/>
                    <a:pt x="142" y="436"/>
                  </a:cubicBezTo>
                  <a:cubicBezTo>
                    <a:pt x="108" y="420"/>
                    <a:pt x="84" y="395"/>
                    <a:pt x="61" y="364"/>
                  </a:cubicBezTo>
                  <a:cubicBezTo>
                    <a:pt x="39" y="334"/>
                    <a:pt x="31" y="298"/>
                    <a:pt x="31" y="250"/>
                  </a:cubicBezTo>
                  <a:cubicBezTo>
                    <a:pt x="31" y="206"/>
                    <a:pt x="42" y="167"/>
                    <a:pt x="61" y="134"/>
                  </a:cubicBezTo>
                  <a:cubicBezTo>
                    <a:pt x="84" y="103"/>
                    <a:pt x="111" y="78"/>
                    <a:pt x="145" y="56"/>
                  </a:cubicBezTo>
                  <a:cubicBezTo>
                    <a:pt x="181" y="37"/>
                    <a:pt x="217" y="23"/>
                    <a:pt x="259" y="14"/>
                  </a:cubicBezTo>
                  <a:cubicBezTo>
                    <a:pt x="300" y="6"/>
                    <a:pt x="339" y="0"/>
                    <a:pt x="381" y="0"/>
                  </a:cubicBezTo>
                  <a:cubicBezTo>
                    <a:pt x="445" y="0"/>
                    <a:pt x="503" y="9"/>
                    <a:pt x="556" y="25"/>
                  </a:cubicBezTo>
                  <a:cubicBezTo>
                    <a:pt x="606" y="42"/>
                    <a:pt x="656" y="70"/>
                    <a:pt x="703" y="112"/>
                  </a:cubicBezTo>
                  <a:lnTo>
                    <a:pt x="606" y="22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6" name="Freeform 4">
              <a:extLst>
                <a:ext uri="{FF2B5EF4-FFF2-40B4-BE49-F238E27FC236}">
                  <a16:creationId xmlns:a16="http://schemas.microsoft.com/office/drawing/2014/main" id="{2FA122F1-68CE-D040-AAC4-0585AF9C271C}"/>
                </a:ext>
              </a:extLst>
            </p:cNvPr>
            <p:cNvSpPr>
              <a:spLocks noChangeArrowheads="1"/>
            </p:cNvSpPr>
            <p:nvPr userDrawn="1"/>
          </p:nvSpPr>
          <p:spPr bwMode="auto">
            <a:xfrm>
              <a:off x="2928938" y="3063875"/>
              <a:ext cx="223837" cy="387350"/>
            </a:xfrm>
            <a:custGeom>
              <a:avLst/>
              <a:gdLst>
                <a:gd name="T0" fmla="*/ 342 w 621"/>
                <a:gd name="T1" fmla="*/ 0 h 1076"/>
                <a:gd name="T2" fmla="*/ 342 w 621"/>
                <a:gd name="T3" fmla="*/ 0 h 1076"/>
                <a:gd name="T4" fmla="*/ 342 w 621"/>
                <a:gd name="T5" fmla="*/ 239 h 1076"/>
                <a:gd name="T6" fmla="*/ 586 w 621"/>
                <a:gd name="T7" fmla="*/ 239 h 1076"/>
                <a:gd name="T8" fmla="*/ 586 w 621"/>
                <a:gd name="T9" fmla="*/ 391 h 1076"/>
                <a:gd name="T10" fmla="*/ 339 w 621"/>
                <a:gd name="T11" fmla="*/ 391 h 1076"/>
                <a:gd name="T12" fmla="*/ 339 w 621"/>
                <a:gd name="T13" fmla="*/ 780 h 1076"/>
                <a:gd name="T14" fmla="*/ 369 w 621"/>
                <a:gd name="T15" fmla="*/ 880 h 1076"/>
                <a:gd name="T16" fmla="*/ 461 w 621"/>
                <a:gd name="T17" fmla="*/ 916 h 1076"/>
                <a:gd name="T18" fmla="*/ 514 w 621"/>
                <a:gd name="T19" fmla="*/ 908 h 1076"/>
                <a:gd name="T20" fmla="*/ 567 w 621"/>
                <a:gd name="T21" fmla="*/ 889 h 1076"/>
                <a:gd name="T22" fmla="*/ 620 w 621"/>
                <a:gd name="T23" fmla="*/ 1036 h 1076"/>
                <a:gd name="T24" fmla="*/ 533 w 621"/>
                <a:gd name="T25" fmla="*/ 1064 h 1076"/>
                <a:gd name="T26" fmla="*/ 450 w 621"/>
                <a:gd name="T27" fmla="*/ 1072 h 1076"/>
                <a:gd name="T28" fmla="*/ 236 w 621"/>
                <a:gd name="T29" fmla="*/ 1002 h 1076"/>
                <a:gd name="T30" fmla="*/ 164 w 621"/>
                <a:gd name="T31" fmla="*/ 783 h 1076"/>
                <a:gd name="T32" fmla="*/ 164 w 621"/>
                <a:gd name="T33" fmla="*/ 391 h 1076"/>
                <a:gd name="T34" fmla="*/ 0 w 621"/>
                <a:gd name="T35" fmla="*/ 391 h 1076"/>
                <a:gd name="T36" fmla="*/ 0 w 621"/>
                <a:gd name="T37" fmla="*/ 239 h 1076"/>
                <a:gd name="T38" fmla="*/ 164 w 621"/>
                <a:gd name="T39" fmla="*/ 239 h 1076"/>
                <a:gd name="T40" fmla="*/ 164 w 621"/>
                <a:gd name="T41" fmla="*/ 19 h 1076"/>
                <a:gd name="T42" fmla="*/ 342 w 621"/>
                <a:gd name="T43" fmla="*/ 0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1" h="1076">
                  <a:moveTo>
                    <a:pt x="342" y="0"/>
                  </a:moveTo>
                  <a:lnTo>
                    <a:pt x="342" y="0"/>
                  </a:lnTo>
                  <a:cubicBezTo>
                    <a:pt x="342" y="239"/>
                    <a:pt x="342" y="239"/>
                    <a:pt x="342" y="239"/>
                  </a:cubicBezTo>
                  <a:cubicBezTo>
                    <a:pt x="586" y="239"/>
                    <a:pt x="586" y="239"/>
                    <a:pt x="586" y="239"/>
                  </a:cubicBezTo>
                  <a:cubicBezTo>
                    <a:pt x="586" y="391"/>
                    <a:pt x="586" y="391"/>
                    <a:pt x="586" y="391"/>
                  </a:cubicBezTo>
                  <a:cubicBezTo>
                    <a:pt x="339" y="391"/>
                    <a:pt x="339" y="391"/>
                    <a:pt x="339" y="391"/>
                  </a:cubicBezTo>
                  <a:cubicBezTo>
                    <a:pt x="339" y="780"/>
                    <a:pt x="339" y="780"/>
                    <a:pt x="339" y="780"/>
                  </a:cubicBezTo>
                  <a:cubicBezTo>
                    <a:pt x="339" y="825"/>
                    <a:pt x="350" y="858"/>
                    <a:pt x="369" y="880"/>
                  </a:cubicBezTo>
                  <a:cubicBezTo>
                    <a:pt x="389" y="905"/>
                    <a:pt x="420" y="916"/>
                    <a:pt x="461" y="916"/>
                  </a:cubicBezTo>
                  <a:cubicBezTo>
                    <a:pt x="478" y="916"/>
                    <a:pt x="494" y="914"/>
                    <a:pt x="514" y="908"/>
                  </a:cubicBezTo>
                  <a:cubicBezTo>
                    <a:pt x="533" y="905"/>
                    <a:pt x="550" y="897"/>
                    <a:pt x="567" y="889"/>
                  </a:cubicBezTo>
                  <a:cubicBezTo>
                    <a:pt x="620" y="1036"/>
                    <a:pt x="620" y="1036"/>
                    <a:pt x="620" y="1036"/>
                  </a:cubicBezTo>
                  <a:cubicBezTo>
                    <a:pt x="589" y="1047"/>
                    <a:pt x="561" y="1058"/>
                    <a:pt x="533" y="1064"/>
                  </a:cubicBezTo>
                  <a:cubicBezTo>
                    <a:pt x="508" y="1069"/>
                    <a:pt x="481" y="1072"/>
                    <a:pt x="450" y="1072"/>
                  </a:cubicBezTo>
                  <a:cubicBezTo>
                    <a:pt x="358" y="1075"/>
                    <a:pt x="286" y="1050"/>
                    <a:pt x="236" y="1002"/>
                  </a:cubicBezTo>
                  <a:cubicBezTo>
                    <a:pt x="189" y="952"/>
                    <a:pt x="164" y="880"/>
                    <a:pt x="164" y="783"/>
                  </a:cubicBezTo>
                  <a:cubicBezTo>
                    <a:pt x="164" y="391"/>
                    <a:pt x="164" y="391"/>
                    <a:pt x="164" y="391"/>
                  </a:cubicBezTo>
                  <a:cubicBezTo>
                    <a:pt x="0" y="391"/>
                    <a:pt x="0" y="391"/>
                    <a:pt x="0" y="391"/>
                  </a:cubicBezTo>
                  <a:cubicBezTo>
                    <a:pt x="0" y="239"/>
                    <a:pt x="0" y="239"/>
                    <a:pt x="0" y="239"/>
                  </a:cubicBezTo>
                  <a:cubicBezTo>
                    <a:pt x="164" y="239"/>
                    <a:pt x="164" y="239"/>
                    <a:pt x="164" y="239"/>
                  </a:cubicBezTo>
                  <a:cubicBezTo>
                    <a:pt x="164" y="19"/>
                    <a:pt x="164" y="19"/>
                    <a:pt x="164" y="19"/>
                  </a:cubicBezTo>
                  <a:lnTo>
                    <a:pt x="34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7" name="Freeform 5">
              <a:extLst>
                <a:ext uri="{FF2B5EF4-FFF2-40B4-BE49-F238E27FC236}">
                  <a16:creationId xmlns:a16="http://schemas.microsoft.com/office/drawing/2014/main" id="{05284C75-5856-D345-A81B-44974F4E29B6}"/>
                </a:ext>
              </a:extLst>
            </p:cNvPr>
            <p:cNvSpPr>
              <a:spLocks noChangeArrowheads="1"/>
            </p:cNvSpPr>
            <p:nvPr userDrawn="1"/>
          </p:nvSpPr>
          <p:spPr bwMode="auto">
            <a:xfrm>
              <a:off x="3186113" y="3143250"/>
              <a:ext cx="314325" cy="307975"/>
            </a:xfrm>
            <a:custGeom>
              <a:avLst/>
              <a:gdLst>
                <a:gd name="T0" fmla="*/ 433 w 873"/>
                <a:gd name="T1" fmla="*/ 0 h 857"/>
                <a:gd name="T2" fmla="*/ 433 w 873"/>
                <a:gd name="T3" fmla="*/ 0 h 857"/>
                <a:gd name="T4" fmla="*/ 611 w 873"/>
                <a:gd name="T5" fmla="*/ 33 h 857"/>
                <a:gd name="T6" fmla="*/ 750 w 873"/>
                <a:gd name="T7" fmla="*/ 125 h 857"/>
                <a:gd name="T8" fmla="*/ 839 w 873"/>
                <a:gd name="T9" fmla="*/ 261 h 857"/>
                <a:gd name="T10" fmla="*/ 872 w 873"/>
                <a:gd name="T11" fmla="*/ 428 h 857"/>
                <a:gd name="T12" fmla="*/ 839 w 873"/>
                <a:gd name="T13" fmla="*/ 597 h 857"/>
                <a:gd name="T14" fmla="*/ 753 w 873"/>
                <a:gd name="T15" fmla="*/ 733 h 857"/>
                <a:gd name="T16" fmla="*/ 614 w 873"/>
                <a:gd name="T17" fmla="*/ 825 h 857"/>
                <a:gd name="T18" fmla="*/ 433 w 873"/>
                <a:gd name="T19" fmla="*/ 856 h 857"/>
                <a:gd name="T20" fmla="*/ 256 w 873"/>
                <a:gd name="T21" fmla="*/ 825 h 857"/>
                <a:gd name="T22" fmla="*/ 117 w 873"/>
                <a:gd name="T23" fmla="*/ 733 h 857"/>
                <a:gd name="T24" fmla="*/ 31 w 873"/>
                <a:gd name="T25" fmla="*/ 597 h 857"/>
                <a:gd name="T26" fmla="*/ 0 w 873"/>
                <a:gd name="T27" fmla="*/ 428 h 857"/>
                <a:gd name="T28" fmla="*/ 31 w 873"/>
                <a:gd name="T29" fmla="*/ 261 h 857"/>
                <a:gd name="T30" fmla="*/ 120 w 873"/>
                <a:gd name="T31" fmla="*/ 125 h 857"/>
                <a:gd name="T32" fmla="*/ 256 w 873"/>
                <a:gd name="T33" fmla="*/ 33 h 857"/>
                <a:gd name="T34" fmla="*/ 433 w 873"/>
                <a:gd name="T35" fmla="*/ 0 h 857"/>
                <a:gd name="T36" fmla="*/ 433 w 873"/>
                <a:gd name="T37" fmla="*/ 161 h 857"/>
                <a:gd name="T38" fmla="*/ 433 w 873"/>
                <a:gd name="T39" fmla="*/ 161 h 857"/>
                <a:gd name="T40" fmla="*/ 325 w 873"/>
                <a:gd name="T41" fmla="*/ 181 h 857"/>
                <a:gd name="T42" fmla="*/ 245 w 873"/>
                <a:gd name="T43" fmla="*/ 242 h 857"/>
                <a:gd name="T44" fmla="*/ 195 w 873"/>
                <a:gd name="T45" fmla="*/ 328 h 857"/>
                <a:gd name="T46" fmla="*/ 175 w 873"/>
                <a:gd name="T47" fmla="*/ 430 h 857"/>
                <a:gd name="T48" fmla="*/ 195 w 873"/>
                <a:gd name="T49" fmla="*/ 533 h 857"/>
                <a:gd name="T50" fmla="*/ 245 w 873"/>
                <a:gd name="T51" fmla="*/ 617 h 857"/>
                <a:gd name="T52" fmla="*/ 325 w 873"/>
                <a:gd name="T53" fmla="*/ 675 h 857"/>
                <a:gd name="T54" fmla="*/ 433 w 873"/>
                <a:gd name="T55" fmla="*/ 697 h 857"/>
                <a:gd name="T56" fmla="*/ 542 w 873"/>
                <a:gd name="T57" fmla="*/ 675 h 857"/>
                <a:gd name="T58" fmla="*/ 625 w 873"/>
                <a:gd name="T59" fmla="*/ 617 h 857"/>
                <a:gd name="T60" fmla="*/ 675 w 873"/>
                <a:gd name="T61" fmla="*/ 533 h 857"/>
                <a:gd name="T62" fmla="*/ 694 w 873"/>
                <a:gd name="T63" fmla="*/ 430 h 857"/>
                <a:gd name="T64" fmla="*/ 675 w 873"/>
                <a:gd name="T65" fmla="*/ 328 h 857"/>
                <a:gd name="T66" fmla="*/ 622 w 873"/>
                <a:gd name="T67" fmla="*/ 242 h 857"/>
                <a:gd name="T68" fmla="*/ 539 w 873"/>
                <a:gd name="T69" fmla="*/ 181 h 857"/>
                <a:gd name="T70" fmla="*/ 433 w 873"/>
                <a:gd name="T71" fmla="*/ 161 h 857"/>
                <a:gd name="T72" fmla="*/ 433 w 873"/>
                <a:gd name="T73"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57">
                  <a:moveTo>
                    <a:pt x="433" y="0"/>
                  </a:moveTo>
                  <a:lnTo>
                    <a:pt x="433" y="0"/>
                  </a:lnTo>
                  <a:cubicBezTo>
                    <a:pt x="500" y="0"/>
                    <a:pt x="558" y="11"/>
                    <a:pt x="611" y="33"/>
                  </a:cubicBezTo>
                  <a:cubicBezTo>
                    <a:pt x="664" y="56"/>
                    <a:pt x="711" y="86"/>
                    <a:pt x="750" y="125"/>
                  </a:cubicBezTo>
                  <a:cubicBezTo>
                    <a:pt x="789" y="161"/>
                    <a:pt x="820" y="208"/>
                    <a:pt x="839" y="261"/>
                  </a:cubicBezTo>
                  <a:cubicBezTo>
                    <a:pt x="861" y="314"/>
                    <a:pt x="872" y="369"/>
                    <a:pt x="872" y="428"/>
                  </a:cubicBezTo>
                  <a:cubicBezTo>
                    <a:pt x="872" y="489"/>
                    <a:pt x="861" y="547"/>
                    <a:pt x="839" y="597"/>
                  </a:cubicBezTo>
                  <a:cubicBezTo>
                    <a:pt x="820" y="650"/>
                    <a:pt x="792" y="694"/>
                    <a:pt x="753" y="733"/>
                  </a:cubicBezTo>
                  <a:cubicBezTo>
                    <a:pt x="714" y="772"/>
                    <a:pt x="667" y="803"/>
                    <a:pt x="614" y="825"/>
                  </a:cubicBezTo>
                  <a:cubicBezTo>
                    <a:pt x="561" y="847"/>
                    <a:pt x="500" y="856"/>
                    <a:pt x="433" y="856"/>
                  </a:cubicBezTo>
                  <a:cubicBezTo>
                    <a:pt x="367" y="856"/>
                    <a:pt x="308" y="847"/>
                    <a:pt x="256" y="825"/>
                  </a:cubicBezTo>
                  <a:cubicBezTo>
                    <a:pt x="200" y="803"/>
                    <a:pt x="156" y="772"/>
                    <a:pt x="117" y="733"/>
                  </a:cubicBezTo>
                  <a:cubicBezTo>
                    <a:pt x="81" y="694"/>
                    <a:pt x="50" y="650"/>
                    <a:pt x="31" y="597"/>
                  </a:cubicBezTo>
                  <a:cubicBezTo>
                    <a:pt x="11" y="547"/>
                    <a:pt x="0" y="489"/>
                    <a:pt x="0" y="428"/>
                  </a:cubicBezTo>
                  <a:cubicBezTo>
                    <a:pt x="0" y="369"/>
                    <a:pt x="11" y="314"/>
                    <a:pt x="31" y="261"/>
                  </a:cubicBezTo>
                  <a:cubicBezTo>
                    <a:pt x="50" y="208"/>
                    <a:pt x="81" y="161"/>
                    <a:pt x="120" y="125"/>
                  </a:cubicBezTo>
                  <a:cubicBezTo>
                    <a:pt x="156" y="86"/>
                    <a:pt x="203" y="56"/>
                    <a:pt x="256" y="33"/>
                  </a:cubicBezTo>
                  <a:cubicBezTo>
                    <a:pt x="308" y="11"/>
                    <a:pt x="370" y="0"/>
                    <a:pt x="433" y="0"/>
                  </a:cubicBezTo>
                  <a:lnTo>
                    <a:pt x="433" y="161"/>
                  </a:lnTo>
                  <a:lnTo>
                    <a:pt x="433" y="161"/>
                  </a:lnTo>
                  <a:cubicBezTo>
                    <a:pt x="394" y="161"/>
                    <a:pt x="358" y="167"/>
                    <a:pt x="325" y="181"/>
                  </a:cubicBezTo>
                  <a:cubicBezTo>
                    <a:pt x="295" y="197"/>
                    <a:pt x="267" y="217"/>
                    <a:pt x="245" y="242"/>
                  </a:cubicBezTo>
                  <a:cubicBezTo>
                    <a:pt x="222" y="267"/>
                    <a:pt x="206" y="294"/>
                    <a:pt x="195" y="328"/>
                  </a:cubicBezTo>
                  <a:cubicBezTo>
                    <a:pt x="181" y="358"/>
                    <a:pt x="175" y="394"/>
                    <a:pt x="175" y="430"/>
                  </a:cubicBezTo>
                  <a:cubicBezTo>
                    <a:pt x="175" y="467"/>
                    <a:pt x="181" y="500"/>
                    <a:pt x="195" y="533"/>
                  </a:cubicBezTo>
                  <a:cubicBezTo>
                    <a:pt x="206" y="567"/>
                    <a:pt x="222" y="594"/>
                    <a:pt x="245" y="617"/>
                  </a:cubicBezTo>
                  <a:cubicBezTo>
                    <a:pt x="267" y="642"/>
                    <a:pt x="295" y="661"/>
                    <a:pt x="325" y="675"/>
                  </a:cubicBezTo>
                  <a:cubicBezTo>
                    <a:pt x="358" y="689"/>
                    <a:pt x="394" y="697"/>
                    <a:pt x="433" y="697"/>
                  </a:cubicBezTo>
                  <a:cubicBezTo>
                    <a:pt x="475" y="697"/>
                    <a:pt x="511" y="689"/>
                    <a:pt x="542" y="675"/>
                  </a:cubicBezTo>
                  <a:cubicBezTo>
                    <a:pt x="575" y="661"/>
                    <a:pt x="603" y="642"/>
                    <a:pt x="625" y="617"/>
                  </a:cubicBezTo>
                  <a:cubicBezTo>
                    <a:pt x="647" y="594"/>
                    <a:pt x="664" y="567"/>
                    <a:pt x="675" y="533"/>
                  </a:cubicBezTo>
                  <a:cubicBezTo>
                    <a:pt x="686" y="500"/>
                    <a:pt x="694" y="467"/>
                    <a:pt x="694" y="430"/>
                  </a:cubicBezTo>
                  <a:cubicBezTo>
                    <a:pt x="694" y="394"/>
                    <a:pt x="686" y="358"/>
                    <a:pt x="675" y="328"/>
                  </a:cubicBezTo>
                  <a:cubicBezTo>
                    <a:pt x="661" y="294"/>
                    <a:pt x="645" y="267"/>
                    <a:pt x="622" y="242"/>
                  </a:cubicBezTo>
                  <a:cubicBezTo>
                    <a:pt x="600" y="217"/>
                    <a:pt x="572" y="197"/>
                    <a:pt x="539" y="181"/>
                  </a:cubicBezTo>
                  <a:cubicBezTo>
                    <a:pt x="508" y="167"/>
                    <a:pt x="472" y="161"/>
                    <a:pt x="433" y="161"/>
                  </a:cubicBezTo>
                  <a:lnTo>
                    <a:pt x="4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8" name="Freeform 6">
              <a:extLst>
                <a:ext uri="{FF2B5EF4-FFF2-40B4-BE49-F238E27FC236}">
                  <a16:creationId xmlns:a16="http://schemas.microsoft.com/office/drawing/2014/main" id="{9366CC80-F92F-7943-A635-0AEC8DF6B23E}"/>
                </a:ext>
              </a:extLst>
            </p:cNvPr>
            <p:cNvSpPr>
              <a:spLocks noChangeArrowheads="1"/>
            </p:cNvSpPr>
            <p:nvPr userDrawn="1"/>
          </p:nvSpPr>
          <p:spPr bwMode="auto">
            <a:xfrm>
              <a:off x="3567113" y="3143250"/>
              <a:ext cx="476250" cy="301625"/>
            </a:xfrm>
            <a:custGeom>
              <a:avLst/>
              <a:gdLst>
                <a:gd name="T0" fmla="*/ 575 w 1321"/>
                <a:gd name="T1" fmla="*/ 839 h 840"/>
                <a:gd name="T2" fmla="*/ 575 w 1321"/>
                <a:gd name="T3" fmla="*/ 839 h 840"/>
                <a:gd name="T4" fmla="*/ 575 w 1321"/>
                <a:gd name="T5" fmla="*/ 386 h 840"/>
                <a:gd name="T6" fmla="*/ 561 w 1321"/>
                <a:gd name="T7" fmla="*/ 300 h 840"/>
                <a:gd name="T8" fmla="*/ 523 w 1321"/>
                <a:gd name="T9" fmla="*/ 228 h 840"/>
                <a:gd name="T10" fmla="*/ 461 w 1321"/>
                <a:gd name="T11" fmla="*/ 181 h 840"/>
                <a:gd name="T12" fmla="*/ 378 w 1321"/>
                <a:gd name="T13" fmla="*/ 161 h 840"/>
                <a:gd name="T14" fmla="*/ 295 w 1321"/>
                <a:gd name="T15" fmla="*/ 181 h 840"/>
                <a:gd name="T16" fmla="*/ 231 w 1321"/>
                <a:gd name="T17" fmla="*/ 228 h 840"/>
                <a:gd name="T18" fmla="*/ 189 w 1321"/>
                <a:gd name="T19" fmla="*/ 300 h 840"/>
                <a:gd name="T20" fmla="*/ 175 w 1321"/>
                <a:gd name="T21" fmla="*/ 386 h 840"/>
                <a:gd name="T22" fmla="*/ 175 w 1321"/>
                <a:gd name="T23" fmla="*/ 839 h 840"/>
                <a:gd name="T24" fmla="*/ 0 w 1321"/>
                <a:gd name="T25" fmla="*/ 839 h 840"/>
                <a:gd name="T26" fmla="*/ 0 w 1321"/>
                <a:gd name="T27" fmla="*/ 14 h 840"/>
                <a:gd name="T28" fmla="*/ 164 w 1321"/>
                <a:gd name="T29" fmla="*/ 14 h 840"/>
                <a:gd name="T30" fmla="*/ 175 w 1321"/>
                <a:gd name="T31" fmla="*/ 125 h 840"/>
                <a:gd name="T32" fmla="*/ 278 w 1321"/>
                <a:gd name="T33" fmla="*/ 28 h 840"/>
                <a:gd name="T34" fmla="*/ 411 w 1321"/>
                <a:gd name="T35" fmla="*/ 0 h 840"/>
                <a:gd name="T36" fmla="*/ 492 w 1321"/>
                <a:gd name="T37" fmla="*/ 8 h 840"/>
                <a:gd name="T38" fmla="*/ 564 w 1321"/>
                <a:gd name="T39" fmla="*/ 39 h 840"/>
                <a:gd name="T40" fmla="*/ 628 w 1321"/>
                <a:gd name="T41" fmla="*/ 89 h 840"/>
                <a:gd name="T42" fmla="*/ 675 w 1321"/>
                <a:gd name="T43" fmla="*/ 167 h 840"/>
                <a:gd name="T44" fmla="*/ 800 w 1321"/>
                <a:gd name="T45" fmla="*/ 39 h 840"/>
                <a:gd name="T46" fmla="*/ 964 w 1321"/>
                <a:gd name="T47" fmla="*/ 3 h 840"/>
                <a:gd name="T48" fmla="*/ 1231 w 1321"/>
                <a:gd name="T49" fmla="*/ 103 h 840"/>
                <a:gd name="T50" fmla="*/ 1320 w 1321"/>
                <a:gd name="T51" fmla="*/ 383 h 840"/>
                <a:gd name="T52" fmla="*/ 1320 w 1321"/>
                <a:gd name="T53" fmla="*/ 839 h 840"/>
                <a:gd name="T54" fmla="*/ 1142 w 1321"/>
                <a:gd name="T55" fmla="*/ 839 h 840"/>
                <a:gd name="T56" fmla="*/ 1142 w 1321"/>
                <a:gd name="T57" fmla="*/ 383 h 840"/>
                <a:gd name="T58" fmla="*/ 1131 w 1321"/>
                <a:gd name="T59" fmla="*/ 297 h 840"/>
                <a:gd name="T60" fmla="*/ 1095 w 1321"/>
                <a:gd name="T61" fmla="*/ 228 h 840"/>
                <a:gd name="T62" fmla="*/ 1039 w 1321"/>
                <a:gd name="T63" fmla="*/ 181 h 840"/>
                <a:gd name="T64" fmla="*/ 956 w 1321"/>
                <a:gd name="T65" fmla="*/ 164 h 840"/>
                <a:gd name="T66" fmla="*/ 873 w 1321"/>
                <a:gd name="T67" fmla="*/ 181 h 840"/>
                <a:gd name="T68" fmla="*/ 809 w 1321"/>
                <a:gd name="T69" fmla="*/ 228 h 840"/>
                <a:gd name="T70" fmla="*/ 767 w 1321"/>
                <a:gd name="T71" fmla="*/ 300 h 840"/>
                <a:gd name="T72" fmla="*/ 753 w 1321"/>
                <a:gd name="T73" fmla="*/ 386 h 840"/>
                <a:gd name="T74" fmla="*/ 753 w 1321"/>
                <a:gd name="T75" fmla="*/ 839 h 840"/>
                <a:gd name="T76" fmla="*/ 575 w 1321"/>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1" h="840">
                  <a:moveTo>
                    <a:pt x="575" y="839"/>
                  </a:moveTo>
                  <a:lnTo>
                    <a:pt x="575" y="839"/>
                  </a:lnTo>
                  <a:cubicBezTo>
                    <a:pt x="575" y="386"/>
                    <a:pt x="575" y="386"/>
                    <a:pt x="575" y="386"/>
                  </a:cubicBezTo>
                  <a:cubicBezTo>
                    <a:pt x="575" y="356"/>
                    <a:pt x="570" y="328"/>
                    <a:pt x="561" y="300"/>
                  </a:cubicBezTo>
                  <a:cubicBezTo>
                    <a:pt x="553" y="272"/>
                    <a:pt x="539" y="247"/>
                    <a:pt x="523" y="228"/>
                  </a:cubicBezTo>
                  <a:cubicBezTo>
                    <a:pt x="506" y="208"/>
                    <a:pt x="486" y="192"/>
                    <a:pt x="461" y="181"/>
                  </a:cubicBezTo>
                  <a:cubicBezTo>
                    <a:pt x="436" y="167"/>
                    <a:pt x="409" y="161"/>
                    <a:pt x="378" y="161"/>
                  </a:cubicBezTo>
                  <a:cubicBezTo>
                    <a:pt x="348" y="161"/>
                    <a:pt x="320" y="167"/>
                    <a:pt x="295" y="181"/>
                  </a:cubicBezTo>
                  <a:cubicBezTo>
                    <a:pt x="270" y="192"/>
                    <a:pt x="248" y="208"/>
                    <a:pt x="231" y="228"/>
                  </a:cubicBezTo>
                  <a:cubicBezTo>
                    <a:pt x="211" y="247"/>
                    <a:pt x="200" y="272"/>
                    <a:pt x="189" y="300"/>
                  </a:cubicBezTo>
                  <a:cubicBezTo>
                    <a:pt x="181" y="328"/>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198" y="78"/>
                    <a:pt x="234" y="47"/>
                    <a:pt x="278" y="28"/>
                  </a:cubicBezTo>
                  <a:cubicBezTo>
                    <a:pt x="323" y="11"/>
                    <a:pt x="367" y="0"/>
                    <a:pt x="411" y="0"/>
                  </a:cubicBezTo>
                  <a:cubicBezTo>
                    <a:pt x="439" y="0"/>
                    <a:pt x="464" y="3"/>
                    <a:pt x="492" y="8"/>
                  </a:cubicBezTo>
                  <a:cubicBezTo>
                    <a:pt x="517" y="14"/>
                    <a:pt x="542" y="25"/>
                    <a:pt x="564" y="39"/>
                  </a:cubicBezTo>
                  <a:cubicBezTo>
                    <a:pt x="589" y="50"/>
                    <a:pt x="609" y="69"/>
                    <a:pt x="628" y="89"/>
                  </a:cubicBezTo>
                  <a:cubicBezTo>
                    <a:pt x="647" y="111"/>
                    <a:pt x="661" y="136"/>
                    <a:pt x="675" y="167"/>
                  </a:cubicBezTo>
                  <a:cubicBezTo>
                    <a:pt x="709" y="106"/>
                    <a:pt x="750" y="64"/>
                    <a:pt x="800" y="39"/>
                  </a:cubicBezTo>
                  <a:cubicBezTo>
                    <a:pt x="850" y="14"/>
                    <a:pt x="906" y="3"/>
                    <a:pt x="964" y="3"/>
                  </a:cubicBezTo>
                  <a:cubicBezTo>
                    <a:pt x="1081" y="3"/>
                    <a:pt x="1170" y="36"/>
                    <a:pt x="1231" y="103"/>
                  </a:cubicBezTo>
                  <a:cubicBezTo>
                    <a:pt x="1289" y="172"/>
                    <a:pt x="1320" y="264"/>
                    <a:pt x="1320" y="383"/>
                  </a:cubicBezTo>
                  <a:cubicBezTo>
                    <a:pt x="1320" y="839"/>
                    <a:pt x="1320" y="839"/>
                    <a:pt x="1320" y="839"/>
                  </a:cubicBezTo>
                  <a:cubicBezTo>
                    <a:pt x="1142" y="839"/>
                    <a:pt x="1142" y="839"/>
                    <a:pt x="1142" y="839"/>
                  </a:cubicBezTo>
                  <a:cubicBezTo>
                    <a:pt x="1142" y="383"/>
                    <a:pt x="1142" y="383"/>
                    <a:pt x="1142" y="383"/>
                  </a:cubicBezTo>
                  <a:cubicBezTo>
                    <a:pt x="1142" y="353"/>
                    <a:pt x="1139" y="325"/>
                    <a:pt x="1131" y="297"/>
                  </a:cubicBezTo>
                  <a:cubicBezTo>
                    <a:pt x="1122" y="269"/>
                    <a:pt x="1111" y="247"/>
                    <a:pt x="1095" y="228"/>
                  </a:cubicBezTo>
                  <a:cubicBezTo>
                    <a:pt x="1081" y="206"/>
                    <a:pt x="1061" y="192"/>
                    <a:pt x="1039" y="181"/>
                  </a:cubicBezTo>
                  <a:cubicBezTo>
                    <a:pt x="1014" y="169"/>
                    <a:pt x="986" y="164"/>
                    <a:pt x="956" y="164"/>
                  </a:cubicBezTo>
                  <a:cubicBezTo>
                    <a:pt x="925" y="164"/>
                    <a:pt x="897" y="169"/>
                    <a:pt x="873" y="181"/>
                  </a:cubicBezTo>
                  <a:cubicBezTo>
                    <a:pt x="847" y="192"/>
                    <a:pt x="825" y="208"/>
                    <a:pt x="809" y="228"/>
                  </a:cubicBezTo>
                  <a:cubicBezTo>
                    <a:pt x="789" y="250"/>
                    <a:pt x="775" y="272"/>
                    <a:pt x="767" y="300"/>
                  </a:cubicBezTo>
                  <a:cubicBezTo>
                    <a:pt x="756" y="328"/>
                    <a:pt x="753" y="356"/>
                    <a:pt x="753" y="386"/>
                  </a:cubicBezTo>
                  <a:cubicBezTo>
                    <a:pt x="753" y="839"/>
                    <a:pt x="753" y="839"/>
                    <a:pt x="753" y="839"/>
                  </a:cubicBezTo>
                  <a:lnTo>
                    <a:pt x="575" y="83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9" name="Freeform 7">
              <a:extLst>
                <a:ext uri="{FF2B5EF4-FFF2-40B4-BE49-F238E27FC236}">
                  <a16:creationId xmlns:a16="http://schemas.microsoft.com/office/drawing/2014/main" id="{E2F6B9AB-0558-B648-BB52-D7C48A2DD373}"/>
                </a:ext>
              </a:extLst>
            </p:cNvPr>
            <p:cNvSpPr>
              <a:spLocks noChangeArrowheads="1"/>
            </p:cNvSpPr>
            <p:nvPr userDrawn="1"/>
          </p:nvSpPr>
          <p:spPr bwMode="auto">
            <a:xfrm>
              <a:off x="4105275" y="3141663"/>
              <a:ext cx="314325" cy="312737"/>
            </a:xfrm>
            <a:custGeom>
              <a:avLst/>
              <a:gdLst>
                <a:gd name="T0" fmla="*/ 864 w 874"/>
                <a:gd name="T1" fmla="*/ 498 h 868"/>
                <a:gd name="T2" fmla="*/ 864 w 874"/>
                <a:gd name="T3" fmla="*/ 498 h 868"/>
                <a:gd name="T4" fmla="*/ 181 w 874"/>
                <a:gd name="T5" fmla="*/ 498 h 868"/>
                <a:gd name="T6" fmla="*/ 267 w 874"/>
                <a:gd name="T7" fmla="*/ 650 h 868"/>
                <a:gd name="T8" fmla="*/ 456 w 874"/>
                <a:gd name="T9" fmla="*/ 706 h 868"/>
                <a:gd name="T10" fmla="*/ 592 w 874"/>
                <a:gd name="T11" fmla="*/ 684 h 868"/>
                <a:gd name="T12" fmla="*/ 700 w 874"/>
                <a:gd name="T13" fmla="*/ 617 h 868"/>
                <a:gd name="T14" fmla="*/ 814 w 874"/>
                <a:gd name="T15" fmla="*/ 725 h 868"/>
                <a:gd name="T16" fmla="*/ 739 w 874"/>
                <a:gd name="T17" fmla="*/ 786 h 868"/>
                <a:gd name="T18" fmla="*/ 650 w 874"/>
                <a:gd name="T19" fmla="*/ 831 h 868"/>
                <a:gd name="T20" fmla="*/ 553 w 874"/>
                <a:gd name="T21" fmla="*/ 859 h 868"/>
                <a:gd name="T22" fmla="*/ 453 w 874"/>
                <a:gd name="T23" fmla="*/ 867 h 868"/>
                <a:gd name="T24" fmla="*/ 267 w 874"/>
                <a:gd name="T25" fmla="*/ 836 h 868"/>
                <a:gd name="T26" fmla="*/ 123 w 874"/>
                <a:gd name="T27" fmla="*/ 748 h 868"/>
                <a:gd name="T28" fmla="*/ 31 w 874"/>
                <a:gd name="T29" fmla="*/ 609 h 868"/>
                <a:gd name="T30" fmla="*/ 0 w 874"/>
                <a:gd name="T31" fmla="*/ 431 h 868"/>
                <a:gd name="T32" fmla="*/ 31 w 874"/>
                <a:gd name="T33" fmla="*/ 256 h 868"/>
                <a:gd name="T34" fmla="*/ 123 w 874"/>
                <a:gd name="T35" fmla="*/ 120 h 868"/>
                <a:gd name="T36" fmla="*/ 261 w 874"/>
                <a:gd name="T37" fmla="*/ 31 h 868"/>
                <a:gd name="T38" fmla="*/ 442 w 874"/>
                <a:gd name="T39" fmla="*/ 0 h 868"/>
                <a:gd name="T40" fmla="*/ 628 w 874"/>
                <a:gd name="T41" fmla="*/ 31 h 868"/>
                <a:gd name="T42" fmla="*/ 767 w 874"/>
                <a:gd name="T43" fmla="*/ 125 h 868"/>
                <a:gd name="T44" fmla="*/ 850 w 874"/>
                <a:gd name="T45" fmla="*/ 278 h 868"/>
                <a:gd name="T46" fmla="*/ 864 w 874"/>
                <a:gd name="T47" fmla="*/ 498 h 868"/>
                <a:gd name="T48" fmla="*/ 187 w 874"/>
                <a:gd name="T49" fmla="*/ 353 h 868"/>
                <a:gd name="T50" fmla="*/ 187 w 874"/>
                <a:gd name="T51" fmla="*/ 353 h 868"/>
                <a:gd name="T52" fmla="*/ 695 w 874"/>
                <a:gd name="T53" fmla="*/ 353 h 868"/>
                <a:gd name="T54" fmla="*/ 620 w 874"/>
                <a:gd name="T55" fmla="*/ 203 h 868"/>
                <a:gd name="T56" fmla="*/ 448 w 874"/>
                <a:gd name="T57" fmla="*/ 153 h 868"/>
                <a:gd name="T58" fmla="*/ 278 w 874"/>
                <a:gd name="T59" fmla="*/ 203 h 868"/>
                <a:gd name="T60" fmla="*/ 187 w 874"/>
                <a:gd name="T61" fmla="*/ 353 h 868"/>
                <a:gd name="T62" fmla="*/ 864 w 874"/>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4" h="868">
                  <a:moveTo>
                    <a:pt x="864" y="498"/>
                  </a:moveTo>
                  <a:lnTo>
                    <a:pt x="864" y="498"/>
                  </a:lnTo>
                  <a:cubicBezTo>
                    <a:pt x="181" y="498"/>
                    <a:pt x="181" y="498"/>
                    <a:pt x="181" y="498"/>
                  </a:cubicBezTo>
                  <a:cubicBezTo>
                    <a:pt x="189" y="562"/>
                    <a:pt x="217" y="611"/>
                    <a:pt x="267" y="650"/>
                  </a:cubicBezTo>
                  <a:cubicBezTo>
                    <a:pt x="317" y="686"/>
                    <a:pt x="378" y="706"/>
                    <a:pt x="456" y="706"/>
                  </a:cubicBezTo>
                  <a:cubicBezTo>
                    <a:pt x="500" y="706"/>
                    <a:pt x="545" y="698"/>
                    <a:pt x="592" y="684"/>
                  </a:cubicBezTo>
                  <a:cubicBezTo>
                    <a:pt x="639" y="667"/>
                    <a:pt x="675" y="645"/>
                    <a:pt x="700" y="617"/>
                  </a:cubicBezTo>
                  <a:cubicBezTo>
                    <a:pt x="814" y="725"/>
                    <a:pt x="814" y="725"/>
                    <a:pt x="814" y="725"/>
                  </a:cubicBezTo>
                  <a:cubicBezTo>
                    <a:pt x="795" y="750"/>
                    <a:pt x="770" y="770"/>
                    <a:pt x="739" y="786"/>
                  </a:cubicBezTo>
                  <a:cubicBezTo>
                    <a:pt x="711" y="806"/>
                    <a:pt x="681" y="820"/>
                    <a:pt x="650" y="831"/>
                  </a:cubicBezTo>
                  <a:cubicBezTo>
                    <a:pt x="620" y="845"/>
                    <a:pt x="587" y="853"/>
                    <a:pt x="553" y="859"/>
                  </a:cubicBezTo>
                  <a:cubicBezTo>
                    <a:pt x="517" y="864"/>
                    <a:pt x="487" y="867"/>
                    <a:pt x="453" y="867"/>
                  </a:cubicBezTo>
                  <a:cubicBezTo>
                    <a:pt x="384" y="867"/>
                    <a:pt x="323" y="856"/>
                    <a:pt x="267" y="836"/>
                  </a:cubicBezTo>
                  <a:cubicBezTo>
                    <a:pt x="209" y="814"/>
                    <a:pt x="161" y="786"/>
                    <a:pt x="123" y="748"/>
                  </a:cubicBezTo>
                  <a:cubicBezTo>
                    <a:pt x="84" y="709"/>
                    <a:pt x="53" y="664"/>
                    <a:pt x="31" y="609"/>
                  </a:cubicBezTo>
                  <a:cubicBezTo>
                    <a:pt x="12" y="556"/>
                    <a:pt x="0" y="495"/>
                    <a:pt x="0" y="431"/>
                  </a:cubicBezTo>
                  <a:cubicBezTo>
                    <a:pt x="0" y="367"/>
                    <a:pt x="12" y="309"/>
                    <a:pt x="31" y="256"/>
                  </a:cubicBezTo>
                  <a:cubicBezTo>
                    <a:pt x="53" y="203"/>
                    <a:pt x="84" y="159"/>
                    <a:pt x="123" y="120"/>
                  </a:cubicBezTo>
                  <a:cubicBezTo>
                    <a:pt x="161" y="84"/>
                    <a:pt x="209" y="53"/>
                    <a:pt x="261" y="31"/>
                  </a:cubicBezTo>
                  <a:cubicBezTo>
                    <a:pt x="314" y="12"/>
                    <a:pt x="375" y="0"/>
                    <a:pt x="442" y="0"/>
                  </a:cubicBezTo>
                  <a:cubicBezTo>
                    <a:pt x="509" y="0"/>
                    <a:pt x="573" y="12"/>
                    <a:pt x="628" y="31"/>
                  </a:cubicBezTo>
                  <a:cubicBezTo>
                    <a:pt x="681" y="53"/>
                    <a:pt x="728" y="84"/>
                    <a:pt x="767" y="125"/>
                  </a:cubicBezTo>
                  <a:cubicBezTo>
                    <a:pt x="806" y="164"/>
                    <a:pt x="834" y="217"/>
                    <a:pt x="850" y="278"/>
                  </a:cubicBezTo>
                  <a:cubicBezTo>
                    <a:pt x="867" y="342"/>
                    <a:pt x="873" y="414"/>
                    <a:pt x="864" y="498"/>
                  </a:cubicBezTo>
                  <a:lnTo>
                    <a:pt x="187" y="353"/>
                  </a:lnTo>
                  <a:lnTo>
                    <a:pt x="187" y="353"/>
                  </a:lnTo>
                  <a:cubicBezTo>
                    <a:pt x="695" y="353"/>
                    <a:pt x="695" y="353"/>
                    <a:pt x="695" y="353"/>
                  </a:cubicBezTo>
                  <a:cubicBezTo>
                    <a:pt x="689" y="287"/>
                    <a:pt x="664" y="236"/>
                    <a:pt x="620" y="203"/>
                  </a:cubicBezTo>
                  <a:cubicBezTo>
                    <a:pt x="575" y="170"/>
                    <a:pt x="517" y="153"/>
                    <a:pt x="448" y="153"/>
                  </a:cubicBezTo>
                  <a:cubicBezTo>
                    <a:pt x="381" y="153"/>
                    <a:pt x="325" y="170"/>
                    <a:pt x="278" y="203"/>
                  </a:cubicBezTo>
                  <a:cubicBezTo>
                    <a:pt x="231" y="236"/>
                    <a:pt x="200" y="287"/>
                    <a:pt x="187" y="353"/>
                  </a:cubicBezTo>
                  <a:lnTo>
                    <a:pt x="864"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0" name="Freeform 8">
              <a:extLst>
                <a:ext uri="{FF2B5EF4-FFF2-40B4-BE49-F238E27FC236}">
                  <a16:creationId xmlns:a16="http://schemas.microsoft.com/office/drawing/2014/main" id="{50A0DF5B-688C-4A43-8F5B-B9248BF5C125}"/>
                </a:ext>
              </a:extLst>
            </p:cNvPr>
            <p:cNvSpPr>
              <a:spLocks noChangeArrowheads="1"/>
            </p:cNvSpPr>
            <p:nvPr userDrawn="1"/>
          </p:nvSpPr>
          <p:spPr bwMode="auto">
            <a:xfrm>
              <a:off x="4481513" y="3141663"/>
              <a:ext cx="227012" cy="303212"/>
            </a:xfrm>
            <a:custGeom>
              <a:avLst/>
              <a:gdLst>
                <a:gd name="T0" fmla="*/ 164 w 631"/>
                <a:gd name="T1" fmla="*/ 20 h 843"/>
                <a:gd name="T2" fmla="*/ 164 w 631"/>
                <a:gd name="T3" fmla="*/ 20 h 843"/>
                <a:gd name="T4" fmla="*/ 175 w 631"/>
                <a:gd name="T5" fmla="*/ 128 h 843"/>
                <a:gd name="T6" fmla="*/ 289 w 631"/>
                <a:gd name="T7" fmla="*/ 25 h 843"/>
                <a:gd name="T8" fmla="*/ 422 w 631"/>
                <a:gd name="T9" fmla="*/ 0 h 843"/>
                <a:gd name="T10" fmla="*/ 539 w 631"/>
                <a:gd name="T11" fmla="*/ 20 h 843"/>
                <a:gd name="T12" fmla="*/ 630 w 631"/>
                <a:gd name="T13" fmla="*/ 70 h 843"/>
                <a:gd name="T14" fmla="*/ 550 w 631"/>
                <a:gd name="T15" fmla="*/ 222 h 843"/>
                <a:gd name="T16" fmla="*/ 486 w 631"/>
                <a:gd name="T17" fmla="*/ 184 h 843"/>
                <a:gd name="T18" fmla="*/ 402 w 631"/>
                <a:gd name="T19" fmla="*/ 172 h 843"/>
                <a:gd name="T20" fmla="*/ 316 w 631"/>
                <a:gd name="T21" fmla="*/ 186 h 843"/>
                <a:gd name="T22" fmla="*/ 244 w 631"/>
                <a:gd name="T23" fmla="*/ 228 h 843"/>
                <a:gd name="T24" fmla="*/ 194 w 631"/>
                <a:gd name="T25" fmla="*/ 297 h 843"/>
                <a:gd name="T26" fmla="*/ 175 w 631"/>
                <a:gd name="T27" fmla="*/ 397 h 843"/>
                <a:gd name="T28" fmla="*/ 175 w 631"/>
                <a:gd name="T29" fmla="*/ 842 h 843"/>
                <a:gd name="T30" fmla="*/ 0 w 631"/>
                <a:gd name="T31" fmla="*/ 842 h 843"/>
                <a:gd name="T32" fmla="*/ 0 w 631"/>
                <a:gd name="T33" fmla="*/ 20 h 843"/>
                <a:gd name="T34" fmla="*/ 164 w 631"/>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1" h="843">
                  <a:moveTo>
                    <a:pt x="164" y="20"/>
                  </a:moveTo>
                  <a:lnTo>
                    <a:pt x="164" y="20"/>
                  </a:lnTo>
                  <a:cubicBezTo>
                    <a:pt x="175" y="128"/>
                    <a:pt x="175" y="128"/>
                    <a:pt x="175" y="128"/>
                  </a:cubicBezTo>
                  <a:cubicBezTo>
                    <a:pt x="205" y="75"/>
                    <a:pt x="244" y="42"/>
                    <a:pt x="289" y="25"/>
                  </a:cubicBezTo>
                  <a:cubicBezTo>
                    <a:pt x="333" y="9"/>
                    <a:pt x="378" y="0"/>
                    <a:pt x="422" y="0"/>
                  </a:cubicBezTo>
                  <a:cubicBezTo>
                    <a:pt x="464" y="0"/>
                    <a:pt x="502" y="9"/>
                    <a:pt x="539" y="20"/>
                  </a:cubicBezTo>
                  <a:cubicBezTo>
                    <a:pt x="577" y="34"/>
                    <a:pt x="608" y="50"/>
                    <a:pt x="630" y="70"/>
                  </a:cubicBezTo>
                  <a:cubicBezTo>
                    <a:pt x="550" y="222"/>
                    <a:pt x="550" y="222"/>
                    <a:pt x="550" y="222"/>
                  </a:cubicBezTo>
                  <a:cubicBezTo>
                    <a:pt x="530" y="206"/>
                    <a:pt x="508" y="192"/>
                    <a:pt x="486" y="184"/>
                  </a:cubicBezTo>
                  <a:cubicBezTo>
                    <a:pt x="464" y="175"/>
                    <a:pt x="436" y="172"/>
                    <a:pt x="402" y="172"/>
                  </a:cubicBezTo>
                  <a:cubicBezTo>
                    <a:pt x="372" y="172"/>
                    <a:pt x="341" y="175"/>
                    <a:pt x="316" y="186"/>
                  </a:cubicBezTo>
                  <a:cubicBezTo>
                    <a:pt x="289" y="195"/>
                    <a:pt x="264" y="209"/>
                    <a:pt x="244" y="228"/>
                  </a:cubicBezTo>
                  <a:cubicBezTo>
                    <a:pt x="222" y="245"/>
                    <a:pt x="205" y="270"/>
                    <a:pt x="194" y="297"/>
                  </a:cubicBezTo>
                  <a:cubicBezTo>
                    <a:pt x="180" y="325"/>
                    <a:pt x="175" y="359"/>
                    <a:pt x="175" y="397"/>
                  </a:cubicBezTo>
                  <a:cubicBezTo>
                    <a:pt x="175" y="842"/>
                    <a:pt x="175" y="842"/>
                    <a:pt x="175" y="842"/>
                  </a:cubicBezTo>
                  <a:cubicBezTo>
                    <a:pt x="0" y="842"/>
                    <a:pt x="0" y="842"/>
                    <a:pt x="0" y="842"/>
                  </a:cubicBezTo>
                  <a:cubicBezTo>
                    <a:pt x="0" y="20"/>
                    <a:pt x="0" y="20"/>
                    <a:pt x="0" y="20"/>
                  </a:cubicBezTo>
                  <a:lnTo>
                    <a:pt x="164" y="2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1" name="Freeform 9">
              <a:extLst>
                <a:ext uri="{FF2B5EF4-FFF2-40B4-BE49-F238E27FC236}">
                  <a16:creationId xmlns:a16="http://schemas.microsoft.com/office/drawing/2014/main" id="{BE7CB723-37D9-3147-92C3-ED18C4F6CF42}"/>
                </a:ext>
              </a:extLst>
            </p:cNvPr>
            <p:cNvSpPr>
              <a:spLocks noChangeArrowheads="1"/>
            </p:cNvSpPr>
            <p:nvPr userDrawn="1"/>
          </p:nvSpPr>
          <p:spPr bwMode="auto">
            <a:xfrm>
              <a:off x="4872038" y="3141663"/>
              <a:ext cx="314325" cy="312737"/>
            </a:xfrm>
            <a:custGeom>
              <a:avLst/>
              <a:gdLst>
                <a:gd name="T0" fmla="*/ 863 w 872"/>
                <a:gd name="T1" fmla="*/ 498 h 868"/>
                <a:gd name="T2" fmla="*/ 863 w 872"/>
                <a:gd name="T3" fmla="*/ 498 h 868"/>
                <a:gd name="T4" fmla="*/ 183 w 872"/>
                <a:gd name="T5" fmla="*/ 498 h 868"/>
                <a:gd name="T6" fmla="*/ 266 w 872"/>
                <a:gd name="T7" fmla="*/ 650 h 868"/>
                <a:gd name="T8" fmla="*/ 458 w 872"/>
                <a:gd name="T9" fmla="*/ 706 h 868"/>
                <a:gd name="T10" fmla="*/ 590 w 872"/>
                <a:gd name="T11" fmla="*/ 684 h 868"/>
                <a:gd name="T12" fmla="*/ 699 w 872"/>
                <a:gd name="T13" fmla="*/ 617 h 868"/>
                <a:gd name="T14" fmla="*/ 815 w 872"/>
                <a:gd name="T15" fmla="*/ 725 h 868"/>
                <a:gd name="T16" fmla="*/ 740 w 872"/>
                <a:gd name="T17" fmla="*/ 786 h 868"/>
                <a:gd name="T18" fmla="*/ 649 w 872"/>
                <a:gd name="T19" fmla="*/ 831 h 868"/>
                <a:gd name="T20" fmla="*/ 551 w 872"/>
                <a:gd name="T21" fmla="*/ 859 h 868"/>
                <a:gd name="T22" fmla="*/ 452 w 872"/>
                <a:gd name="T23" fmla="*/ 867 h 868"/>
                <a:gd name="T24" fmla="*/ 266 w 872"/>
                <a:gd name="T25" fmla="*/ 836 h 868"/>
                <a:gd name="T26" fmla="*/ 122 w 872"/>
                <a:gd name="T27" fmla="*/ 748 h 868"/>
                <a:gd name="T28" fmla="*/ 30 w 872"/>
                <a:gd name="T29" fmla="*/ 609 h 868"/>
                <a:gd name="T30" fmla="*/ 0 w 872"/>
                <a:gd name="T31" fmla="*/ 431 h 868"/>
                <a:gd name="T32" fmla="*/ 30 w 872"/>
                <a:gd name="T33" fmla="*/ 256 h 868"/>
                <a:gd name="T34" fmla="*/ 122 w 872"/>
                <a:gd name="T35" fmla="*/ 120 h 868"/>
                <a:gd name="T36" fmla="*/ 261 w 872"/>
                <a:gd name="T37" fmla="*/ 31 h 868"/>
                <a:gd name="T38" fmla="*/ 441 w 872"/>
                <a:gd name="T39" fmla="*/ 0 h 868"/>
                <a:gd name="T40" fmla="*/ 626 w 872"/>
                <a:gd name="T41" fmla="*/ 31 h 868"/>
                <a:gd name="T42" fmla="*/ 765 w 872"/>
                <a:gd name="T43" fmla="*/ 125 h 868"/>
                <a:gd name="T44" fmla="*/ 849 w 872"/>
                <a:gd name="T45" fmla="*/ 278 h 868"/>
                <a:gd name="T46" fmla="*/ 863 w 872"/>
                <a:gd name="T47" fmla="*/ 498 h 868"/>
                <a:gd name="T48" fmla="*/ 186 w 872"/>
                <a:gd name="T49" fmla="*/ 353 h 868"/>
                <a:gd name="T50" fmla="*/ 186 w 872"/>
                <a:gd name="T51" fmla="*/ 353 h 868"/>
                <a:gd name="T52" fmla="*/ 696 w 872"/>
                <a:gd name="T53" fmla="*/ 353 h 868"/>
                <a:gd name="T54" fmla="*/ 621 w 872"/>
                <a:gd name="T55" fmla="*/ 203 h 868"/>
                <a:gd name="T56" fmla="*/ 447 w 872"/>
                <a:gd name="T57" fmla="*/ 153 h 868"/>
                <a:gd name="T58" fmla="*/ 278 w 872"/>
                <a:gd name="T59" fmla="*/ 203 h 868"/>
                <a:gd name="T60" fmla="*/ 186 w 872"/>
                <a:gd name="T61" fmla="*/ 353 h 868"/>
                <a:gd name="T62" fmla="*/ 863 w 872"/>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2" h="868">
                  <a:moveTo>
                    <a:pt x="863" y="498"/>
                  </a:moveTo>
                  <a:lnTo>
                    <a:pt x="863" y="498"/>
                  </a:lnTo>
                  <a:cubicBezTo>
                    <a:pt x="183" y="498"/>
                    <a:pt x="183" y="498"/>
                    <a:pt x="183" y="498"/>
                  </a:cubicBezTo>
                  <a:cubicBezTo>
                    <a:pt x="189" y="562"/>
                    <a:pt x="219" y="611"/>
                    <a:pt x="266" y="650"/>
                  </a:cubicBezTo>
                  <a:cubicBezTo>
                    <a:pt x="316" y="686"/>
                    <a:pt x="380" y="706"/>
                    <a:pt x="458" y="706"/>
                  </a:cubicBezTo>
                  <a:cubicBezTo>
                    <a:pt x="499" y="706"/>
                    <a:pt x="543" y="698"/>
                    <a:pt x="590" y="684"/>
                  </a:cubicBezTo>
                  <a:cubicBezTo>
                    <a:pt x="638" y="667"/>
                    <a:pt x="674" y="645"/>
                    <a:pt x="699" y="617"/>
                  </a:cubicBezTo>
                  <a:cubicBezTo>
                    <a:pt x="815" y="725"/>
                    <a:pt x="815" y="725"/>
                    <a:pt x="815" y="725"/>
                  </a:cubicBezTo>
                  <a:cubicBezTo>
                    <a:pt x="793" y="750"/>
                    <a:pt x="768" y="770"/>
                    <a:pt x="740" y="786"/>
                  </a:cubicBezTo>
                  <a:cubicBezTo>
                    <a:pt x="710" y="806"/>
                    <a:pt x="682" y="820"/>
                    <a:pt x="649" y="831"/>
                  </a:cubicBezTo>
                  <a:cubicBezTo>
                    <a:pt x="618" y="845"/>
                    <a:pt x="585" y="853"/>
                    <a:pt x="551" y="859"/>
                  </a:cubicBezTo>
                  <a:cubicBezTo>
                    <a:pt x="518" y="864"/>
                    <a:pt x="485" y="867"/>
                    <a:pt x="452" y="867"/>
                  </a:cubicBezTo>
                  <a:cubicBezTo>
                    <a:pt x="383" y="867"/>
                    <a:pt x="322" y="856"/>
                    <a:pt x="266" y="836"/>
                  </a:cubicBezTo>
                  <a:cubicBezTo>
                    <a:pt x="211" y="814"/>
                    <a:pt x="161" y="786"/>
                    <a:pt x="122" y="748"/>
                  </a:cubicBezTo>
                  <a:cubicBezTo>
                    <a:pt x="83" y="709"/>
                    <a:pt x="53" y="664"/>
                    <a:pt x="30" y="609"/>
                  </a:cubicBezTo>
                  <a:cubicBezTo>
                    <a:pt x="11" y="556"/>
                    <a:pt x="0" y="495"/>
                    <a:pt x="0" y="431"/>
                  </a:cubicBezTo>
                  <a:cubicBezTo>
                    <a:pt x="0" y="367"/>
                    <a:pt x="11" y="309"/>
                    <a:pt x="30" y="256"/>
                  </a:cubicBezTo>
                  <a:cubicBezTo>
                    <a:pt x="53" y="203"/>
                    <a:pt x="83" y="159"/>
                    <a:pt x="122" y="120"/>
                  </a:cubicBezTo>
                  <a:cubicBezTo>
                    <a:pt x="161" y="84"/>
                    <a:pt x="208" y="53"/>
                    <a:pt x="261" y="31"/>
                  </a:cubicBezTo>
                  <a:cubicBezTo>
                    <a:pt x="316" y="12"/>
                    <a:pt x="375" y="0"/>
                    <a:pt x="441" y="0"/>
                  </a:cubicBezTo>
                  <a:cubicBezTo>
                    <a:pt x="510" y="0"/>
                    <a:pt x="571" y="12"/>
                    <a:pt x="626" y="31"/>
                  </a:cubicBezTo>
                  <a:cubicBezTo>
                    <a:pt x="682" y="53"/>
                    <a:pt x="726" y="84"/>
                    <a:pt x="765" y="125"/>
                  </a:cubicBezTo>
                  <a:cubicBezTo>
                    <a:pt x="804" y="164"/>
                    <a:pt x="832" y="217"/>
                    <a:pt x="849" y="278"/>
                  </a:cubicBezTo>
                  <a:cubicBezTo>
                    <a:pt x="868" y="342"/>
                    <a:pt x="871" y="414"/>
                    <a:pt x="863" y="498"/>
                  </a:cubicBezTo>
                  <a:lnTo>
                    <a:pt x="186" y="353"/>
                  </a:lnTo>
                  <a:lnTo>
                    <a:pt x="186" y="353"/>
                  </a:lnTo>
                  <a:cubicBezTo>
                    <a:pt x="696" y="353"/>
                    <a:pt x="696" y="353"/>
                    <a:pt x="696" y="353"/>
                  </a:cubicBezTo>
                  <a:cubicBezTo>
                    <a:pt x="690" y="287"/>
                    <a:pt x="663" y="236"/>
                    <a:pt x="621" y="203"/>
                  </a:cubicBezTo>
                  <a:cubicBezTo>
                    <a:pt x="577" y="170"/>
                    <a:pt x="518" y="153"/>
                    <a:pt x="447" y="153"/>
                  </a:cubicBezTo>
                  <a:cubicBezTo>
                    <a:pt x="380" y="153"/>
                    <a:pt x="325" y="170"/>
                    <a:pt x="278" y="203"/>
                  </a:cubicBezTo>
                  <a:cubicBezTo>
                    <a:pt x="230" y="236"/>
                    <a:pt x="200" y="287"/>
                    <a:pt x="186" y="353"/>
                  </a:cubicBezTo>
                  <a:lnTo>
                    <a:pt x="863"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2" name="Freeform 10">
              <a:extLst>
                <a:ext uri="{FF2B5EF4-FFF2-40B4-BE49-F238E27FC236}">
                  <a16:creationId xmlns:a16="http://schemas.microsoft.com/office/drawing/2014/main" id="{6EF65717-5C2E-104E-A3B7-2BC627B29B6F}"/>
                </a:ext>
              </a:extLst>
            </p:cNvPr>
            <p:cNvSpPr>
              <a:spLocks noChangeArrowheads="1"/>
            </p:cNvSpPr>
            <p:nvPr userDrawn="1"/>
          </p:nvSpPr>
          <p:spPr bwMode="auto">
            <a:xfrm>
              <a:off x="5205413" y="3149600"/>
              <a:ext cx="301625" cy="296863"/>
            </a:xfrm>
            <a:custGeom>
              <a:avLst/>
              <a:gdLst>
                <a:gd name="T0" fmla="*/ 606 w 837"/>
                <a:gd name="T1" fmla="*/ 0 h 823"/>
                <a:gd name="T2" fmla="*/ 820 w 837"/>
                <a:gd name="T3" fmla="*/ 0 h 823"/>
                <a:gd name="T4" fmla="*/ 820 w 837"/>
                <a:gd name="T5" fmla="*/ 5 h 823"/>
                <a:gd name="T6" fmla="*/ 536 w 837"/>
                <a:gd name="T7" fmla="*/ 402 h 823"/>
                <a:gd name="T8" fmla="*/ 836 w 837"/>
                <a:gd name="T9" fmla="*/ 819 h 823"/>
                <a:gd name="T10" fmla="*/ 836 w 837"/>
                <a:gd name="T11" fmla="*/ 822 h 823"/>
                <a:gd name="T12" fmla="*/ 625 w 837"/>
                <a:gd name="T13" fmla="*/ 822 h 823"/>
                <a:gd name="T14" fmla="*/ 420 w 837"/>
                <a:gd name="T15" fmla="*/ 525 h 823"/>
                <a:gd name="T16" fmla="*/ 212 w 837"/>
                <a:gd name="T17" fmla="*/ 822 h 823"/>
                <a:gd name="T18" fmla="*/ 0 w 837"/>
                <a:gd name="T19" fmla="*/ 822 h 823"/>
                <a:gd name="T20" fmla="*/ 0 w 837"/>
                <a:gd name="T21" fmla="*/ 819 h 823"/>
                <a:gd name="T22" fmla="*/ 303 w 837"/>
                <a:gd name="T23" fmla="*/ 402 h 823"/>
                <a:gd name="T24" fmla="*/ 20 w 837"/>
                <a:gd name="T25" fmla="*/ 5 h 823"/>
                <a:gd name="T26" fmla="*/ 20 w 837"/>
                <a:gd name="T27" fmla="*/ 0 h 823"/>
                <a:gd name="T28" fmla="*/ 231 w 837"/>
                <a:gd name="T29" fmla="*/ 0 h 823"/>
                <a:gd name="T30" fmla="*/ 420 w 837"/>
                <a:gd name="T31" fmla="*/ 294 h 823"/>
                <a:gd name="T32" fmla="*/ 606 w 837"/>
                <a:gd name="T33"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7" h="823">
                  <a:moveTo>
                    <a:pt x="606" y="0"/>
                  </a:moveTo>
                  <a:lnTo>
                    <a:pt x="820" y="0"/>
                  </a:lnTo>
                  <a:lnTo>
                    <a:pt x="820" y="5"/>
                  </a:lnTo>
                  <a:lnTo>
                    <a:pt x="536" y="402"/>
                  </a:lnTo>
                  <a:lnTo>
                    <a:pt x="836" y="819"/>
                  </a:lnTo>
                  <a:lnTo>
                    <a:pt x="836" y="822"/>
                  </a:lnTo>
                  <a:lnTo>
                    <a:pt x="625" y="822"/>
                  </a:lnTo>
                  <a:lnTo>
                    <a:pt x="420" y="525"/>
                  </a:lnTo>
                  <a:lnTo>
                    <a:pt x="212" y="822"/>
                  </a:lnTo>
                  <a:lnTo>
                    <a:pt x="0" y="822"/>
                  </a:lnTo>
                  <a:lnTo>
                    <a:pt x="0" y="819"/>
                  </a:lnTo>
                  <a:lnTo>
                    <a:pt x="303" y="402"/>
                  </a:lnTo>
                  <a:lnTo>
                    <a:pt x="20" y="5"/>
                  </a:lnTo>
                  <a:lnTo>
                    <a:pt x="20" y="0"/>
                  </a:lnTo>
                  <a:lnTo>
                    <a:pt x="231" y="0"/>
                  </a:lnTo>
                  <a:lnTo>
                    <a:pt x="420" y="294"/>
                  </a:lnTo>
                  <a:lnTo>
                    <a:pt x="60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3" name="Freeform 11">
              <a:extLst>
                <a:ext uri="{FF2B5EF4-FFF2-40B4-BE49-F238E27FC236}">
                  <a16:creationId xmlns:a16="http://schemas.microsoft.com/office/drawing/2014/main" id="{841D71FB-EF17-064B-83AB-6F51BDEE25B4}"/>
                </a:ext>
              </a:extLst>
            </p:cNvPr>
            <p:cNvSpPr>
              <a:spLocks noChangeArrowheads="1"/>
            </p:cNvSpPr>
            <p:nvPr userDrawn="1"/>
          </p:nvSpPr>
          <p:spPr bwMode="auto">
            <a:xfrm>
              <a:off x="5557838" y="3143250"/>
              <a:ext cx="323850" cy="439738"/>
            </a:xfrm>
            <a:custGeom>
              <a:avLst/>
              <a:gdLst>
                <a:gd name="T0" fmla="*/ 0 w 898"/>
                <a:gd name="T1" fmla="*/ 1221 h 1222"/>
                <a:gd name="T2" fmla="*/ 0 w 898"/>
                <a:gd name="T3" fmla="*/ 1221 h 1222"/>
                <a:gd name="T4" fmla="*/ 0 w 898"/>
                <a:gd name="T5" fmla="*/ 17 h 1222"/>
                <a:gd name="T6" fmla="*/ 164 w 898"/>
                <a:gd name="T7" fmla="*/ 17 h 1222"/>
                <a:gd name="T8" fmla="*/ 175 w 898"/>
                <a:gd name="T9" fmla="*/ 150 h 1222"/>
                <a:gd name="T10" fmla="*/ 306 w 898"/>
                <a:gd name="T11" fmla="*/ 36 h 1222"/>
                <a:gd name="T12" fmla="*/ 472 w 898"/>
                <a:gd name="T13" fmla="*/ 0 h 1222"/>
                <a:gd name="T14" fmla="*/ 645 w 898"/>
                <a:gd name="T15" fmla="*/ 33 h 1222"/>
                <a:gd name="T16" fmla="*/ 781 w 898"/>
                <a:gd name="T17" fmla="*/ 122 h 1222"/>
                <a:gd name="T18" fmla="*/ 867 w 898"/>
                <a:gd name="T19" fmla="*/ 256 h 1222"/>
                <a:gd name="T20" fmla="*/ 897 w 898"/>
                <a:gd name="T21" fmla="*/ 428 h 1222"/>
                <a:gd name="T22" fmla="*/ 867 w 898"/>
                <a:gd name="T23" fmla="*/ 600 h 1222"/>
                <a:gd name="T24" fmla="*/ 783 w 898"/>
                <a:gd name="T25" fmla="*/ 736 h 1222"/>
                <a:gd name="T26" fmla="*/ 650 w 898"/>
                <a:gd name="T27" fmla="*/ 828 h 1222"/>
                <a:gd name="T28" fmla="*/ 472 w 898"/>
                <a:gd name="T29" fmla="*/ 858 h 1222"/>
                <a:gd name="T30" fmla="*/ 392 w 898"/>
                <a:gd name="T31" fmla="*/ 850 h 1222"/>
                <a:gd name="T32" fmla="*/ 308 w 898"/>
                <a:gd name="T33" fmla="*/ 828 h 1222"/>
                <a:gd name="T34" fmla="*/ 233 w 898"/>
                <a:gd name="T35" fmla="*/ 786 h 1222"/>
                <a:gd name="T36" fmla="*/ 175 w 898"/>
                <a:gd name="T37" fmla="*/ 719 h 1222"/>
                <a:gd name="T38" fmla="*/ 175 w 898"/>
                <a:gd name="T39" fmla="*/ 1221 h 1222"/>
                <a:gd name="T40" fmla="*/ 0 w 898"/>
                <a:gd name="T41" fmla="*/ 1221 h 1222"/>
                <a:gd name="T42" fmla="*/ 456 w 898"/>
                <a:gd name="T43" fmla="*/ 692 h 1222"/>
                <a:gd name="T44" fmla="*/ 456 w 898"/>
                <a:gd name="T45" fmla="*/ 692 h 1222"/>
                <a:gd name="T46" fmla="*/ 561 w 898"/>
                <a:gd name="T47" fmla="*/ 672 h 1222"/>
                <a:gd name="T48" fmla="*/ 647 w 898"/>
                <a:gd name="T49" fmla="*/ 617 h 1222"/>
                <a:gd name="T50" fmla="*/ 703 w 898"/>
                <a:gd name="T51" fmla="*/ 536 h 1222"/>
                <a:gd name="T52" fmla="*/ 722 w 898"/>
                <a:gd name="T53" fmla="*/ 428 h 1222"/>
                <a:gd name="T54" fmla="*/ 650 w 898"/>
                <a:gd name="T55" fmla="*/ 239 h 1222"/>
                <a:gd name="T56" fmla="*/ 456 w 898"/>
                <a:gd name="T57" fmla="*/ 167 h 1222"/>
                <a:gd name="T58" fmla="*/ 345 w 898"/>
                <a:gd name="T59" fmla="*/ 186 h 1222"/>
                <a:gd name="T60" fmla="*/ 261 w 898"/>
                <a:gd name="T61" fmla="*/ 242 h 1222"/>
                <a:gd name="T62" fmla="*/ 208 w 898"/>
                <a:gd name="T63" fmla="*/ 325 h 1222"/>
                <a:gd name="T64" fmla="*/ 192 w 898"/>
                <a:gd name="T65" fmla="*/ 428 h 1222"/>
                <a:gd name="T66" fmla="*/ 211 w 898"/>
                <a:gd name="T67" fmla="*/ 530 h 1222"/>
                <a:gd name="T68" fmla="*/ 264 w 898"/>
                <a:gd name="T69" fmla="*/ 617 h 1222"/>
                <a:gd name="T70" fmla="*/ 347 w 898"/>
                <a:gd name="T71" fmla="*/ 672 h 1222"/>
                <a:gd name="T72" fmla="*/ 456 w 898"/>
                <a:gd name="T73" fmla="*/ 69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8" h="1222">
                  <a:moveTo>
                    <a:pt x="0" y="1221"/>
                  </a:moveTo>
                  <a:lnTo>
                    <a:pt x="0" y="1221"/>
                  </a:lnTo>
                  <a:cubicBezTo>
                    <a:pt x="0" y="17"/>
                    <a:pt x="0" y="17"/>
                    <a:pt x="0" y="17"/>
                  </a:cubicBezTo>
                  <a:cubicBezTo>
                    <a:pt x="164" y="17"/>
                    <a:pt x="164" y="17"/>
                    <a:pt x="164" y="17"/>
                  </a:cubicBezTo>
                  <a:cubicBezTo>
                    <a:pt x="175" y="150"/>
                    <a:pt x="175" y="150"/>
                    <a:pt x="175" y="150"/>
                  </a:cubicBezTo>
                  <a:cubicBezTo>
                    <a:pt x="208" y="100"/>
                    <a:pt x="253" y="61"/>
                    <a:pt x="306" y="36"/>
                  </a:cubicBezTo>
                  <a:cubicBezTo>
                    <a:pt x="361" y="11"/>
                    <a:pt x="417" y="0"/>
                    <a:pt x="472" y="0"/>
                  </a:cubicBezTo>
                  <a:cubicBezTo>
                    <a:pt x="536" y="0"/>
                    <a:pt x="592" y="11"/>
                    <a:pt x="645" y="33"/>
                  </a:cubicBezTo>
                  <a:cubicBezTo>
                    <a:pt x="697" y="53"/>
                    <a:pt x="742" y="83"/>
                    <a:pt x="781" y="122"/>
                  </a:cubicBezTo>
                  <a:cubicBezTo>
                    <a:pt x="817" y="158"/>
                    <a:pt x="847" y="206"/>
                    <a:pt x="867" y="256"/>
                  </a:cubicBezTo>
                  <a:cubicBezTo>
                    <a:pt x="886" y="308"/>
                    <a:pt x="897" y="367"/>
                    <a:pt x="897" y="428"/>
                  </a:cubicBezTo>
                  <a:cubicBezTo>
                    <a:pt x="897" y="492"/>
                    <a:pt x="886" y="550"/>
                    <a:pt x="867" y="600"/>
                  </a:cubicBezTo>
                  <a:cubicBezTo>
                    <a:pt x="847" y="653"/>
                    <a:pt x="820" y="700"/>
                    <a:pt x="783" y="736"/>
                  </a:cubicBezTo>
                  <a:cubicBezTo>
                    <a:pt x="747" y="775"/>
                    <a:pt x="703" y="805"/>
                    <a:pt x="650" y="828"/>
                  </a:cubicBezTo>
                  <a:cubicBezTo>
                    <a:pt x="597" y="847"/>
                    <a:pt x="536" y="858"/>
                    <a:pt x="472" y="858"/>
                  </a:cubicBezTo>
                  <a:cubicBezTo>
                    <a:pt x="447" y="858"/>
                    <a:pt x="420" y="856"/>
                    <a:pt x="392" y="850"/>
                  </a:cubicBezTo>
                  <a:cubicBezTo>
                    <a:pt x="364" y="847"/>
                    <a:pt x="336" y="839"/>
                    <a:pt x="308" y="828"/>
                  </a:cubicBezTo>
                  <a:cubicBezTo>
                    <a:pt x="283" y="817"/>
                    <a:pt x="258" y="803"/>
                    <a:pt x="233" y="786"/>
                  </a:cubicBezTo>
                  <a:cubicBezTo>
                    <a:pt x="211" y="767"/>
                    <a:pt x="192" y="744"/>
                    <a:pt x="175" y="719"/>
                  </a:cubicBezTo>
                  <a:cubicBezTo>
                    <a:pt x="175" y="1221"/>
                    <a:pt x="175" y="1221"/>
                    <a:pt x="175" y="1221"/>
                  </a:cubicBezTo>
                  <a:lnTo>
                    <a:pt x="0" y="1221"/>
                  </a:lnTo>
                  <a:close/>
                  <a:moveTo>
                    <a:pt x="456" y="692"/>
                  </a:moveTo>
                  <a:lnTo>
                    <a:pt x="456" y="692"/>
                  </a:lnTo>
                  <a:cubicBezTo>
                    <a:pt x="495" y="692"/>
                    <a:pt x="531" y="686"/>
                    <a:pt x="561" y="672"/>
                  </a:cubicBezTo>
                  <a:cubicBezTo>
                    <a:pt x="595" y="658"/>
                    <a:pt x="622" y="642"/>
                    <a:pt x="647" y="617"/>
                  </a:cubicBezTo>
                  <a:cubicBezTo>
                    <a:pt x="669" y="594"/>
                    <a:pt x="689" y="567"/>
                    <a:pt x="703" y="536"/>
                  </a:cubicBezTo>
                  <a:cubicBezTo>
                    <a:pt x="714" y="503"/>
                    <a:pt x="722" y="467"/>
                    <a:pt x="722" y="428"/>
                  </a:cubicBezTo>
                  <a:cubicBezTo>
                    <a:pt x="722" y="350"/>
                    <a:pt x="697" y="289"/>
                    <a:pt x="650" y="239"/>
                  </a:cubicBezTo>
                  <a:cubicBezTo>
                    <a:pt x="600" y="192"/>
                    <a:pt x="536" y="167"/>
                    <a:pt x="456" y="167"/>
                  </a:cubicBezTo>
                  <a:cubicBezTo>
                    <a:pt x="414" y="167"/>
                    <a:pt x="378" y="172"/>
                    <a:pt x="345" y="186"/>
                  </a:cubicBezTo>
                  <a:cubicBezTo>
                    <a:pt x="314" y="200"/>
                    <a:pt x="286" y="219"/>
                    <a:pt x="261" y="242"/>
                  </a:cubicBezTo>
                  <a:cubicBezTo>
                    <a:pt x="239" y="267"/>
                    <a:pt x="222" y="294"/>
                    <a:pt x="208" y="325"/>
                  </a:cubicBezTo>
                  <a:cubicBezTo>
                    <a:pt x="197" y="358"/>
                    <a:pt x="192" y="392"/>
                    <a:pt x="192" y="428"/>
                  </a:cubicBezTo>
                  <a:cubicBezTo>
                    <a:pt x="192" y="467"/>
                    <a:pt x="197" y="500"/>
                    <a:pt x="211" y="530"/>
                  </a:cubicBezTo>
                  <a:cubicBezTo>
                    <a:pt x="222" y="564"/>
                    <a:pt x="242" y="592"/>
                    <a:pt x="264" y="617"/>
                  </a:cubicBezTo>
                  <a:cubicBezTo>
                    <a:pt x="289" y="639"/>
                    <a:pt x="317" y="658"/>
                    <a:pt x="347" y="672"/>
                  </a:cubicBezTo>
                  <a:cubicBezTo>
                    <a:pt x="381" y="683"/>
                    <a:pt x="417" y="692"/>
                    <a:pt x="456" y="69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4" name="Freeform 12">
              <a:extLst>
                <a:ext uri="{FF2B5EF4-FFF2-40B4-BE49-F238E27FC236}">
                  <a16:creationId xmlns:a16="http://schemas.microsoft.com/office/drawing/2014/main" id="{49BB298A-AD55-924A-BC54-61C86FE4E5C6}"/>
                </a:ext>
              </a:extLst>
            </p:cNvPr>
            <p:cNvSpPr>
              <a:spLocks noChangeArrowheads="1"/>
            </p:cNvSpPr>
            <p:nvPr userDrawn="1"/>
          </p:nvSpPr>
          <p:spPr bwMode="auto">
            <a:xfrm>
              <a:off x="5929313" y="3141663"/>
              <a:ext cx="315912" cy="312737"/>
            </a:xfrm>
            <a:custGeom>
              <a:avLst/>
              <a:gdLst>
                <a:gd name="T0" fmla="*/ 867 w 876"/>
                <a:gd name="T1" fmla="*/ 498 h 868"/>
                <a:gd name="T2" fmla="*/ 867 w 876"/>
                <a:gd name="T3" fmla="*/ 498 h 868"/>
                <a:gd name="T4" fmla="*/ 184 w 876"/>
                <a:gd name="T5" fmla="*/ 498 h 868"/>
                <a:gd name="T6" fmla="*/ 270 w 876"/>
                <a:gd name="T7" fmla="*/ 650 h 868"/>
                <a:gd name="T8" fmla="*/ 459 w 876"/>
                <a:gd name="T9" fmla="*/ 706 h 868"/>
                <a:gd name="T10" fmla="*/ 595 w 876"/>
                <a:gd name="T11" fmla="*/ 684 h 868"/>
                <a:gd name="T12" fmla="*/ 703 w 876"/>
                <a:gd name="T13" fmla="*/ 617 h 868"/>
                <a:gd name="T14" fmla="*/ 817 w 876"/>
                <a:gd name="T15" fmla="*/ 725 h 868"/>
                <a:gd name="T16" fmla="*/ 742 w 876"/>
                <a:gd name="T17" fmla="*/ 786 h 868"/>
                <a:gd name="T18" fmla="*/ 653 w 876"/>
                <a:gd name="T19" fmla="*/ 831 h 868"/>
                <a:gd name="T20" fmla="*/ 553 w 876"/>
                <a:gd name="T21" fmla="*/ 859 h 868"/>
                <a:gd name="T22" fmla="*/ 456 w 876"/>
                <a:gd name="T23" fmla="*/ 867 h 868"/>
                <a:gd name="T24" fmla="*/ 267 w 876"/>
                <a:gd name="T25" fmla="*/ 836 h 868"/>
                <a:gd name="T26" fmla="*/ 125 w 876"/>
                <a:gd name="T27" fmla="*/ 748 h 868"/>
                <a:gd name="T28" fmla="*/ 34 w 876"/>
                <a:gd name="T29" fmla="*/ 609 h 868"/>
                <a:gd name="T30" fmla="*/ 0 w 876"/>
                <a:gd name="T31" fmla="*/ 431 h 868"/>
                <a:gd name="T32" fmla="*/ 34 w 876"/>
                <a:gd name="T33" fmla="*/ 256 h 868"/>
                <a:gd name="T34" fmla="*/ 125 w 876"/>
                <a:gd name="T35" fmla="*/ 120 h 868"/>
                <a:gd name="T36" fmla="*/ 264 w 876"/>
                <a:gd name="T37" fmla="*/ 31 h 868"/>
                <a:gd name="T38" fmla="*/ 442 w 876"/>
                <a:gd name="T39" fmla="*/ 0 h 868"/>
                <a:gd name="T40" fmla="*/ 628 w 876"/>
                <a:gd name="T41" fmla="*/ 31 h 868"/>
                <a:gd name="T42" fmla="*/ 770 w 876"/>
                <a:gd name="T43" fmla="*/ 125 h 868"/>
                <a:gd name="T44" fmla="*/ 853 w 876"/>
                <a:gd name="T45" fmla="*/ 278 h 868"/>
                <a:gd name="T46" fmla="*/ 867 w 876"/>
                <a:gd name="T47" fmla="*/ 498 h 868"/>
                <a:gd name="T48" fmla="*/ 186 w 876"/>
                <a:gd name="T49" fmla="*/ 353 h 868"/>
                <a:gd name="T50" fmla="*/ 186 w 876"/>
                <a:gd name="T51" fmla="*/ 353 h 868"/>
                <a:gd name="T52" fmla="*/ 698 w 876"/>
                <a:gd name="T53" fmla="*/ 353 h 868"/>
                <a:gd name="T54" fmla="*/ 623 w 876"/>
                <a:gd name="T55" fmla="*/ 203 h 868"/>
                <a:gd name="T56" fmla="*/ 448 w 876"/>
                <a:gd name="T57" fmla="*/ 153 h 868"/>
                <a:gd name="T58" fmla="*/ 278 w 876"/>
                <a:gd name="T59" fmla="*/ 203 h 868"/>
                <a:gd name="T60" fmla="*/ 186 w 876"/>
                <a:gd name="T61" fmla="*/ 353 h 868"/>
                <a:gd name="T62" fmla="*/ 867 w 876"/>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8">
                  <a:moveTo>
                    <a:pt x="867" y="498"/>
                  </a:moveTo>
                  <a:lnTo>
                    <a:pt x="867" y="498"/>
                  </a:lnTo>
                  <a:cubicBezTo>
                    <a:pt x="184" y="498"/>
                    <a:pt x="184" y="498"/>
                    <a:pt x="184" y="498"/>
                  </a:cubicBezTo>
                  <a:cubicBezTo>
                    <a:pt x="192" y="562"/>
                    <a:pt x="220" y="611"/>
                    <a:pt x="270" y="650"/>
                  </a:cubicBezTo>
                  <a:cubicBezTo>
                    <a:pt x="317" y="686"/>
                    <a:pt x="381" y="706"/>
                    <a:pt x="459" y="706"/>
                  </a:cubicBezTo>
                  <a:cubicBezTo>
                    <a:pt x="503" y="706"/>
                    <a:pt x="547" y="698"/>
                    <a:pt x="595" y="684"/>
                  </a:cubicBezTo>
                  <a:cubicBezTo>
                    <a:pt x="639" y="667"/>
                    <a:pt x="675" y="645"/>
                    <a:pt x="703" y="617"/>
                  </a:cubicBezTo>
                  <a:cubicBezTo>
                    <a:pt x="817" y="725"/>
                    <a:pt x="817" y="725"/>
                    <a:pt x="817" y="725"/>
                  </a:cubicBezTo>
                  <a:cubicBezTo>
                    <a:pt x="795" y="750"/>
                    <a:pt x="770" y="770"/>
                    <a:pt x="742" y="786"/>
                  </a:cubicBezTo>
                  <a:cubicBezTo>
                    <a:pt x="714" y="806"/>
                    <a:pt x="684" y="820"/>
                    <a:pt x="653" y="831"/>
                  </a:cubicBezTo>
                  <a:cubicBezTo>
                    <a:pt x="620" y="845"/>
                    <a:pt x="589" y="853"/>
                    <a:pt x="553" y="859"/>
                  </a:cubicBezTo>
                  <a:cubicBezTo>
                    <a:pt x="520" y="864"/>
                    <a:pt x="486" y="867"/>
                    <a:pt x="456" y="867"/>
                  </a:cubicBezTo>
                  <a:cubicBezTo>
                    <a:pt x="386" y="867"/>
                    <a:pt x="323" y="856"/>
                    <a:pt x="267" y="836"/>
                  </a:cubicBezTo>
                  <a:cubicBezTo>
                    <a:pt x="211" y="814"/>
                    <a:pt x="164" y="786"/>
                    <a:pt x="125" y="748"/>
                  </a:cubicBezTo>
                  <a:cubicBezTo>
                    <a:pt x="86" y="709"/>
                    <a:pt x="56" y="664"/>
                    <a:pt x="34" y="609"/>
                  </a:cubicBezTo>
                  <a:cubicBezTo>
                    <a:pt x="11" y="556"/>
                    <a:pt x="0" y="495"/>
                    <a:pt x="0" y="431"/>
                  </a:cubicBezTo>
                  <a:cubicBezTo>
                    <a:pt x="0" y="367"/>
                    <a:pt x="11" y="309"/>
                    <a:pt x="34" y="256"/>
                  </a:cubicBezTo>
                  <a:cubicBezTo>
                    <a:pt x="56" y="203"/>
                    <a:pt x="86" y="159"/>
                    <a:pt x="125" y="120"/>
                  </a:cubicBezTo>
                  <a:cubicBezTo>
                    <a:pt x="161" y="84"/>
                    <a:pt x="209" y="53"/>
                    <a:pt x="264" y="31"/>
                  </a:cubicBezTo>
                  <a:cubicBezTo>
                    <a:pt x="317" y="12"/>
                    <a:pt x="378" y="0"/>
                    <a:pt x="442" y="0"/>
                  </a:cubicBezTo>
                  <a:cubicBezTo>
                    <a:pt x="511" y="0"/>
                    <a:pt x="573" y="12"/>
                    <a:pt x="628" y="31"/>
                  </a:cubicBezTo>
                  <a:cubicBezTo>
                    <a:pt x="684" y="53"/>
                    <a:pt x="731" y="84"/>
                    <a:pt x="770" y="125"/>
                  </a:cubicBezTo>
                  <a:cubicBezTo>
                    <a:pt x="806" y="164"/>
                    <a:pt x="834" y="217"/>
                    <a:pt x="853" y="278"/>
                  </a:cubicBezTo>
                  <a:cubicBezTo>
                    <a:pt x="870" y="342"/>
                    <a:pt x="875" y="414"/>
                    <a:pt x="867" y="498"/>
                  </a:cubicBezTo>
                  <a:lnTo>
                    <a:pt x="186" y="353"/>
                  </a:lnTo>
                  <a:lnTo>
                    <a:pt x="186" y="353"/>
                  </a:lnTo>
                  <a:cubicBezTo>
                    <a:pt x="698" y="353"/>
                    <a:pt x="698" y="353"/>
                    <a:pt x="698" y="353"/>
                  </a:cubicBezTo>
                  <a:cubicBezTo>
                    <a:pt x="692" y="287"/>
                    <a:pt x="667" y="236"/>
                    <a:pt x="623" y="203"/>
                  </a:cubicBezTo>
                  <a:cubicBezTo>
                    <a:pt x="578" y="170"/>
                    <a:pt x="520" y="153"/>
                    <a:pt x="448" y="153"/>
                  </a:cubicBezTo>
                  <a:cubicBezTo>
                    <a:pt x="384" y="153"/>
                    <a:pt x="328" y="170"/>
                    <a:pt x="278" y="203"/>
                  </a:cubicBezTo>
                  <a:cubicBezTo>
                    <a:pt x="231" y="236"/>
                    <a:pt x="200" y="287"/>
                    <a:pt x="186" y="353"/>
                  </a:cubicBezTo>
                  <a:lnTo>
                    <a:pt x="867"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5" name="Freeform 13">
              <a:extLst>
                <a:ext uri="{FF2B5EF4-FFF2-40B4-BE49-F238E27FC236}">
                  <a16:creationId xmlns:a16="http://schemas.microsoft.com/office/drawing/2014/main" id="{B617C196-D566-DA4B-9C58-032314611F87}"/>
                </a:ext>
              </a:extLst>
            </p:cNvPr>
            <p:cNvSpPr>
              <a:spLocks noChangeArrowheads="1"/>
            </p:cNvSpPr>
            <p:nvPr userDrawn="1"/>
          </p:nvSpPr>
          <p:spPr bwMode="auto">
            <a:xfrm>
              <a:off x="6305550" y="3141663"/>
              <a:ext cx="228600" cy="303212"/>
            </a:xfrm>
            <a:custGeom>
              <a:avLst/>
              <a:gdLst>
                <a:gd name="T0" fmla="*/ 164 w 634"/>
                <a:gd name="T1" fmla="*/ 20 h 843"/>
                <a:gd name="T2" fmla="*/ 164 w 634"/>
                <a:gd name="T3" fmla="*/ 20 h 843"/>
                <a:gd name="T4" fmla="*/ 177 w 634"/>
                <a:gd name="T5" fmla="*/ 128 h 843"/>
                <a:gd name="T6" fmla="*/ 289 w 634"/>
                <a:gd name="T7" fmla="*/ 25 h 843"/>
                <a:gd name="T8" fmla="*/ 425 w 634"/>
                <a:gd name="T9" fmla="*/ 0 h 843"/>
                <a:gd name="T10" fmla="*/ 541 w 634"/>
                <a:gd name="T11" fmla="*/ 20 h 843"/>
                <a:gd name="T12" fmla="*/ 633 w 634"/>
                <a:gd name="T13" fmla="*/ 70 h 843"/>
                <a:gd name="T14" fmla="*/ 552 w 634"/>
                <a:gd name="T15" fmla="*/ 222 h 843"/>
                <a:gd name="T16" fmla="*/ 486 w 634"/>
                <a:gd name="T17" fmla="*/ 184 h 843"/>
                <a:gd name="T18" fmla="*/ 405 w 634"/>
                <a:gd name="T19" fmla="*/ 172 h 843"/>
                <a:gd name="T20" fmla="*/ 316 w 634"/>
                <a:gd name="T21" fmla="*/ 186 h 843"/>
                <a:gd name="T22" fmla="*/ 244 w 634"/>
                <a:gd name="T23" fmla="*/ 228 h 843"/>
                <a:gd name="T24" fmla="*/ 197 w 634"/>
                <a:gd name="T25" fmla="*/ 297 h 843"/>
                <a:gd name="T26" fmla="*/ 177 w 634"/>
                <a:gd name="T27" fmla="*/ 397 h 843"/>
                <a:gd name="T28" fmla="*/ 177 w 634"/>
                <a:gd name="T29" fmla="*/ 842 h 843"/>
                <a:gd name="T30" fmla="*/ 0 w 634"/>
                <a:gd name="T31" fmla="*/ 842 h 843"/>
                <a:gd name="T32" fmla="*/ 0 w 634"/>
                <a:gd name="T33" fmla="*/ 20 h 843"/>
                <a:gd name="T34" fmla="*/ 164 w 634"/>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4" h="843">
                  <a:moveTo>
                    <a:pt x="164" y="20"/>
                  </a:moveTo>
                  <a:lnTo>
                    <a:pt x="164" y="20"/>
                  </a:lnTo>
                  <a:cubicBezTo>
                    <a:pt x="177" y="128"/>
                    <a:pt x="177" y="128"/>
                    <a:pt x="177" y="128"/>
                  </a:cubicBezTo>
                  <a:cubicBezTo>
                    <a:pt x="208" y="75"/>
                    <a:pt x="244" y="42"/>
                    <a:pt x="289" y="25"/>
                  </a:cubicBezTo>
                  <a:cubicBezTo>
                    <a:pt x="333" y="9"/>
                    <a:pt x="380" y="0"/>
                    <a:pt x="425" y="0"/>
                  </a:cubicBezTo>
                  <a:cubicBezTo>
                    <a:pt x="466" y="0"/>
                    <a:pt x="505" y="9"/>
                    <a:pt x="541" y="20"/>
                  </a:cubicBezTo>
                  <a:cubicBezTo>
                    <a:pt x="577" y="34"/>
                    <a:pt x="608" y="50"/>
                    <a:pt x="633" y="70"/>
                  </a:cubicBezTo>
                  <a:cubicBezTo>
                    <a:pt x="552" y="222"/>
                    <a:pt x="552" y="222"/>
                    <a:pt x="552" y="222"/>
                  </a:cubicBezTo>
                  <a:cubicBezTo>
                    <a:pt x="530" y="206"/>
                    <a:pt x="508" y="192"/>
                    <a:pt x="486" y="184"/>
                  </a:cubicBezTo>
                  <a:cubicBezTo>
                    <a:pt x="464" y="175"/>
                    <a:pt x="436" y="172"/>
                    <a:pt x="405" y="172"/>
                  </a:cubicBezTo>
                  <a:cubicBezTo>
                    <a:pt x="372" y="172"/>
                    <a:pt x="344" y="175"/>
                    <a:pt x="316" y="186"/>
                  </a:cubicBezTo>
                  <a:cubicBezTo>
                    <a:pt x="289" y="195"/>
                    <a:pt x="266" y="209"/>
                    <a:pt x="244" y="228"/>
                  </a:cubicBezTo>
                  <a:cubicBezTo>
                    <a:pt x="225" y="245"/>
                    <a:pt x="208" y="270"/>
                    <a:pt x="197" y="297"/>
                  </a:cubicBezTo>
                  <a:cubicBezTo>
                    <a:pt x="183" y="325"/>
                    <a:pt x="177" y="359"/>
                    <a:pt x="177" y="397"/>
                  </a:cubicBezTo>
                  <a:cubicBezTo>
                    <a:pt x="177" y="842"/>
                    <a:pt x="177" y="842"/>
                    <a:pt x="177" y="842"/>
                  </a:cubicBezTo>
                  <a:cubicBezTo>
                    <a:pt x="0" y="842"/>
                    <a:pt x="0" y="842"/>
                    <a:pt x="0" y="842"/>
                  </a:cubicBezTo>
                  <a:cubicBezTo>
                    <a:pt x="0" y="20"/>
                    <a:pt x="0" y="20"/>
                    <a:pt x="0" y="20"/>
                  </a:cubicBezTo>
                  <a:lnTo>
                    <a:pt x="164" y="2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6" name="Freeform 14">
              <a:extLst>
                <a:ext uri="{FF2B5EF4-FFF2-40B4-BE49-F238E27FC236}">
                  <a16:creationId xmlns:a16="http://schemas.microsoft.com/office/drawing/2014/main" id="{5CA892DA-28E8-FA4D-A6AE-DAEAC335D903}"/>
                </a:ext>
              </a:extLst>
            </p:cNvPr>
            <p:cNvSpPr>
              <a:spLocks noChangeArrowheads="1"/>
            </p:cNvSpPr>
            <p:nvPr userDrawn="1"/>
          </p:nvSpPr>
          <p:spPr bwMode="auto">
            <a:xfrm>
              <a:off x="6577013" y="3148013"/>
              <a:ext cx="63500" cy="296862"/>
            </a:xfrm>
            <a:custGeom>
              <a:avLst/>
              <a:gdLst>
                <a:gd name="T0" fmla="*/ 175 w 176"/>
                <a:gd name="T1" fmla="*/ 825 h 826"/>
                <a:gd name="T2" fmla="*/ 0 w 176"/>
                <a:gd name="T3" fmla="*/ 825 h 826"/>
                <a:gd name="T4" fmla="*/ 0 w 176"/>
                <a:gd name="T5" fmla="*/ 0 h 826"/>
                <a:gd name="T6" fmla="*/ 175 w 176"/>
                <a:gd name="T7" fmla="*/ 0 h 826"/>
                <a:gd name="T8" fmla="*/ 175 w 176"/>
                <a:gd name="T9" fmla="*/ 825 h 826"/>
              </a:gdLst>
              <a:ahLst/>
              <a:cxnLst>
                <a:cxn ang="0">
                  <a:pos x="T0" y="T1"/>
                </a:cxn>
                <a:cxn ang="0">
                  <a:pos x="T2" y="T3"/>
                </a:cxn>
                <a:cxn ang="0">
                  <a:pos x="T4" y="T5"/>
                </a:cxn>
                <a:cxn ang="0">
                  <a:pos x="T6" y="T7"/>
                </a:cxn>
                <a:cxn ang="0">
                  <a:pos x="T8" y="T9"/>
                </a:cxn>
              </a:cxnLst>
              <a:rect l="0" t="0" r="r" b="b"/>
              <a:pathLst>
                <a:path w="176" h="826">
                  <a:moveTo>
                    <a:pt x="175" y="825"/>
                  </a:moveTo>
                  <a:lnTo>
                    <a:pt x="0" y="825"/>
                  </a:lnTo>
                  <a:lnTo>
                    <a:pt x="0" y="0"/>
                  </a:lnTo>
                  <a:lnTo>
                    <a:pt x="175" y="0"/>
                  </a:lnTo>
                  <a:lnTo>
                    <a:pt x="175" y="82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7" name="Freeform 15">
              <a:extLst>
                <a:ext uri="{FF2B5EF4-FFF2-40B4-BE49-F238E27FC236}">
                  <a16:creationId xmlns:a16="http://schemas.microsoft.com/office/drawing/2014/main" id="{58C92E79-EF2F-EA41-B16C-96F9BC7D4594}"/>
                </a:ext>
              </a:extLst>
            </p:cNvPr>
            <p:cNvSpPr>
              <a:spLocks noChangeArrowheads="1"/>
            </p:cNvSpPr>
            <p:nvPr userDrawn="1"/>
          </p:nvSpPr>
          <p:spPr bwMode="auto">
            <a:xfrm>
              <a:off x="6707188" y="3141663"/>
              <a:ext cx="314325" cy="312737"/>
            </a:xfrm>
            <a:custGeom>
              <a:avLst/>
              <a:gdLst>
                <a:gd name="T0" fmla="*/ 864 w 873"/>
                <a:gd name="T1" fmla="*/ 498 h 868"/>
                <a:gd name="T2" fmla="*/ 864 w 873"/>
                <a:gd name="T3" fmla="*/ 498 h 868"/>
                <a:gd name="T4" fmla="*/ 184 w 873"/>
                <a:gd name="T5" fmla="*/ 498 h 868"/>
                <a:gd name="T6" fmla="*/ 267 w 873"/>
                <a:gd name="T7" fmla="*/ 650 h 868"/>
                <a:gd name="T8" fmla="*/ 459 w 873"/>
                <a:gd name="T9" fmla="*/ 706 h 868"/>
                <a:gd name="T10" fmla="*/ 592 w 873"/>
                <a:gd name="T11" fmla="*/ 684 h 868"/>
                <a:gd name="T12" fmla="*/ 700 w 873"/>
                <a:gd name="T13" fmla="*/ 617 h 868"/>
                <a:gd name="T14" fmla="*/ 817 w 873"/>
                <a:gd name="T15" fmla="*/ 725 h 868"/>
                <a:gd name="T16" fmla="*/ 742 w 873"/>
                <a:gd name="T17" fmla="*/ 786 h 868"/>
                <a:gd name="T18" fmla="*/ 650 w 873"/>
                <a:gd name="T19" fmla="*/ 831 h 868"/>
                <a:gd name="T20" fmla="*/ 553 w 873"/>
                <a:gd name="T21" fmla="*/ 859 h 868"/>
                <a:gd name="T22" fmla="*/ 453 w 873"/>
                <a:gd name="T23" fmla="*/ 867 h 868"/>
                <a:gd name="T24" fmla="*/ 267 w 873"/>
                <a:gd name="T25" fmla="*/ 836 h 868"/>
                <a:gd name="T26" fmla="*/ 123 w 873"/>
                <a:gd name="T27" fmla="*/ 748 h 868"/>
                <a:gd name="T28" fmla="*/ 34 w 873"/>
                <a:gd name="T29" fmla="*/ 609 h 868"/>
                <a:gd name="T30" fmla="*/ 0 w 873"/>
                <a:gd name="T31" fmla="*/ 431 h 868"/>
                <a:gd name="T32" fmla="*/ 34 w 873"/>
                <a:gd name="T33" fmla="*/ 256 h 868"/>
                <a:gd name="T34" fmla="*/ 123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7 w 873"/>
                <a:gd name="T53" fmla="*/ 353 h 868"/>
                <a:gd name="T54" fmla="*/ 622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4" y="498"/>
                    <a:pt x="184" y="498"/>
                    <a:pt x="184" y="498"/>
                  </a:cubicBezTo>
                  <a:cubicBezTo>
                    <a:pt x="189" y="562"/>
                    <a:pt x="220" y="611"/>
                    <a:pt x="267" y="650"/>
                  </a:cubicBezTo>
                  <a:cubicBezTo>
                    <a:pt x="317" y="686"/>
                    <a:pt x="381" y="706"/>
                    <a:pt x="459" y="706"/>
                  </a:cubicBezTo>
                  <a:cubicBezTo>
                    <a:pt x="500" y="706"/>
                    <a:pt x="545" y="698"/>
                    <a:pt x="592" y="684"/>
                  </a:cubicBezTo>
                  <a:cubicBezTo>
                    <a:pt x="639" y="667"/>
                    <a:pt x="675" y="645"/>
                    <a:pt x="700" y="617"/>
                  </a:cubicBezTo>
                  <a:cubicBezTo>
                    <a:pt x="817" y="725"/>
                    <a:pt x="817" y="725"/>
                    <a:pt x="817" y="725"/>
                  </a:cubicBezTo>
                  <a:cubicBezTo>
                    <a:pt x="795" y="750"/>
                    <a:pt x="770" y="770"/>
                    <a:pt x="742" y="786"/>
                  </a:cubicBezTo>
                  <a:cubicBezTo>
                    <a:pt x="711" y="806"/>
                    <a:pt x="684" y="820"/>
                    <a:pt x="650" y="831"/>
                  </a:cubicBezTo>
                  <a:cubicBezTo>
                    <a:pt x="620" y="845"/>
                    <a:pt x="586" y="853"/>
                    <a:pt x="553" y="859"/>
                  </a:cubicBezTo>
                  <a:cubicBezTo>
                    <a:pt x="520" y="864"/>
                    <a:pt x="486" y="867"/>
                    <a:pt x="453" y="867"/>
                  </a:cubicBezTo>
                  <a:cubicBezTo>
                    <a:pt x="384" y="867"/>
                    <a:pt x="322" y="856"/>
                    <a:pt x="267" y="836"/>
                  </a:cubicBezTo>
                  <a:cubicBezTo>
                    <a:pt x="211" y="814"/>
                    <a:pt x="164" y="786"/>
                    <a:pt x="123" y="748"/>
                  </a:cubicBezTo>
                  <a:cubicBezTo>
                    <a:pt x="84" y="709"/>
                    <a:pt x="53" y="664"/>
                    <a:pt x="34" y="609"/>
                  </a:cubicBezTo>
                  <a:cubicBezTo>
                    <a:pt x="11" y="556"/>
                    <a:pt x="0" y="495"/>
                    <a:pt x="0" y="431"/>
                  </a:cubicBezTo>
                  <a:cubicBezTo>
                    <a:pt x="0" y="367"/>
                    <a:pt x="11" y="309"/>
                    <a:pt x="34" y="256"/>
                  </a:cubicBezTo>
                  <a:cubicBezTo>
                    <a:pt x="53" y="203"/>
                    <a:pt x="84" y="159"/>
                    <a:pt x="123" y="120"/>
                  </a:cubicBezTo>
                  <a:cubicBezTo>
                    <a:pt x="161" y="84"/>
                    <a:pt x="209" y="53"/>
                    <a:pt x="261" y="31"/>
                  </a:cubicBezTo>
                  <a:cubicBezTo>
                    <a:pt x="317" y="12"/>
                    <a:pt x="375" y="0"/>
                    <a:pt x="442" y="0"/>
                  </a:cubicBezTo>
                  <a:cubicBezTo>
                    <a:pt x="511" y="0"/>
                    <a:pt x="572" y="12"/>
                    <a:pt x="628" y="31"/>
                  </a:cubicBezTo>
                  <a:cubicBezTo>
                    <a:pt x="684" y="53"/>
                    <a:pt x="728" y="84"/>
                    <a:pt x="767" y="125"/>
                  </a:cubicBezTo>
                  <a:cubicBezTo>
                    <a:pt x="806" y="164"/>
                    <a:pt x="834" y="217"/>
                    <a:pt x="850" y="278"/>
                  </a:cubicBezTo>
                  <a:cubicBezTo>
                    <a:pt x="870" y="342"/>
                    <a:pt x="872" y="414"/>
                    <a:pt x="864" y="498"/>
                  </a:cubicBezTo>
                  <a:lnTo>
                    <a:pt x="186" y="353"/>
                  </a:lnTo>
                  <a:lnTo>
                    <a:pt x="186" y="353"/>
                  </a:lnTo>
                  <a:cubicBezTo>
                    <a:pt x="697" y="353"/>
                    <a:pt x="697" y="353"/>
                    <a:pt x="697" y="353"/>
                  </a:cubicBezTo>
                  <a:cubicBezTo>
                    <a:pt x="692" y="287"/>
                    <a:pt x="667" y="236"/>
                    <a:pt x="622" y="203"/>
                  </a:cubicBezTo>
                  <a:cubicBezTo>
                    <a:pt x="578" y="170"/>
                    <a:pt x="520" y="153"/>
                    <a:pt x="447" y="153"/>
                  </a:cubicBezTo>
                  <a:cubicBezTo>
                    <a:pt x="384" y="153"/>
                    <a:pt x="325" y="170"/>
                    <a:pt x="278" y="203"/>
                  </a:cubicBezTo>
                  <a:cubicBezTo>
                    <a:pt x="231" y="236"/>
                    <a:pt x="200" y="287"/>
                    <a:pt x="186" y="353"/>
                  </a:cubicBezTo>
                  <a:lnTo>
                    <a:pt x="864"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8" name="Freeform 16">
              <a:extLst>
                <a:ext uri="{FF2B5EF4-FFF2-40B4-BE49-F238E27FC236}">
                  <a16:creationId xmlns:a16="http://schemas.microsoft.com/office/drawing/2014/main" id="{1123E51C-3B82-D947-AC17-C1D6C18467C9}"/>
                </a:ext>
              </a:extLst>
            </p:cNvPr>
            <p:cNvSpPr>
              <a:spLocks noChangeArrowheads="1"/>
            </p:cNvSpPr>
            <p:nvPr userDrawn="1"/>
          </p:nvSpPr>
          <p:spPr bwMode="auto">
            <a:xfrm>
              <a:off x="7083425" y="3144838"/>
              <a:ext cx="293688" cy="301625"/>
            </a:xfrm>
            <a:custGeom>
              <a:avLst/>
              <a:gdLst>
                <a:gd name="T0" fmla="*/ 638 w 817"/>
                <a:gd name="T1" fmla="*/ 836 h 837"/>
                <a:gd name="T2" fmla="*/ 638 w 817"/>
                <a:gd name="T3" fmla="*/ 836 h 837"/>
                <a:gd name="T4" fmla="*/ 638 w 817"/>
                <a:gd name="T5" fmla="*/ 397 h 837"/>
                <a:gd name="T6" fmla="*/ 580 w 817"/>
                <a:gd name="T7" fmla="*/ 225 h 837"/>
                <a:gd name="T8" fmla="*/ 411 w 817"/>
                <a:gd name="T9" fmla="*/ 161 h 837"/>
                <a:gd name="T10" fmla="*/ 313 w 817"/>
                <a:gd name="T11" fmla="*/ 180 h 837"/>
                <a:gd name="T12" fmla="*/ 241 w 817"/>
                <a:gd name="T13" fmla="*/ 233 h 837"/>
                <a:gd name="T14" fmla="*/ 194 w 817"/>
                <a:gd name="T15" fmla="*/ 311 h 837"/>
                <a:gd name="T16" fmla="*/ 175 w 817"/>
                <a:gd name="T17" fmla="*/ 408 h 837"/>
                <a:gd name="T18" fmla="*/ 175 w 817"/>
                <a:gd name="T19" fmla="*/ 836 h 837"/>
                <a:gd name="T20" fmla="*/ 0 w 817"/>
                <a:gd name="T21" fmla="*/ 836 h 837"/>
                <a:gd name="T22" fmla="*/ 0 w 817"/>
                <a:gd name="T23" fmla="*/ 11 h 837"/>
                <a:gd name="T24" fmla="*/ 161 w 817"/>
                <a:gd name="T25" fmla="*/ 11 h 837"/>
                <a:gd name="T26" fmla="*/ 172 w 817"/>
                <a:gd name="T27" fmla="*/ 133 h 837"/>
                <a:gd name="T28" fmla="*/ 455 w 817"/>
                <a:gd name="T29" fmla="*/ 0 h 837"/>
                <a:gd name="T30" fmla="*/ 597 w 817"/>
                <a:gd name="T31" fmla="*/ 25 h 837"/>
                <a:gd name="T32" fmla="*/ 711 w 817"/>
                <a:gd name="T33" fmla="*/ 103 h 837"/>
                <a:gd name="T34" fmla="*/ 788 w 817"/>
                <a:gd name="T35" fmla="*/ 225 h 837"/>
                <a:gd name="T36" fmla="*/ 816 w 817"/>
                <a:gd name="T37" fmla="*/ 394 h 837"/>
                <a:gd name="T38" fmla="*/ 816 w 817"/>
                <a:gd name="T39" fmla="*/ 836 h 837"/>
                <a:gd name="T40" fmla="*/ 638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8" y="836"/>
                  </a:moveTo>
                  <a:lnTo>
                    <a:pt x="638" y="836"/>
                  </a:lnTo>
                  <a:cubicBezTo>
                    <a:pt x="638" y="397"/>
                    <a:pt x="638" y="397"/>
                    <a:pt x="638" y="397"/>
                  </a:cubicBezTo>
                  <a:cubicBezTo>
                    <a:pt x="638" y="325"/>
                    <a:pt x="619" y="269"/>
                    <a:pt x="580" y="225"/>
                  </a:cubicBezTo>
                  <a:cubicBezTo>
                    <a:pt x="541" y="183"/>
                    <a:pt x="483" y="161"/>
                    <a:pt x="411" y="161"/>
                  </a:cubicBezTo>
                  <a:cubicBezTo>
                    <a:pt x="375" y="161"/>
                    <a:pt x="344" y="166"/>
                    <a:pt x="313" y="180"/>
                  </a:cubicBezTo>
                  <a:cubicBezTo>
                    <a:pt x="286" y="191"/>
                    <a:pt x="261" y="211"/>
                    <a:pt x="241" y="233"/>
                  </a:cubicBezTo>
                  <a:cubicBezTo>
                    <a:pt x="219" y="255"/>
                    <a:pt x="205" y="283"/>
                    <a:pt x="194" y="311"/>
                  </a:cubicBezTo>
                  <a:cubicBezTo>
                    <a:pt x="180" y="341"/>
                    <a:pt x="175" y="375"/>
                    <a:pt x="175" y="408"/>
                  </a:cubicBezTo>
                  <a:cubicBezTo>
                    <a:pt x="175" y="836"/>
                    <a:pt x="175" y="836"/>
                    <a:pt x="175" y="836"/>
                  </a:cubicBezTo>
                  <a:cubicBezTo>
                    <a:pt x="0" y="836"/>
                    <a:pt x="0" y="836"/>
                    <a:pt x="0" y="836"/>
                  </a:cubicBezTo>
                  <a:cubicBezTo>
                    <a:pt x="0" y="11"/>
                    <a:pt x="0" y="11"/>
                    <a:pt x="0" y="11"/>
                  </a:cubicBezTo>
                  <a:cubicBezTo>
                    <a:pt x="161" y="11"/>
                    <a:pt x="161" y="11"/>
                    <a:pt x="161" y="11"/>
                  </a:cubicBezTo>
                  <a:cubicBezTo>
                    <a:pt x="172" y="133"/>
                    <a:pt x="172" y="133"/>
                    <a:pt x="172" y="133"/>
                  </a:cubicBezTo>
                  <a:cubicBezTo>
                    <a:pt x="250" y="44"/>
                    <a:pt x="344" y="0"/>
                    <a:pt x="455" y="0"/>
                  </a:cubicBezTo>
                  <a:cubicBezTo>
                    <a:pt x="505" y="0"/>
                    <a:pt x="552" y="8"/>
                    <a:pt x="597" y="25"/>
                  </a:cubicBezTo>
                  <a:cubicBezTo>
                    <a:pt x="641" y="44"/>
                    <a:pt x="677" y="69"/>
                    <a:pt x="711" y="103"/>
                  </a:cubicBezTo>
                  <a:cubicBezTo>
                    <a:pt x="744" y="136"/>
                    <a:pt x="769" y="178"/>
                    <a:pt x="788" y="225"/>
                  </a:cubicBezTo>
                  <a:cubicBezTo>
                    <a:pt x="808" y="275"/>
                    <a:pt x="816" y="330"/>
                    <a:pt x="816" y="394"/>
                  </a:cubicBezTo>
                  <a:cubicBezTo>
                    <a:pt x="816" y="836"/>
                    <a:pt x="816" y="836"/>
                    <a:pt x="816" y="836"/>
                  </a:cubicBezTo>
                  <a:lnTo>
                    <a:pt x="638" y="83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9" name="Freeform 17">
              <a:extLst>
                <a:ext uri="{FF2B5EF4-FFF2-40B4-BE49-F238E27FC236}">
                  <a16:creationId xmlns:a16="http://schemas.microsoft.com/office/drawing/2014/main" id="{F592EF10-9C1F-0E44-ABE6-E218C84368F5}"/>
                </a:ext>
              </a:extLst>
            </p:cNvPr>
            <p:cNvSpPr>
              <a:spLocks noChangeArrowheads="1"/>
            </p:cNvSpPr>
            <p:nvPr userDrawn="1"/>
          </p:nvSpPr>
          <p:spPr bwMode="auto">
            <a:xfrm>
              <a:off x="7440613" y="3141663"/>
              <a:ext cx="274637" cy="311150"/>
            </a:xfrm>
            <a:custGeom>
              <a:avLst/>
              <a:gdLst>
                <a:gd name="T0" fmla="*/ 761 w 762"/>
                <a:gd name="T1" fmla="*/ 736 h 865"/>
                <a:gd name="T2" fmla="*/ 761 w 762"/>
                <a:gd name="T3" fmla="*/ 736 h 865"/>
                <a:gd name="T4" fmla="*/ 614 w 762"/>
                <a:gd name="T5" fmla="*/ 833 h 865"/>
                <a:gd name="T6" fmla="*/ 442 w 762"/>
                <a:gd name="T7" fmla="*/ 864 h 865"/>
                <a:gd name="T8" fmla="*/ 272 w 762"/>
                <a:gd name="T9" fmla="*/ 836 h 865"/>
                <a:gd name="T10" fmla="*/ 131 w 762"/>
                <a:gd name="T11" fmla="*/ 756 h 865"/>
                <a:gd name="T12" fmla="*/ 34 w 762"/>
                <a:gd name="T13" fmla="*/ 620 h 865"/>
                <a:gd name="T14" fmla="*/ 0 w 762"/>
                <a:gd name="T15" fmla="*/ 431 h 865"/>
                <a:gd name="T16" fmla="*/ 34 w 762"/>
                <a:gd name="T17" fmla="*/ 245 h 865"/>
                <a:gd name="T18" fmla="*/ 131 w 762"/>
                <a:gd name="T19" fmla="*/ 109 h 865"/>
                <a:gd name="T20" fmla="*/ 270 w 762"/>
                <a:gd name="T21" fmla="*/ 28 h 865"/>
                <a:gd name="T22" fmla="*/ 442 w 762"/>
                <a:gd name="T23" fmla="*/ 0 h 865"/>
                <a:gd name="T24" fmla="*/ 603 w 762"/>
                <a:gd name="T25" fmla="*/ 28 h 865"/>
                <a:gd name="T26" fmla="*/ 747 w 762"/>
                <a:gd name="T27" fmla="*/ 122 h 865"/>
                <a:gd name="T28" fmla="*/ 633 w 762"/>
                <a:gd name="T29" fmla="*/ 236 h 865"/>
                <a:gd name="T30" fmla="*/ 545 w 762"/>
                <a:gd name="T31" fmla="*/ 181 h 865"/>
                <a:gd name="T32" fmla="*/ 445 w 762"/>
                <a:gd name="T33" fmla="*/ 164 h 865"/>
                <a:gd name="T34" fmla="*/ 339 w 762"/>
                <a:gd name="T35" fmla="*/ 181 h 865"/>
                <a:gd name="T36" fmla="*/ 253 w 762"/>
                <a:gd name="T37" fmla="*/ 236 h 865"/>
                <a:gd name="T38" fmla="*/ 195 w 762"/>
                <a:gd name="T39" fmla="*/ 320 h 865"/>
                <a:gd name="T40" fmla="*/ 175 w 762"/>
                <a:gd name="T41" fmla="*/ 431 h 865"/>
                <a:gd name="T42" fmla="*/ 197 w 762"/>
                <a:gd name="T43" fmla="*/ 547 h 865"/>
                <a:gd name="T44" fmla="*/ 253 w 762"/>
                <a:gd name="T45" fmla="*/ 631 h 865"/>
                <a:gd name="T46" fmla="*/ 339 w 762"/>
                <a:gd name="T47" fmla="*/ 681 h 865"/>
                <a:gd name="T48" fmla="*/ 442 w 762"/>
                <a:gd name="T49" fmla="*/ 697 h 865"/>
                <a:gd name="T50" fmla="*/ 550 w 762"/>
                <a:gd name="T51" fmla="*/ 681 h 865"/>
                <a:gd name="T52" fmla="*/ 642 w 762"/>
                <a:gd name="T53" fmla="*/ 620 h 865"/>
                <a:gd name="T54" fmla="*/ 761 w 762"/>
                <a:gd name="T55" fmla="*/ 736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62" h="865">
                  <a:moveTo>
                    <a:pt x="761" y="736"/>
                  </a:moveTo>
                  <a:lnTo>
                    <a:pt x="761" y="736"/>
                  </a:lnTo>
                  <a:cubicBezTo>
                    <a:pt x="714" y="781"/>
                    <a:pt x="664" y="814"/>
                    <a:pt x="614" y="833"/>
                  </a:cubicBezTo>
                  <a:cubicBezTo>
                    <a:pt x="561" y="856"/>
                    <a:pt x="503" y="864"/>
                    <a:pt x="442" y="864"/>
                  </a:cubicBezTo>
                  <a:cubicBezTo>
                    <a:pt x="383" y="864"/>
                    <a:pt x="325" y="856"/>
                    <a:pt x="272" y="836"/>
                  </a:cubicBezTo>
                  <a:cubicBezTo>
                    <a:pt x="217" y="820"/>
                    <a:pt x="170" y="792"/>
                    <a:pt x="131" y="756"/>
                  </a:cubicBezTo>
                  <a:cubicBezTo>
                    <a:pt x="89" y="720"/>
                    <a:pt x="58" y="675"/>
                    <a:pt x="34" y="620"/>
                  </a:cubicBezTo>
                  <a:cubicBezTo>
                    <a:pt x="11" y="567"/>
                    <a:pt x="0" y="503"/>
                    <a:pt x="0" y="431"/>
                  </a:cubicBezTo>
                  <a:cubicBezTo>
                    <a:pt x="0" y="361"/>
                    <a:pt x="11" y="297"/>
                    <a:pt x="34" y="245"/>
                  </a:cubicBezTo>
                  <a:cubicBezTo>
                    <a:pt x="58" y="189"/>
                    <a:pt x="89" y="145"/>
                    <a:pt x="131" y="109"/>
                  </a:cubicBezTo>
                  <a:cubicBezTo>
                    <a:pt x="170" y="72"/>
                    <a:pt x="217" y="45"/>
                    <a:pt x="270" y="28"/>
                  </a:cubicBezTo>
                  <a:cubicBezTo>
                    <a:pt x="325" y="9"/>
                    <a:pt x="381" y="0"/>
                    <a:pt x="442" y="0"/>
                  </a:cubicBezTo>
                  <a:cubicBezTo>
                    <a:pt x="500" y="0"/>
                    <a:pt x="556" y="9"/>
                    <a:pt x="603" y="28"/>
                  </a:cubicBezTo>
                  <a:cubicBezTo>
                    <a:pt x="653" y="47"/>
                    <a:pt x="700" y="78"/>
                    <a:pt x="747" y="122"/>
                  </a:cubicBezTo>
                  <a:cubicBezTo>
                    <a:pt x="633" y="236"/>
                    <a:pt x="633" y="236"/>
                    <a:pt x="633" y="236"/>
                  </a:cubicBezTo>
                  <a:cubicBezTo>
                    <a:pt x="608" y="211"/>
                    <a:pt x="578" y="192"/>
                    <a:pt x="545" y="181"/>
                  </a:cubicBezTo>
                  <a:cubicBezTo>
                    <a:pt x="511" y="170"/>
                    <a:pt x="478" y="164"/>
                    <a:pt x="445" y="164"/>
                  </a:cubicBezTo>
                  <a:cubicBezTo>
                    <a:pt x="406" y="164"/>
                    <a:pt x="372" y="170"/>
                    <a:pt x="339" y="181"/>
                  </a:cubicBezTo>
                  <a:cubicBezTo>
                    <a:pt x="306" y="195"/>
                    <a:pt x="278" y="214"/>
                    <a:pt x="253" y="236"/>
                  </a:cubicBezTo>
                  <a:cubicBezTo>
                    <a:pt x="228" y="259"/>
                    <a:pt x="209" y="289"/>
                    <a:pt x="195" y="320"/>
                  </a:cubicBezTo>
                  <a:cubicBezTo>
                    <a:pt x="181" y="353"/>
                    <a:pt x="175" y="392"/>
                    <a:pt x="175" y="431"/>
                  </a:cubicBezTo>
                  <a:cubicBezTo>
                    <a:pt x="175" y="475"/>
                    <a:pt x="181" y="514"/>
                    <a:pt x="197" y="547"/>
                  </a:cubicBezTo>
                  <a:cubicBezTo>
                    <a:pt x="211" y="578"/>
                    <a:pt x="231" y="606"/>
                    <a:pt x="253" y="631"/>
                  </a:cubicBezTo>
                  <a:cubicBezTo>
                    <a:pt x="278" y="653"/>
                    <a:pt x="309" y="670"/>
                    <a:pt x="339" y="681"/>
                  </a:cubicBezTo>
                  <a:cubicBezTo>
                    <a:pt x="372" y="692"/>
                    <a:pt x="406" y="697"/>
                    <a:pt x="442" y="697"/>
                  </a:cubicBezTo>
                  <a:cubicBezTo>
                    <a:pt x="478" y="697"/>
                    <a:pt x="514" y="692"/>
                    <a:pt x="550" y="681"/>
                  </a:cubicBezTo>
                  <a:cubicBezTo>
                    <a:pt x="583" y="670"/>
                    <a:pt x="614" y="647"/>
                    <a:pt x="642" y="620"/>
                  </a:cubicBezTo>
                  <a:lnTo>
                    <a:pt x="761" y="73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0" name="Freeform 18">
              <a:extLst>
                <a:ext uri="{FF2B5EF4-FFF2-40B4-BE49-F238E27FC236}">
                  <a16:creationId xmlns:a16="http://schemas.microsoft.com/office/drawing/2014/main" id="{B6FB6FE5-F96A-B84A-ADDF-A93F16D56543}"/>
                </a:ext>
              </a:extLst>
            </p:cNvPr>
            <p:cNvSpPr>
              <a:spLocks noChangeArrowheads="1"/>
            </p:cNvSpPr>
            <p:nvPr userDrawn="1"/>
          </p:nvSpPr>
          <p:spPr bwMode="auto">
            <a:xfrm>
              <a:off x="7747000" y="3141663"/>
              <a:ext cx="314325" cy="312737"/>
            </a:xfrm>
            <a:custGeom>
              <a:avLst/>
              <a:gdLst>
                <a:gd name="T0" fmla="*/ 864 w 873"/>
                <a:gd name="T1" fmla="*/ 498 h 868"/>
                <a:gd name="T2" fmla="*/ 864 w 873"/>
                <a:gd name="T3" fmla="*/ 498 h 868"/>
                <a:gd name="T4" fmla="*/ 181 w 873"/>
                <a:gd name="T5" fmla="*/ 498 h 868"/>
                <a:gd name="T6" fmla="*/ 267 w 873"/>
                <a:gd name="T7" fmla="*/ 650 h 868"/>
                <a:gd name="T8" fmla="*/ 456 w 873"/>
                <a:gd name="T9" fmla="*/ 706 h 868"/>
                <a:gd name="T10" fmla="*/ 592 w 873"/>
                <a:gd name="T11" fmla="*/ 684 h 868"/>
                <a:gd name="T12" fmla="*/ 700 w 873"/>
                <a:gd name="T13" fmla="*/ 617 h 868"/>
                <a:gd name="T14" fmla="*/ 817 w 873"/>
                <a:gd name="T15" fmla="*/ 725 h 868"/>
                <a:gd name="T16" fmla="*/ 739 w 873"/>
                <a:gd name="T17" fmla="*/ 786 h 868"/>
                <a:gd name="T18" fmla="*/ 650 w 873"/>
                <a:gd name="T19" fmla="*/ 831 h 868"/>
                <a:gd name="T20" fmla="*/ 553 w 873"/>
                <a:gd name="T21" fmla="*/ 859 h 868"/>
                <a:gd name="T22" fmla="*/ 453 w 873"/>
                <a:gd name="T23" fmla="*/ 867 h 868"/>
                <a:gd name="T24" fmla="*/ 267 w 873"/>
                <a:gd name="T25" fmla="*/ 836 h 868"/>
                <a:gd name="T26" fmla="*/ 122 w 873"/>
                <a:gd name="T27" fmla="*/ 748 h 868"/>
                <a:gd name="T28" fmla="*/ 31 w 873"/>
                <a:gd name="T29" fmla="*/ 609 h 868"/>
                <a:gd name="T30" fmla="*/ 0 w 873"/>
                <a:gd name="T31" fmla="*/ 431 h 868"/>
                <a:gd name="T32" fmla="*/ 31 w 873"/>
                <a:gd name="T33" fmla="*/ 256 h 868"/>
                <a:gd name="T34" fmla="*/ 122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4 w 873"/>
                <a:gd name="T53" fmla="*/ 353 h 868"/>
                <a:gd name="T54" fmla="*/ 619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1" y="498"/>
                    <a:pt x="181" y="498"/>
                    <a:pt x="181" y="498"/>
                  </a:cubicBezTo>
                  <a:cubicBezTo>
                    <a:pt x="189" y="562"/>
                    <a:pt x="219" y="611"/>
                    <a:pt x="267" y="650"/>
                  </a:cubicBezTo>
                  <a:cubicBezTo>
                    <a:pt x="317" y="686"/>
                    <a:pt x="381" y="706"/>
                    <a:pt x="456" y="706"/>
                  </a:cubicBezTo>
                  <a:cubicBezTo>
                    <a:pt x="500" y="706"/>
                    <a:pt x="544" y="698"/>
                    <a:pt x="592" y="684"/>
                  </a:cubicBezTo>
                  <a:cubicBezTo>
                    <a:pt x="639" y="667"/>
                    <a:pt x="675" y="645"/>
                    <a:pt x="700" y="617"/>
                  </a:cubicBezTo>
                  <a:cubicBezTo>
                    <a:pt x="817" y="725"/>
                    <a:pt x="817" y="725"/>
                    <a:pt x="817" y="725"/>
                  </a:cubicBezTo>
                  <a:cubicBezTo>
                    <a:pt x="794" y="750"/>
                    <a:pt x="769" y="770"/>
                    <a:pt x="739" y="786"/>
                  </a:cubicBezTo>
                  <a:cubicBezTo>
                    <a:pt x="711" y="806"/>
                    <a:pt x="681" y="820"/>
                    <a:pt x="650" y="831"/>
                  </a:cubicBezTo>
                  <a:cubicBezTo>
                    <a:pt x="619" y="845"/>
                    <a:pt x="586" y="853"/>
                    <a:pt x="553" y="859"/>
                  </a:cubicBezTo>
                  <a:cubicBezTo>
                    <a:pt x="519" y="864"/>
                    <a:pt x="486" y="867"/>
                    <a:pt x="453" y="867"/>
                  </a:cubicBezTo>
                  <a:cubicBezTo>
                    <a:pt x="383" y="867"/>
                    <a:pt x="322" y="856"/>
                    <a:pt x="267" y="836"/>
                  </a:cubicBezTo>
                  <a:cubicBezTo>
                    <a:pt x="208" y="814"/>
                    <a:pt x="161" y="786"/>
                    <a:pt x="122" y="748"/>
                  </a:cubicBezTo>
                  <a:cubicBezTo>
                    <a:pt x="83" y="709"/>
                    <a:pt x="53" y="664"/>
                    <a:pt x="31" y="609"/>
                  </a:cubicBezTo>
                  <a:cubicBezTo>
                    <a:pt x="11" y="556"/>
                    <a:pt x="0" y="495"/>
                    <a:pt x="0" y="431"/>
                  </a:cubicBezTo>
                  <a:cubicBezTo>
                    <a:pt x="0" y="367"/>
                    <a:pt x="11" y="309"/>
                    <a:pt x="31" y="256"/>
                  </a:cubicBezTo>
                  <a:cubicBezTo>
                    <a:pt x="53" y="203"/>
                    <a:pt x="83" y="159"/>
                    <a:pt x="122" y="120"/>
                  </a:cubicBezTo>
                  <a:cubicBezTo>
                    <a:pt x="161" y="84"/>
                    <a:pt x="208" y="53"/>
                    <a:pt x="261" y="31"/>
                  </a:cubicBezTo>
                  <a:cubicBezTo>
                    <a:pt x="314" y="12"/>
                    <a:pt x="375" y="0"/>
                    <a:pt x="442" y="0"/>
                  </a:cubicBezTo>
                  <a:cubicBezTo>
                    <a:pt x="508" y="0"/>
                    <a:pt x="572" y="12"/>
                    <a:pt x="628" y="31"/>
                  </a:cubicBezTo>
                  <a:cubicBezTo>
                    <a:pt x="681" y="53"/>
                    <a:pt x="728" y="84"/>
                    <a:pt x="767" y="125"/>
                  </a:cubicBezTo>
                  <a:cubicBezTo>
                    <a:pt x="806" y="164"/>
                    <a:pt x="833" y="217"/>
                    <a:pt x="850" y="278"/>
                  </a:cubicBezTo>
                  <a:cubicBezTo>
                    <a:pt x="867" y="342"/>
                    <a:pt x="872" y="414"/>
                    <a:pt x="864" y="498"/>
                  </a:cubicBezTo>
                  <a:lnTo>
                    <a:pt x="186" y="353"/>
                  </a:lnTo>
                  <a:lnTo>
                    <a:pt x="186" y="353"/>
                  </a:lnTo>
                  <a:cubicBezTo>
                    <a:pt x="694" y="353"/>
                    <a:pt x="694" y="353"/>
                    <a:pt x="694" y="353"/>
                  </a:cubicBezTo>
                  <a:cubicBezTo>
                    <a:pt x="689" y="287"/>
                    <a:pt x="664" y="236"/>
                    <a:pt x="619" y="203"/>
                  </a:cubicBezTo>
                  <a:cubicBezTo>
                    <a:pt x="575" y="170"/>
                    <a:pt x="519" y="153"/>
                    <a:pt x="447" y="153"/>
                  </a:cubicBezTo>
                  <a:cubicBezTo>
                    <a:pt x="381" y="153"/>
                    <a:pt x="325" y="170"/>
                    <a:pt x="278" y="203"/>
                  </a:cubicBezTo>
                  <a:cubicBezTo>
                    <a:pt x="231" y="236"/>
                    <a:pt x="200" y="287"/>
                    <a:pt x="186" y="353"/>
                  </a:cubicBezTo>
                  <a:lnTo>
                    <a:pt x="864"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1" name="Freeform 19">
              <a:extLst>
                <a:ext uri="{FF2B5EF4-FFF2-40B4-BE49-F238E27FC236}">
                  <a16:creationId xmlns:a16="http://schemas.microsoft.com/office/drawing/2014/main" id="{69EF18CF-DF83-F740-A72B-3E5D46E45B1C}"/>
                </a:ext>
              </a:extLst>
            </p:cNvPr>
            <p:cNvSpPr>
              <a:spLocks noChangeArrowheads="1"/>
            </p:cNvSpPr>
            <p:nvPr userDrawn="1"/>
          </p:nvSpPr>
          <p:spPr bwMode="auto">
            <a:xfrm>
              <a:off x="1828800" y="3743325"/>
              <a:ext cx="323850" cy="311150"/>
            </a:xfrm>
            <a:custGeom>
              <a:avLst/>
              <a:gdLst>
                <a:gd name="T0" fmla="*/ 722 w 901"/>
                <a:gd name="T1" fmla="*/ 147 h 865"/>
                <a:gd name="T2" fmla="*/ 722 w 901"/>
                <a:gd name="T3" fmla="*/ 147 h 865"/>
                <a:gd name="T4" fmla="*/ 728 w 901"/>
                <a:gd name="T5" fmla="*/ 17 h 865"/>
                <a:gd name="T6" fmla="*/ 900 w 901"/>
                <a:gd name="T7" fmla="*/ 17 h 865"/>
                <a:gd name="T8" fmla="*/ 900 w 901"/>
                <a:gd name="T9" fmla="*/ 842 h 865"/>
                <a:gd name="T10" fmla="*/ 731 w 901"/>
                <a:gd name="T11" fmla="*/ 842 h 865"/>
                <a:gd name="T12" fmla="*/ 722 w 901"/>
                <a:gd name="T13" fmla="*/ 709 h 865"/>
                <a:gd name="T14" fmla="*/ 669 w 901"/>
                <a:gd name="T15" fmla="*/ 778 h 865"/>
                <a:gd name="T16" fmla="*/ 597 w 901"/>
                <a:gd name="T17" fmla="*/ 825 h 865"/>
                <a:gd name="T18" fmla="*/ 514 w 901"/>
                <a:gd name="T19" fmla="*/ 856 h 865"/>
                <a:gd name="T20" fmla="*/ 433 w 901"/>
                <a:gd name="T21" fmla="*/ 864 h 865"/>
                <a:gd name="T22" fmla="*/ 261 w 901"/>
                <a:gd name="T23" fmla="*/ 836 h 865"/>
                <a:gd name="T24" fmla="*/ 125 w 901"/>
                <a:gd name="T25" fmla="*/ 753 h 865"/>
                <a:gd name="T26" fmla="*/ 33 w 901"/>
                <a:gd name="T27" fmla="*/ 617 h 865"/>
                <a:gd name="T28" fmla="*/ 0 w 901"/>
                <a:gd name="T29" fmla="*/ 428 h 865"/>
                <a:gd name="T30" fmla="*/ 36 w 901"/>
                <a:gd name="T31" fmla="*/ 245 h 865"/>
                <a:gd name="T32" fmla="*/ 128 w 901"/>
                <a:gd name="T33" fmla="*/ 111 h 865"/>
                <a:gd name="T34" fmla="*/ 267 w 901"/>
                <a:gd name="T35" fmla="*/ 28 h 865"/>
                <a:gd name="T36" fmla="*/ 436 w 901"/>
                <a:gd name="T37" fmla="*/ 0 h 865"/>
                <a:gd name="T38" fmla="*/ 606 w 901"/>
                <a:gd name="T39" fmla="*/ 39 h 865"/>
                <a:gd name="T40" fmla="*/ 722 w 901"/>
                <a:gd name="T41" fmla="*/ 147 h 865"/>
                <a:gd name="T42" fmla="*/ 450 w 901"/>
                <a:gd name="T43" fmla="*/ 156 h 865"/>
                <a:gd name="T44" fmla="*/ 450 w 901"/>
                <a:gd name="T45" fmla="*/ 156 h 865"/>
                <a:gd name="T46" fmla="*/ 344 w 901"/>
                <a:gd name="T47" fmla="*/ 175 h 865"/>
                <a:gd name="T48" fmla="*/ 258 w 901"/>
                <a:gd name="T49" fmla="*/ 231 h 865"/>
                <a:gd name="T50" fmla="*/ 197 w 901"/>
                <a:gd name="T51" fmla="*/ 317 h 865"/>
                <a:gd name="T52" fmla="*/ 178 w 901"/>
                <a:gd name="T53" fmla="*/ 428 h 865"/>
                <a:gd name="T54" fmla="*/ 197 w 901"/>
                <a:gd name="T55" fmla="*/ 545 h 865"/>
                <a:gd name="T56" fmla="*/ 258 w 901"/>
                <a:gd name="T57" fmla="*/ 631 h 865"/>
                <a:gd name="T58" fmla="*/ 344 w 901"/>
                <a:gd name="T59" fmla="*/ 684 h 865"/>
                <a:gd name="T60" fmla="*/ 450 w 901"/>
                <a:gd name="T61" fmla="*/ 703 h 865"/>
                <a:gd name="T62" fmla="*/ 600 w 901"/>
                <a:gd name="T63" fmla="*/ 664 h 865"/>
                <a:gd name="T64" fmla="*/ 692 w 901"/>
                <a:gd name="T65" fmla="*/ 561 h 865"/>
                <a:gd name="T66" fmla="*/ 722 w 901"/>
                <a:gd name="T67" fmla="*/ 431 h 865"/>
                <a:gd name="T68" fmla="*/ 692 w 901"/>
                <a:gd name="T69" fmla="*/ 298 h 865"/>
                <a:gd name="T70" fmla="*/ 600 w 901"/>
                <a:gd name="T71" fmla="*/ 198 h 865"/>
                <a:gd name="T72" fmla="*/ 450 w 901"/>
                <a:gd name="T73" fmla="*/ 156 h 865"/>
                <a:gd name="T74" fmla="*/ 722 w 901"/>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1" h="865">
                  <a:moveTo>
                    <a:pt x="722" y="147"/>
                  </a:moveTo>
                  <a:lnTo>
                    <a:pt x="722" y="147"/>
                  </a:lnTo>
                  <a:cubicBezTo>
                    <a:pt x="728" y="17"/>
                    <a:pt x="728" y="17"/>
                    <a:pt x="728" y="17"/>
                  </a:cubicBezTo>
                  <a:cubicBezTo>
                    <a:pt x="900" y="17"/>
                    <a:pt x="900" y="17"/>
                    <a:pt x="900" y="17"/>
                  </a:cubicBezTo>
                  <a:cubicBezTo>
                    <a:pt x="900" y="842"/>
                    <a:pt x="900" y="842"/>
                    <a:pt x="900" y="842"/>
                  </a:cubicBezTo>
                  <a:cubicBezTo>
                    <a:pt x="731" y="842"/>
                    <a:pt x="731" y="842"/>
                    <a:pt x="731" y="842"/>
                  </a:cubicBezTo>
                  <a:cubicBezTo>
                    <a:pt x="722" y="709"/>
                    <a:pt x="722" y="709"/>
                    <a:pt x="722" y="709"/>
                  </a:cubicBezTo>
                  <a:cubicBezTo>
                    <a:pt x="708" y="736"/>
                    <a:pt x="692" y="759"/>
                    <a:pt x="669" y="778"/>
                  </a:cubicBezTo>
                  <a:cubicBezTo>
                    <a:pt x="647" y="797"/>
                    <a:pt x="622" y="814"/>
                    <a:pt x="597" y="825"/>
                  </a:cubicBezTo>
                  <a:cubicBezTo>
                    <a:pt x="569" y="839"/>
                    <a:pt x="542" y="847"/>
                    <a:pt x="514" y="856"/>
                  </a:cubicBezTo>
                  <a:cubicBezTo>
                    <a:pt x="486" y="861"/>
                    <a:pt x="458" y="864"/>
                    <a:pt x="433" y="864"/>
                  </a:cubicBezTo>
                  <a:cubicBezTo>
                    <a:pt x="372" y="864"/>
                    <a:pt x="314" y="853"/>
                    <a:pt x="261" y="836"/>
                  </a:cubicBezTo>
                  <a:cubicBezTo>
                    <a:pt x="208" y="817"/>
                    <a:pt x="164" y="789"/>
                    <a:pt x="125" y="753"/>
                  </a:cubicBezTo>
                  <a:cubicBezTo>
                    <a:pt x="86" y="714"/>
                    <a:pt x="56" y="670"/>
                    <a:pt x="33" y="617"/>
                  </a:cubicBezTo>
                  <a:cubicBezTo>
                    <a:pt x="11" y="561"/>
                    <a:pt x="0" y="500"/>
                    <a:pt x="0" y="428"/>
                  </a:cubicBezTo>
                  <a:cubicBezTo>
                    <a:pt x="0" y="361"/>
                    <a:pt x="11" y="300"/>
                    <a:pt x="36" y="245"/>
                  </a:cubicBezTo>
                  <a:cubicBezTo>
                    <a:pt x="58" y="192"/>
                    <a:pt x="89" y="147"/>
                    <a:pt x="128" y="111"/>
                  </a:cubicBezTo>
                  <a:cubicBezTo>
                    <a:pt x="167" y="75"/>
                    <a:pt x="214" y="48"/>
                    <a:pt x="267" y="28"/>
                  </a:cubicBezTo>
                  <a:cubicBezTo>
                    <a:pt x="319" y="9"/>
                    <a:pt x="375" y="0"/>
                    <a:pt x="436" y="0"/>
                  </a:cubicBezTo>
                  <a:cubicBezTo>
                    <a:pt x="497" y="0"/>
                    <a:pt x="553" y="14"/>
                    <a:pt x="606" y="39"/>
                  </a:cubicBezTo>
                  <a:cubicBezTo>
                    <a:pt x="658" y="64"/>
                    <a:pt x="697" y="103"/>
                    <a:pt x="722" y="147"/>
                  </a:cubicBezTo>
                  <a:lnTo>
                    <a:pt x="450" y="156"/>
                  </a:lnTo>
                  <a:lnTo>
                    <a:pt x="450" y="156"/>
                  </a:lnTo>
                  <a:cubicBezTo>
                    <a:pt x="414" y="156"/>
                    <a:pt x="378" y="164"/>
                    <a:pt x="344" y="175"/>
                  </a:cubicBezTo>
                  <a:cubicBezTo>
                    <a:pt x="311" y="189"/>
                    <a:pt x="283" y="206"/>
                    <a:pt x="258" y="231"/>
                  </a:cubicBezTo>
                  <a:cubicBezTo>
                    <a:pt x="233" y="253"/>
                    <a:pt x="211" y="284"/>
                    <a:pt x="197" y="317"/>
                  </a:cubicBezTo>
                  <a:cubicBezTo>
                    <a:pt x="183" y="350"/>
                    <a:pt x="178" y="386"/>
                    <a:pt x="178" y="428"/>
                  </a:cubicBezTo>
                  <a:cubicBezTo>
                    <a:pt x="178" y="472"/>
                    <a:pt x="183" y="509"/>
                    <a:pt x="197" y="545"/>
                  </a:cubicBezTo>
                  <a:cubicBezTo>
                    <a:pt x="211" y="578"/>
                    <a:pt x="233" y="606"/>
                    <a:pt x="258" y="631"/>
                  </a:cubicBezTo>
                  <a:cubicBezTo>
                    <a:pt x="283" y="653"/>
                    <a:pt x="311" y="672"/>
                    <a:pt x="344" y="684"/>
                  </a:cubicBezTo>
                  <a:cubicBezTo>
                    <a:pt x="378" y="698"/>
                    <a:pt x="414" y="703"/>
                    <a:pt x="450" y="703"/>
                  </a:cubicBezTo>
                  <a:cubicBezTo>
                    <a:pt x="511" y="703"/>
                    <a:pt x="561" y="689"/>
                    <a:pt x="600" y="664"/>
                  </a:cubicBezTo>
                  <a:cubicBezTo>
                    <a:pt x="642" y="636"/>
                    <a:pt x="672" y="603"/>
                    <a:pt x="692" y="561"/>
                  </a:cubicBezTo>
                  <a:cubicBezTo>
                    <a:pt x="714" y="522"/>
                    <a:pt x="722" y="478"/>
                    <a:pt x="722" y="431"/>
                  </a:cubicBezTo>
                  <a:cubicBezTo>
                    <a:pt x="722" y="384"/>
                    <a:pt x="714" y="339"/>
                    <a:pt x="692" y="298"/>
                  </a:cubicBezTo>
                  <a:cubicBezTo>
                    <a:pt x="672" y="259"/>
                    <a:pt x="642" y="223"/>
                    <a:pt x="600" y="198"/>
                  </a:cubicBezTo>
                  <a:cubicBezTo>
                    <a:pt x="561" y="170"/>
                    <a:pt x="511" y="156"/>
                    <a:pt x="450" y="156"/>
                  </a:cubicBezTo>
                  <a:lnTo>
                    <a:pt x="722" y="14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2" name="Freeform 20">
              <a:extLst>
                <a:ext uri="{FF2B5EF4-FFF2-40B4-BE49-F238E27FC236}">
                  <a16:creationId xmlns:a16="http://schemas.microsoft.com/office/drawing/2014/main" id="{92A46AF5-CC04-FC46-8B44-7EF64AB7E92D}"/>
                </a:ext>
              </a:extLst>
            </p:cNvPr>
            <p:cNvSpPr>
              <a:spLocks noChangeArrowheads="1"/>
            </p:cNvSpPr>
            <p:nvPr userDrawn="1"/>
          </p:nvSpPr>
          <p:spPr bwMode="auto">
            <a:xfrm>
              <a:off x="2214563" y="3743325"/>
              <a:ext cx="266700" cy="312738"/>
            </a:xfrm>
            <a:custGeom>
              <a:avLst/>
              <a:gdLst>
                <a:gd name="T0" fmla="*/ 603 w 743"/>
                <a:gd name="T1" fmla="*/ 222 h 870"/>
                <a:gd name="T2" fmla="*/ 603 w 743"/>
                <a:gd name="T3" fmla="*/ 222 h 870"/>
                <a:gd name="T4" fmla="*/ 500 w 743"/>
                <a:gd name="T5" fmla="*/ 161 h 870"/>
                <a:gd name="T6" fmla="*/ 381 w 743"/>
                <a:gd name="T7" fmla="*/ 147 h 870"/>
                <a:gd name="T8" fmla="*/ 250 w 743"/>
                <a:gd name="T9" fmla="*/ 169 h 870"/>
                <a:gd name="T10" fmla="*/ 203 w 743"/>
                <a:gd name="T11" fmla="*/ 244 h 870"/>
                <a:gd name="T12" fmla="*/ 253 w 743"/>
                <a:gd name="T13" fmla="*/ 319 h 870"/>
                <a:gd name="T14" fmla="*/ 386 w 743"/>
                <a:gd name="T15" fmla="*/ 349 h 870"/>
                <a:gd name="T16" fmla="*/ 506 w 743"/>
                <a:gd name="T17" fmla="*/ 366 h 870"/>
                <a:gd name="T18" fmla="*/ 622 w 743"/>
                <a:gd name="T19" fmla="*/ 405 h 870"/>
                <a:gd name="T20" fmla="*/ 708 w 743"/>
                <a:gd name="T21" fmla="*/ 480 h 870"/>
                <a:gd name="T22" fmla="*/ 742 w 743"/>
                <a:gd name="T23" fmla="*/ 608 h 870"/>
                <a:gd name="T24" fmla="*/ 717 w 743"/>
                <a:gd name="T25" fmla="*/ 713 h 870"/>
                <a:gd name="T26" fmla="*/ 645 w 743"/>
                <a:gd name="T27" fmla="*/ 797 h 870"/>
                <a:gd name="T28" fmla="*/ 531 w 743"/>
                <a:gd name="T29" fmla="*/ 849 h 870"/>
                <a:gd name="T30" fmla="*/ 383 w 743"/>
                <a:gd name="T31" fmla="*/ 869 h 870"/>
                <a:gd name="T32" fmla="*/ 184 w 743"/>
                <a:gd name="T33" fmla="*/ 838 h 870"/>
                <a:gd name="T34" fmla="*/ 0 w 743"/>
                <a:gd name="T35" fmla="*/ 716 h 870"/>
                <a:gd name="T36" fmla="*/ 92 w 743"/>
                <a:gd name="T37" fmla="*/ 597 h 870"/>
                <a:gd name="T38" fmla="*/ 231 w 743"/>
                <a:gd name="T39" fmla="*/ 688 h 870"/>
                <a:gd name="T40" fmla="*/ 386 w 743"/>
                <a:gd name="T41" fmla="*/ 719 h 870"/>
                <a:gd name="T42" fmla="*/ 450 w 743"/>
                <a:gd name="T43" fmla="*/ 713 h 870"/>
                <a:gd name="T44" fmla="*/ 506 w 743"/>
                <a:gd name="T45" fmla="*/ 694 h 870"/>
                <a:gd name="T46" fmla="*/ 550 w 743"/>
                <a:gd name="T47" fmla="*/ 661 h 870"/>
                <a:gd name="T48" fmla="*/ 567 w 743"/>
                <a:gd name="T49" fmla="*/ 611 h 870"/>
                <a:gd name="T50" fmla="*/ 517 w 743"/>
                <a:gd name="T51" fmla="*/ 530 h 870"/>
                <a:gd name="T52" fmla="*/ 372 w 743"/>
                <a:gd name="T53" fmla="*/ 497 h 870"/>
                <a:gd name="T54" fmla="*/ 250 w 743"/>
                <a:gd name="T55" fmla="*/ 477 h 870"/>
                <a:gd name="T56" fmla="*/ 142 w 743"/>
                <a:gd name="T57" fmla="*/ 436 h 870"/>
                <a:gd name="T58" fmla="*/ 61 w 743"/>
                <a:gd name="T59" fmla="*/ 363 h 870"/>
                <a:gd name="T60" fmla="*/ 28 w 743"/>
                <a:gd name="T61" fmla="*/ 249 h 870"/>
                <a:gd name="T62" fmla="*/ 61 w 743"/>
                <a:gd name="T63" fmla="*/ 133 h 870"/>
                <a:gd name="T64" fmla="*/ 145 w 743"/>
                <a:gd name="T65" fmla="*/ 55 h 870"/>
                <a:gd name="T66" fmla="*/ 258 w 743"/>
                <a:gd name="T67" fmla="*/ 11 h 870"/>
                <a:gd name="T68" fmla="*/ 378 w 743"/>
                <a:gd name="T69" fmla="*/ 0 h 870"/>
                <a:gd name="T70" fmla="*/ 553 w 743"/>
                <a:gd name="T71" fmla="*/ 22 h 870"/>
                <a:gd name="T72" fmla="*/ 703 w 743"/>
                <a:gd name="T73" fmla="*/ 108 h 870"/>
                <a:gd name="T74" fmla="*/ 603 w 743"/>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3" h="870">
                  <a:moveTo>
                    <a:pt x="603" y="222"/>
                  </a:moveTo>
                  <a:lnTo>
                    <a:pt x="603" y="222"/>
                  </a:lnTo>
                  <a:cubicBezTo>
                    <a:pt x="572" y="191"/>
                    <a:pt x="536" y="172"/>
                    <a:pt x="500" y="161"/>
                  </a:cubicBezTo>
                  <a:cubicBezTo>
                    <a:pt x="464" y="149"/>
                    <a:pt x="425" y="147"/>
                    <a:pt x="381" y="147"/>
                  </a:cubicBezTo>
                  <a:cubicBezTo>
                    <a:pt x="328" y="144"/>
                    <a:pt x="284" y="152"/>
                    <a:pt x="250" y="169"/>
                  </a:cubicBezTo>
                  <a:cubicBezTo>
                    <a:pt x="220" y="188"/>
                    <a:pt x="203" y="211"/>
                    <a:pt x="203" y="244"/>
                  </a:cubicBezTo>
                  <a:cubicBezTo>
                    <a:pt x="203" y="280"/>
                    <a:pt x="220" y="302"/>
                    <a:pt x="253" y="319"/>
                  </a:cubicBezTo>
                  <a:cubicBezTo>
                    <a:pt x="286" y="333"/>
                    <a:pt x="331" y="344"/>
                    <a:pt x="386" y="349"/>
                  </a:cubicBezTo>
                  <a:cubicBezTo>
                    <a:pt x="425" y="352"/>
                    <a:pt x="464" y="358"/>
                    <a:pt x="506" y="366"/>
                  </a:cubicBezTo>
                  <a:cubicBezTo>
                    <a:pt x="550" y="372"/>
                    <a:pt x="586" y="386"/>
                    <a:pt x="622" y="405"/>
                  </a:cubicBezTo>
                  <a:cubicBezTo>
                    <a:pt x="658" y="422"/>
                    <a:pt x="686" y="447"/>
                    <a:pt x="708" y="480"/>
                  </a:cubicBezTo>
                  <a:cubicBezTo>
                    <a:pt x="731" y="513"/>
                    <a:pt x="742" y="555"/>
                    <a:pt x="742" y="608"/>
                  </a:cubicBezTo>
                  <a:cubicBezTo>
                    <a:pt x="742" y="647"/>
                    <a:pt x="733" y="683"/>
                    <a:pt x="717" y="713"/>
                  </a:cubicBezTo>
                  <a:cubicBezTo>
                    <a:pt x="700" y="747"/>
                    <a:pt x="675" y="774"/>
                    <a:pt x="645" y="797"/>
                  </a:cubicBezTo>
                  <a:cubicBezTo>
                    <a:pt x="614" y="819"/>
                    <a:pt x="575" y="838"/>
                    <a:pt x="531" y="849"/>
                  </a:cubicBezTo>
                  <a:cubicBezTo>
                    <a:pt x="486" y="863"/>
                    <a:pt x="439" y="869"/>
                    <a:pt x="383" y="869"/>
                  </a:cubicBezTo>
                  <a:cubicBezTo>
                    <a:pt x="317" y="869"/>
                    <a:pt x="247" y="858"/>
                    <a:pt x="184" y="838"/>
                  </a:cubicBezTo>
                  <a:cubicBezTo>
                    <a:pt x="117" y="819"/>
                    <a:pt x="56" y="777"/>
                    <a:pt x="0" y="716"/>
                  </a:cubicBezTo>
                  <a:cubicBezTo>
                    <a:pt x="92" y="597"/>
                    <a:pt x="92" y="597"/>
                    <a:pt x="92" y="597"/>
                  </a:cubicBezTo>
                  <a:cubicBezTo>
                    <a:pt x="131" y="638"/>
                    <a:pt x="178" y="669"/>
                    <a:pt x="231" y="688"/>
                  </a:cubicBezTo>
                  <a:cubicBezTo>
                    <a:pt x="286" y="708"/>
                    <a:pt x="336" y="719"/>
                    <a:pt x="386" y="719"/>
                  </a:cubicBezTo>
                  <a:cubicBezTo>
                    <a:pt x="408" y="719"/>
                    <a:pt x="428" y="716"/>
                    <a:pt x="450" y="713"/>
                  </a:cubicBezTo>
                  <a:cubicBezTo>
                    <a:pt x="470" y="708"/>
                    <a:pt x="489" y="702"/>
                    <a:pt x="506" y="694"/>
                  </a:cubicBezTo>
                  <a:cubicBezTo>
                    <a:pt x="522" y="686"/>
                    <a:pt x="539" y="674"/>
                    <a:pt x="550" y="661"/>
                  </a:cubicBezTo>
                  <a:cubicBezTo>
                    <a:pt x="561" y="647"/>
                    <a:pt x="567" y="630"/>
                    <a:pt x="567" y="611"/>
                  </a:cubicBezTo>
                  <a:cubicBezTo>
                    <a:pt x="567" y="574"/>
                    <a:pt x="550" y="547"/>
                    <a:pt x="517" y="530"/>
                  </a:cubicBezTo>
                  <a:cubicBezTo>
                    <a:pt x="483" y="513"/>
                    <a:pt x="433" y="502"/>
                    <a:pt x="372" y="497"/>
                  </a:cubicBezTo>
                  <a:cubicBezTo>
                    <a:pt x="331" y="494"/>
                    <a:pt x="292" y="486"/>
                    <a:pt x="250" y="477"/>
                  </a:cubicBezTo>
                  <a:cubicBezTo>
                    <a:pt x="211" y="469"/>
                    <a:pt x="175" y="455"/>
                    <a:pt x="142" y="436"/>
                  </a:cubicBezTo>
                  <a:cubicBezTo>
                    <a:pt x="109" y="416"/>
                    <a:pt x="81" y="394"/>
                    <a:pt x="61" y="363"/>
                  </a:cubicBezTo>
                  <a:cubicBezTo>
                    <a:pt x="39" y="333"/>
                    <a:pt x="28" y="294"/>
                    <a:pt x="28" y="249"/>
                  </a:cubicBezTo>
                  <a:cubicBezTo>
                    <a:pt x="28" y="202"/>
                    <a:pt x="39" y="166"/>
                    <a:pt x="61" y="133"/>
                  </a:cubicBezTo>
                  <a:cubicBezTo>
                    <a:pt x="84" y="102"/>
                    <a:pt x="111" y="74"/>
                    <a:pt x="145" y="55"/>
                  </a:cubicBezTo>
                  <a:cubicBezTo>
                    <a:pt x="178" y="36"/>
                    <a:pt x="217" y="22"/>
                    <a:pt x="258" y="11"/>
                  </a:cubicBezTo>
                  <a:cubicBezTo>
                    <a:pt x="297" y="2"/>
                    <a:pt x="339" y="0"/>
                    <a:pt x="378" y="0"/>
                  </a:cubicBezTo>
                  <a:cubicBezTo>
                    <a:pt x="445" y="0"/>
                    <a:pt x="503" y="8"/>
                    <a:pt x="553" y="22"/>
                  </a:cubicBezTo>
                  <a:cubicBezTo>
                    <a:pt x="606" y="38"/>
                    <a:pt x="656" y="66"/>
                    <a:pt x="703" y="108"/>
                  </a:cubicBezTo>
                  <a:lnTo>
                    <a:pt x="603" y="22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3" name="Freeform 21">
              <a:extLst>
                <a:ext uri="{FF2B5EF4-FFF2-40B4-BE49-F238E27FC236}">
                  <a16:creationId xmlns:a16="http://schemas.microsoft.com/office/drawing/2014/main" id="{B304382E-0A58-ED45-8913-5E414E4F36F4}"/>
                </a:ext>
              </a:extLst>
            </p:cNvPr>
            <p:cNvSpPr>
              <a:spLocks noChangeArrowheads="1"/>
            </p:cNvSpPr>
            <p:nvPr userDrawn="1"/>
          </p:nvSpPr>
          <p:spPr bwMode="auto">
            <a:xfrm>
              <a:off x="2698750" y="3749675"/>
              <a:ext cx="63500" cy="298450"/>
            </a:xfrm>
            <a:custGeom>
              <a:avLst/>
              <a:gdLst>
                <a:gd name="T0" fmla="*/ 175 w 176"/>
                <a:gd name="T1" fmla="*/ 828 h 829"/>
                <a:gd name="T2" fmla="*/ 0 w 176"/>
                <a:gd name="T3" fmla="*/ 828 h 829"/>
                <a:gd name="T4" fmla="*/ 0 w 176"/>
                <a:gd name="T5" fmla="*/ 0 h 829"/>
                <a:gd name="T6" fmla="*/ 175 w 176"/>
                <a:gd name="T7" fmla="*/ 0 h 829"/>
                <a:gd name="T8" fmla="*/ 175 w 176"/>
                <a:gd name="T9" fmla="*/ 828 h 829"/>
              </a:gdLst>
              <a:ahLst/>
              <a:cxnLst>
                <a:cxn ang="0">
                  <a:pos x="T0" y="T1"/>
                </a:cxn>
                <a:cxn ang="0">
                  <a:pos x="T2" y="T3"/>
                </a:cxn>
                <a:cxn ang="0">
                  <a:pos x="T4" y="T5"/>
                </a:cxn>
                <a:cxn ang="0">
                  <a:pos x="T6" y="T7"/>
                </a:cxn>
                <a:cxn ang="0">
                  <a:pos x="T8" y="T9"/>
                </a:cxn>
              </a:cxnLst>
              <a:rect l="0" t="0" r="r" b="b"/>
              <a:pathLst>
                <a:path w="176" h="829">
                  <a:moveTo>
                    <a:pt x="175" y="828"/>
                  </a:moveTo>
                  <a:lnTo>
                    <a:pt x="0" y="828"/>
                  </a:lnTo>
                  <a:lnTo>
                    <a:pt x="0" y="0"/>
                  </a:lnTo>
                  <a:lnTo>
                    <a:pt x="175" y="0"/>
                  </a:lnTo>
                  <a:lnTo>
                    <a:pt x="175" y="82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4" name="Freeform 22">
              <a:extLst>
                <a:ext uri="{FF2B5EF4-FFF2-40B4-BE49-F238E27FC236}">
                  <a16:creationId xmlns:a16="http://schemas.microsoft.com/office/drawing/2014/main" id="{10F48609-7246-F943-B528-D3330009B562}"/>
                </a:ext>
              </a:extLst>
            </p:cNvPr>
            <p:cNvSpPr>
              <a:spLocks noChangeArrowheads="1"/>
            </p:cNvSpPr>
            <p:nvPr userDrawn="1"/>
          </p:nvSpPr>
          <p:spPr bwMode="auto">
            <a:xfrm>
              <a:off x="2822575" y="3665538"/>
              <a:ext cx="223838" cy="385762"/>
            </a:xfrm>
            <a:custGeom>
              <a:avLst/>
              <a:gdLst>
                <a:gd name="T0" fmla="*/ 342 w 620"/>
                <a:gd name="T1" fmla="*/ 0 h 1073"/>
                <a:gd name="T2" fmla="*/ 342 w 620"/>
                <a:gd name="T3" fmla="*/ 0 h 1073"/>
                <a:gd name="T4" fmla="*/ 342 w 620"/>
                <a:gd name="T5" fmla="*/ 239 h 1073"/>
                <a:gd name="T6" fmla="*/ 586 w 620"/>
                <a:gd name="T7" fmla="*/ 239 h 1073"/>
                <a:gd name="T8" fmla="*/ 586 w 620"/>
                <a:gd name="T9" fmla="*/ 389 h 1073"/>
                <a:gd name="T10" fmla="*/ 339 w 620"/>
                <a:gd name="T11" fmla="*/ 389 h 1073"/>
                <a:gd name="T12" fmla="*/ 339 w 620"/>
                <a:gd name="T13" fmla="*/ 780 h 1073"/>
                <a:gd name="T14" fmla="*/ 369 w 620"/>
                <a:gd name="T15" fmla="*/ 880 h 1073"/>
                <a:gd name="T16" fmla="*/ 461 w 620"/>
                <a:gd name="T17" fmla="*/ 917 h 1073"/>
                <a:gd name="T18" fmla="*/ 514 w 620"/>
                <a:gd name="T19" fmla="*/ 908 h 1073"/>
                <a:gd name="T20" fmla="*/ 566 w 620"/>
                <a:gd name="T21" fmla="*/ 886 h 1073"/>
                <a:gd name="T22" fmla="*/ 619 w 620"/>
                <a:gd name="T23" fmla="*/ 1033 h 1073"/>
                <a:gd name="T24" fmla="*/ 533 w 620"/>
                <a:gd name="T25" fmla="*/ 1061 h 1073"/>
                <a:gd name="T26" fmla="*/ 450 w 620"/>
                <a:gd name="T27" fmla="*/ 1072 h 1073"/>
                <a:gd name="T28" fmla="*/ 236 w 620"/>
                <a:gd name="T29" fmla="*/ 1000 h 1073"/>
                <a:gd name="T30" fmla="*/ 164 w 620"/>
                <a:gd name="T31" fmla="*/ 780 h 1073"/>
                <a:gd name="T32" fmla="*/ 164 w 620"/>
                <a:gd name="T33" fmla="*/ 389 h 1073"/>
                <a:gd name="T34" fmla="*/ 0 w 620"/>
                <a:gd name="T35" fmla="*/ 389 h 1073"/>
                <a:gd name="T36" fmla="*/ 0 w 620"/>
                <a:gd name="T37" fmla="*/ 239 h 1073"/>
                <a:gd name="T38" fmla="*/ 164 w 620"/>
                <a:gd name="T39" fmla="*/ 239 h 1073"/>
                <a:gd name="T40" fmla="*/ 164 w 620"/>
                <a:gd name="T41" fmla="*/ 19 h 1073"/>
                <a:gd name="T42" fmla="*/ 342 w 620"/>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0" h="1073">
                  <a:moveTo>
                    <a:pt x="342" y="0"/>
                  </a:moveTo>
                  <a:lnTo>
                    <a:pt x="342" y="0"/>
                  </a:lnTo>
                  <a:cubicBezTo>
                    <a:pt x="342" y="239"/>
                    <a:pt x="342" y="239"/>
                    <a:pt x="342" y="239"/>
                  </a:cubicBezTo>
                  <a:cubicBezTo>
                    <a:pt x="586" y="239"/>
                    <a:pt x="586" y="239"/>
                    <a:pt x="586" y="239"/>
                  </a:cubicBezTo>
                  <a:cubicBezTo>
                    <a:pt x="586" y="389"/>
                    <a:pt x="586" y="389"/>
                    <a:pt x="586" y="389"/>
                  </a:cubicBezTo>
                  <a:cubicBezTo>
                    <a:pt x="339" y="389"/>
                    <a:pt x="339" y="389"/>
                    <a:pt x="339" y="389"/>
                  </a:cubicBezTo>
                  <a:cubicBezTo>
                    <a:pt x="339" y="780"/>
                    <a:pt x="339" y="780"/>
                    <a:pt x="339" y="780"/>
                  </a:cubicBezTo>
                  <a:cubicBezTo>
                    <a:pt x="339" y="825"/>
                    <a:pt x="350" y="858"/>
                    <a:pt x="369" y="880"/>
                  </a:cubicBezTo>
                  <a:cubicBezTo>
                    <a:pt x="389" y="905"/>
                    <a:pt x="419" y="917"/>
                    <a:pt x="461" y="917"/>
                  </a:cubicBezTo>
                  <a:cubicBezTo>
                    <a:pt x="478" y="917"/>
                    <a:pt x="494" y="914"/>
                    <a:pt x="514" y="908"/>
                  </a:cubicBezTo>
                  <a:cubicBezTo>
                    <a:pt x="533" y="903"/>
                    <a:pt x="550" y="897"/>
                    <a:pt x="566" y="886"/>
                  </a:cubicBezTo>
                  <a:cubicBezTo>
                    <a:pt x="619" y="1033"/>
                    <a:pt x="619" y="1033"/>
                    <a:pt x="619" y="1033"/>
                  </a:cubicBezTo>
                  <a:cubicBezTo>
                    <a:pt x="589" y="1047"/>
                    <a:pt x="561" y="1055"/>
                    <a:pt x="533" y="1061"/>
                  </a:cubicBezTo>
                  <a:cubicBezTo>
                    <a:pt x="508" y="1069"/>
                    <a:pt x="480" y="1072"/>
                    <a:pt x="450" y="1072"/>
                  </a:cubicBezTo>
                  <a:cubicBezTo>
                    <a:pt x="358" y="1072"/>
                    <a:pt x="286" y="1050"/>
                    <a:pt x="236" y="1000"/>
                  </a:cubicBezTo>
                  <a:cubicBezTo>
                    <a:pt x="189" y="953"/>
                    <a:pt x="164" y="878"/>
                    <a:pt x="164" y="780"/>
                  </a:cubicBezTo>
                  <a:cubicBezTo>
                    <a:pt x="164" y="389"/>
                    <a:pt x="164" y="389"/>
                    <a:pt x="164" y="389"/>
                  </a:cubicBezTo>
                  <a:cubicBezTo>
                    <a:pt x="0" y="389"/>
                    <a:pt x="0" y="389"/>
                    <a:pt x="0" y="389"/>
                  </a:cubicBezTo>
                  <a:cubicBezTo>
                    <a:pt x="0" y="239"/>
                    <a:pt x="0" y="239"/>
                    <a:pt x="0" y="239"/>
                  </a:cubicBezTo>
                  <a:cubicBezTo>
                    <a:pt x="164" y="239"/>
                    <a:pt x="164" y="239"/>
                    <a:pt x="164" y="239"/>
                  </a:cubicBezTo>
                  <a:cubicBezTo>
                    <a:pt x="164" y="19"/>
                    <a:pt x="164" y="19"/>
                    <a:pt x="164" y="19"/>
                  </a:cubicBezTo>
                  <a:lnTo>
                    <a:pt x="34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5" name="Freeform 23">
              <a:extLst>
                <a:ext uri="{FF2B5EF4-FFF2-40B4-BE49-F238E27FC236}">
                  <a16:creationId xmlns:a16="http://schemas.microsoft.com/office/drawing/2014/main" id="{BE0996E7-8916-A44A-9590-E6F10EB34280}"/>
                </a:ext>
              </a:extLst>
            </p:cNvPr>
            <p:cNvSpPr>
              <a:spLocks noChangeArrowheads="1"/>
            </p:cNvSpPr>
            <p:nvPr userDrawn="1"/>
          </p:nvSpPr>
          <p:spPr bwMode="auto">
            <a:xfrm>
              <a:off x="3208338" y="3749675"/>
              <a:ext cx="492125" cy="298450"/>
            </a:xfrm>
            <a:custGeom>
              <a:avLst/>
              <a:gdLst>
                <a:gd name="T0" fmla="*/ 761 w 1368"/>
                <a:gd name="T1" fmla="*/ 0 h 829"/>
                <a:gd name="T2" fmla="*/ 961 w 1368"/>
                <a:gd name="T3" fmla="*/ 647 h 829"/>
                <a:gd name="T4" fmla="*/ 1169 w 1368"/>
                <a:gd name="T5" fmla="*/ 0 h 829"/>
                <a:gd name="T6" fmla="*/ 1367 w 1368"/>
                <a:gd name="T7" fmla="*/ 0 h 829"/>
                <a:gd name="T8" fmla="*/ 1072 w 1368"/>
                <a:gd name="T9" fmla="*/ 828 h 829"/>
                <a:gd name="T10" fmla="*/ 867 w 1368"/>
                <a:gd name="T11" fmla="*/ 828 h 829"/>
                <a:gd name="T12" fmla="*/ 767 w 1368"/>
                <a:gd name="T13" fmla="*/ 555 h 829"/>
                <a:gd name="T14" fmla="*/ 686 w 1368"/>
                <a:gd name="T15" fmla="*/ 267 h 829"/>
                <a:gd name="T16" fmla="*/ 603 w 1368"/>
                <a:gd name="T17" fmla="*/ 555 h 829"/>
                <a:gd name="T18" fmla="*/ 503 w 1368"/>
                <a:gd name="T19" fmla="*/ 828 h 829"/>
                <a:gd name="T20" fmla="*/ 297 w 1368"/>
                <a:gd name="T21" fmla="*/ 828 h 829"/>
                <a:gd name="T22" fmla="*/ 0 w 1368"/>
                <a:gd name="T23" fmla="*/ 0 h 829"/>
                <a:gd name="T24" fmla="*/ 200 w 1368"/>
                <a:gd name="T25" fmla="*/ 0 h 829"/>
                <a:gd name="T26" fmla="*/ 408 w 1368"/>
                <a:gd name="T27" fmla="*/ 647 h 829"/>
                <a:gd name="T28" fmla="*/ 608 w 1368"/>
                <a:gd name="T29" fmla="*/ 0 h 829"/>
                <a:gd name="T30" fmla="*/ 761 w 1368"/>
                <a:gd name="T31" fmla="*/ 0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8" h="829">
                  <a:moveTo>
                    <a:pt x="761" y="0"/>
                  </a:moveTo>
                  <a:lnTo>
                    <a:pt x="961" y="647"/>
                  </a:lnTo>
                  <a:lnTo>
                    <a:pt x="1169" y="0"/>
                  </a:lnTo>
                  <a:lnTo>
                    <a:pt x="1367" y="0"/>
                  </a:lnTo>
                  <a:lnTo>
                    <a:pt x="1072" y="828"/>
                  </a:lnTo>
                  <a:lnTo>
                    <a:pt x="867" y="828"/>
                  </a:lnTo>
                  <a:lnTo>
                    <a:pt x="767" y="555"/>
                  </a:lnTo>
                  <a:lnTo>
                    <a:pt x="686" y="267"/>
                  </a:lnTo>
                  <a:lnTo>
                    <a:pt x="603" y="555"/>
                  </a:lnTo>
                  <a:lnTo>
                    <a:pt x="503" y="828"/>
                  </a:lnTo>
                  <a:lnTo>
                    <a:pt x="297" y="828"/>
                  </a:lnTo>
                  <a:lnTo>
                    <a:pt x="0" y="0"/>
                  </a:lnTo>
                  <a:lnTo>
                    <a:pt x="200" y="0"/>
                  </a:lnTo>
                  <a:lnTo>
                    <a:pt x="408" y="647"/>
                  </a:lnTo>
                  <a:lnTo>
                    <a:pt x="608" y="0"/>
                  </a:lnTo>
                  <a:lnTo>
                    <a:pt x="761"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6" name="Freeform 24">
              <a:extLst>
                <a:ext uri="{FF2B5EF4-FFF2-40B4-BE49-F238E27FC236}">
                  <a16:creationId xmlns:a16="http://schemas.microsoft.com/office/drawing/2014/main" id="{23009F55-489E-3D40-9CE6-D519093E59C2}"/>
                </a:ext>
              </a:extLst>
            </p:cNvPr>
            <p:cNvSpPr>
              <a:spLocks noChangeArrowheads="1"/>
            </p:cNvSpPr>
            <p:nvPr userDrawn="1"/>
          </p:nvSpPr>
          <p:spPr bwMode="auto">
            <a:xfrm>
              <a:off x="37322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3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8" y="147"/>
                    <a:pt x="127" y="111"/>
                  </a:cubicBezTo>
                  <a:cubicBezTo>
                    <a:pt x="166" y="75"/>
                    <a:pt x="211" y="48"/>
                    <a:pt x="263"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38" y="636"/>
                    <a:pt x="669" y="603"/>
                    <a:pt x="691" y="561"/>
                  </a:cubicBezTo>
                  <a:cubicBezTo>
                    <a:pt x="711" y="522"/>
                    <a:pt x="722" y="478"/>
                    <a:pt x="722" y="431"/>
                  </a:cubicBezTo>
                  <a:cubicBezTo>
                    <a:pt x="722" y="384"/>
                    <a:pt x="711" y="339"/>
                    <a:pt x="691" y="298"/>
                  </a:cubicBezTo>
                  <a:cubicBezTo>
                    <a:pt x="669" y="259"/>
                    <a:pt x="638" y="223"/>
                    <a:pt x="600" y="198"/>
                  </a:cubicBezTo>
                  <a:cubicBezTo>
                    <a:pt x="558" y="170"/>
                    <a:pt x="508" y="156"/>
                    <a:pt x="450" y="156"/>
                  </a:cubicBezTo>
                  <a:lnTo>
                    <a:pt x="722" y="14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7" name="Freeform 25">
              <a:extLst>
                <a:ext uri="{FF2B5EF4-FFF2-40B4-BE49-F238E27FC236}">
                  <a16:creationId xmlns:a16="http://schemas.microsoft.com/office/drawing/2014/main" id="{B6A8691D-1258-7C4B-B4DF-23AEADE5770E}"/>
                </a:ext>
              </a:extLst>
            </p:cNvPr>
            <p:cNvSpPr>
              <a:spLocks noChangeArrowheads="1"/>
            </p:cNvSpPr>
            <p:nvPr userDrawn="1"/>
          </p:nvSpPr>
          <p:spPr bwMode="auto">
            <a:xfrm>
              <a:off x="4116388" y="3743325"/>
              <a:ext cx="268287" cy="312738"/>
            </a:xfrm>
            <a:custGeom>
              <a:avLst/>
              <a:gdLst>
                <a:gd name="T0" fmla="*/ 605 w 745"/>
                <a:gd name="T1" fmla="*/ 222 h 870"/>
                <a:gd name="T2" fmla="*/ 605 w 745"/>
                <a:gd name="T3" fmla="*/ 222 h 870"/>
                <a:gd name="T4" fmla="*/ 500 w 745"/>
                <a:gd name="T5" fmla="*/ 161 h 870"/>
                <a:gd name="T6" fmla="*/ 383 w 745"/>
                <a:gd name="T7" fmla="*/ 147 h 870"/>
                <a:gd name="T8" fmla="*/ 253 w 745"/>
                <a:gd name="T9" fmla="*/ 169 h 870"/>
                <a:gd name="T10" fmla="*/ 203 w 745"/>
                <a:gd name="T11" fmla="*/ 244 h 870"/>
                <a:gd name="T12" fmla="*/ 256 w 745"/>
                <a:gd name="T13" fmla="*/ 319 h 870"/>
                <a:gd name="T14" fmla="*/ 386 w 745"/>
                <a:gd name="T15" fmla="*/ 349 h 870"/>
                <a:gd name="T16" fmla="*/ 508 w 745"/>
                <a:gd name="T17" fmla="*/ 366 h 870"/>
                <a:gd name="T18" fmla="*/ 625 w 745"/>
                <a:gd name="T19" fmla="*/ 405 h 870"/>
                <a:gd name="T20" fmla="*/ 711 w 745"/>
                <a:gd name="T21" fmla="*/ 480 h 870"/>
                <a:gd name="T22" fmla="*/ 744 w 745"/>
                <a:gd name="T23" fmla="*/ 608 h 870"/>
                <a:gd name="T24" fmla="*/ 717 w 745"/>
                <a:gd name="T25" fmla="*/ 713 h 870"/>
                <a:gd name="T26" fmla="*/ 644 w 745"/>
                <a:gd name="T27" fmla="*/ 797 h 870"/>
                <a:gd name="T28" fmla="*/ 533 w 745"/>
                <a:gd name="T29" fmla="*/ 849 h 870"/>
                <a:gd name="T30" fmla="*/ 386 w 745"/>
                <a:gd name="T31" fmla="*/ 869 h 870"/>
                <a:gd name="T32" fmla="*/ 183 w 745"/>
                <a:gd name="T33" fmla="*/ 838 h 870"/>
                <a:gd name="T34" fmla="*/ 0 w 745"/>
                <a:gd name="T35" fmla="*/ 716 h 870"/>
                <a:gd name="T36" fmla="*/ 92 w 745"/>
                <a:gd name="T37" fmla="*/ 597 h 870"/>
                <a:gd name="T38" fmla="*/ 233 w 745"/>
                <a:gd name="T39" fmla="*/ 688 h 870"/>
                <a:gd name="T40" fmla="*/ 389 w 745"/>
                <a:gd name="T41" fmla="*/ 719 h 870"/>
                <a:gd name="T42" fmla="*/ 450 w 745"/>
                <a:gd name="T43" fmla="*/ 713 h 870"/>
                <a:gd name="T44" fmla="*/ 508 w 745"/>
                <a:gd name="T45" fmla="*/ 694 h 870"/>
                <a:gd name="T46" fmla="*/ 550 w 745"/>
                <a:gd name="T47" fmla="*/ 661 h 870"/>
                <a:gd name="T48" fmla="*/ 567 w 745"/>
                <a:gd name="T49" fmla="*/ 611 h 870"/>
                <a:gd name="T50" fmla="*/ 519 w 745"/>
                <a:gd name="T51" fmla="*/ 530 h 870"/>
                <a:gd name="T52" fmla="*/ 372 w 745"/>
                <a:gd name="T53" fmla="*/ 497 h 870"/>
                <a:gd name="T54" fmla="*/ 253 w 745"/>
                <a:gd name="T55" fmla="*/ 477 h 870"/>
                <a:gd name="T56" fmla="*/ 142 w 745"/>
                <a:gd name="T57" fmla="*/ 436 h 870"/>
                <a:gd name="T58" fmla="*/ 61 w 745"/>
                <a:gd name="T59" fmla="*/ 363 h 870"/>
                <a:gd name="T60" fmla="*/ 30 w 745"/>
                <a:gd name="T61" fmla="*/ 249 h 870"/>
                <a:gd name="T62" fmla="*/ 61 w 745"/>
                <a:gd name="T63" fmla="*/ 133 h 870"/>
                <a:gd name="T64" fmla="*/ 147 w 745"/>
                <a:gd name="T65" fmla="*/ 55 h 870"/>
                <a:gd name="T66" fmla="*/ 258 w 745"/>
                <a:gd name="T67" fmla="*/ 11 h 870"/>
                <a:gd name="T68" fmla="*/ 381 w 745"/>
                <a:gd name="T69" fmla="*/ 0 h 870"/>
                <a:gd name="T70" fmla="*/ 556 w 745"/>
                <a:gd name="T71" fmla="*/ 22 h 870"/>
                <a:gd name="T72" fmla="*/ 705 w 745"/>
                <a:gd name="T73" fmla="*/ 108 h 870"/>
                <a:gd name="T74" fmla="*/ 605 w 745"/>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5" h="870">
                  <a:moveTo>
                    <a:pt x="605" y="222"/>
                  </a:moveTo>
                  <a:lnTo>
                    <a:pt x="605" y="222"/>
                  </a:lnTo>
                  <a:cubicBezTo>
                    <a:pt x="572" y="191"/>
                    <a:pt x="536" y="172"/>
                    <a:pt x="500" y="161"/>
                  </a:cubicBezTo>
                  <a:cubicBezTo>
                    <a:pt x="464" y="149"/>
                    <a:pt x="425" y="147"/>
                    <a:pt x="383" y="147"/>
                  </a:cubicBezTo>
                  <a:cubicBezTo>
                    <a:pt x="328" y="144"/>
                    <a:pt x="286" y="152"/>
                    <a:pt x="253" y="169"/>
                  </a:cubicBezTo>
                  <a:cubicBezTo>
                    <a:pt x="219" y="188"/>
                    <a:pt x="203" y="211"/>
                    <a:pt x="203" y="244"/>
                  </a:cubicBezTo>
                  <a:cubicBezTo>
                    <a:pt x="206" y="280"/>
                    <a:pt x="222" y="302"/>
                    <a:pt x="256" y="319"/>
                  </a:cubicBezTo>
                  <a:cubicBezTo>
                    <a:pt x="289" y="333"/>
                    <a:pt x="333" y="344"/>
                    <a:pt x="386" y="349"/>
                  </a:cubicBezTo>
                  <a:cubicBezTo>
                    <a:pt x="425" y="352"/>
                    <a:pt x="467" y="358"/>
                    <a:pt x="508" y="366"/>
                  </a:cubicBezTo>
                  <a:cubicBezTo>
                    <a:pt x="550" y="372"/>
                    <a:pt x="589" y="386"/>
                    <a:pt x="625" y="405"/>
                  </a:cubicBezTo>
                  <a:cubicBezTo>
                    <a:pt x="658" y="422"/>
                    <a:pt x="689" y="447"/>
                    <a:pt x="711" y="480"/>
                  </a:cubicBezTo>
                  <a:cubicBezTo>
                    <a:pt x="733" y="513"/>
                    <a:pt x="744" y="555"/>
                    <a:pt x="744" y="608"/>
                  </a:cubicBezTo>
                  <a:cubicBezTo>
                    <a:pt x="744" y="647"/>
                    <a:pt x="736" y="683"/>
                    <a:pt x="717" y="713"/>
                  </a:cubicBezTo>
                  <a:cubicBezTo>
                    <a:pt x="700" y="747"/>
                    <a:pt x="678" y="774"/>
                    <a:pt x="644" y="797"/>
                  </a:cubicBezTo>
                  <a:cubicBezTo>
                    <a:pt x="614" y="819"/>
                    <a:pt x="578" y="838"/>
                    <a:pt x="533" y="849"/>
                  </a:cubicBezTo>
                  <a:cubicBezTo>
                    <a:pt x="489" y="863"/>
                    <a:pt x="439" y="869"/>
                    <a:pt x="386" y="869"/>
                  </a:cubicBezTo>
                  <a:cubicBezTo>
                    <a:pt x="317" y="869"/>
                    <a:pt x="250" y="858"/>
                    <a:pt x="183" y="838"/>
                  </a:cubicBezTo>
                  <a:cubicBezTo>
                    <a:pt x="117" y="819"/>
                    <a:pt x="56" y="777"/>
                    <a:pt x="0" y="716"/>
                  </a:cubicBezTo>
                  <a:cubicBezTo>
                    <a:pt x="92" y="597"/>
                    <a:pt x="92" y="597"/>
                    <a:pt x="92" y="597"/>
                  </a:cubicBezTo>
                  <a:cubicBezTo>
                    <a:pt x="133" y="638"/>
                    <a:pt x="181" y="669"/>
                    <a:pt x="233" y="688"/>
                  </a:cubicBezTo>
                  <a:cubicBezTo>
                    <a:pt x="286" y="708"/>
                    <a:pt x="339" y="719"/>
                    <a:pt x="389" y="719"/>
                  </a:cubicBezTo>
                  <a:cubicBezTo>
                    <a:pt x="408" y="719"/>
                    <a:pt x="430" y="716"/>
                    <a:pt x="450" y="713"/>
                  </a:cubicBezTo>
                  <a:cubicBezTo>
                    <a:pt x="472" y="708"/>
                    <a:pt x="492" y="702"/>
                    <a:pt x="508" y="694"/>
                  </a:cubicBezTo>
                  <a:cubicBezTo>
                    <a:pt x="525" y="686"/>
                    <a:pt x="539" y="674"/>
                    <a:pt x="550" y="661"/>
                  </a:cubicBezTo>
                  <a:cubicBezTo>
                    <a:pt x="561" y="647"/>
                    <a:pt x="567" y="630"/>
                    <a:pt x="567" y="611"/>
                  </a:cubicBezTo>
                  <a:cubicBezTo>
                    <a:pt x="569" y="574"/>
                    <a:pt x="553" y="547"/>
                    <a:pt x="519" y="530"/>
                  </a:cubicBezTo>
                  <a:cubicBezTo>
                    <a:pt x="483" y="513"/>
                    <a:pt x="436" y="502"/>
                    <a:pt x="372" y="497"/>
                  </a:cubicBezTo>
                  <a:cubicBezTo>
                    <a:pt x="333" y="494"/>
                    <a:pt x="292" y="486"/>
                    <a:pt x="253" y="477"/>
                  </a:cubicBezTo>
                  <a:cubicBezTo>
                    <a:pt x="211" y="469"/>
                    <a:pt x="175" y="455"/>
                    <a:pt x="142" y="436"/>
                  </a:cubicBezTo>
                  <a:cubicBezTo>
                    <a:pt x="108" y="416"/>
                    <a:pt x="83" y="394"/>
                    <a:pt x="61" y="363"/>
                  </a:cubicBezTo>
                  <a:cubicBezTo>
                    <a:pt x="42" y="333"/>
                    <a:pt x="30" y="294"/>
                    <a:pt x="30" y="249"/>
                  </a:cubicBezTo>
                  <a:cubicBezTo>
                    <a:pt x="30" y="202"/>
                    <a:pt x="42" y="166"/>
                    <a:pt x="61" y="133"/>
                  </a:cubicBezTo>
                  <a:cubicBezTo>
                    <a:pt x="83" y="102"/>
                    <a:pt x="111" y="74"/>
                    <a:pt x="147" y="55"/>
                  </a:cubicBezTo>
                  <a:cubicBezTo>
                    <a:pt x="181" y="36"/>
                    <a:pt x="217" y="22"/>
                    <a:pt x="258" y="11"/>
                  </a:cubicBezTo>
                  <a:cubicBezTo>
                    <a:pt x="300" y="2"/>
                    <a:pt x="339" y="0"/>
                    <a:pt x="381" y="0"/>
                  </a:cubicBezTo>
                  <a:cubicBezTo>
                    <a:pt x="444" y="0"/>
                    <a:pt x="503" y="8"/>
                    <a:pt x="556" y="22"/>
                  </a:cubicBezTo>
                  <a:cubicBezTo>
                    <a:pt x="605" y="38"/>
                    <a:pt x="656" y="66"/>
                    <a:pt x="705" y="108"/>
                  </a:cubicBezTo>
                  <a:lnTo>
                    <a:pt x="605" y="22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8" name="Freeform 26">
              <a:extLst>
                <a:ext uri="{FF2B5EF4-FFF2-40B4-BE49-F238E27FC236}">
                  <a16:creationId xmlns:a16="http://schemas.microsoft.com/office/drawing/2014/main" id="{A99719FB-A943-304E-AB72-01C6716183C3}"/>
                </a:ext>
              </a:extLst>
            </p:cNvPr>
            <p:cNvSpPr>
              <a:spLocks noChangeArrowheads="1"/>
            </p:cNvSpPr>
            <p:nvPr userDrawn="1"/>
          </p:nvSpPr>
          <p:spPr bwMode="auto">
            <a:xfrm>
              <a:off x="4600575" y="3744913"/>
              <a:ext cx="476250" cy="301625"/>
            </a:xfrm>
            <a:custGeom>
              <a:avLst/>
              <a:gdLst>
                <a:gd name="T0" fmla="*/ 575 w 1322"/>
                <a:gd name="T1" fmla="*/ 839 h 840"/>
                <a:gd name="T2" fmla="*/ 575 w 1322"/>
                <a:gd name="T3" fmla="*/ 839 h 840"/>
                <a:gd name="T4" fmla="*/ 575 w 1322"/>
                <a:gd name="T5" fmla="*/ 386 h 840"/>
                <a:gd name="T6" fmla="*/ 564 w 1322"/>
                <a:gd name="T7" fmla="*/ 300 h 840"/>
                <a:gd name="T8" fmla="*/ 525 w 1322"/>
                <a:gd name="T9" fmla="*/ 228 h 840"/>
                <a:gd name="T10" fmla="*/ 461 w 1322"/>
                <a:gd name="T11" fmla="*/ 178 h 840"/>
                <a:gd name="T12" fmla="*/ 381 w 1322"/>
                <a:gd name="T13" fmla="*/ 161 h 840"/>
                <a:gd name="T14" fmla="*/ 295 w 1322"/>
                <a:gd name="T15" fmla="*/ 178 h 840"/>
                <a:gd name="T16" fmla="*/ 231 w 1322"/>
                <a:gd name="T17" fmla="*/ 228 h 840"/>
                <a:gd name="T18" fmla="*/ 192 w 1322"/>
                <a:gd name="T19" fmla="*/ 300 h 840"/>
                <a:gd name="T20" fmla="*/ 175 w 1322"/>
                <a:gd name="T21" fmla="*/ 386 h 840"/>
                <a:gd name="T22" fmla="*/ 175 w 1322"/>
                <a:gd name="T23" fmla="*/ 839 h 840"/>
                <a:gd name="T24" fmla="*/ 0 w 1322"/>
                <a:gd name="T25" fmla="*/ 839 h 840"/>
                <a:gd name="T26" fmla="*/ 0 w 1322"/>
                <a:gd name="T27" fmla="*/ 14 h 840"/>
                <a:gd name="T28" fmla="*/ 164 w 1322"/>
                <a:gd name="T29" fmla="*/ 14 h 840"/>
                <a:gd name="T30" fmla="*/ 175 w 1322"/>
                <a:gd name="T31" fmla="*/ 125 h 840"/>
                <a:gd name="T32" fmla="*/ 278 w 1322"/>
                <a:gd name="T33" fmla="*/ 28 h 840"/>
                <a:gd name="T34" fmla="*/ 411 w 1322"/>
                <a:gd name="T35" fmla="*/ 0 h 840"/>
                <a:gd name="T36" fmla="*/ 492 w 1322"/>
                <a:gd name="T37" fmla="*/ 8 h 840"/>
                <a:gd name="T38" fmla="*/ 567 w 1322"/>
                <a:gd name="T39" fmla="*/ 36 h 840"/>
                <a:gd name="T40" fmla="*/ 631 w 1322"/>
                <a:gd name="T41" fmla="*/ 89 h 840"/>
                <a:gd name="T42" fmla="*/ 675 w 1322"/>
                <a:gd name="T43" fmla="*/ 167 h 840"/>
                <a:gd name="T44" fmla="*/ 803 w 1322"/>
                <a:gd name="T45" fmla="*/ 39 h 840"/>
                <a:gd name="T46" fmla="*/ 964 w 1322"/>
                <a:gd name="T47" fmla="*/ 3 h 840"/>
                <a:gd name="T48" fmla="*/ 1230 w 1322"/>
                <a:gd name="T49" fmla="*/ 103 h 840"/>
                <a:gd name="T50" fmla="*/ 1321 w 1322"/>
                <a:gd name="T51" fmla="*/ 383 h 840"/>
                <a:gd name="T52" fmla="*/ 1321 w 1322"/>
                <a:gd name="T53" fmla="*/ 839 h 840"/>
                <a:gd name="T54" fmla="*/ 1145 w 1322"/>
                <a:gd name="T55" fmla="*/ 839 h 840"/>
                <a:gd name="T56" fmla="*/ 1145 w 1322"/>
                <a:gd name="T57" fmla="*/ 381 h 840"/>
                <a:gd name="T58" fmla="*/ 1134 w 1322"/>
                <a:gd name="T59" fmla="*/ 297 h 840"/>
                <a:gd name="T60" fmla="*/ 1097 w 1322"/>
                <a:gd name="T61" fmla="*/ 225 h 840"/>
                <a:gd name="T62" fmla="*/ 1039 w 1322"/>
                <a:gd name="T63" fmla="*/ 178 h 840"/>
                <a:gd name="T64" fmla="*/ 959 w 1322"/>
                <a:gd name="T65" fmla="*/ 161 h 840"/>
                <a:gd name="T66" fmla="*/ 872 w 1322"/>
                <a:gd name="T67" fmla="*/ 181 h 840"/>
                <a:gd name="T68" fmla="*/ 809 w 1322"/>
                <a:gd name="T69" fmla="*/ 228 h 840"/>
                <a:gd name="T70" fmla="*/ 767 w 1322"/>
                <a:gd name="T71" fmla="*/ 300 h 840"/>
                <a:gd name="T72" fmla="*/ 753 w 1322"/>
                <a:gd name="T73" fmla="*/ 386 h 840"/>
                <a:gd name="T74" fmla="*/ 753 w 1322"/>
                <a:gd name="T75" fmla="*/ 839 h 840"/>
                <a:gd name="T76" fmla="*/ 575 w 1322"/>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2" h="840">
                  <a:moveTo>
                    <a:pt x="575" y="839"/>
                  </a:moveTo>
                  <a:lnTo>
                    <a:pt x="575" y="839"/>
                  </a:lnTo>
                  <a:cubicBezTo>
                    <a:pt x="575" y="386"/>
                    <a:pt x="575" y="386"/>
                    <a:pt x="575" y="386"/>
                  </a:cubicBezTo>
                  <a:cubicBezTo>
                    <a:pt x="575" y="356"/>
                    <a:pt x="572" y="325"/>
                    <a:pt x="564" y="300"/>
                  </a:cubicBezTo>
                  <a:cubicBezTo>
                    <a:pt x="556" y="272"/>
                    <a:pt x="542" y="247"/>
                    <a:pt x="525" y="228"/>
                  </a:cubicBezTo>
                  <a:cubicBezTo>
                    <a:pt x="509" y="206"/>
                    <a:pt x="486" y="189"/>
                    <a:pt x="461" y="178"/>
                  </a:cubicBezTo>
                  <a:cubicBezTo>
                    <a:pt x="436" y="167"/>
                    <a:pt x="411" y="161"/>
                    <a:pt x="381" y="161"/>
                  </a:cubicBezTo>
                  <a:cubicBezTo>
                    <a:pt x="347" y="161"/>
                    <a:pt x="320" y="167"/>
                    <a:pt x="295" y="178"/>
                  </a:cubicBezTo>
                  <a:cubicBezTo>
                    <a:pt x="270" y="189"/>
                    <a:pt x="250" y="206"/>
                    <a:pt x="231" y="228"/>
                  </a:cubicBezTo>
                  <a:cubicBezTo>
                    <a:pt x="214" y="247"/>
                    <a:pt x="200" y="272"/>
                    <a:pt x="192" y="300"/>
                  </a:cubicBezTo>
                  <a:cubicBezTo>
                    <a:pt x="181" y="325"/>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200" y="78"/>
                    <a:pt x="234" y="47"/>
                    <a:pt x="278" y="28"/>
                  </a:cubicBezTo>
                  <a:cubicBezTo>
                    <a:pt x="323" y="8"/>
                    <a:pt x="367" y="0"/>
                    <a:pt x="411" y="0"/>
                  </a:cubicBezTo>
                  <a:cubicBezTo>
                    <a:pt x="439" y="0"/>
                    <a:pt x="467" y="3"/>
                    <a:pt x="492" y="8"/>
                  </a:cubicBezTo>
                  <a:cubicBezTo>
                    <a:pt x="520" y="14"/>
                    <a:pt x="542" y="22"/>
                    <a:pt x="567" y="36"/>
                  </a:cubicBezTo>
                  <a:cubicBezTo>
                    <a:pt x="589" y="50"/>
                    <a:pt x="611" y="67"/>
                    <a:pt x="631" y="89"/>
                  </a:cubicBezTo>
                  <a:cubicBezTo>
                    <a:pt x="647" y="111"/>
                    <a:pt x="664" y="136"/>
                    <a:pt x="675" y="167"/>
                  </a:cubicBezTo>
                  <a:cubicBezTo>
                    <a:pt x="711" y="106"/>
                    <a:pt x="753" y="61"/>
                    <a:pt x="803" y="39"/>
                  </a:cubicBezTo>
                  <a:cubicBezTo>
                    <a:pt x="853" y="14"/>
                    <a:pt x="906" y="3"/>
                    <a:pt x="964" y="3"/>
                  </a:cubicBezTo>
                  <a:cubicBezTo>
                    <a:pt x="1084" y="3"/>
                    <a:pt x="1172" y="36"/>
                    <a:pt x="1230" y="103"/>
                  </a:cubicBezTo>
                  <a:cubicBezTo>
                    <a:pt x="1291" y="169"/>
                    <a:pt x="1321" y="264"/>
                    <a:pt x="1321" y="383"/>
                  </a:cubicBezTo>
                  <a:cubicBezTo>
                    <a:pt x="1321" y="839"/>
                    <a:pt x="1321" y="839"/>
                    <a:pt x="1321" y="839"/>
                  </a:cubicBezTo>
                  <a:cubicBezTo>
                    <a:pt x="1145" y="839"/>
                    <a:pt x="1145" y="839"/>
                    <a:pt x="1145" y="839"/>
                  </a:cubicBezTo>
                  <a:cubicBezTo>
                    <a:pt x="1145" y="381"/>
                    <a:pt x="1145" y="381"/>
                    <a:pt x="1145" y="381"/>
                  </a:cubicBezTo>
                  <a:cubicBezTo>
                    <a:pt x="1145" y="353"/>
                    <a:pt x="1139" y="322"/>
                    <a:pt x="1134" y="297"/>
                  </a:cubicBezTo>
                  <a:cubicBezTo>
                    <a:pt x="1125" y="269"/>
                    <a:pt x="1114" y="247"/>
                    <a:pt x="1097" y="225"/>
                  </a:cubicBezTo>
                  <a:cubicBezTo>
                    <a:pt x="1081" y="206"/>
                    <a:pt x="1061" y="189"/>
                    <a:pt x="1039" y="178"/>
                  </a:cubicBezTo>
                  <a:cubicBezTo>
                    <a:pt x="1017" y="167"/>
                    <a:pt x="989" y="161"/>
                    <a:pt x="959" y="161"/>
                  </a:cubicBezTo>
                  <a:cubicBezTo>
                    <a:pt x="928" y="161"/>
                    <a:pt x="900" y="169"/>
                    <a:pt x="872" y="181"/>
                  </a:cubicBezTo>
                  <a:cubicBezTo>
                    <a:pt x="847" y="192"/>
                    <a:pt x="825" y="208"/>
                    <a:pt x="809" y="228"/>
                  </a:cubicBezTo>
                  <a:cubicBezTo>
                    <a:pt x="792" y="247"/>
                    <a:pt x="778" y="272"/>
                    <a:pt x="767" y="300"/>
                  </a:cubicBezTo>
                  <a:cubicBezTo>
                    <a:pt x="759" y="325"/>
                    <a:pt x="753" y="356"/>
                    <a:pt x="753" y="386"/>
                  </a:cubicBezTo>
                  <a:cubicBezTo>
                    <a:pt x="753" y="839"/>
                    <a:pt x="753" y="839"/>
                    <a:pt x="753" y="839"/>
                  </a:cubicBezTo>
                  <a:lnTo>
                    <a:pt x="575" y="83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9" name="Freeform 27">
              <a:extLst>
                <a:ext uri="{FF2B5EF4-FFF2-40B4-BE49-F238E27FC236}">
                  <a16:creationId xmlns:a16="http://schemas.microsoft.com/office/drawing/2014/main" id="{12E86D80-4BE0-D34F-B1DD-B3A2764447F1}"/>
                </a:ext>
              </a:extLst>
            </p:cNvPr>
            <p:cNvSpPr>
              <a:spLocks noChangeArrowheads="1"/>
            </p:cNvSpPr>
            <p:nvPr userDrawn="1"/>
          </p:nvSpPr>
          <p:spPr bwMode="auto">
            <a:xfrm>
              <a:off x="5138738" y="3743325"/>
              <a:ext cx="315912"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2 w 876"/>
                <a:gd name="T11" fmla="*/ 680 h 864"/>
                <a:gd name="T12" fmla="*/ 703 w 876"/>
                <a:gd name="T13" fmla="*/ 616 h 864"/>
                <a:gd name="T14" fmla="*/ 817 w 876"/>
                <a:gd name="T15" fmla="*/ 724 h 864"/>
                <a:gd name="T16" fmla="*/ 742 w 876"/>
                <a:gd name="T17" fmla="*/ 786 h 864"/>
                <a:gd name="T18" fmla="*/ 653 w 876"/>
                <a:gd name="T19" fmla="*/ 830 h 864"/>
                <a:gd name="T20" fmla="*/ 553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3 w 876"/>
                <a:gd name="T35" fmla="*/ 119 h 864"/>
                <a:gd name="T36" fmla="*/ 261 w 876"/>
                <a:gd name="T37" fmla="*/ 30 h 864"/>
                <a:gd name="T38" fmla="*/ 442 w 876"/>
                <a:gd name="T39" fmla="*/ 0 h 864"/>
                <a:gd name="T40" fmla="*/ 628 w 876"/>
                <a:gd name="T41" fmla="*/ 30 h 864"/>
                <a:gd name="T42" fmla="*/ 767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2 w 876"/>
                <a:gd name="T55" fmla="*/ 202 h 864"/>
                <a:gd name="T56" fmla="*/ 448 w 876"/>
                <a:gd name="T57" fmla="*/ 152 h 864"/>
                <a:gd name="T58" fmla="*/ 278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17" y="686"/>
                    <a:pt x="381" y="705"/>
                    <a:pt x="459" y="705"/>
                  </a:cubicBezTo>
                  <a:cubicBezTo>
                    <a:pt x="500" y="705"/>
                    <a:pt x="548" y="697"/>
                    <a:pt x="592" y="680"/>
                  </a:cubicBezTo>
                  <a:cubicBezTo>
                    <a:pt x="639" y="666"/>
                    <a:pt x="675" y="644"/>
                    <a:pt x="703" y="616"/>
                  </a:cubicBezTo>
                  <a:cubicBezTo>
                    <a:pt x="817" y="724"/>
                    <a:pt x="817" y="724"/>
                    <a:pt x="817" y="724"/>
                  </a:cubicBezTo>
                  <a:cubicBezTo>
                    <a:pt x="795" y="747"/>
                    <a:pt x="770" y="769"/>
                    <a:pt x="742" y="786"/>
                  </a:cubicBezTo>
                  <a:cubicBezTo>
                    <a:pt x="714" y="802"/>
                    <a:pt x="684" y="819"/>
                    <a:pt x="653" y="830"/>
                  </a:cubicBezTo>
                  <a:cubicBezTo>
                    <a:pt x="620" y="841"/>
                    <a:pt x="589" y="849"/>
                    <a:pt x="553" y="855"/>
                  </a:cubicBezTo>
                  <a:cubicBezTo>
                    <a:pt x="520" y="861"/>
                    <a:pt x="486" y="863"/>
                    <a:pt x="456" y="863"/>
                  </a:cubicBezTo>
                  <a:cubicBezTo>
                    <a:pt x="386" y="863"/>
                    <a:pt x="323" y="855"/>
                    <a:pt x="267" y="833"/>
                  </a:cubicBezTo>
                  <a:cubicBezTo>
                    <a:pt x="211" y="813"/>
                    <a:pt x="164" y="783"/>
                    <a:pt x="125" y="747"/>
                  </a:cubicBezTo>
                  <a:cubicBezTo>
                    <a:pt x="86" y="708"/>
                    <a:pt x="56" y="661"/>
                    <a:pt x="34" y="608"/>
                  </a:cubicBezTo>
                  <a:cubicBezTo>
                    <a:pt x="11" y="552"/>
                    <a:pt x="0" y="494"/>
                    <a:pt x="0" y="427"/>
                  </a:cubicBezTo>
                  <a:cubicBezTo>
                    <a:pt x="0" y="366"/>
                    <a:pt x="11" y="308"/>
                    <a:pt x="34" y="255"/>
                  </a:cubicBezTo>
                  <a:cubicBezTo>
                    <a:pt x="56" y="202"/>
                    <a:pt x="84" y="158"/>
                    <a:pt x="123" y="119"/>
                  </a:cubicBezTo>
                  <a:cubicBezTo>
                    <a:pt x="161" y="80"/>
                    <a:pt x="209" y="52"/>
                    <a:pt x="261" y="30"/>
                  </a:cubicBezTo>
                  <a:cubicBezTo>
                    <a:pt x="317" y="8"/>
                    <a:pt x="378" y="0"/>
                    <a:pt x="442" y="0"/>
                  </a:cubicBezTo>
                  <a:cubicBezTo>
                    <a:pt x="511" y="0"/>
                    <a:pt x="573" y="8"/>
                    <a:pt x="628" y="30"/>
                  </a:cubicBezTo>
                  <a:cubicBezTo>
                    <a:pt x="684" y="50"/>
                    <a:pt x="731" y="80"/>
                    <a:pt x="767" y="122"/>
                  </a:cubicBezTo>
                  <a:cubicBezTo>
                    <a:pt x="806" y="163"/>
                    <a:pt x="834" y="216"/>
                    <a:pt x="853" y="277"/>
                  </a:cubicBezTo>
                  <a:cubicBezTo>
                    <a:pt x="870" y="341"/>
                    <a:pt x="875" y="413"/>
                    <a:pt x="867" y="497"/>
                  </a:cubicBezTo>
                  <a:lnTo>
                    <a:pt x="186" y="352"/>
                  </a:lnTo>
                  <a:lnTo>
                    <a:pt x="186" y="352"/>
                  </a:lnTo>
                  <a:cubicBezTo>
                    <a:pt x="698" y="352"/>
                    <a:pt x="698" y="352"/>
                    <a:pt x="698" y="352"/>
                  </a:cubicBezTo>
                  <a:cubicBezTo>
                    <a:pt x="692" y="286"/>
                    <a:pt x="667" y="236"/>
                    <a:pt x="622" y="202"/>
                  </a:cubicBezTo>
                  <a:cubicBezTo>
                    <a:pt x="578" y="169"/>
                    <a:pt x="520" y="152"/>
                    <a:pt x="448" y="152"/>
                  </a:cubicBezTo>
                  <a:cubicBezTo>
                    <a:pt x="384" y="152"/>
                    <a:pt x="328" y="169"/>
                    <a:pt x="278" y="202"/>
                  </a:cubicBezTo>
                  <a:cubicBezTo>
                    <a:pt x="231" y="236"/>
                    <a:pt x="200" y="286"/>
                    <a:pt x="186" y="352"/>
                  </a:cubicBezTo>
                  <a:lnTo>
                    <a:pt x="867" y="49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0" name="Freeform 28">
              <a:extLst>
                <a:ext uri="{FF2B5EF4-FFF2-40B4-BE49-F238E27FC236}">
                  <a16:creationId xmlns:a16="http://schemas.microsoft.com/office/drawing/2014/main" id="{48CEBCDB-06F8-334E-828D-B4BE4A9AC083}"/>
                </a:ext>
              </a:extLst>
            </p:cNvPr>
            <p:cNvSpPr>
              <a:spLocks noChangeArrowheads="1"/>
            </p:cNvSpPr>
            <p:nvPr userDrawn="1"/>
          </p:nvSpPr>
          <p:spPr bwMode="auto">
            <a:xfrm>
              <a:off x="54975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4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9" y="147"/>
                    <a:pt x="127" y="111"/>
                  </a:cubicBezTo>
                  <a:cubicBezTo>
                    <a:pt x="166" y="75"/>
                    <a:pt x="211" y="48"/>
                    <a:pt x="264"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41" y="636"/>
                    <a:pt x="669" y="603"/>
                    <a:pt x="691" y="561"/>
                  </a:cubicBezTo>
                  <a:cubicBezTo>
                    <a:pt x="711" y="522"/>
                    <a:pt x="722" y="478"/>
                    <a:pt x="722" y="431"/>
                  </a:cubicBezTo>
                  <a:cubicBezTo>
                    <a:pt x="722" y="384"/>
                    <a:pt x="711" y="339"/>
                    <a:pt x="691" y="298"/>
                  </a:cubicBezTo>
                  <a:cubicBezTo>
                    <a:pt x="669" y="259"/>
                    <a:pt x="641" y="223"/>
                    <a:pt x="600" y="198"/>
                  </a:cubicBezTo>
                  <a:cubicBezTo>
                    <a:pt x="558" y="170"/>
                    <a:pt x="508" y="156"/>
                    <a:pt x="450" y="156"/>
                  </a:cubicBezTo>
                  <a:lnTo>
                    <a:pt x="722" y="14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1" name="Freeform 29">
              <a:extLst>
                <a:ext uri="{FF2B5EF4-FFF2-40B4-BE49-F238E27FC236}">
                  <a16:creationId xmlns:a16="http://schemas.microsoft.com/office/drawing/2014/main" id="{5DEEEC7F-1C47-004B-8CD3-6E428E3E1299}"/>
                </a:ext>
              </a:extLst>
            </p:cNvPr>
            <p:cNvSpPr>
              <a:spLocks noChangeArrowheads="1"/>
            </p:cNvSpPr>
            <p:nvPr userDrawn="1"/>
          </p:nvSpPr>
          <p:spPr bwMode="auto">
            <a:xfrm>
              <a:off x="5905500" y="3746500"/>
              <a:ext cx="293688" cy="301625"/>
            </a:xfrm>
            <a:custGeom>
              <a:avLst/>
              <a:gdLst>
                <a:gd name="T0" fmla="*/ 639 w 817"/>
                <a:gd name="T1" fmla="*/ 836 h 837"/>
                <a:gd name="T2" fmla="*/ 639 w 817"/>
                <a:gd name="T3" fmla="*/ 836 h 837"/>
                <a:gd name="T4" fmla="*/ 639 w 817"/>
                <a:gd name="T5" fmla="*/ 397 h 837"/>
                <a:gd name="T6" fmla="*/ 580 w 817"/>
                <a:gd name="T7" fmla="*/ 225 h 837"/>
                <a:gd name="T8" fmla="*/ 411 w 817"/>
                <a:gd name="T9" fmla="*/ 158 h 837"/>
                <a:gd name="T10" fmla="*/ 316 w 817"/>
                <a:gd name="T11" fmla="*/ 178 h 837"/>
                <a:gd name="T12" fmla="*/ 241 w 817"/>
                <a:gd name="T13" fmla="*/ 230 h 837"/>
                <a:gd name="T14" fmla="*/ 194 w 817"/>
                <a:gd name="T15" fmla="*/ 311 h 837"/>
                <a:gd name="T16" fmla="*/ 177 w 817"/>
                <a:gd name="T17" fmla="*/ 405 h 837"/>
                <a:gd name="T18" fmla="*/ 177 w 817"/>
                <a:gd name="T19" fmla="*/ 836 h 837"/>
                <a:gd name="T20" fmla="*/ 0 w 817"/>
                <a:gd name="T21" fmla="*/ 836 h 837"/>
                <a:gd name="T22" fmla="*/ 0 w 817"/>
                <a:gd name="T23" fmla="*/ 11 h 837"/>
                <a:gd name="T24" fmla="*/ 161 w 817"/>
                <a:gd name="T25" fmla="*/ 11 h 837"/>
                <a:gd name="T26" fmla="*/ 172 w 817"/>
                <a:gd name="T27" fmla="*/ 130 h 837"/>
                <a:gd name="T28" fmla="*/ 455 w 817"/>
                <a:gd name="T29" fmla="*/ 0 h 837"/>
                <a:gd name="T30" fmla="*/ 597 w 817"/>
                <a:gd name="T31" fmla="*/ 25 h 837"/>
                <a:gd name="T32" fmla="*/ 711 w 817"/>
                <a:gd name="T33" fmla="*/ 100 h 837"/>
                <a:gd name="T34" fmla="*/ 789 w 817"/>
                <a:gd name="T35" fmla="*/ 225 h 837"/>
                <a:gd name="T36" fmla="*/ 816 w 817"/>
                <a:gd name="T37" fmla="*/ 394 h 837"/>
                <a:gd name="T38" fmla="*/ 816 w 817"/>
                <a:gd name="T39" fmla="*/ 836 h 837"/>
                <a:gd name="T40" fmla="*/ 639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9" y="836"/>
                  </a:moveTo>
                  <a:lnTo>
                    <a:pt x="639" y="836"/>
                  </a:lnTo>
                  <a:cubicBezTo>
                    <a:pt x="639" y="397"/>
                    <a:pt x="639" y="397"/>
                    <a:pt x="639" y="397"/>
                  </a:cubicBezTo>
                  <a:cubicBezTo>
                    <a:pt x="639" y="325"/>
                    <a:pt x="619" y="266"/>
                    <a:pt x="580" y="225"/>
                  </a:cubicBezTo>
                  <a:cubicBezTo>
                    <a:pt x="541" y="180"/>
                    <a:pt x="486" y="158"/>
                    <a:pt x="411" y="158"/>
                  </a:cubicBezTo>
                  <a:cubicBezTo>
                    <a:pt x="377" y="158"/>
                    <a:pt x="344" y="166"/>
                    <a:pt x="316" y="178"/>
                  </a:cubicBezTo>
                  <a:cubicBezTo>
                    <a:pt x="286" y="192"/>
                    <a:pt x="261" y="208"/>
                    <a:pt x="241" y="230"/>
                  </a:cubicBezTo>
                  <a:cubicBezTo>
                    <a:pt x="222" y="255"/>
                    <a:pt x="205" y="280"/>
                    <a:pt x="194" y="311"/>
                  </a:cubicBezTo>
                  <a:cubicBezTo>
                    <a:pt x="183" y="341"/>
                    <a:pt x="177" y="372"/>
                    <a:pt x="177" y="405"/>
                  </a:cubicBezTo>
                  <a:cubicBezTo>
                    <a:pt x="177" y="836"/>
                    <a:pt x="177" y="836"/>
                    <a:pt x="177" y="836"/>
                  </a:cubicBezTo>
                  <a:cubicBezTo>
                    <a:pt x="0" y="836"/>
                    <a:pt x="0" y="836"/>
                    <a:pt x="0" y="836"/>
                  </a:cubicBezTo>
                  <a:cubicBezTo>
                    <a:pt x="0" y="11"/>
                    <a:pt x="0" y="11"/>
                    <a:pt x="0" y="11"/>
                  </a:cubicBezTo>
                  <a:cubicBezTo>
                    <a:pt x="161" y="11"/>
                    <a:pt x="161" y="11"/>
                    <a:pt x="161" y="11"/>
                  </a:cubicBezTo>
                  <a:cubicBezTo>
                    <a:pt x="172" y="130"/>
                    <a:pt x="172" y="130"/>
                    <a:pt x="172" y="130"/>
                  </a:cubicBezTo>
                  <a:cubicBezTo>
                    <a:pt x="250" y="42"/>
                    <a:pt x="344" y="0"/>
                    <a:pt x="455" y="0"/>
                  </a:cubicBezTo>
                  <a:cubicBezTo>
                    <a:pt x="505" y="0"/>
                    <a:pt x="552" y="8"/>
                    <a:pt x="597" y="25"/>
                  </a:cubicBezTo>
                  <a:cubicBezTo>
                    <a:pt x="641" y="42"/>
                    <a:pt x="680" y="66"/>
                    <a:pt x="711" y="100"/>
                  </a:cubicBezTo>
                  <a:cubicBezTo>
                    <a:pt x="744" y="133"/>
                    <a:pt x="769" y="175"/>
                    <a:pt x="789" y="225"/>
                  </a:cubicBezTo>
                  <a:cubicBezTo>
                    <a:pt x="808" y="275"/>
                    <a:pt x="816" y="330"/>
                    <a:pt x="816" y="394"/>
                  </a:cubicBezTo>
                  <a:cubicBezTo>
                    <a:pt x="816" y="836"/>
                    <a:pt x="816" y="836"/>
                    <a:pt x="816" y="836"/>
                  </a:cubicBezTo>
                  <a:lnTo>
                    <a:pt x="639" y="83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2" name="Freeform 30">
              <a:extLst>
                <a:ext uri="{FF2B5EF4-FFF2-40B4-BE49-F238E27FC236}">
                  <a16:creationId xmlns:a16="http://schemas.microsoft.com/office/drawing/2014/main" id="{4ACB9826-72FD-FC46-AFD7-05A594910B8F}"/>
                </a:ext>
              </a:extLst>
            </p:cNvPr>
            <p:cNvSpPr>
              <a:spLocks noChangeArrowheads="1"/>
            </p:cNvSpPr>
            <p:nvPr userDrawn="1"/>
          </p:nvSpPr>
          <p:spPr bwMode="auto">
            <a:xfrm>
              <a:off x="6251575"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3" name="Freeform 31">
              <a:extLst>
                <a:ext uri="{FF2B5EF4-FFF2-40B4-BE49-F238E27FC236}">
                  <a16:creationId xmlns:a16="http://schemas.microsoft.com/office/drawing/2014/main" id="{3EBE0EA8-E718-9C43-89F9-B37AB8BF9DC5}"/>
                </a:ext>
              </a:extLst>
            </p:cNvPr>
            <p:cNvSpPr>
              <a:spLocks noChangeArrowheads="1"/>
            </p:cNvSpPr>
            <p:nvPr userDrawn="1"/>
          </p:nvSpPr>
          <p:spPr bwMode="auto">
            <a:xfrm>
              <a:off x="6643688"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4" name="Freeform 32">
              <a:extLst>
                <a:ext uri="{FF2B5EF4-FFF2-40B4-BE49-F238E27FC236}">
                  <a16:creationId xmlns:a16="http://schemas.microsoft.com/office/drawing/2014/main" id="{2B490814-0400-714D-BB44-8F35BF82D4B8}"/>
                </a:ext>
              </a:extLst>
            </p:cNvPr>
            <p:cNvSpPr>
              <a:spLocks noChangeArrowheads="1"/>
            </p:cNvSpPr>
            <p:nvPr userDrawn="1"/>
          </p:nvSpPr>
          <p:spPr bwMode="auto">
            <a:xfrm>
              <a:off x="6897688" y="3743325"/>
              <a:ext cx="314325" cy="309563"/>
            </a:xfrm>
            <a:custGeom>
              <a:avLst/>
              <a:gdLst>
                <a:gd name="T0" fmla="*/ 436 w 873"/>
                <a:gd name="T1" fmla="*/ 0 h 860"/>
                <a:gd name="T2" fmla="*/ 436 w 873"/>
                <a:gd name="T3" fmla="*/ 0 h 860"/>
                <a:gd name="T4" fmla="*/ 611 w 873"/>
                <a:gd name="T5" fmla="*/ 34 h 860"/>
                <a:gd name="T6" fmla="*/ 750 w 873"/>
                <a:gd name="T7" fmla="*/ 125 h 860"/>
                <a:gd name="T8" fmla="*/ 842 w 873"/>
                <a:gd name="T9" fmla="*/ 261 h 860"/>
                <a:gd name="T10" fmla="*/ 872 w 873"/>
                <a:gd name="T11" fmla="*/ 431 h 860"/>
                <a:gd name="T12" fmla="*/ 842 w 873"/>
                <a:gd name="T13" fmla="*/ 600 h 860"/>
                <a:gd name="T14" fmla="*/ 753 w 873"/>
                <a:gd name="T15" fmla="*/ 736 h 860"/>
                <a:gd name="T16" fmla="*/ 614 w 873"/>
                <a:gd name="T17" fmla="*/ 825 h 860"/>
                <a:gd name="T18" fmla="*/ 436 w 873"/>
                <a:gd name="T19" fmla="*/ 859 h 860"/>
                <a:gd name="T20" fmla="*/ 256 w 873"/>
                <a:gd name="T21" fmla="*/ 825 h 860"/>
                <a:gd name="T22" fmla="*/ 119 w 873"/>
                <a:gd name="T23" fmla="*/ 736 h 860"/>
                <a:gd name="T24" fmla="*/ 31 w 873"/>
                <a:gd name="T25" fmla="*/ 600 h 860"/>
                <a:gd name="T26" fmla="*/ 0 w 873"/>
                <a:gd name="T27" fmla="*/ 431 h 860"/>
                <a:gd name="T28" fmla="*/ 31 w 873"/>
                <a:gd name="T29" fmla="*/ 261 h 860"/>
                <a:gd name="T30" fmla="*/ 119 w 873"/>
                <a:gd name="T31" fmla="*/ 125 h 860"/>
                <a:gd name="T32" fmla="*/ 258 w 873"/>
                <a:gd name="T33" fmla="*/ 34 h 860"/>
                <a:gd name="T34" fmla="*/ 436 w 873"/>
                <a:gd name="T35" fmla="*/ 0 h 860"/>
                <a:gd name="T36" fmla="*/ 436 w 873"/>
                <a:gd name="T37" fmla="*/ 161 h 860"/>
                <a:gd name="T38" fmla="*/ 436 w 873"/>
                <a:gd name="T39" fmla="*/ 161 h 860"/>
                <a:gd name="T40" fmla="*/ 328 w 873"/>
                <a:gd name="T41" fmla="*/ 184 h 860"/>
                <a:gd name="T42" fmla="*/ 247 w 873"/>
                <a:gd name="T43" fmla="*/ 242 h 860"/>
                <a:gd name="T44" fmla="*/ 194 w 873"/>
                <a:gd name="T45" fmla="*/ 328 h 860"/>
                <a:gd name="T46" fmla="*/ 178 w 873"/>
                <a:gd name="T47" fmla="*/ 431 h 860"/>
                <a:gd name="T48" fmla="*/ 194 w 873"/>
                <a:gd name="T49" fmla="*/ 536 h 860"/>
                <a:gd name="T50" fmla="*/ 247 w 873"/>
                <a:gd name="T51" fmla="*/ 620 h 860"/>
                <a:gd name="T52" fmla="*/ 328 w 873"/>
                <a:gd name="T53" fmla="*/ 678 h 860"/>
                <a:gd name="T54" fmla="*/ 436 w 873"/>
                <a:gd name="T55" fmla="*/ 698 h 860"/>
                <a:gd name="T56" fmla="*/ 544 w 873"/>
                <a:gd name="T57" fmla="*/ 678 h 860"/>
                <a:gd name="T58" fmla="*/ 625 w 873"/>
                <a:gd name="T59" fmla="*/ 620 h 860"/>
                <a:gd name="T60" fmla="*/ 678 w 873"/>
                <a:gd name="T61" fmla="*/ 536 h 860"/>
                <a:gd name="T62" fmla="*/ 694 w 873"/>
                <a:gd name="T63" fmla="*/ 431 h 860"/>
                <a:gd name="T64" fmla="*/ 675 w 873"/>
                <a:gd name="T65" fmla="*/ 328 h 860"/>
                <a:gd name="T66" fmla="*/ 622 w 873"/>
                <a:gd name="T67" fmla="*/ 242 h 860"/>
                <a:gd name="T68" fmla="*/ 542 w 873"/>
                <a:gd name="T69" fmla="*/ 184 h 860"/>
                <a:gd name="T70" fmla="*/ 436 w 873"/>
                <a:gd name="T71" fmla="*/ 161 h 860"/>
                <a:gd name="T72" fmla="*/ 436 w 873"/>
                <a:gd name="T73"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60">
                  <a:moveTo>
                    <a:pt x="436" y="0"/>
                  </a:moveTo>
                  <a:lnTo>
                    <a:pt x="436" y="0"/>
                  </a:lnTo>
                  <a:cubicBezTo>
                    <a:pt x="500" y="0"/>
                    <a:pt x="558" y="11"/>
                    <a:pt x="611" y="34"/>
                  </a:cubicBezTo>
                  <a:cubicBezTo>
                    <a:pt x="667" y="59"/>
                    <a:pt x="711" y="86"/>
                    <a:pt x="750" y="125"/>
                  </a:cubicBezTo>
                  <a:cubicBezTo>
                    <a:pt x="789" y="164"/>
                    <a:pt x="819" y="209"/>
                    <a:pt x="842" y="261"/>
                  </a:cubicBezTo>
                  <a:cubicBezTo>
                    <a:pt x="861" y="314"/>
                    <a:pt x="872" y="370"/>
                    <a:pt x="872" y="431"/>
                  </a:cubicBezTo>
                  <a:cubicBezTo>
                    <a:pt x="872" y="492"/>
                    <a:pt x="861" y="547"/>
                    <a:pt x="842" y="600"/>
                  </a:cubicBezTo>
                  <a:cubicBezTo>
                    <a:pt x="819" y="653"/>
                    <a:pt x="792" y="698"/>
                    <a:pt x="753" y="736"/>
                  </a:cubicBezTo>
                  <a:cubicBezTo>
                    <a:pt x="714" y="775"/>
                    <a:pt x="669" y="806"/>
                    <a:pt x="614" y="825"/>
                  </a:cubicBezTo>
                  <a:cubicBezTo>
                    <a:pt x="561" y="847"/>
                    <a:pt x="500" y="859"/>
                    <a:pt x="436" y="859"/>
                  </a:cubicBezTo>
                  <a:cubicBezTo>
                    <a:pt x="369" y="859"/>
                    <a:pt x="308" y="847"/>
                    <a:pt x="256" y="825"/>
                  </a:cubicBezTo>
                  <a:cubicBezTo>
                    <a:pt x="203" y="806"/>
                    <a:pt x="156" y="775"/>
                    <a:pt x="119" y="736"/>
                  </a:cubicBezTo>
                  <a:cubicBezTo>
                    <a:pt x="80" y="698"/>
                    <a:pt x="53" y="653"/>
                    <a:pt x="31" y="600"/>
                  </a:cubicBezTo>
                  <a:cubicBezTo>
                    <a:pt x="11" y="547"/>
                    <a:pt x="0" y="492"/>
                    <a:pt x="0" y="431"/>
                  </a:cubicBezTo>
                  <a:cubicBezTo>
                    <a:pt x="0" y="370"/>
                    <a:pt x="11" y="314"/>
                    <a:pt x="31" y="261"/>
                  </a:cubicBezTo>
                  <a:cubicBezTo>
                    <a:pt x="53" y="209"/>
                    <a:pt x="80" y="164"/>
                    <a:pt x="119" y="125"/>
                  </a:cubicBezTo>
                  <a:cubicBezTo>
                    <a:pt x="158" y="86"/>
                    <a:pt x="203" y="59"/>
                    <a:pt x="258" y="34"/>
                  </a:cubicBezTo>
                  <a:cubicBezTo>
                    <a:pt x="311" y="11"/>
                    <a:pt x="369" y="0"/>
                    <a:pt x="436" y="0"/>
                  </a:cubicBezTo>
                  <a:lnTo>
                    <a:pt x="436" y="161"/>
                  </a:lnTo>
                  <a:lnTo>
                    <a:pt x="436" y="161"/>
                  </a:lnTo>
                  <a:cubicBezTo>
                    <a:pt x="394" y="161"/>
                    <a:pt x="358" y="170"/>
                    <a:pt x="328" y="184"/>
                  </a:cubicBezTo>
                  <a:cubicBezTo>
                    <a:pt x="294" y="198"/>
                    <a:pt x="269" y="217"/>
                    <a:pt x="247" y="242"/>
                  </a:cubicBezTo>
                  <a:cubicBezTo>
                    <a:pt x="225" y="267"/>
                    <a:pt x="206" y="298"/>
                    <a:pt x="194" y="328"/>
                  </a:cubicBezTo>
                  <a:cubicBezTo>
                    <a:pt x="183" y="361"/>
                    <a:pt x="178" y="395"/>
                    <a:pt x="178" y="431"/>
                  </a:cubicBezTo>
                  <a:cubicBezTo>
                    <a:pt x="178" y="470"/>
                    <a:pt x="183" y="503"/>
                    <a:pt x="194" y="536"/>
                  </a:cubicBezTo>
                  <a:cubicBezTo>
                    <a:pt x="206" y="567"/>
                    <a:pt x="225" y="595"/>
                    <a:pt x="247" y="620"/>
                  </a:cubicBezTo>
                  <a:cubicBezTo>
                    <a:pt x="269" y="645"/>
                    <a:pt x="294" y="664"/>
                    <a:pt x="328" y="678"/>
                  </a:cubicBezTo>
                  <a:cubicBezTo>
                    <a:pt x="358" y="692"/>
                    <a:pt x="394" y="698"/>
                    <a:pt x="436" y="698"/>
                  </a:cubicBezTo>
                  <a:cubicBezTo>
                    <a:pt x="475" y="698"/>
                    <a:pt x="511" y="692"/>
                    <a:pt x="544" y="678"/>
                  </a:cubicBezTo>
                  <a:cubicBezTo>
                    <a:pt x="575" y="664"/>
                    <a:pt x="603" y="645"/>
                    <a:pt x="625" y="620"/>
                  </a:cubicBezTo>
                  <a:cubicBezTo>
                    <a:pt x="647" y="595"/>
                    <a:pt x="664" y="567"/>
                    <a:pt x="678" y="536"/>
                  </a:cubicBezTo>
                  <a:cubicBezTo>
                    <a:pt x="689" y="503"/>
                    <a:pt x="694" y="470"/>
                    <a:pt x="694" y="431"/>
                  </a:cubicBezTo>
                  <a:cubicBezTo>
                    <a:pt x="694" y="395"/>
                    <a:pt x="689" y="361"/>
                    <a:pt x="675" y="328"/>
                  </a:cubicBezTo>
                  <a:cubicBezTo>
                    <a:pt x="664" y="298"/>
                    <a:pt x="644" y="267"/>
                    <a:pt x="622" y="242"/>
                  </a:cubicBezTo>
                  <a:cubicBezTo>
                    <a:pt x="600" y="217"/>
                    <a:pt x="572" y="198"/>
                    <a:pt x="542" y="184"/>
                  </a:cubicBezTo>
                  <a:cubicBezTo>
                    <a:pt x="508" y="170"/>
                    <a:pt x="472" y="161"/>
                    <a:pt x="436" y="161"/>
                  </a:cubicBezTo>
                  <a:lnTo>
                    <a:pt x="43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5" name="Freeform 33">
              <a:extLst>
                <a:ext uri="{FF2B5EF4-FFF2-40B4-BE49-F238E27FC236}">
                  <a16:creationId xmlns:a16="http://schemas.microsoft.com/office/drawing/2014/main" id="{42D40626-3B21-A740-B150-F7BC92FCB4D6}"/>
                </a:ext>
              </a:extLst>
            </p:cNvPr>
            <p:cNvSpPr>
              <a:spLocks noChangeArrowheads="1"/>
            </p:cNvSpPr>
            <p:nvPr userDrawn="1"/>
          </p:nvSpPr>
          <p:spPr bwMode="auto">
            <a:xfrm>
              <a:off x="7431088" y="3627438"/>
              <a:ext cx="323850" cy="427037"/>
            </a:xfrm>
            <a:custGeom>
              <a:avLst/>
              <a:gdLst>
                <a:gd name="T0" fmla="*/ 175 w 898"/>
                <a:gd name="T1" fmla="*/ 0 h 1185"/>
                <a:gd name="T2" fmla="*/ 175 w 898"/>
                <a:gd name="T3" fmla="*/ 0 h 1185"/>
                <a:gd name="T4" fmla="*/ 175 w 898"/>
                <a:gd name="T5" fmla="*/ 472 h 1185"/>
                <a:gd name="T6" fmla="*/ 231 w 898"/>
                <a:gd name="T7" fmla="*/ 409 h 1185"/>
                <a:gd name="T8" fmla="*/ 306 w 898"/>
                <a:gd name="T9" fmla="*/ 361 h 1185"/>
                <a:gd name="T10" fmla="*/ 389 w 898"/>
                <a:gd name="T11" fmla="*/ 334 h 1185"/>
                <a:gd name="T12" fmla="*/ 472 w 898"/>
                <a:gd name="T13" fmla="*/ 325 h 1185"/>
                <a:gd name="T14" fmla="*/ 639 w 898"/>
                <a:gd name="T15" fmla="*/ 353 h 1185"/>
                <a:gd name="T16" fmla="*/ 775 w 898"/>
                <a:gd name="T17" fmla="*/ 434 h 1185"/>
                <a:gd name="T18" fmla="*/ 867 w 898"/>
                <a:gd name="T19" fmla="*/ 570 h 1185"/>
                <a:gd name="T20" fmla="*/ 897 w 898"/>
                <a:gd name="T21" fmla="*/ 753 h 1185"/>
                <a:gd name="T22" fmla="*/ 864 w 898"/>
                <a:gd name="T23" fmla="*/ 936 h 1185"/>
                <a:gd name="T24" fmla="*/ 775 w 898"/>
                <a:gd name="T25" fmla="*/ 1072 h 1185"/>
                <a:gd name="T26" fmla="*/ 639 w 898"/>
                <a:gd name="T27" fmla="*/ 1156 h 1185"/>
                <a:gd name="T28" fmla="*/ 467 w 898"/>
                <a:gd name="T29" fmla="*/ 1184 h 1185"/>
                <a:gd name="T30" fmla="*/ 303 w 898"/>
                <a:gd name="T31" fmla="*/ 1150 h 1185"/>
                <a:gd name="T32" fmla="*/ 175 w 898"/>
                <a:gd name="T33" fmla="*/ 1036 h 1185"/>
                <a:gd name="T34" fmla="*/ 167 w 898"/>
                <a:gd name="T35" fmla="*/ 1167 h 1185"/>
                <a:gd name="T36" fmla="*/ 0 w 898"/>
                <a:gd name="T37" fmla="*/ 1167 h 1185"/>
                <a:gd name="T38" fmla="*/ 0 w 898"/>
                <a:gd name="T39" fmla="*/ 0 h 1185"/>
                <a:gd name="T40" fmla="*/ 175 w 898"/>
                <a:gd name="T41" fmla="*/ 0 h 1185"/>
                <a:gd name="T42" fmla="*/ 456 w 898"/>
                <a:gd name="T43" fmla="*/ 486 h 1185"/>
                <a:gd name="T44" fmla="*/ 456 w 898"/>
                <a:gd name="T45" fmla="*/ 486 h 1185"/>
                <a:gd name="T46" fmla="*/ 353 w 898"/>
                <a:gd name="T47" fmla="*/ 506 h 1185"/>
                <a:gd name="T48" fmla="*/ 267 w 898"/>
                <a:gd name="T49" fmla="*/ 559 h 1185"/>
                <a:gd name="T50" fmla="*/ 208 w 898"/>
                <a:gd name="T51" fmla="*/ 645 h 1185"/>
                <a:gd name="T52" fmla="*/ 186 w 898"/>
                <a:gd name="T53" fmla="*/ 753 h 1185"/>
                <a:gd name="T54" fmla="*/ 208 w 898"/>
                <a:gd name="T55" fmla="*/ 864 h 1185"/>
                <a:gd name="T56" fmla="*/ 267 w 898"/>
                <a:gd name="T57" fmla="*/ 950 h 1185"/>
                <a:gd name="T58" fmla="*/ 350 w 898"/>
                <a:gd name="T59" fmla="*/ 1003 h 1185"/>
                <a:gd name="T60" fmla="*/ 456 w 898"/>
                <a:gd name="T61" fmla="*/ 1023 h 1185"/>
                <a:gd name="T62" fmla="*/ 558 w 898"/>
                <a:gd name="T63" fmla="*/ 1006 h 1185"/>
                <a:gd name="T64" fmla="*/ 645 w 898"/>
                <a:gd name="T65" fmla="*/ 950 h 1185"/>
                <a:gd name="T66" fmla="*/ 700 w 898"/>
                <a:gd name="T67" fmla="*/ 867 h 1185"/>
                <a:gd name="T68" fmla="*/ 722 w 898"/>
                <a:gd name="T69" fmla="*/ 753 h 1185"/>
                <a:gd name="T70" fmla="*/ 700 w 898"/>
                <a:gd name="T71" fmla="*/ 639 h 1185"/>
                <a:gd name="T72" fmla="*/ 645 w 898"/>
                <a:gd name="T73" fmla="*/ 556 h 1185"/>
                <a:gd name="T74" fmla="*/ 558 w 898"/>
                <a:gd name="T75" fmla="*/ 503 h 1185"/>
                <a:gd name="T76" fmla="*/ 456 w 898"/>
                <a:gd name="T77" fmla="*/ 48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8" h="1185">
                  <a:moveTo>
                    <a:pt x="175" y="0"/>
                  </a:moveTo>
                  <a:lnTo>
                    <a:pt x="175" y="0"/>
                  </a:lnTo>
                  <a:cubicBezTo>
                    <a:pt x="175" y="472"/>
                    <a:pt x="175" y="472"/>
                    <a:pt x="175" y="472"/>
                  </a:cubicBezTo>
                  <a:cubicBezTo>
                    <a:pt x="189" y="448"/>
                    <a:pt x="208" y="425"/>
                    <a:pt x="231" y="409"/>
                  </a:cubicBezTo>
                  <a:cubicBezTo>
                    <a:pt x="253" y="389"/>
                    <a:pt x="278" y="373"/>
                    <a:pt x="306" y="361"/>
                  </a:cubicBezTo>
                  <a:cubicBezTo>
                    <a:pt x="334" y="350"/>
                    <a:pt x="361" y="339"/>
                    <a:pt x="389" y="334"/>
                  </a:cubicBezTo>
                  <a:cubicBezTo>
                    <a:pt x="417" y="328"/>
                    <a:pt x="445" y="325"/>
                    <a:pt x="472" y="325"/>
                  </a:cubicBezTo>
                  <a:cubicBezTo>
                    <a:pt x="531" y="325"/>
                    <a:pt x="589" y="334"/>
                    <a:pt x="639" y="353"/>
                  </a:cubicBezTo>
                  <a:cubicBezTo>
                    <a:pt x="692" y="370"/>
                    <a:pt x="739" y="397"/>
                    <a:pt x="775" y="434"/>
                  </a:cubicBezTo>
                  <a:cubicBezTo>
                    <a:pt x="814" y="470"/>
                    <a:pt x="845" y="514"/>
                    <a:pt x="867" y="570"/>
                  </a:cubicBezTo>
                  <a:cubicBezTo>
                    <a:pt x="886" y="623"/>
                    <a:pt x="897" y="684"/>
                    <a:pt x="897" y="753"/>
                  </a:cubicBezTo>
                  <a:cubicBezTo>
                    <a:pt x="897" y="823"/>
                    <a:pt x="886" y="884"/>
                    <a:pt x="864" y="936"/>
                  </a:cubicBezTo>
                  <a:cubicBezTo>
                    <a:pt x="842" y="989"/>
                    <a:pt x="811" y="1036"/>
                    <a:pt x="775" y="1072"/>
                  </a:cubicBezTo>
                  <a:cubicBezTo>
                    <a:pt x="736" y="1109"/>
                    <a:pt x="692" y="1136"/>
                    <a:pt x="639" y="1156"/>
                  </a:cubicBezTo>
                  <a:cubicBezTo>
                    <a:pt x="586" y="1175"/>
                    <a:pt x="531" y="1184"/>
                    <a:pt x="467" y="1184"/>
                  </a:cubicBezTo>
                  <a:cubicBezTo>
                    <a:pt x="411" y="1184"/>
                    <a:pt x="356" y="1172"/>
                    <a:pt x="303" y="1150"/>
                  </a:cubicBezTo>
                  <a:cubicBezTo>
                    <a:pt x="253" y="1128"/>
                    <a:pt x="208" y="1089"/>
                    <a:pt x="175" y="1036"/>
                  </a:cubicBezTo>
                  <a:cubicBezTo>
                    <a:pt x="167" y="1167"/>
                    <a:pt x="167" y="1167"/>
                    <a:pt x="167" y="1167"/>
                  </a:cubicBezTo>
                  <a:cubicBezTo>
                    <a:pt x="0" y="1167"/>
                    <a:pt x="0" y="1167"/>
                    <a:pt x="0" y="1167"/>
                  </a:cubicBezTo>
                  <a:cubicBezTo>
                    <a:pt x="0" y="0"/>
                    <a:pt x="0" y="0"/>
                    <a:pt x="0" y="0"/>
                  </a:cubicBezTo>
                  <a:lnTo>
                    <a:pt x="175" y="0"/>
                  </a:lnTo>
                  <a:close/>
                  <a:moveTo>
                    <a:pt x="456" y="486"/>
                  </a:moveTo>
                  <a:lnTo>
                    <a:pt x="456" y="486"/>
                  </a:lnTo>
                  <a:cubicBezTo>
                    <a:pt x="420" y="486"/>
                    <a:pt x="383" y="492"/>
                    <a:pt x="353" y="506"/>
                  </a:cubicBezTo>
                  <a:cubicBezTo>
                    <a:pt x="320" y="517"/>
                    <a:pt x="289" y="536"/>
                    <a:pt x="267" y="559"/>
                  </a:cubicBezTo>
                  <a:cubicBezTo>
                    <a:pt x="242" y="584"/>
                    <a:pt x="222" y="611"/>
                    <a:pt x="208" y="645"/>
                  </a:cubicBezTo>
                  <a:cubicBezTo>
                    <a:pt x="195" y="678"/>
                    <a:pt x="186" y="714"/>
                    <a:pt x="186" y="753"/>
                  </a:cubicBezTo>
                  <a:cubicBezTo>
                    <a:pt x="186" y="795"/>
                    <a:pt x="195" y="831"/>
                    <a:pt x="208" y="864"/>
                  </a:cubicBezTo>
                  <a:cubicBezTo>
                    <a:pt x="222" y="897"/>
                    <a:pt x="242" y="925"/>
                    <a:pt x="267" y="950"/>
                  </a:cubicBezTo>
                  <a:cubicBezTo>
                    <a:pt x="289" y="972"/>
                    <a:pt x="320" y="992"/>
                    <a:pt x="350" y="1003"/>
                  </a:cubicBezTo>
                  <a:cubicBezTo>
                    <a:pt x="383" y="1017"/>
                    <a:pt x="420" y="1023"/>
                    <a:pt x="456" y="1023"/>
                  </a:cubicBezTo>
                  <a:cubicBezTo>
                    <a:pt x="492" y="1023"/>
                    <a:pt x="528" y="1017"/>
                    <a:pt x="558" y="1006"/>
                  </a:cubicBezTo>
                  <a:cubicBezTo>
                    <a:pt x="592" y="992"/>
                    <a:pt x="620" y="975"/>
                    <a:pt x="645" y="950"/>
                  </a:cubicBezTo>
                  <a:cubicBezTo>
                    <a:pt x="667" y="928"/>
                    <a:pt x="686" y="900"/>
                    <a:pt x="700" y="867"/>
                  </a:cubicBezTo>
                  <a:cubicBezTo>
                    <a:pt x="714" y="834"/>
                    <a:pt x="722" y="795"/>
                    <a:pt x="722" y="753"/>
                  </a:cubicBezTo>
                  <a:cubicBezTo>
                    <a:pt x="722" y="711"/>
                    <a:pt x="714" y="672"/>
                    <a:pt x="700" y="639"/>
                  </a:cubicBezTo>
                  <a:cubicBezTo>
                    <a:pt x="686" y="609"/>
                    <a:pt x="667" y="581"/>
                    <a:pt x="645" y="556"/>
                  </a:cubicBezTo>
                  <a:cubicBezTo>
                    <a:pt x="620" y="534"/>
                    <a:pt x="592" y="517"/>
                    <a:pt x="558" y="503"/>
                  </a:cubicBezTo>
                  <a:cubicBezTo>
                    <a:pt x="528" y="492"/>
                    <a:pt x="492" y="486"/>
                    <a:pt x="456" y="4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6" name="Freeform 34">
              <a:extLst>
                <a:ext uri="{FF2B5EF4-FFF2-40B4-BE49-F238E27FC236}">
                  <a16:creationId xmlns:a16="http://schemas.microsoft.com/office/drawing/2014/main" id="{5C41A4EB-D0B2-E645-B349-5C413FCDE59D}"/>
                </a:ext>
              </a:extLst>
            </p:cNvPr>
            <p:cNvSpPr>
              <a:spLocks noChangeArrowheads="1"/>
            </p:cNvSpPr>
            <p:nvPr userDrawn="1"/>
          </p:nvSpPr>
          <p:spPr bwMode="auto">
            <a:xfrm>
              <a:off x="7804150" y="3743325"/>
              <a:ext cx="315913"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5 w 876"/>
                <a:gd name="T11" fmla="*/ 680 h 864"/>
                <a:gd name="T12" fmla="*/ 703 w 876"/>
                <a:gd name="T13" fmla="*/ 616 h 864"/>
                <a:gd name="T14" fmla="*/ 817 w 876"/>
                <a:gd name="T15" fmla="*/ 724 h 864"/>
                <a:gd name="T16" fmla="*/ 742 w 876"/>
                <a:gd name="T17" fmla="*/ 786 h 864"/>
                <a:gd name="T18" fmla="*/ 653 w 876"/>
                <a:gd name="T19" fmla="*/ 830 h 864"/>
                <a:gd name="T20" fmla="*/ 556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5 w 876"/>
                <a:gd name="T35" fmla="*/ 119 h 864"/>
                <a:gd name="T36" fmla="*/ 264 w 876"/>
                <a:gd name="T37" fmla="*/ 30 h 864"/>
                <a:gd name="T38" fmla="*/ 445 w 876"/>
                <a:gd name="T39" fmla="*/ 0 h 864"/>
                <a:gd name="T40" fmla="*/ 628 w 876"/>
                <a:gd name="T41" fmla="*/ 30 h 864"/>
                <a:gd name="T42" fmla="*/ 770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3 w 876"/>
                <a:gd name="T55" fmla="*/ 202 h 864"/>
                <a:gd name="T56" fmla="*/ 450 w 876"/>
                <a:gd name="T57" fmla="*/ 152 h 864"/>
                <a:gd name="T58" fmla="*/ 281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20" y="686"/>
                    <a:pt x="381" y="705"/>
                    <a:pt x="459" y="705"/>
                  </a:cubicBezTo>
                  <a:cubicBezTo>
                    <a:pt x="503" y="705"/>
                    <a:pt x="548" y="697"/>
                    <a:pt x="595" y="680"/>
                  </a:cubicBezTo>
                  <a:cubicBezTo>
                    <a:pt x="642" y="666"/>
                    <a:pt x="678" y="644"/>
                    <a:pt x="703" y="616"/>
                  </a:cubicBezTo>
                  <a:cubicBezTo>
                    <a:pt x="817" y="724"/>
                    <a:pt x="817" y="724"/>
                    <a:pt x="817" y="724"/>
                  </a:cubicBezTo>
                  <a:cubicBezTo>
                    <a:pt x="798" y="747"/>
                    <a:pt x="770" y="769"/>
                    <a:pt x="742" y="786"/>
                  </a:cubicBezTo>
                  <a:cubicBezTo>
                    <a:pt x="714" y="802"/>
                    <a:pt x="684" y="819"/>
                    <a:pt x="653" y="830"/>
                  </a:cubicBezTo>
                  <a:cubicBezTo>
                    <a:pt x="623" y="841"/>
                    <a:pt x="589" y="849"/>
                    <a:pt x="556" y="855"/>
                  </a:cubicBezTo>
                  <a:cubicBezTo>
                    <a:pt x="520" y="861"/>
                    <a:pt x="486" y="863"/>
                    <a:pt x="456" y="863"/>
                  </a:cubicBezTo>
                  <a:cubicBezTo>
                    <a:pt x="386" y="863"/>
                    <a:pt x="323" y="855"/>
                    <a:pt x="267" y="833"/>
                  </a:cubicBezTo>
                  <a:cubicBezTo>
                    <a:pt x="212" y="813"/>
                    <a:pt x="164" y="783"/>
                    <a:pt x="125" y="747"/>
                  </a:cubicBezTo>
                  <a:cubicBezTo>
                    <a:pt x="86" y="708"/>
                    <a:pt x="56" y="661"/>
                    <a:pt x="34" y="608"/>
                  </a:cubicBezTo>
                  <a:cubicBezTo>
                    <a:pt x="12" y="552"/>
                    <a:pt x="0" y="494"/>
                    <a:pt x="0" y="427"/>
                  </a:cubicBezTo>
                  <a:cubicBezTo>
                    <a:pt x="0" y="366"/>
                    <a:pt x="12" y="308"/>
                    <a:pt x="34" y="255"/>
                  </a:cubicBezTo>
                  <a:cubicBezTo>
                    <a:pt x="56" y="202"/>
                    <a:pt x="86" y="158"/>
                    <a:pt x="125" y="119"/>
                  </a:cubicBezTo>
                  <a:cubicBezTo>
                    <a:pt x="164" y="80"/>
                    <a:pt x="209" y="52"/>
                    <a:pt x="264" y="30"/>
                  </a:cubicBezTo>
                  <a:cubicBezTo>
                    <a:pt x="317" y="8"/>
                    <a:pt x="378" y="0"/>
                    <a:pt x="445" y="0"/>
                  </a:cubicBezTo>
                  <a:cubicBezTo>
                    <a:pt x="511" y="0"/>
                    <a:pt x="573" y="8"/>
                    <a:pt x="628" y="30"/>
                  </a:cubicBezTo>
                  <a:cubicBezTo>
                    <a:pt x="684" y="50"/>
                    <a:pt x="731" y="80"/>
                    <a:pt x="770" y="122"/>
                  </a:cubicBezTo>
                  <a:cubicBezTo>
                    <a:pt x="809" y="163"/>
                    <a:pt x="836" y="216"/>
                    <a:pt x="853" y="277"/>
                  </a:cubicBezTo>
                  <a:cubicBezTo>
                    <a:pt x="870" y="341"/>
                    <a:pt x="875" y="413"/>
                    <a:pt x="867" y="497"/>
                  </a:cubicBezTo>
                  <a:lnTo>
                    <a:pt x="186" y="352"/>
                  </a:lnTo>
                  <a:lnTo>
                    <a:pt x="186" y="352"/>
                  </a:lnTo>
                  <a:cubicBezTo>
                    <a:pt x="698" y="352"/>
                    <a:pt x="698" y="352"/>
                    <a:pt x="698" y="352"/>
                  </a:cubicBezTo>
                  <a:cubicBezTo>
                    <a:pt x="692" y="286"/>
                    <a:pt x="667" y="236"/>
                    <a:pt x="623" y="202"/>
                  </a:cubicBezTo>
                  <a:cubicBezTo>
                    <a:pt x="578" y="169"/>
                    <a:pt x="520" y="152"/>
                    <a:pt x="450" y="152"/>
                  </a:cubicBezTo>
                  <a:cubicBezTo>
                    <a:pt x="384" y="152"/>
                    <a:pt x="328" y="169"/>
                    <a:pt x="281" y="202"/>
                  </a:cubicBezTo>
                  <a:cubicBezTo>
                    <a:pt x="231" y="236"/>
                    <a:pt x="200" y="286"/>
                    <a:pt x="186" y="352"/>
                  </a:cubicBezTo>
                  <a:lnTo>
                    <a:pt x="867" y="49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7" name="Freeform 36">
              <a:extLst>
                <a:ext uri="{FF2B5EF4-FFF2-40B4-BE49-F238E27FC236}">
                  <a16:creationId xmlns:a16="http://schemas.microsoft.com/office/drawing/2014/main" id="{993A205A-24D5-E747-9572-B02BFB7EBA81}"/>
                </a:ext>
              </a:extLst>
            </p:cNvPr>
            <p:cNvSpPr>
              <a:spLocks noChangeArrowheads="1"/>
            </p:cNvSpPr>
            <p:nvPr userDrawn="1"/>
          </p:nvSpPr>
          <p:spPr bwMode="auto">
            <a:xfrm>
              <a:off x="6570663" y="3024188"/>
              <a:ext cx="77787" cy="76200"/>
            </a:xfrm>
            <a:custGeom>
              <a:avLst/>
              <a:gdLst>
                <a:gd name="T0" fmla="*/ 0 w 218"/>
                <a:gd name="T1" fmla="*/ 106 h 213"/>
                <a:gd name="T2" fmla="*/ 0 w 218"/>
                <a:gd name="T3" fmla="*/ 106 h 213"/>
                <a:gd name="T4" fmla="*/ 33 w 218"/>
                <a:gd name="T5" fmla="*/ 25 h 213"/>
                <a:gd name="T6" fmla="*/ 108 w 218"/>
                <a:gd name="T7" fmla="*/ 0 h 213"/>
                <a:gd name="T8" fmla="*/ 183 w 218"/>
                <a:gd name="T9" fmla="*/ 25 h 213"/>
                <a:gd name="T10" fmla="*/ 217 w 218"/>
                <a:gd name="T11" fmla="*/ 106 h 213"/>
                <a:gd name="T12" fmla="*/ 183 w 218"/>
                <a:gd name="T13" fmla="*/ 184 h 213"/>
                <a:gd name="T14" fmla="*/ 108 w 218"/>
                <a:gd name="T15" fmla="*/ 212 h 213"/>
                <a:gd name="T16" fmla="*/ 33 w 218"/>
                <a:gd name="T17" fmla="*/ 184 h 213"/>
                <a:gd name="T18" fmla="*/ 0 w 218"/>
                <a:gd name="T19" fmla="*/ 10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3">
                  <a:moveTo>
                    <a:pt x="0" y="106"/>
                  </a:moveTo>
                  <a:lnTo>
                    <a:pt x="0" y="106"/>
                  </a:lnTo>
                  <a:cubicBezTo>
                    <a:pt x="0" y="70"/>
                    <a:pt x="11" y="42"/>
                    <a:pt x="33" y="25"/>
                  </a:cubicBezTo>
                  <a:cubicBezTo>
                    <a:pt x="56" y="9"/>
                    <a:pt x="80" y="0"/>
                    <a:pt x="108" y="0"/>
                  </a:cubicBezTo>
                  <a:cubicBezTo>
                    <a:pt x="136" y="0"/>
                    <a:pt x="161" y="9"/>
                    <a:pt x="183" y="25"/>
                  </a:cubicBezTo>
                  <a:cubicBezTo>
                    <a:pt x="206" y="42"/>
                    <a:pt x="217" y="70"/>
                    <a:pt x="217" y="106"/>
                  </a:cubicBezTo>
                  <a:cubicBezTo>
                    <a:pt x="217" y="139"/>
                    <a:pt x="206" y="167"/>
                    <a:pt x="183" y="184"/>
                  </a:cubicBezTo>
                  <a:cubicBezTo>
                    <a:pt x="161" y="203"/>
                    <a:pt x="136" y="212"/>
                    <a:pt x="108" y="212"/>
                  </a:cubicBezTo>
                  <a:cubicBezTo>
                    <a:pt x="80" y="212"/>
                    <a:pt x="56" y="203"/>
                    <a:pt x="33" y="184"/>
                  </a:cubicBezTo>
                  <a:cubicBezTo>
                    <a:pt x="11" y="167"/>
                    <a:pt x="0" y="139"/>
                    <a:pt x="0"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8" name="Freeform 37">
              <a:extLst>
                <a:ext uri="{FF2B5EF4-FFF2-40B4-BE49-F238E27FC236}">
                  <a16:creationId xmlns:a16="http://schemas.microsoft.com/office/drawing/2014/main" id="{7F8B4555-04E7-CC44-AF89-D3797D6DB874}"/>
                </a:ext>
              </a:extLst>
            </p:cNvPr>
            <p:cNvSpPr>
              <a:spLocks noChangeArrowheads="1"/>
            </p:cNvSpPr>
            <p:nvPr userDrawn="1"/>
          </p:nvSpPr>
          <p:spPr bwMode="auto">
            <a:xfrm>
              <a:off x="2690813" y="3625850"/>
              <a:ext cx="79375" cy="77788"/>
            </a:xfrm>
            <a:custGeom>
              <a:avLst/>
              <a:gdLst>
                <a:gd name="T0" fmla="*/ 0 w 221"/>
                <a:gd name="T1" fmla="*/ 105 h 215"/>
                <a:gd name="T2" fmla="*/ 0 w 221"/>
                <a:gd name="T3" fmla="*/ 105 h 215"/>
                <a:gd name="T4" fmla="*/ 34 w 221"/>
                <a:gd name="T5" fmla="*/ 28 h 215"/>
                <a:gd name="T6" fmla="*/ 111 w 221"/>
                <a:gd name="T7" fmla="*/ 0 h 215"/>
                <a:gd name="T8" fmla="*/ 186 w 221"/>
                <a:gd name="T9" fmla="*/ 28 h 215"/>
                <a:gd name="T10" fmla="*/ 220 w 221"/>
                <a:gd name="T11" fmla="*/ 105 h 215"/>
                <a:gd name="T12" fmla="*/ 186 w 221"/>
                <a:gd name="T13" fmla="*/ 186 h 215"/>
                <a:gd name="T14" fmla="*/ 111 w 221"/>
                <a:gd name="T15" fmla="*/ 214 h 215"/>
                <a:gd name="T16" fmla="*/ 34 w 221"/>
                <a:gd name="T17" fmla="*/ 186 h 215"/>
                <a:gd name="T18" fmla="*/ 0 w 221"/>
                <a:gd name="T19" fmla="*/ 10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215">
                  <a:moveTo>
                    <a:pt x="0" y="105"/>
                  </a:moveTo>
                  <a:lnTo>
                    <a:pt x="0" y="105"/>
                  </a:lnTo>
                  <a:cubicBezTo>
                    <a:pt x="0" y="69"/>
                    <a:pt x="11" y="44"/>
                    <a:pt x="34" y="28"/>
                  </a:cubicBezTo>
                  <a:cubicBezTo>
                    <a:pt x="59" y="8"/>
                    <a:pt x="84" y="0"/>
                    <a:pt x="111" y="0"/>
                  </a:cubicBezTo>
                  <a:cubicBezTo>
                    <a:pt x="136" y="0"/>
                    <a:pt x="161" y="8"/>
                    <a:pt x="186" y="28"/>
                  </a:cubicBezTo>
                  <a:cubicBezTo>
                    <a:pt x="209" y="44"/>
                    <a:pt x="220" y="69"/>
                    <a:pt x="220" y="105"/>
                  </a:cubicBezTo>
                  <a:cubicBezTo>
                    <a:pt x="220" y="141"/>
                    <a:pt x="209" y="169"/>
                    <a:pt x="186" y="186"/>
                  </a:cubicBezTo>
                  <a:cubicBezTo>
                    <a:pt x="161" y="202"/>
                    <a:pt x="136" y="214"/>
                    <a:pt x="111" y="214"/>
                  </a:cubicBezTo>
                  <a:cubicBezTo>
                    <a:pt x="84" y="214"/>
                    <a:pt x="59" y="202"/>
                    <a:pt x="34" y="186"/>
                  </a:cubicBezTo>
                  <a:cubicBezTo>
                    <a:pt x="11" y="169"/>
                    <a:pt x="0" y="141"/>
                    <a:pt x="0" y="10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
        <p:nvSpPr>
          <p:cNvPr id="49" name="Freeform 1">
            <a:extLst>
              <a:ext uri="{FF2B5EF4-FFF2-40B4-BE49-F238E27FC236}">
                <a16:creationId xmlns:a16="http://schemas.microsoft.com/office/drawing/2014/main" id="{EA8BEB41-77CF-164D-8FDF-15011566AB28}"/>
              </a:ext>
            </a:extLst>
          </p:cNvPr>
          <p:cNvSpPr>
            <a:spLocks noChangeArrowheads="1"/>
          </p:cNvSpPr>
          <p:nvPr userDrawn="1"/>
        </p:nvSpPr>
        <p:spPr bwMode="auto">
          <a:xfrm>
            <a:off x="6717187" y="428048"/>
            <a:ext cx="1995013" cy="1911515"/>
          </a:xfrm>
          <a:custGeom>
            <a:avLst/>
            <a:gdLst>
              <a:gd name="T0" fmla="*/ 0 w 9182"/>
              <a:gd name="T1" fmla="*/ 0 h 8794"/>
              <a:gd name="T2" fmla="*/ 0 w 9182"/>
              <a:gd name="T3" fmla="*/ 1368563 h 8794"/>
              <a:gd name="T4" fmla="*/ 1796572 w 9182"/>
              <a:gd name="T5" fmla="*/ 1368563 h 8794"/>
              <a:gd name="T6" fmla="*/ 1796572 w 9182"/>
              <a:gd name="T7" fmla="*/ 3165116 h 8794"/>
              <a:gd name="T8" fmla="*/ 3304815 w 9182"/>
              <a:gd name="T9" fmla="*/ 3165116 h 8794"/>
              <a:gd name="T10" fmla="*/ 3304815 w 9182"/>
              <a:gd name="T11" fmla="*/ 0 h 8794"/>
              <a:gd name="T12" fmla="*/ 0 w 9182"/>
              <a:gd name="T13" fmla="*/ 0 h 87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182" h="8794">
                <a:moveTo>
                  <a:pt x="0" y="0"/>
                </a:moveTo>
                <a:lnTo>
                  <a:pt x="0" y="3802"/>
                </a:lnTo>
                <a:lnTo>
                  <a:pt x="4991" y="3802"/>
                </a:lnTo>
                <a:lnTo>
                  <a:pt x="4991" y="8793"/>
                </a:lnTo>
                <a:lnTo>
                  <a:pt x="9181" y="8793"/>
                </a:lnTo>
                <a:lnTo>
                  <a:pt x="9181"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0" name="Freeform 2">
            <a:extLst>
              <a:ext uri="{FF2B5EF4-FFF2-40B4-BE49-F238E27FC236}">
                <a16:creationId xmlns:a16="http://schemas.microsoft.com/office/drawing/2014/main" id="{99BF4724-B15C-0243-99B9-A4D4B9CBAC3C}"/>
              </a:ext>
            </a:extLst>
          </p:cNvPr>
          <p:cNvSpPr>
            <a:spLocks noChangeArrowheads="1"/>
          </p:cNvSpPr>
          <p:nvPr userDrawn="1"/>
        </p:nvSpPr>
        <p:spPr bwMode="auto">
          <a:xfrm>
            <a:off x="4724829" y="3186378"/>
            <a:ext cx="3904745" cy="3823029"/>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chemeClr val="tx1"/>
          </a:solidFill>
          <a:ln>
            <a:noFill/>
          </a:ln>
          <a:effectLst/>
        </p:spPr>
        <p:txBody>
          <a:bodyPr wrap="none" anchor="ctr"/>
          <a:lstStyle/>
          <a:p>
            <a:endParaRPr lang="en-US" noProof="0"/>
          </a:p>
        </p:txBody>
      </p:sp>
      <p:sp>
        <p:nvSpPr>
          <p:cNvPr id="53" name="TextBox 52">
            <a:extLst>
              <a:ext uri="{FF2B5EF4-FFF2-40B4-BE49-F238E27FC236}">
                <a16:creationId xmlns:a16="http://schemas.microsoft.com/office/drawing/2014/main" id="{0D7FD165-3533-D94A-9FD3-1EFD84410E3F}"/>
              </a:ext>
            </a:extLst>
          </p:cNvPr>
          <p:cNvSpPr txBox="1"/>
          <p:nvPr userDrawn="1"/>
        </p:nvSpPr>
        <p:spPr>
          <a:xfrm>
            <a:off x="0" y="1986952"/>
            <a:ext cx="3455988" cy="2534787"/>
          </a:xfrm>
          <a:prstGeom prst="rect">
            <a:avLst/>
          </a:prstGeom>
        </p:spPr>
        <p:txBody>
          <a:bodyPr wrap="square" lIns="432000" tIns="0" rIns="360000" bIns="72000" rtlCol="0">
            <a:spAutoFit/>
          </a:bodyPr>
          <a:lstStyle/>
          <a:p>
            <a:pPr marL="0" marR="0" lvl="0" indent="0" algn="l" defTabSz="685800" rtl="0" eaLnBrk="1" fontAlgn="auto" latinLnBrk="0" hangingPunct="1">
              <a:lnSpc>
                <a:spcPct val="120000"/>
              </a:lnSpc>
              <a:spcBef>
                <a:spcPts val="60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mn-lt"/>
                <a:ea typeface="+mn-ea"/>
                <a:cs typeface="+mn-cs"/>
              </a:rPr>
              <a:t>Odigo helps big organizations connect with individuals through world-class, cloud-based contact center solutions. Our cutting-edge, proprietary technologies enable a seamless, efficient, omnichannel experience for your customers and a satisfying, engaging experience for your service agents.</a:t>
            </a:r>
          </a:p>
          <a:p>
            <a:pPr marL="0" marR="0" lvl="0" indent="0" algn="l" defTabSz="685800" rtl="0" eaLnBrk="1" fontAlgn="auto" latinLnBrk="0" hangingPunct="1">
              <a:lnSpc>
                <a:spcPct val="120000"/>
              </a:lnSpc>
              <a:spcBef>
                <a:spcPts val="60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mn-lt"/>
                <a:ea typeface="+mn-ea"/>
                <a:cs typeface="+mn-cs"/>
              </a:rPr>
              <a:t>Odigo serves more than 400,000 agents and business users globally. With a 25-year history of industry firsts, Odigo has more than 350 clients around the world.</a:t>
            </a:r>
          </a:p>
          <a:p>
            <a:pPr marL="0" marR="0" lvl="0" indent="0" algn="l" defTabSz="685800" rtl="0" eaLnBrk="1" fontAlgn="auto" latinLnBrk="0" hangingPunct="1">
              <a:lnSpc>
                <a:spcPct val="120000"/>
              </a:lnSpc>
              <a:spcBef>
                <a:spcPts val="60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mn-lt"/>
                <a:ea typeface="+mn-ea"/>
                <a:cs typeface="+mn-cs"/>
              </a:rPr>
              <a:t>Odigo is a Capgemini brand, which means we benefit from the scale and expertise of one of the world’s foremost providers of consulting, technology services and digital transformation.</a:t>
            </a:r>
          </a:p>
          <a:p>
            <a:pPr marL="0" marR="0" lvl="0" indent="0" algn="l" defTabSz="685800" rtl="0" eaLnBrk="1" fontAlgn="auto" latinLnBrk="0" hangingPunct="1">
              <a:lnSpc>
                <a:spcPct val="120000"/>
              </a:lnSpc>
              <a:spcBef>
                <a:spcPts val="60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mn-lt"/>
                <a:ea typeface="+mn-ea"/>
                <a:cs typeface="+mn-cs"/>
              </a:rPr>
              <a:t>Visit us at</a:t>
            </a:r>
          </a:p>
          <a:p>
            <a:pPr marL="0" marR="0" lvl="0" indent="0" algn="l" defTabSz="685800" rtl="0" eaLnBrk="1" fontAlgn="auto" latinLnBrk="0" hangingPunct="1">
              <a:lnSpc>
                <a:spcPct val="120000"/>
              </a:lnSpc>
              <a:spcBef>
                <a:spcPts val="150"/>
              </a:spcBef>
              <a:spcAft>
                <a:spcPts val="0"/>
              </a:spcAft>
              <a:buClrTx/>
              <a:buSzTx/>
              <a:buFontTx/>
              <a:buNone/>
              <a:tabLst/>
              <a:defRPr/>
            </a:pPr>
            <a:r>
              <a:rPr kumimoji="0" lang="en-US" sz="1000" b="0" i="0" u="none" strike="noStrike" kern="1200" cap="none" spc="0" normalizeH="0" baseline="0" noProof="0">
                <a:ln>
                  <a:noFill/>
                </a:ln>
                <a:solidFill>
                  <a:srgbClr val="FF3466"/>
                </a:solidFill>
                <a:effectLst/>
                <a:uLnTx/>
                <a:uFillTx/>
                <a:latin typeface="+mn-lt"/>
                <a:ea typeface="+mn-ea"/>
                <a:cs typeface="+mn-cs"/>
                <a:hlinkClick r:id="rId2">
                  <a:extLst>
                    <a:ext uri="{A12FA001-AC4F-418D-AE19-62706E023703}">
                      <ahyp:hlinkClr xmlns:ahyp="http://schemas.microsoft.com/office/drawing/2018/hyperlinkcolor" val="tx"/>
                    </a:ext>
                  </a:extLst>
                </a:hlinkClick>
              </a:rPr>
              <a:t>www.odigo.com</a:t>
            </a:r>
            <a:endParaRPr kumimoji="0" lang="en-US" sz="1000" b="0" i="0" u="none" strike="noStrike" kern="1200" cap="none" spc="0" normalizeH="0" baseline="0" noProof="0">
              <a:ln>
                <a:noFill/>
              </a:ln>
              <a:solidFill>
                <a:srgbClr val="FF3466"/>
              </a:solidFill>
              <a:effectLst/>
              <a:uLnTx/>
              <a:uFillTx/>
              <a:latin typeface="+mn-lt"/>
              <a:ea typeface="+mn-ea"/>
              <a:cs typeface="+mn-cs"/>
            </a:endParaRPr>
          </a:p>
        </p:txBody>
      </p:sp>
      <p:sp>
        <p:nvSpPr>
          <p:cNvPr id="54" name="Footer Placeholder 13">
            <a:extLst>
              <a:ext uri="{FF2B5EF4-FFF2-40B4-BE49-F238E27FC236}">
                <a16:creationId xmlns:a16="http://schemas.microsoft.com/office/drawing/2014/main" id="{B0323E56-8B24-0645-9F48-8E0F7BB65CDB}"/>
              </a:ext>
            </a:extLst>
          </p:cNvPr>
          <p:cNvSpPr txBox="1">
            <a:spLocks/>
          </p:cNvSpPr>
          <p:nvPr userDrawn="1"/>
        </p:nvSpPr>
        <p:spPr>
          <a:xfrm>
            <a:off x="10090" y="4581322"/>
            <a:ext cx="3461514" cy="552430"/>
          </a:xfrm>
          <a:prstGeom prst="rect">
            <a:avLst/>
          </a:prstGeom>
        </p:spPr>
        <p:txBody>
          <a:bodyPr vert="horz" wrap="none" lIns="432000" tIns="0" rIns="0" bIns="180000" anchor="b" anchorCtr="0">
            <a:noAutofit/>
          </a:bodyPr>
          <a:lstStyle>
            <a:defPPr>
              <a:defRPr lang="pt-PT"/>
            </a:defPPr>
            <a:lvl1pPr marL="0" algn="l" defTabSz="685800" rtl="0" eaLnBrk="1" latinLnBrk="0" hangingPunct="1">
              <a:defRPr lang="pl-PL" sz="600" kern="1200" dirty="0">
                <a:solidFill>
                  <a:schemeClr val="accent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450"/>
              </a:spcAft>
            </a:pPr>
            <a:r>
              <a:rPr lang="en-US" sz="600" noProof="0">
                <a:solidFill>
                  <a:schemeClr val="tx1"/>
                </a:solidFill>
                <a:latin typeface="+mn-lt"/>
                <a:cs typeface="Arial"/>
              </a:rPr>
              <a:t>This message contains information that may be privileged</a:t>
            </a:r>
            <a:br>
              <a:rPr lang="en-US" sz="600" noProof="0">
                <a:solidFill>
                  <a:schemeClr val="tx1"/>
                </a:solidFill>
                <a:latin typeface="+mn-lt"/>
                <a:cs typeface="Arial"/>
              </a:rPr>
            </a:br>
            <a:r>
              <a:rPr lang="en-US" sz="600" noProof="0">
                <a:solidFill>
                  <a:schemeClr val="tx1"/>
                </a:solidFill>
                <a:latin typeface="+mn-lt"/>
                <a:cs typeface="Arial"/>
              </a:rPr>
              <a:t>or confidential and is the property of the Odigo.</a:t>
            </a:r>
            <a:br>
              <a:rPr lang="en-US" sz="600" noProof="0">
                <a:solidFill>
                  <a:schemeClr val="tx1"/>
                </a:solidFill>
                <a:latin typeface="+mn-lt"/>
                <a:cs typeface="Arial"/>
              </a:rPr>
            </a:br>
            <a:r>
              <a:rPr lang="en-US" sz="600" noProof="0">
                <a:solidFill>
                  <a:schemeClr val="tx1"/>
                </a:solidFill>
                <a:latin typeface="+mn-lt"/>
                <a:cs typeface="Arial"/>
              </a:rPr>
              <a:t>Copyright © 2018 Odigo. All rights reserved.</a:t>
            </a:r>
          </a:p>
        </p:txBody>
      </p:sp>
      <p:sp>
        <p:nvSpPr>
          <p:cNvPr id="55" name="Title 1">
            <a:extLst>
              <a:ext uri="{FF2B5EF4-FFF2-40B4-BE49-F238E27FC236}">
                <a16:creationId xmlns:a16="http://schemas.microsoft.com/office/drawing/2014/main" id="{D898B5A3-4EF8-574E-B0E9-07D8A82056CE}"/>
              </a:ext>
            </a:extLst>
          </p:cNvPr>
          <p:cNvSpPr txBox="1">
            <a:spLocks/>
          </p:cNvSpPr>
          <p:nvPr userDrawn="1"/>
        </p:nvSpPr>
        <p:spPr>
          <a:xfrm>
            <a:off x="3473930" y="1491075"/>
            <a:ext cx="1836885" cy="486930"/>
          </a:xfrm>
          <a:prstGeom prst="rect">
            <a:avLst/>
          </a:prstGeom>
        </p:spPr>
        <p:txBody>
          <a:bodyPr lIns="432000" tIns="180000" rIns="72000" bIns="0"/>
          <a:lstStyle>
            <a:lvl1pPr marL="0" marR="0" indent="0" algn="l" defTabSz="685800" rtl="0" eaLnBrk="1" fontAlgn="auto" latinLnBrk="0" hangingPunct="1">
              <a:lnSpc>
                <a:spcPct val="90000"/>
              </a:lnSpc>
              <a:spcBef>
                <a:spcPct val="0"/>
              </a:spcBef>
              <a:spcAft>
                <a:spcPts val="0"/>
              </a:spcAft>
              <a:buClrTx/>
              <a:buSzTx/>
              <a:buFontTx/>
              <a:buNone/>
              <a:tabLst/>
              <a:defRPr kumimoji="0" lang="pl-PL" sz="1200" b="0" i="0" u="none" strike="noStrike" kern="1200" cap="none" spc="0" normalizeH="0" baseline="0" noProof="0" smtClean="0">
                <a:ln>
                  <a:noFill/>
                </a:ln>
                <a:solidFill>
                  <a:schemeClr val="accent2"/>
                </a:solidFill>
                <a:effectLst/>
                <a:uLnTx/>
                <a:uFillTx/>
                <a:latin typeface="+mj-lt"/>
                <a:ea typeface="+mj-ea"/>
                <a:cs typeface="+mj-cs"/>
              </a:defRPr>
            </a:lvl1pPr>
          </a:lstStyle>
          <a:p>
            <a:r>
              <a:rPr lang="en-US" noProof="0"/>
              <a:t>Contact us</a:t>
            </a:r>
            <a:br>
              <a:rPr lang="en-US" noProof="0"/>
            </a:br>
            <a:endParaRPr lang="en-US" noProof="0"/>
          </a:p>
        </p:txBody>
      </p:sp>
      <p:sp>
        <p:nvSpPr>
          <p:cNvPr id="58" name="Title 1">
            <a:extLst>
              <a:ext uri="{FF2B5EF4-FFF2-40B4-BE49-F238E27FC236}">
                <a16:creationId xmlns:a16="http://schemas.microsoft.com/office/drawing/2014/main" id="{ECF2F1CC-4E19-3948-A680-45A210C53F87}"/>
              </a:ext>
            </a:extLst>
          </p:cNvPr>
          <p:cNvSpPr txBox="1">
            <a:spLocks/>
          </p:cNvSpPr>
          <p:nvPr userDrawn="1"/>
        </p:nvSpPr>
        <p:spPr>
          <a:xfrm>
            <a:off x="-1299" y="1491075"/>
            <a:ext cx="3455988" cy="486930"/>
          </a:xfrm>
          <a:prstGeom prst="rect">
            <a:avLst/>
          </a:prstGeom>
        </p:spPr>
        <p:txBody>
          <a:bodyPr lIns="432000" tIns="180000" rIns="72000" bIns="0"/>
          <a:lstStyle>
            <a:lvl1pPr marL="0" marR="0" indent="0" algn="l" defTabSz="685800" rtl="0" eaLnBrk="1" fontAlgn="auto" latinLnBrk="0" hangingPunct="1">
              <a:lnSpc>
                <a:spcPct val="90000"/>
              </a:lnSpc>
              <a:spcBef>
                <a:spcPct val="0"/>
              </a:spcBef>
              <a:spcAft>
                <a:spcPts val="0"/>
              </a:spcAft>
              <a:buClrTx/>
              <a:buSzTx/>
              <a:buFontTx/>
              <a:buNone/>
              <a:tabLst/>
              <a:defRPr kumimoji="0" lang="pl-PL" sz="1200" b="0" i="0" u="none" strike="noStrike" kern="1200" cap="none" spc="0" normalizeH="0" baseline="0" noProof="0" smtClean="0">
                <a:ln>
                  <a:noFill/>
                </a:ln>
                <a:solidFill>
                  <a:schemeClr val="accent2"/>
                </a:solidFill>
                <a:effectLst/>
                <a:uLnTx/>
                <a:uFillTx/>
                <a:latin typeface="+mj-lt"/>
                <a:ea typeface="+mj-ea"/>
                <a:cs typeface="+mj-cs"/>
              </a:defRPr>
            </a:lvl1pPr>
          </a:lstStyle>
          <a:p>
            <a:r>
              <a:rPr lang="en-US" noProof="0"/>
              <a:t>About Odigo</a:t>
            </a:r>
          </a:p>
        </p:txBody>
      </p:sp>
    </p:spTree>
    <p:extLst>
      <p:ext uri="{BB962C8B-B14F-4D97-AF65-F5344CB8AC3E}">
        <p14:creationId xmlns:p14="http://schemas.microsoft.com/office/powerpoint/2010/main" val="302249777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digo-Cover_Circle-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402FA9-5415-A549-AA59-7A032EE6A06E}"/>
              </a:ext>
            </a:extLst>
          </p:cNvPr>
          <p:cNvSpPr>
            <a:spLocks noGrp="1"/>
          </p:cNvSpPr>
          <p:nvPr>
            <p:ph type="title" hasCustomPrompt="1"/>
          </p:nvPr>
        </p:nvSpPr>
        <p:spPr>
          <a:xfrm>
            <a:off x="1" y="1508558"/>
            <a:ext cx="3455988" cy="1187449"/>
          </a:xfrm>
          <a:prstGeom prst="rect">
            <a:avLst/>
          </a:prstGeom>
        </p:spPr>
        <p:txBody>
          <a:bodyPr lIns="432000" tIns="180000" rIns="72000" bIns="0"/>
          <a:lstStyle>
            <a:lvl1pPr>
              <a:defRPr lang="pl-PL" dirty="0"/>
            </a:lvl1pPr>
          </a:lstStyle>
          <a:p>
            <a:pPr lvl="0"/>
            <a:r>
              <a:rPr lang="en-US" noProof="0"/>
              <a:t>Presentation title</a:t>
            </a:r>
          </a:p>
        </p:txBody>
      </p:sp>
      <p:sp>
        <p:nvSpPr>
          <p:cNvPr id="20" name="Text Placeholder 19">
            <a:extLst>
              <a:ext uri="{FF2B5EF4-FFF2-40B4-BE49-F238E27FC236}">
                <a16:creationId xmlns:a16="http://schemas.microsoft.com/office/drawing/2014/main" id="{E9BFB6C4-08A5-BA43-A8EE-6725DD021A57}"/>
              </a:ext>
            </a:extLst>
          </p:cNvPr>
          <p:cNvSpPr>
            <a:spLocks noGrp="1"/>
          </p:cNvSpPr>
          <p:nvPr>
            <p:ph type="body" sz="quarter" idx="10" hasCustomPrompt="1"/>
          </p:nvPr>
        </p:nvSpPr>
        <p:spPr>
          <a:xfrm>
            <a:off x="1" y="2696007"/>
            <a:ext cx="3455988" cy="455087"/>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sp>
        <p:nvSpPr>
          <p:cNvPr id="7" name="Picture Placeholder 6">
            <a:extLst>
              <a:ext uri="{FF2B5EF4-FFF2-40B4-BE49-F238E27FC236}">
                <a16:creationId xmlns:a16="http://schemas.microsoft.com/office/drawing/2014/main" id="{487AECE6-E896-2545-A62F-962C7544C58E}"/>
              </a:ext>
            </a:extLst>
          </p:cNvPr>
          <p:cNvSpPr>
            <a:spLocks noGrp="1"/>
          </p:cNvSpPr>
          <p:nvPr>
            <p:ph type="pic" sz="quarter" idx="11"/>
          </p:nvPr>
        </p:nvSpPr>
        <p:spPr>
          <a:xfrm>
            <a:off x="3395133" y="1016424"/>
            <a:ext cx="5372217" cy="5254433"/>
          </a:xfrm>
          <a:prstGeom prst="ellipse">
            <a:avLst/>
          </a:prstGeom>
          <a:solidFill>
            <a:schemeClr val="tx1"/>
          </a:solidFill>
        </p:spPr>
        <p:txBody>
          <a:bodyPr/>
          <a:lstStyle>
            <a:lvl1pPr>
              <a:defRPr sz="1000">
                <a:solidFill>
                  <a:schemeClr val="accent2"/>
                </a:solidFill>
              </a:defRPr>
            </a:lvl1pPr>
          </a:lstStyle>
          <a:p>
            <a:endParaRPr lang="en-US" noProof="0"/>
          </a:p>
        </p:txBody>
      </p:sp>
      <p:sp>
        <p:nvSpPr>
          <p:cNvPr id="4" name="Freeform 1">
            <a:extLst>
              <a:ext uri="{FF2B5EF4-FFF2-40B4-BE49-F238E27FC236}">
                <a16:creationId xmlns:a16="http://schemas.microsoft.com/office/drawing/2014/main" id="{9C35C5D7-0A43-4242-9279-D23DF607C008}"/>
              </a:ext>
            </a:extLst>
          </p:cNvPr>
          <p:cNvSpPr>
            <a:spLocks noChangeArrowheads="1"/>
          </p:cNvSpPr>
          <p:nvPr userDrawn="1"/>
        </p:nvSpPr>
        <p:spPr bwMode="auto">
          <a:xfrm>
            <a:off x="6799803" y="0"/>
            <a:ext cx="2747583" cy="2612551"/>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nvGrpSpPr>
          <p:cNvPr id="16" name="Group 15">
            <a:extLst>
              <a:ext uri="{FF2B5EF4-FFF2-40B4-BE49-F238E27FC236}">
                <a16:creationId xmlns:a16="http://schemas.microsoft.com/office/drawing/2014/main" id="{3D48575B-247C-2E47-8104-C62B28DCA166}"/>
              </a:ext>
            </a:extLst>
          </p:cNvPr>
          <p:cNvGrpSpPr/>
          <p:nvPr userDrawn="1"/>
        </p:nvGrpSpPr>
        <p:grpSpPr>
          <a:xfrm>
            <a:off x="431799" y="416351"/>
            <a:ext cx="1336166" cy="539307"/>
            <a:chOff x="2286000" y="2193925"/>
            <a:chExt cx="6835775" cy="2759075"/>
          </a:xfrm>
          <a:solidFill>
            <a:schemeClr val="tx1"/>
          </a:solidFill>
        </p:grpSpPr>
        <p:sp>
          <p:nvSpPr>
            <p:cNvPr id="17" name="Freeform 1">
              <a:extLst>
                <a:ext uri="{FF2B5EF4-FFF2-40B4-BE49-F238E27FC236}">
                  <a16:creationId xmlns:a16="http://schemas.microsoft.com/office/drawing/2014/main" id="{8282938B-AFE2-FC4C-96F0-361C3BB71CCD}"/>
                </a:ext>
              </a:extLst>
            </p:cNvPr>
            <p:cNvSpPr>
              <a:spLocks noChangeArrowheads="1"/>
            </p:cNvSpPr>
            <p:nvPr/>
          </p:nvSpPr>
          <p:spPr bwMode="auto">
            <a:xfrm>
              <a:off x="8378825" y="2471738"/>
              <a:ext cx="742950" cy="706437"/>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8" name="Freeform 2">
              <a:extLst>
                <a:ext uri="{FF2B5EF4-FFF2-40B4-BE49-F238E27FC236}">
                  <a16:creationId xmlns:a16="http://schemas.microsoft.com/office/drawing/2014/main" id="{91C8DC84-ACC4-3C4C-AC04-32EF1E7F378F}"/>
                </a:ext>
              </a:extLst>
            </p:cNvPr>
            <p:cNvSpPr>
              <a:spLocks noChangeArrowheads="1"/>
            </p:cNvSpPr>
            <p:nvPr/>
          </p:nvSpPr>
          <p:spPr bwMode="auto">
            <a:xfrm>
              <a:off x="5299075" y="2781300"/>
              <a:ext cx="333375" cy="1349375"/>
            </a:xfrm>
            <a:custGeom>
              <a:avLst/>
              <a:gdLst>
                <a:gd name="T0" fmla="*/ 0 w 927"/>
                <a:gd name="T1" fmla="*/ 3749 h 3750"/>
                <a:gd name="T2" fmla="*/ 926 w 927"/>
                <a:gd name="T3" fmla="*/ 3749 h 3750"/>
                <a:gd name="T4" fmla="*/ 926 w 927"/>
                <a:gd name="T5" fmla="*/ 0 h 3750"/>
                <a:gd name="T6" fmla="*/ 0 w 927"/>
                <a:gd name="T7" fmla="*/ 0 h 3750"/>
                <a:gd name="T8" fmla="*/ 0 w 927"/>
                <a:gd name="T9" fmla="*/ 3749 h 3750"/>
              </a:gdLst>
              <a:ahLst/>
              <a:cxnLst>
                <a:cxn ang="0">
                  <a:pos x="T0" y="T1"/>
                </a:cxn>
                <a:cxn ang="0">
                  <a:pos x="T2" y="T3"/>
                </a:cxn>
                <a:cxn ang="0">
                  <a:pos x="T4" y="T5"/>
                </a:cxn>
                <a:cxn ang="0">
                  <a:pos x="T6" y="T7"/>
                </a:cxn>
                <a:cxn ang="0">
                  <a:pos x="T8" y="T9"/>
                </a:cxn>
              </a:cxnLst>
              <a:rect l="0" t="0" r="r" b="b"/>
              <a:pathLst>
                <a:path w="927" h="3750">
                  <a:moveTo>
                    <a:pt x="0" y="3749"/>
                  </a:moveTo>
                  <a:lnTo>
                    <a:pt x="926" y="3749"/>
                  </a:lnTo>
                  <a:lnTo>
                    <a:pt x="926" y="0"/>
                  </a:lnTo>
                  <a:lnTo>
                    <a:pt x="0" y="0"/>
                  </a:lnTo>
                  <a:lnTo>
                    <a:pt x="0" y="374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9" name="Freeform 3">
              <a:extLst>
                <a:ext uri="{FF2B5EF4-FFF2-40B4-BE49-F238E27FC236}">
                  <a16:creationId xmlns:a16="http://schemas.microsoft.com/office/drawing/2014/main" id="{B167D7DA-F8BF-6741-89E7-A83D054E93D2}"/>
                </a:ext>
              </a:extLst>
            </p:cNvPr>
            <p:cNvSpPr>
              <a:spLocks noChangeArrowheads="1"/>
            </p:cNvSpPr>
            <p:nvPr/>
          </p:nvSpPr>
          <p:spPr bwMode="auto">
            <a:xfrm>
              <a:off x="3781425" y="2193925"/>
              <a:ext cx="1206500" cy="1973263"/>
            </a:xfrm>
            <a:custGeom>
              <a:avLst/>
              <a:gdLst>
                <a:gd name="T0" fmla="*/ 2426 w 3353"/>
                <a:gd name="T1" fmla="*/ 1631 h 5480"/>
                <a:gd name="T2" fmla="*/ 2426 w 3353"/>
                <a:gd name="T3" fmla="*/ 1631 h 5480"/>
                <a:gd name="T4" fmla="*/ 2459 w 3353"/>
                <a:gd name="T5" fmla="*/ 1940 h 5480"/>
                <a:gd name="T6" fmla="*/ 1290 w 3353"/>
                <a:gd name="T7" fmla="*/ 1532 h 5480"/>
                <a:gd name="T8" fmla="*/ 0 w 3353"/>
                <a:gd name="T9" fmla="*/ 1995 h 5480"/>
                <a:gd name="T10" fmla="*/ 463 w 3353"/>
                <a:gd name="T11" fmla="*/ 2833 h 5480"/>
                <a:gd name="T12" fmla="*/ 1323 w 3353"/>
                <a:gd name="T13" fmla="*/ 2403 h 5480"/>
                <a:gd name="T14" fmla="*/ 2393 w 3353"/>
                <a:gd name="T15" fmla="*/ 3506 h 5480"/>
                <a:gd name="T16" fmla="*/ 1323 w 3353"/>
                <a:gd name="T17" fmla="*/ 4619 h 5480"/>
                <a:gd name="T18" fmla="*/ 485 w 3353"/>
                <a:gd name="T19" fmla="*/ 4178 h 5480"/>
                <a:gd name="T20" fmla="*/ 0 w 3353"/>
                <a:gd name="T21" fmla="*/ 5049 h 5480"/>
                <a:gd name="T22" fmla="*/ 1290 w 3353"/>
                <a:gd name="T23" fmla="*/ 5479 h 5480"/>
                <a:gd name="T24" fmla="*/ 2459 w 3353"/>
                <a:gd name="T25" fmla="*/ 5071 h 5480"/>
                <a:gd name="T26" fmla="*/ 2492 w 3353"/>
                <a:gd name="T27" fmla="*/ 5380 h 5480"/>
                <a:gd name="T28" fmla="*/ 3352 w 3353"/>
                <a:gd name="T29" fmla="*/ 5380 h 5480"/>
                <a:gd name="T30" fmla="*/ 3352 w 3353"/>
                <a:gd name="T31" fmla="*/ 0 h 5480"/>
                <a:gd name="T32" fmla="*/ 2426 w 3353"/>
                <a:gd name="T33" fmla="*/ 0 h 5480"/>
                <a:gd name="T34" fmla="*/ 2426 w 3353"/>
                <a:gd name="T35" fmla="*/ 1631 h 5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53" h="5480">
                  <a:moveTo>
                    <a:pt x="2426" y="1631"/>
                  </a:moveTo>
                  <a:lnTo>
                    <a:pt x="2426" y="1631"/>
                  </a:lnTo>
                  <a:cubicBezTo>
                    <a:pt x="2426" y="1819"/>
                    <a:pt x="2459" y="1940"/>
                    <a:pt x="2459" y="1940"/>
                  </a:cubicBezTo>
                  <a:cubicBezTo>
                    <a:pt x="2150" y="1720"/>
                    <a:pt x="1786" y="1532"/>
                    <a:pt x="1290" y="1532"/>
                  </a:cubicBezTo>
                  <a:cubicBezTo>
                    <a:pt x="794" y="1532"/>
                    <a:pt x="364" y="1720"/>
                    <a:pt x="0" y="1995"/>
                  </a:cubicBezTo>
                  <a:cubicBezTo>
                    <a:pt x="210" y="2249"/>
                    <a:pt x="364" y="2524"/>
                    <a:pt x="463" y="2833"/>
                  </a:cubicBezTo>
                  <a:cubicBezTo>
                    <a:pt x="673" y="2557"/>
                    <a:pt x="948" y="2403"/>
                    <a:pt x="1323" y="2403"/>
                  </a:cubicBezTo>
                  <a:cubicBezTo>
                    <a:pt x="1963" y="2403"/>
                    <a:pt x="2393" y="2833"/>
                    <a:pt x="2393" y="3506"/>
                  </a:cubicBezTo>
                  <a:cubicBezTo>
                    <a:pt x="2393" y="4211"/>
                    <a:pt x="1941" y="4619"/>
                    <a:pt x="1323" y="4619"/>
                  </a:cubicBezTo>
                  <a:cubicBezTo>
                    <a:pt x="982" y="4619"/>
                    <a:pt x="673" y="4465"/>
                    <a:pt x="485" y="4178"/>
                  </a:cubicBezTo>
                  <a:cubicBezTo>
                    <a:pt x="397" y="4520"/>
                    <a:pt x="210" y="4795"/>
                    <a:pt x="0" y="5049"/>
                  </a:cubicBezTo>
                  <a:cubicBezTo>
                    <a:pt x="364" y="5325"/>
                    <a:pt x="794" y="5479"/>
                    <a:pt x="1290" y="5479"/>
                  </a:cubicBezTo>
                  <a:cubicBezTo>
                    <a:pt x="1753" y="5479"/>
                    <a:pt x="2183" y="5292"/>
                    <a:pt x="2459" y="5071"/>
                  </a:cubicBezTo>
                  <a:cubicBezTo>
                    <a:pt x="2492" y="5380"/>
                    <a:pt x="2492" y="5380"/>
                    <a:pt x="2492" y="5380"/>
                  </a:cubicBezTo>
                  <a:cubicBezTo>
                    <a:pt x="3352" y="5380"/>
                    <a:pt x="3352" y="5380"/>
                    <a:pt x="3352" y="5380"/>
                  </a:cubicBezTo>
                  <a:cubicBezTo>
                    <a:pt x="3352" y="0"/>
                    <a:pt x="3352" y="0"/>
                    <a:pt x="3352" y="0"/>
                  </a:cubicBezTo>
                  <a:cubicBezTo>
                    <a:pt x="2426" y="0"/>
                    <a:pt x="2426" y="0"/>
                    <a:pt x="2426" y="0"/>
                  </a:cubicBezTo>
                  <a:lnTo>
                    <a:pt x="2426" y="163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1" name="Freeform 4">
              <a:extLst>
                <a:ext uri="{FF2B5EF4-FFF2-40B4-BE49-F238E27FC236}">
                  <a16:creationId xmlns:a16="http://schemas.microsoft.com/office/drawing/2014/main" id="{13CF8FAB-1FB0-3145-8422-1988AF781515}"/>
                </a:ext>
              </a:extLst>
            </p:cNvPr>
            <p:cNvSpPr>
              <a:spLocks noChangeArrowheads="1"/>
            </p:cNvSpPr>
            <p:nvPr/>
          </p:nvSpPr>
          <p:spPr bwMode="auto">
            <a:xfrm>
              <a:off x="2286000" y="2746375"/>
              <a:ext cx="1441450" cy="1420813"/>
            </a:xfrm>
            <a:custGeom>
              <a:avLst/>
              <a:gdLst>
                <a:gd name="T0" fmla="*/ 1995 w 4003"/>
                <a:gd name="T1" fmla="*/ 0 h 3948"/>
                <a:gd name="T2" fmla="*/ 1995 w 4003"/>
                <a:gd name="T3" fmla="*/ 0 h 3948"/>
                <a:gd name="T4" fmla="*/ 0 w 4003"/>
                <a:gd name="T5" fmla="*/ 1974 h 3948"/>
                <a:gd name="T6" fmla="*/ 1995 w 4003"/>
                <a:gd name="T7" fmla="*/ 3947 h 3948"/>
                <a:gd name="T8" fmla="*/ 4002 w 4003"/>
                <a:gd name="T9" fmla="*/ 1974 h 3948"/>
                <a:gd name="T10" fmla="*/ 1995 w 4003"/>
                <a:gd name="T11" fmla="*/ 0 h 3948"/>
                <a:gd name="T12" fmla="*/ 1995 w 4003"/>
                <a:gd name="T13" fmla="*/ 3087 h 3948"/>
                <a:gd name="T14" fmla="*/ 1995 w 4003"/>
                <a:gd name="T15" fmla="*/ 3087 h 3948"/>
                <a:gd name="T16" fmla="*/ 926 w 4003"/>
                <a:gd name="T17" fmla="*/ 1974 h 3948"/>
                <a:gd name="T18" fmla="*/ 1995 w 4003"/>
                <a:gd name="T19" fmla="*/ 871 h 3948"/>
                <a:gd name="T20" fmla="*/ 3076 w 4003"/>
                <a:gd name="T21" fmla="*/ 1974 h 3948"/>
                <a:gd name="T22" fmla="*/ 1995 w 4003"/>
                <a:gd name="T23" fmla="*/ 3087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3" h="3948">
                  <a:moveTo>
                    <a:pt x="1995" y="0"/>
                  </a:moveTo>
                  <a:lnTo>
                    <a:pt x="1995" y="0"/>
                  </a:lnTo>
                  <a:cubicBezTo>
                    <a:pt x="860" y="0"/>
                    <a:pt x="0" y="893"/>
                    <a:pt x="0" y="1974"/>
                  </a:cubicBezTo>
                  <a:cubicBezTo>
                    <a:pt x="0" y="3109"/>
                    <a:pt x="860" y="3947"/>
                    <a:pt x="1995" y="3947"/>
                  </a:cubicBezTo>
                  <a:cubicBezTo>
                    <a:pt x="3142" y="3947"/>
                    <a:pt x="4002" y="3109"/>
                    <a:pt x="4002" y="1974"/>
                  </a:cubicBezTo>
                  <a:cubicBezTo>
                    <a:pt x="4002" y="893"/>
                    <a:pt x="3142" y="0"/>
                    <a:pt x="1995" y="0"/>
                  </a:cubicBezTo>
                  <a:close/>
                  <a:moveTo>
                    <a:pt x="1995" y="3087"/>
                  </a:moveTo>
                  <a:lnTo>
                    <a:pt x="1995" y="3087"/>
                  </a:lnTo>
                  <a:cubicBezTo>
                    <a:pt x="1389" y="3087"/>
                    <a:pt x="926" y="2624"/>
                    <a:pt x="926" y="1974"/>
                  </a:cubicBezTo>
                  <a:cubicBezTo>
                    <a:pt x="926" y="1356"/>
                    <a:pt x="1356" y="871"/>
                    <a:pt x="1995" y="871"/>
                  </a:cubicBezTo>
                  <a:cubicBezTo>
                    <a:pt x="2646" y="871"/>
                    <a:pt x="3076" y="1356"/>
                    <a:pt x="3076" y="1974"/>
                  </a:cubicBezTo>
                  <a:cubicBezTo>
                    <a:pt x="3076" y="2624"/>
                    <a:pt x="2613" y="3087"/>
                    <a:pt x="1995" y="308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2" name="Freeform 5">
              <a:extLst>
                <a:ext uri="{FF2B5EF4-FFF2-40B4-BE49-F238E27FC236}">
                  <a16:creationId xmlns:a16="http://schemas.microsoft.com/office/drawing/2014/main" id="{17AD89BA-251B-DD41-A1DD-7937D0CD4AEF}"/>
                </a:ext>
              </a:extLst>
            </p:cNvPr>
            <p:cNvSpPr>
              <a:spLocks noChangeArrowheads="1"/>
            </p:cNvSpPr>
            <p:nvPr/>
          </p:nvSpPr>
          <p:spPr bwMode="auto">
            <a:xfrm>
              <a:off x="5862638" y="2627313"/>
              <a:ext cx="1420812" cy="2325687"/>
            </a:xfrm>
            <a:custGeom>
              <a:avLst/>
              <a:gdLst>
                <a:gd name="T0" fmla="*/ 3914 w 3948"/>
                <a:gd name="T1" fmla="*/ 2216 h 6462"/>
                <a:gd name="T2" fmla="*/ 3914 w 3948"/>
                <a:gd name="T3" fmla="*/ 2216 h 6462"/>
                <a:gd name="T4" fmla="*/ 3517 w 3948"/>
                <a:gd name="T5" fmla="*/ 1048 h 6462"/>
                <a:gd name="T6" fmla="*/ 3947 w 3948"/>
                <a:gd name="T7" fmla="*/ 519 h 6462"/>
                <a:gd name="T8" fmla="*/ 3263 w 3948"/>
                <a:gd name="T9" fmla="*/ 0 h 6462"/>
                <a:gd name="T10" fmla="*/ 2800 w 3948"/>
                <a:gd name="T11" fmla="*/ 519 h 6462"/>
                <a:gd name="T12" fmla="*/ 1940 w 3948"/>
                <a:gd name="T13" fmla="*/ 331 h 6462"/>
                <a:gd name="T14" fmla="*/ 0 w 3948"/>
                <a:gd name="T15" fmla="*/ 2305 h 6462"/>
                <a:gd name="T16" fmla="*/ 1510 w 3948"/>
                <a:gd name="T17" fmla="*/ 4057 h 6462"/>
                <a:gd name="T18" fmla="*/ 2954 w 3948"/>
                <a:gd name="T19" fmla="*/ 4895 h 6462"/>
                <a:gd name="T20" fmla="*/ 2061 w 3948"/>
                <a:gd name="T21" fmla="*/ 5568 h 6462"/>
                <a:gd name="T22" fmla="*/ 1080 w 3948"/>
                <a:gd name="T23" fmla="*/ 4829 h 6462"/>
                <a:gd name="T24" fmla="*/ 1080 w 3948"/>
                <a:gd name="T25" fmla="*/ 4741 h 6462"/>
                <a:gd name="T26" fmla="*/ 132 w 3948"/>
                <a:gd name="T27" fmla="*/ 4741 h 6462"/>
                <a:gd name="T28" fmla="*/ 132 w 3948"/>
                <a:gd name="T29" fmla="*/ 4829 h 6462"/>
                <a:gd name="T30" fmla="*/ 2039 w 3948"/>
                <a:gd name="T31" fmla="*/ 6461 h 6462"/>
                <a:gd name="T32" fmla="*/ 3914 w 3948"/>
                <a:gd name="T33" fmla="*/ 4951 h 6462"/>
                <a:gd name="T34" fmla="*/ 3021 w 3948"/>
                <a:gd name="T35" fmla="*/ 3694 h 6462"/>
                <a:gd name="T36" fmla="*/ 3914 w 3948"/>
                <a:gd name="T37" fmla="*/ 2216 h 6462"/>
                <a:gd name="T38" fmla="*/ 1940 w 3948"/>
                <a:gd name="T39" fmla="*/ 3286 h 6462"/>
                <a:gd name="T40" fmla="*/ 1940 w 3948"/>
                <a:gd name="T41" fmla="*/ 3286 h 6462"/>
                <a:gd name="T42" fmla="*/ 959 w 3948"/>
                <a:gd name="T43" fmla="*/ 2238 h 6462"/>
                <a:gd name="T44" fmla="*/ 1940 w 3948"/>
                <a:gd name="T45" fmla="*/ 1202 h 6462"/>
                <a:gd name="T46" fmla="*/ 2954 w 3948"/>
                <a:gd name="T47" fmla="*/ 2238 h 6462"/>
                <a:gd name="T48" fmla="*/ 1940 w 3948"/>
                <a:gd name="T49" fmla="*/ 3286 h 6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8" h="6462">
                  <a:moveTo>
                    <a:pt x="3914" y="2216"/>
                  </a:moveTo>
                  <a:lnTo>
                    <a:pt x="3914" y="2216"/>
                  </a:lnTo>
                  <a:cubicBezTo>
                    <a:pt x="3914" y="1786"/>
                    <a:pt x="3759" y="1356"/>
                    <a:pt x="3517" y="1048"/>
                  </a:cubicBezTo>
                  <a:cubicBezTo>
                    <a:pt x="3947" y="519"/>
                    <a:pt x="3947" y="519"/>
                    <a:pt x="3947" y="519"/>
                  </a:cubicBezTo>
                  <a:cubicBezTo>
                    <a:pt x="3263" y="0"/>
                    <a:pt x="3263" y="0"/>
                    <a:pt x="3263" y="0"/>
                  </a:cubicBezTo>
                  <a:cubicBezTo>
                    <a:pt x="2800" y="519"/>
                    <a:pt x="2800" y="519"/>
                    <a:pt x="2800" y="519"/>
                  </a:cubicBezTo>
                  <a:cubicBezTo>
                    <a:pt x="2558" y="397"/>
                    <a:pt x="2282" y="331"/>
                    <a:pt x="1940" y="331"/>
                  </a:cubicBezTo>
                  <a:cubicBezTo>
                    <a:pt x="805" y="331"/>
                    <a:pt x="0" y="1202"/>
                    <a:pt x="0" y="2305"/>
                  </a:cubicBezTo>
                  <a:cubicBezTo>
                    <a:pt x="0" y="3286"/>
                    <a:pt x="595" y="3903"/>
                    <a:pt x="1510" y="4057"/>
                  </a:cubicBezTo>
                  <a:cubicBezTo>
                    <a:pt x="2128" y="4179"/>
                    <a:pt x="2954" y="4157"/>
                    <a:pt x="2954" y="4895"/>
                  </a:cubicBezTo>
                  <a:cubicBezTo>
                    <a:pt x="2954" y="5292"/>
                    <a:pt x="2679" y="5568"/>
                    <a:pt x="2061" y="5568"/>
                  </a:cubicBezTo>
                  <a:cubicBezTo>
                    <a:pt x="1422" y="5568"/>
                    <a:pt x="1080" y="5193"/>
                    <a:pt x="1080" y="4829"/>
                  </a:cubicBezTo>
                  <a:cubicBezTo>
                    <a:pt x="1080" y="4796"/>
                    <a:pt x="1080" y="4763"/>
                    <a:pt x="1080" y="4741"/>
                  </a:cubicBezTo>
                  <a:cubicBezTo>
                    <a:pt x="132" y="4741"/>
                    <a:pt x="132" y="4741"/>
                    <a:pt x="132" y="4741"/>
                  </a:cubicBezTo>
                  <a:cubicBezTo>
                    <a:pt x="132" y="4763"/>
                    <a:pt x="132" y="4796"/>
                    <a:pt x="132" y="4829"/>
                  </a:cubicBezTo>
                  <a:cubicBezTo>
                    <a:pt x="132" y="5689"/>
                    <a:pt x="871" y="6461"/>
                    <a:pt x="2039" y="6461"/>
                  </a:cubicBezTo>
                  <a:cubicBezTo>
                    <a:pt x="3329" y="6461"/>
                    <a:pt x="3914" y="5689"/>
                    <a:pt x="3914" y="4951"/>
                  </a:cubicBezTo>
                  <a:cubicBezTo>
                    <a:pt x="3914" y="4245"/>
                    <a:pt x="3539" y="3870"/>
                    <a:pt x="3021" y="3694"/>
                  </a:cubicBezTo>
                  <a:cubicBezTo>
                    <a:pt x="3539" y="3440"/>
                    <a:pt x="3914" y="2889"/>
                    <a:pt x="3914" y="2216"/>
                  </a:cubicBezTo>
                  <a:close/>
                  <a:moveTo>
                    <a:pt x="1940" y="3286"/>
                  </a:moveTo>
                  <a:lnTo>
                    <a:pt x="1940" y="3286"/>
                  </a:lnTo>
                  <a:cubicBezTo>
                    <a:pt x="1356" y="3286"/>
                    <a:pt x="959" y="2889"/>
                    <a:pt x="959" y="2238"/>
                  </a:cubicBezTo>
                  <a:cubicBezTo>
                    <a:pt x="959" y="1632"/>
                    <a:pt x="1334" y="1202"/>
                    <a:pt x="1940" y="1202"/>
                  </a:cubicBezTo>
                  <a:cubicBezTo>
                    <a:pt x="2591" y="1202"/>
                    <a:pt x="2954" y="1632"/>
                    <a:pt x="2954" y="2238"/>
                  </a:cubicBezTo>
                  <a:cubicBezTo>
                    <a:pt x="2954" y="2889"/>
                    <a:pt x="2624" y="3286"/>
                    <a:pt x="1940" y="32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3" name="Freeform 6">
              <a:extLst>
                <a:ext uri="{FF2B5EF4-FFF2-40B4-BE49-F238E27FC236}">
                  <a16:creationId xmlns:a16="http://schemas.microsoft.com/office/drawing/2014/main" id="{DC084B0C-F963-5C48-822D-1B8CE308E8BC}"/>
                </a:ext>
              </a:extLst>
            </p:cNvPr>
            <p:cNvSpPr>
              <a:spLocks noChangeArrowheads="1"/>
            </p:cNvSpPr>
            <p:nvPr/>
          </p:nvSpPr>
          <p:spPr bwMode="auto">
            <a:xfrm>
              <a:off x="5299075" y="2193925"/>
              <a:ext cx="333375" cy="322263"/>
            </a:xfrm>
            <a:custGeom>
              <a:avLst/>
              <a:gdLst>
                <a:gd name="T0" fmla="*/ 0 w 927"/>
                <a:gd name="T1" fmla="*/ 893 h 894"/>
                <a:gd name="T2" fmla="*/ 926 w 927"/>
                <a:gd name="T3" fmla="*/ 893 h 894"/>
                <a:gd name="T4" fmla="*/ 926 w 927"/>
                <a:gd name="T5" fmla="*/ 0 h 894"/>
                <a:gd name="T6" fmla="*/ 0 w 927"/>
                <a:gd name="T7" fmla="*/ 0 h 894"/>
                <a:gd name="T8" fmla="*/ 0 w 927"/>
                <a:gd name="T9" fmla="*/ 893 h 894"/>
              </a:gdLst>
              <a:ahLst/>
              <a:cxnLst>
                <a:cxn ang="0">
                  <a:pos x="T0" y="T1"/>
                </a:cxn>
                <a:cxn ang="0">
                  <a:pos x="T2" y="T3"/>
                </a:cxn>
                <a:cxn ang="0">
                  <a:pos x="T4" y="T5"/>
                </a:cxn>
                <a:cxn ang="0">
                  <a:pos x="T6" y="T7"/>
                </a:cxn>
                <a:cxn ang="0">
                  <a:pos x="T8" y="T9"/>
                </a:cxn>
              </a:cxnLst>
              <a:rect l="0" t="0" r="r" b="b"/>
              <a:pathLst>
                <a:path w="927" h="894">
                  <a:moveTo>
                    <a:pt x="0" y="893"/>
                  </a:moveTo>
                  <a:lnTo>
                    <a:pt x="926" y="893"/>
                  </a:lnTo>
                  <a:lnTo>
                    <a:pt x="926" y="0"/>
                  </a:lnTo>
                  <a:lnTo>
                    <a:pt x="0" y="0"/>
                  </a:lnTo>
                  <a:lnTo>
                    <a:pt x="0" y="8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4" name="Freeform 7">
              <a:extLst>
                <a:ext uri="{FF2B5EF4-FFF2-40B4-BE49-F238E27FC236}">
                  <a16:creationId xmlns:a16="http://schemas.microsoft.com/office/drawing/2014/main" id="{B7CD481C-C6B8-1A47-B32D-E42D1E2D490F}"/>
                </a:ext>
              </a:extLst>
            </p:cNvPr>
            <p:cNvSpPr>
              <a:spLocks noChangeArrowheads="1"/>
            </p:cNvSpPr>
            <p:nvPr/>
          </p:nvSpPr>
          <p:spPr bwMode="auto">
            <a:xfrm>
              <a:off x="7458075" y="2746375"/>
              <a:ext cx="1452563" cy="1420813"/>
            </a:xfrm>
            <a:custGeom>
              <a:avLst/>
              <a:gdLst>
                <a:gd name="T0" fmla="*/ 3076 w 4036"/>
                <a:gd name="T1" fmla="*/ 1764 h 3948"/>
                <a:gd name="T2" fmla="*/ 3076 w 4036"/>
                <a:gd name="T3" fmla="*/ 1764 h 3948"/>
                <a:gd name="T4" fmla="*/ 3076 w 4036"/>
                <a:gd name="T5" fmla="*/ 1974 h 3948"/>
                <a:gd name="T6" fmla="*/ 2007 w 4036"/>
                <a:gd name="T7" fmla="*/ 3087 h 3948"/>
                <a:gd name="T8" fmla="*/ 959 w 4036"/>
                <a:gd name="T9" fmla="*/ 1974 h 3948"/>
                <a:gd name="T10" fmla="*/ 2007 w 4036"/>
                <a:gd name="T11" fmla="*/ 871 h 3948"/>
                <a:gd name="T12" fmla="*/ 2062 w 4036"/>
                <a:gd name="T13" fmla="*/ 871 h 3948"/>
                <a:gd name="T14" fmla="*/ 2062 w 4036"/>
                <a:gd name="T15" fmla="*/ 0 h 3948"/>
                <a:gd name="T16" fmla="*/ 2007 w 4036"/>
                <a:gd name="T17" fmla="*/ 0 h 3948"/>
                <a:gd name="T18" fmla="*/ 0 w 4036"/>
                <a:gd name="T19" fmla="*/ 1974 h 3948"/>
                <a:gd name="T20" fmla="*/ 2007 w 4036"/>
                <a:gd name="T21" fmla="*/ 3947 h 3948"/>
                <a:gd name="T22" fmla="*/ 4035 w 4036"/>
                <a:gd name="T23" fmla="*/ 1974 h 3948"/>
                <a:gd name="T24" fmla="*/ 4002 w 4036"/>
                <a:gd name="T25" fmla="*/ 1764 h 3948"/>
                <a:gd name="T26" fmla="*/ 3076 w 4036"/>
                <a:gd name="T27" fmla="*/ 1764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6" h="3948">
                  <a:moveTo>
                    <a:pt x="3076" y="1764"/>
                  </a:moveTo>
                  <a:lnTo>
                    <a:pt x="3076" y="1764"/>
                  </a:lnTo>
                  <a:cubicBezTo>
                    <a:pt x="3076" y="1852"/>
                    <a:pt x="3076" y="1907"/>
                    <a:pt x="3076" y="1974"/>
                  </a:cubicBezTo>
                  <a:cubicBezTo>
                    <a:pt x="3076" y="2624"/>
                    <a:pt x="2624" y="3087"/>
                    <a:pt x="2007" y="3087"/>
                  </a:cubicBezTo>
                  <a:cubicBezTo>
                    <a:pt x="1422" y="3087"/>
                    <a:pt x="959" y="2624"/>
                    <a:pt x="959" y="1974"/>
                  </a:cubicBezTo>
                  <a:cubicBezTo>
                    <a:pt x="959" y="1356"/>
                    <a:pt x="1389" y="871"/>
                    <a:pt x="2007" y="871"/>
                  </a:cubicBezTo>
                  <a:cubicBezTo>
                    <a:pt x="2040" y="871"/>
                    <a:pt x="2040" y="871"/>
                    <a:pt x="2062" y="871"/>
                  </a:cubicBezTo>
                  <a:cubicBezTo>
                    <a:pt x="2062" y="0"/>
                    <a:pt x="2062" y="0"/>
                    <a:pt x="2062" y="0"/>
                  </a:cubicBezTo>
                  <a:cubicBezTo>
                    <a:pt x="2040" y="0"/>
                    <a:pt x="2040" y="0"/>
                    <a:pt x="2007" y="0"/>
                  </a:cubicBezTo>
                  <a:cubicBezTo>
                    <a:pt x="871" y="0"/>
                    <a:pt x="0" y="893"/>
                    <a:pt x="0" y="1974"/>
                  </a:cubicBezTo>
                  <a:cubicBezTo>
                    <a:pt x="0" y="3109"/>
                    <a:pt x="871" y="3947"/>
                    <a:pt x="2007" y="3947"/>
                  </a:cubicBezTo>
                  <a:cubicBezTo>
                    <a:pt x="3175" y="3947"/>
                    <a:pt x="4035" y="3109"/>
                    <a:pt x="4035" y="1974"/>
                  </a:cubicBezTo>
                  <a:cubicBezTo>
                    <a:pt x="4035" y="1907"/>
                    <a:pt x="4035" y="1852"/>
                    <a:pt x="4002" y="1764"/>
                  </a:cubicBezTo>
                  <a:lnTo>
                    <a:pt x="3076" y="17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grpSp>
        <p:nvGrpSpPr>
          <p:cNvPr id="63" name="Group 62">
            <a:extLst>
              <a:ext uri="{FF2B5EF4-FFF2-40B4-BE49-F238E27FC236}">
                <a16:creationId xmlns:a16="http://schemas.microsoft.com/office/drawing/2014/main" id="{249617DF-2CE6-3243-B1B9-08FEB94BEDE9}"/>
              </a:ext>
            </a:extLst>
          </p:cNvPr>
          <p:cNvGrpSpPr/>
          <p:nvPr userDrawn="1"/>
        </p:nvGrpSpPr>
        <p:grpSpPr>
          <a:xfrm>
            <a:off x="434640" y="4447762"/>
            <a:ext cx="1692983" cy="279387"/>
            <a:chOff x="1828800" y="3017838"/>
            <a:chExt cx="6291263" cy="1038225"/>
          </a:xfrm>
          <a:solidFill>
            <a:schemeClr val="tx1"/>
          </a:solidFill>
        </p:grpSpPr>
        <p:sp>
          <p:nvSpPr>
            <p:cNvPr id="64" name="Freeform 1">
              <a:extLst>
                <a:ext uri="{FF2B5EF4-FFF2-40B4-BE49-F238E27FC236}">
                  <a16:creationId xmlns:a16="http://schemas.microsoft.com/office/drawing/2014/main" id="{08526F5E-52C7-A24D-9B3C-7B37569DB457}"/>
                </a:ext>
              </a:extLst>
            </p:cNvPr>
            <p:cNvSpPr>
              <a:spLocks noChangeArrowheads="1"/>
            </p:cNvSpPr>
            <p:nvPr userDrawn="1"/>
          </p:nvSpPr>
          <p:spPr bwMode="auto">
            <a:xfrm>
              <a:off x="1831975" y="3017838"/>
              <a:ext cx="388938" cy="438150"/>
            </a:xfrm>
            <a:custGeom>
              <a:avLst/>
              <a:gdLst>
                <a:gd name="T0" fmla="*/ 1081 w 1082"/>
                <a:gd name="T1" fmla="*/ 1042 h 1215"/>
                <a:gd name="T2" fmla="*/ 1081 w 1082"/>
                <a:gd name="T3" fmla="*/ 1042 h 1215"/>
                <a:gd name="T4" fmla="*/ 873 w 1082"/>
                <a:gd name="T5" fmla="*/ 1172 h 1215"/>
                <a:gd name="T6" fmla="*/ 631 w 1082"/>
                <a:gd name="T7" fmla="*/ 1214 h 1215"/>
                <a:gd name="T8" fmla="*/ 350 w 1082"/>
                <a:gd name="T9" fmla="*/ 1164 h 1215"/>
                <a:gd name="T10" fmla="*/ 153 w 1082"/>
                <a:gd name="T11" fmla="*/ 1028 h 1215"/>
                <a:gd name="T12" fmla="*/ 39 w 1082"/>
                <a:gd name="T13" fmla="*/ 836 h 1215"/>
                <a:gd name="T14" fmla="*/ 0 w 1082"/>
                <a:gd name="T15" fmla="*/ 614 h 1215"/>
                <a:gd name="T16" fmla="*/ 39 w 1082"/>
                <a:gd name="T17" fmla="*/ 389 h 1215"/>
                <a:gd name="T18" fmla="*/ 156 w 1082"/>
                <a:gd name="T19" fmla="*/ 192 h 1215"/>
                <a:gd name="T20" fmla="*/ 353 w 1082"/>
                <a:gd name="T21" fmla="*/ 53 h 1215"/>
                <a:gd name="T22" fmla="*/ 631 w 1082"/>
                <a:gd name="T23" fmla="*/ 0 h 1215"/>
                <a:gd name="T24" fmla="*/ 864 w 1082"/>
                <a:gd name="T25" fmla="*/ 44 h 1215"/>
                <a:gd name="T26" fmla="*/ 1070 w 1082"/>
                <a:gd name="T27" fmla="*/ 178 h 1215"/>
                <a:gd name="T28" fmla="*/ 942 w 1082"/>
                <a:gd name="T29" fmla="*/ 297 h 1215"/>
                <a:gd name="T30" fmla="*/ 795 w 1082"/>
                <a:gd name="T31" fmla="*/ 206 h 1215"/>
                <a:gd name="T32" fmla="*/ 631 w 1082"/>
                <a:gd name="T33" fmla="*/ 178 h 1215"/>
                <a:gd name="T34" fmla="*/ 434 w 1082"/>
                <a:gd name="T35" fmla="*/ 214 h 1215"/>
                <a:gd name="T36" fmla="*/ 298 w 1082"/>
                <a:gd name="T37" fmla="*/ 314 h 1215"/>
                <a:gd name="T38" fmla="*/ 217 w 1082"/>
                <a:gd name="T39" fmla="*/ 453 h 1215"/>
                <a:gd name="T40" fmla="*/ 192 w 1082"/>
                <a:gd name="T41" fmla="*/ 614 h 1215"/>
                <a:gd name="T42" fmla="*/ 217 w 1082"/>
                <a:gd name="T43" fmla="*/ 769 h 1215"/>
                <a:gd name="T44" fmla="*/ 295 w 1082"/>
                <a:gd name="T45" fmla="*/ 906 h 1215"/>
                <a:gd name="T46" fmla="*/ 434 w 1082"/>
                <a:gd name="T47" fmla="*/ 1003 h 1215"/>
                <a:gd name="T48" fmla="*/ 631 w 1082"/>
                <a:gd name="T49" fmla="*/ 1039 h 1215"/>
                <a:gd name="T50" fmla="*/ 800 w 1082"/>
                <a:gd name="T51" fmla="*/ 1008 h 1215"/>
                <a:gd name="T52" fmla="*/ 950 w 1082"/>
                <a:gd name="T53" fmla="*/ 911 h 1215"/>
                <a:gd name="T54" fmla="*/ 1081 w 1082"/>
                <a:gd name="T55" fmla="*/ 1042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2" h="1215">
                  <a:moveTo>
                    <a:pt x="1081" y="1042"/>
                  </a:moveTo>
                  <a:lnTo>
                    <a:pt x="1081" y="1042"/>
                  </a:lnTo>
                  <a:cubicBezTo>
                    <a:pt x="1020" y="1100"/>
                    <a:pt x="950" y="1144"/>
                    <a:pt x="873" y="1172"/>
                  </a:cubicBezTo>
                  <a:cubicBezTo>
                    <a:pt x="798" y="1200"/>
                    <a:pt x="717" y="1214"/>
                    <a:pt x="631" y="1214"/>
                  </a:cubicBezTo>
                  <a:cubicBezTo>
                    <a:pt x="523" y="1214"/>
                    <a:pt x="431" y="1197"/>
                    <a:pt x="350" y="1164"/>
                  </a:cubicBezTo>
                  <a:cubicBezTo>
                    <a:pt x="273" y="1130"/>
                    <a:pt x="206" y="1086"/>
                    <a:pt x="153" y="1028"/>
                  </a:cubicBezTo>
                  <a:cubicBezTo>
                    <a:pt x="103" y="972"/>
                    <a:pt x="64" y="908"/>
                    <a:pt x="39" y="836"/>
                  </a:cubicBezTo>
                  <a:cubicBezTo>
                    <a:pt x="14" y="764"/>
                    <a:pt x="0" y="692"/>
                    <a:pt x="0" y="614"/>
                  </a:cubicBezTo>
                  <a:cubicBezTo>
                    <a:pt x="0" y="536"/>
                    <a:pt x="14" y="461"/>
                    <a:pt x="39" y="389"/>
                  </a:cubicBezTo>
                  <a:cubicBezTo>
                    <a:pt x="67" y="314"/>
                    <a:pt x="103" y="250"/>
                    <a:pt x="156" y="192"/>
                  </a:cubicBezTo>
                  <a:cubicBezTo>
                    <a:pt x="209" y="133"/>
                    <a:pt x="273" y="89"/>
                    <a:pt x="353" y="53"/>
                  </a:cubicBezTo>
                  <a:cubicBezTo>
                    <a:pt x="431" y="17"/>
                    <a:pt x="525" y="0"/>
                    <a:pt x="631" y="0"/>
                  </a:cubicBezTo>
                  <a:cubicBezTo>
                    <a:pt x="711" y="0"/>
                    <a:pt x="789" y="14"/>
                    <a:pt x="864" y="44"/>
                  </a:cubicBezTo>
                  <a:cubicBezTo>
                    <a:pt x="939" y="72"/>
                    <a:pt x="1009" y="117"/>
                    <a:pt x="1070" y="178"/>
                  </a:cubicBezTo>
                  <a:cubicBezTo>
                    <a:pt x="942" y="297"/>
                    <a:pt x="942" y="297"/>
                    <a:pt x="942" y="297"/>
                  </a:cubicBezTo>
                  <a:cubicBezTo>
                    <a:pt x="898" y="256"/>
                    <a:pt x="850" y="225"/>
                    <a:pt x="795" y="206"/>
                  </a:cubicBezTo>
                  <a:cubicBezTo>
                    <a:pt x="742" y="186"/>
                    <a:pt x="686" y="178"/>
                    <a:pt x="631" y="178"/>
                  </a:cubicBezTo>
                  <a:cubicBezTo>
                    <a:pt x="556" y="178"/>
                    <a:pt x="489" y="189"/>
                    <a:pt x="434" y="214"/>
                  </a:cubicBezTo>
                  <a:cubicBezTo>
                    <a:pt x="378" y="239"/>
                    <a:pt x="334" y="272"/>
                    <a:pt x="298" y="314"/>
                  </a:cubicBezTo>
                  <a:cubicBezTo>
                    <a:pt x="261" y="356"/>
                    <a:pt x="234" y="400"/>
                    <a:pt x="217" y="453"/>
                  </a:cubicBezTo>
                  <a:cubicBezTo>
                    <a:pt x="200" y="506"/>
                    <a:pt x="192" y="558"/>
                    <a:pt x="192" y="614"/>
                  </a:cubicBezTo>
                  <a:cubicBezTo>
                    <a:pt x="192" y="667"/>
                    <a:pt x="200" y="719"/>
                    <a:pt x="217" y="769"/>
                  </a:cubicBezTo>
                  <a:cubicBezTo>
                    <a:pt x="234" y="822"/>
                    <a:pt x="261" y="867"/>
                    <a:pt x="295" y="906"/>
                  </a:cubicBezTo>
                  <a:cubicBezTo>
                    <a:pt x="331" y="947"/>
                    <a:pt x="378" y="978"/>
                    <a:pt x="434" y="1003"/>
                  </a:cubicBezTo>
                  <a:cubicBezTo>
                    <a:pt x="489" y="1028"/>
                    <a:pt x="553" y="1039"/>
                    <a:pt x="631" y="1039"/>
                  </a:cubicBezTo>
                  <a:cubicBezTo>
                    <a:pt x="686" y="1039"/>
                    <a:pt x="745" y="1028"/>
                    <a:pt x="800" y="1008"/>
                  </a:cubicBezTo>
                  <a:cubicBezTo>
                    <a:pt x="859" y="986"/>
                    <a:pt x="906" y="953"/>
                    <a:pt x="950" y="911"/>
                  </a:cubicBezTo>
                  <a:lnTo>
                    <a:pt x="1081" y="104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5" name="Freeform 2">
              <a:extLst>
                <a:ext uri="{FF2B5EF4-FFF2-40B4-BE49-F238E27FC236}">
                  <a16:creationId xmlns:a16="http://schemas.microsoft.com/office/drawing/2014/main" id="{1C1B1D27-0631-1C42-883E-3E78743EE0F0}"/>
                </a:ext>
              </a:extLst>
            </p:cNvPr>
            <p:cNvSpPr>
              <a:spLocks noChangeArrowheads="1"/>
            </p:cNvSpPr>
            <p:nvPr userDrawn="1"/>
          </p:nvSpPr>
          <p:spPr bwMode="auto">
            <a:xfrm>
              <a:off x="2268538" y="3149600"/>
              <a:ext cx="293687" cy="301625"/>
            </a:xfrm>
            <a:custGeom>
              <a:avLst/>
              <a:gdLst>
                <a:gd name="T0" fmla="*/ 175 w 815"/>
                <a:gd name="T1" fmla="*/ 0 h 837"/>
                <a:gd name="T2" fmla="*/ 175 w 815"/>
                <a:gd name="T3" fmla="*/ 0 h 837"/>
                <a:gd name="T4" fmla="*/ 175 w 815"/>
                <a:gd name="T5" fmla="*/ 439 h 837"/>
                <a:gd name="T6" fmla="*/ 233 w 815"/>
                <a:gd name="T7" fmla="*/ 611 h 837"/>
                <a:gd name="T8" fmla="*/ 406 w 815"/>
                <a:gd name="T9" fmla="*/ 675 h 837"/>
                <a:gd name="T10" fmla="*/ 500 w 815"/>
                <a:gd name="T11" fmla="*/ 658 h 837"/>
                <a:gd name="T12" fmla="*/ 572 w 815"/>
                <a:gd name="T13" fmla="*/ 602 h 837"/>
                <a:gd name="T14" fmla="*/ 622 w 815"/>
                <a:gd name="T15" fmla="*/ 525 h 837"/>
                <a:gd name="T16" fmla="*/ 639 w 815"/>
                <a:gd name="T17" fmla="*/ 427 h 837"/>
                <a:gd name="T18" fmla="*/ 639 w 815"/>
                <a:gd name="T19" fmla="*/ 0 h 837"/>
                <a:gd name="T20" fmla="*/ 814 w 815"/>
                <a:gd name="T21" fmla="*/ 0 h 837"/>
                <a:gd name="T22" fmla="*/ 814 w 815"/>
                <a:gd name="T23" fmla="*/ 825 h 837"/>
                <a:gd name="T24" fmla="*/ 656 w 815"/>
                <a:gd name="T25" fmla="*/ 825 h 837"/>
                <a:gd name="T26" fmla="*/ 645 w 815"/>
                <a:gd name="T27" fmla="*/ 702 h 837"/>
                <a:gd name="T28" fmla="*/ 514 w 815"/>
                <a:gd name="T29" fmla="*/ 805 h 837"/>
                <a:gd name="T30" fmla="*/ 356 w 815"/>
                <a:gd name="T31" fmla="*/ 836 h 837"/>
                <a:gd name="T32" fmla="*/ 211 w 815"/>
                <a:gd name="T33" fmla="*/ 811 h 837"/>
                <a:gd name="T34" fmla="*/ 100 w 815"/>
                <a:gd name="T35" fmla="*/ 733 h 837"/>
                <a:gd name="T36" fmla="*/ 25 w 815"/>
                <a:gd name="T37" fmla="*/ 608 h 837"/>
                <a:gd name="T38" fmla="*/ 0 w 815"/>
                <a:gd name="T39" fmla="*/ 441 h 837"/>
                <a:gd name="T40" fmla="*/ 0 w 815"/>
                <a:gd name="T41" fmla="*/ 0 h 837"/>
                <a:gd name="T42" fmla="*/ 175 w 815"/>
                <a:gd name="T43" fmla="*/ 0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5" h="837">
                  <a:moveTo>
                    <a:pt x="175" y="0"/>
                  </a:moveTo>
                  <a:lnTo>
                    <a:pt x="175" y="0"/>
                  </a:lnTo>
                  <a:cubicBezTo>
                    <a:pt x="175" y="439"/>
                    <a:pt x="175" y="439"/>
                    <a:pt x="175" y="439"/>
                  </a:cubicBezTo>
                  <a:cubicBezTo>
                    <a:pt x="175" y="508"/>
                    <a:pt x="195" y="566"/>
                    <a:pt x="233" y="611"/>
                  </a:cubicBezTo>
                  <a:cubicBezTo>
                    <a:pt x="275" y="655"/>
                    <a:pt x="331" y="675"/>
                    <a:pt x="406" y="675"/>
                  </a:cubicBezTo>
                  <a:cubicBezTo>
                    <a:pt x="439" y="675"/>
                    <a:pt x="470" y="669"/>
                    <a:pt x="500" y="658"/>
                  </a:cubicBezTo>
                  <a:cubicBezTo>
                    <a:pt x="528" y="644"/>
                    <a:pt x="553" y="627"/>
                    <a:pt x="572" y="602"/>
                  </a:cubicBezTo>
                  <a:cubicBezTo>
                    <a:pt x="595" y="580"/>
                    <a:pt x="611" y="555"/>
                    <a:pt x="622" y="525"/>
                  </a:cubicBezTo>
                  <a:cubicBezTo>
                    <a:pt x="633" y="494"/>
                    <a:pt x="639" y="461"/>
                    <a:pt x="639" y="427"/>
                  </a:cubicBezTo>
                  <a:cubicBezTo>
                    <a:pt x="639" y="0"/>
                    <a:pt x="639" y="0"/>
                    <a:pt x="639" y="0"/>
                  </a:cubicBezTo>
                  <a:cubicBezTo>
                    <a:pt x="814" y="0"/>
                    <a:pt x="814" y="0"/>
                    <a:pt x="814" y="0"/>
                  </a:cubicBezTo>
                  <a:cubicBezTo>
                    <a:pt x="814" y="825"/>
                    <a:pt x="814" y="825"/>
                    <a:pt x="814" y="825"/>
                  </a:cubicBezTo>
                  <a:cubicBezTo>
                    <a:pt x="656" y="825"/>
                    <a:pt x="656" y="825"/>
                    <a:pt x="656" y="825"/>
                  </a:cubicBezTo>
                  <a:cubicBezTo>
                    <a:pt x="645" y="702"/>
                    <a:pt x="645" y="702"/>
                    <a:pt x="645" y="702"/>
                  </a:cubicBezTo>
                  <a:cubicBezTo>
                    <a:pt x="603" y="750"/>
                    <a:pt x="561" y="783"/>
                    <a:pt x="514" y="805"/>
                  </a:cubicBezTo>
                  <a:cubicBezTo>
                    <a:pt x="467" y="825"/>
                    <a:pt x="414" y="836"/>
                    <a:pt x="356" y="836"/>
                  </a:cubicBezTo>
                  <a:cubicBezTo>
                    <a:pt x="303" y="836"/>
                    <a:pt x="256" y="827"/>
                    <a:pt x="211" y="811"/>
                  </a:cubicBezTo>
                  <a:cubicBezTo>
                    <a:pt x="170" y="791"/>
                    <a:pt x="131" y="766"/>
                    <a:pt x="100" y="733"/>
                  </a:cubicBezTo>
                  <a:cubicBezTo>
                    <a:pt x="70" y="700"/>
                    <a:pt x="45" y="658"/>
                    <a:pt x="25" y="608"/>
                  </a:cubicBezTo>
                  <a:cubicBezTo>
                    <a:pt x="8" y="561"/>
                    <a:pt x="0" y="505"/>
                    <a:pt x="0" y="441"/>
                  </a:cubicBezTo>
                  <a:cubicBezTo>
                    <a:pt x="0" y="0"/>
                    <a:pt x="0" y="0"/>
                    <a:pt x="0" y="0"/>
                  </a:cubicBezTo>
                  <a:lnTo>
                    <a:pt x="17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6" name="Freeform 3">
              <a:extLst>
                <a:ext uri="{FF2B5EF4-FFF2-40B4-BE49-F238E27FC236}">
                  <a16:creationId xmlns:a16="http://schemas.microsoft.com/office/drawing/2014/main" id="{FBF82886-AE9E-C04F-A294-FF0D38C07FC5}"/>
                </a:ext>
              </a:extLst>
            </p:cNvPr>
            <p:cNvSpPr>
              <a:spLocks noChangeArrowheads="1"/>
            </p:cNvSpPr>
            <p:nvPr userDrawn="1"/>
          </p:nvSpPr>
          <p:spPr bwMode="auto">
            <a:xfrm>
              <a:off x="2624138" y="3141663"/>
              <a:ext cx="268287" cy="314325"/>
            </a:xfrm>
            <a:custGeom>
              <a:avLst/>
              <a:gdLst>
                <a:gd name="T0" fmla="*/ 606 w 746"/>
                <a:gd name="T1" fmla="*/ 225 h 871"/>
                <a:gd name="T2" fmla="*/ 606 w 746"/>
                <a:gd name="T3" fmla="*/ 225 h 871"/>
                <a:gd name="T4" fmla="*/ 500 w 746"/>
                <a:gd name="T5" fmla="*/ 164 h 871"/>
                <a:gd name="T6" fmla="*/ 383 w 746"/>
                <a:gd name="T7" fmla="*/ 148 h 871"/>
                <a:gd name="T8" fmla="*/ 253 w 746"/>
                <a:gd name="T9" fmla="*/ 173 h 871"/>
                <a:gd name="T10" fmla="*/ 203 w 746"/>
                <a:gd name="T11" fmla="*/ 245 h 871"/>
                <a:gd name="T12" fmla="*/ 256 w 746"/>
                <a:gd name="T13" fmla="*/ 320 h 871"/>
                <a:gd name="T14" fmla="*/ 386 w 746"/>
                <a:gd name="T15" fmla="*/ 350 h 871"/>
                <a:gd name="T16" fmla="*/ 508 w 746"/>
                <a:gd name="T17" fmla="*/ 367 h 871"/>
                <a:gd name="T18" fmla="*/ 625 w 746"/>
                <a:gd name="T19" fmla="*/ 406 h 871"/>
                <a:gd name="T20" fmla="*/ 711 w 746"/>
                <a:gd name="T21" fmla="*/ 481 h 871"/>
                <a:gd name="T22" fmla="*/ 745 w 746"/>
                <a:gd name="T23" fmla="*/ 611 h 871"/>
                <a:gd name="T24" fmla="*/ 717 w 746"/>
                <a:gd name="T25" fmla="*/ 717 h 871"/>
                <a:gd name="T26" fmla="*/ 645 w 746"/>
                <a:gd name="T27" fmla="*/ 798 h 871"/>
                <a:gd name="T28" fmla="*/ 533 w 746"/>
                <a:gd name="T29" fmla="*/ 853 h 871"/>
                <a:gd name="T30" fmla="*/ 383 w 746"/>
                <a:gd name="T31" fmla="*/ 870 h 871"/>
                <a:gd name="T32" fmla="*/ 183 w 746"/>
                <a:gd name="T33" fmla="*/ 842 h 871"/>
                <a:gd name="T34" fmla="*/ 0 w 746"/>
                <a:gd name="T35" fmla="*/ 720 h 871"/>
                <a:gd name="T36" fmla="*/ 92 w 746"/>
                <a:gd name="T37" fmla="*/ 598 h 871"/>
                <a:gd name="T38" fmla="*/ 233 w 746"/>
                <a:gd name="T39" fmla="*/ 689 h 871"/>
                <a:gd name="T40" fmla="*/ 389 w 746"/>
                <a:gd name="T41" fmla="*/ 720 h 871"/>
                <a:gd name="T42" fmla="*/ 450 w 746"/>
                <a:gd name="T43" fmla="*/ 714 h 871"/>
                <a:gd name="T44" fmla="*/ 508 w 746"/>
                <a:gd name="T45" fmla="*/ 698 h 871"/>
                <a:gd name="T46" fmla="*/ 550 w 746"/>
                <a:gd name="T47" fmla="*/ 662 h 871"/>
                <a:gd name="T48" fmla="*/ 567 w 746"/>
                <a:gd name="T49" fmla="*/ 614 h 871"/>
                <a:gd name="T50" fmla="*/ 517 w 746"/>
                <a:gd name="T51" fmla="*/ 531 h 871"/>
                <a:gd name="T52" fmla="*/ 372 w 746"/>
                <a:gd name="T53" fmla="*/ 498 h 871"/>
                <a:gd name="T54" fmla="*/ 253 w 746"/>
                <a:gd name="T55" fmla="*/ 478 h 871"/>
                <a:gd name="T56" fmla="*/ 142 w 746"/>
                <a:gd name="T57" fmla="*/ 436 h 871"/>
                <a:gd name="T58" fmla="*/ 61 w 746"/>
                <a:gd name="T59" fmla="*/ 364 h 871"/>
                <a:gd name="T60" fmla="*/ 31 w 746"/>
                <a:gd name="T61" fmla="*/ 250 h 871"/>
                <a:gd name="T62" fmla="*/ 61 w 746"/>
                <a:gd name="T63" fmla="*/ 134 h 871"/>
                <a:gd name="T64" fmla="*/ 145 w 746"/>
                <a:gd name="T65" fmla="*/ 56 h 871"/>
                <a:gd name="T66" fmla="*/ 259 w 746"/>
                <a:gd name="T67" fmla="*/ 14 h 871"/>
                <a:gd name="T68" fmla="*/ 381 w 746"/>
                <a:gd name="T69" fmla="*/ 0 h 871"/>
                <a:gd name="T70" fmla="*/ 556 w 746"/>
                <a:gd name="T71" fmla="*/ 25 h 871"/>
                <a:gd name="T72" fmla="*/ 703 w 746"/>
                <a:gd name="T73" fmla="*/ 112 h 871"/>
                <a:gd name="T74" fmla="*/ 606 w 746"/>
                <a:gd name="T75" fmla="*/ 225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6" h="871">
                  <a:moveTo>
                    <a:pt x="606" y="225"/>
                  </a:moveTo>
                  <a:lnTo>
                    <a:pt x="606" y="225"/>
                  </a:lnTo>
                  <a:cubicBezTo>
                    <a:pt x="572" y="195"/>
                    <a:pt x="536" y="173"/>
                    <a:pt x="500" y="164"/>
                  </a:cubicBezTo>
                  <a:cubicBezTo>
                    <a:pt x="464" y="153"/>
                    <a:pt x="425" y="148"/>
                    <a:pt x="383" y="148"/>
                  </a:cubicBezTo>
                  <a:cubicBezTo>
                    <a:pt x="328" y="148"/>
                    <a:pt x="286" y="153"/>
                    <a:pt x="253" y="173"/>
                  </a:cubicBezTo>
                  <a:cubicBezTo>
                    <a:pt x="220" y="189"/>
                    <a:pt x="203" y="214"/>
                    <a:pt x="203" y="245"/>
                  </a:cubicBezTo>
                  <a:cubicBezTo>
                    <a:pt x="206" y="281"/>
                    <a:pt x="222" y="306"/>
                    <a:pt x="256" y="320"/>
                  </a:cubicBezTo>
                  <a:cubicBezTo>
                    <a:pt x="289" y="336"/>
                    <a:pt x="331" y="345"/>
                    <a:pt x="386" y="350"/>
                  </a:cubicBezTo>
                  <a:cubicBezTo>
                    <a:pt x="425" y="356"/>
                    <a:pt x="467" y="359"/>
                    <a:pt x="508" y="367"/>
                  </a:cubicBezTo>
                  <a:cubicBezTo>
                    <a:pt x="550" y="375"/>
                    <a:pt x="589" y="387"/>
                    <a:pt x="625" y="406"/>
                  </a:cubicBezTo>
                  <a:cubicBezTo>
                    <a:pt x="658" y="425"/>
                    <a:pt x="689" y="450"/>
                    <a:pt x="711" y="481"/>
                  </a:cubicBezTo>
                  <a:cubicBezTo>
                    <a:pt x="733" y="514"/>
                    <a:pt x="745" y="556"/>
                    <a:pt x="745" y="611"/>
                  </a:cubicBezTo>
                  <a:cubicBezTo>
                    <a:pt x="745" y="650"/>
                    <a:pt x="736" y="684"/>
                    <a:pt x="717" y="717"/>
                  </a:cubicBezTo>
                  <a:cubicBezTo>
                    <a:pt x="700" y="748"/>
                    <a:pt x="675" y="775"/>
                    <a:pt x="645" y="798"/>
                  </a:cubicBezTo>
                  <a:cubicBezTo>
                    <a:pt x="614" y="823"/>
                    <a:pt x="575" y="839"/>
                    <a:pt x="533" y="853"/>
                  </a:cubicBezTo>
                  <a:cubicBezTo>
                    <a:pt x="489" y="864"/>
                    <a:pt x="439" y="870"/>
                    <a:pt x="383" y="870"/>
                  </a:cubicBezTo>
                  <a:cubicBezTo>
                    <a:pt x="317" y="870"/>
                    <a:pt x="250" y="862"/>
                    <a:pt x="183" y="842"/>
                  </a:cubicBezTo>
                  <a:cubicBezTo>
                    <a:pt x="117" y="820"/>
                    <a:pt x="56" y="781"/>
                    <a:pt x="0" y="720"/>
                  </a:cubicBezTo>
                  <a:cubicBezTo>
                    <a:pt x="92" y="598"/>
                    <a:pt x="92" y="598"/>
                    <a:pt x="92" y="598"/>
                  </a:cubicBezTo>
                  <a:cubicBezTo>
                    <a:pt x="133" y="639"/>
                    <a:pt x="181" y="673"/>
                    <a:pt x="233" y="689"/>
                  </a:cubicBezTo>
                  <a:cubicBezTo>
                    <a:pt x="286" y="709"/>
                    <a:pt x="339" y="720"/>
                    <a:pt x="389" y="720"/>
                  </a:cubicBezTo>
                  <a:cubicBezTo>
                    <a:pt x="408" y="720"/>
                    <a:pt x="431" y="720"/>
                    <a:pt x="450" y="714"/>
                  </a:cubicBezTo>
                  <a:cubicBezTo>
                    <a:pt x="472" y="711"/>
                    <a:pt x="492" y="706"/>
                    <a:pt x="508" y="698"/>
                  </a:cubicBezTo>
                  <a:cubicBezTo>
                    <a:pt x="525" y="686"/>
                    <a:pt x="539" y="675"/>
                    <a:pt x="550" y="662"/>
                  </a:cubicBezTo>
                  <a:cubicBezTo>
                    <a:pt x="561" y="648"/>
                    <a:pt x="567" y="631"/>
                    <a:pt x="567" y="614"/>
                  </a:cubicBezTo>
                  <a:cubicBezTo>
                    <a:pt x="570" y="575"/>
                    <a:pt x="553" y="548"/>
                    <a:pt x="517" y="531"/>
                  </a:cubicBezTo>
                  <a:cubicBezTo>
                    <a:pt x="483" y="514"/>
                    <a:pt x="436" y="503"/>
                    <a:pt x="372" y="498"/>
                  </a:cubicBezTo>
                  <a:cubicBezTo>
                    <a:pt x="333" y="495"/>
                    <a:pt x="292" y="489"/>
                    <a:pt x="253" y="478"/>
                  </a:cubicBezTo>
                  <a:cubicBezTo>
                    <a:pt x="211" y="470"/>
                    <a:pt x="175" y="456"/>
                    <a:pt x="142" y="436"/>
                  </a:cubicBezTo>
                  <a:cubicBezTo>
                    <a:pt x="108" y="420"/>
                    <a:pt x="84" y="395"/>
                    <a:pt x="61" y="364"/>
                  </a:cubicBezTo>
                  <a:cubicBezTo>
                    <a:pt x="39" y="334"/>
                    <a:pt x="31" y="298"/>
                    <a:pt x="31" y="250"/>
                  </a:cubicBezTo>
                  <a:cubicBezTo>
                    <a:pt x="31" y="206"/>
                    <a:pt x="42" y="167"/>
                    <a:pt x="61" y="134"/>
                  </a:cubicBezTo>
                  <a:cubicBezTo>
                    <a:pt x="84" y="103"/>
                    <a:pt x="111" y="78"/>
                    <a:pt x="145" y="56"/>
                  </a:cubicBezTo>
                  <a:cubicBezTo>
                    <a:pt x="181" y="37"/>
                    <a:pt x="217" y="23"/>
                    <a:pt x="259" y="14"/>
                  </a:cubicBezTo>
                  <a:cubicBezTo>
                    <a:pt x="300" y="6"/>
                    <a:pt x="339" y="0"/>
                    <a:pt x="381" y="0"/>
                  </a:cubicBezTo>
                  <a:cubicBezTo>
                    <a:pt x="445" y="0"/>
                    <a:pt x="503" y="9"/>
                    <a:pt x="556" y="25"/>
                  </a:cubicBezTo>
                  <a:cubicBezTo>
                    <a:pt x="606" y="42"/>
                    <a:pt x="656" y="70"/>
                    <a:pt x="703" y="112"/>
                  </a:cubicBezTo>
                  <a:lnTo>
                    <a:pt x="606" y="22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7" name="Freeform 4">
              <a:extLst>
                <a:ext uri="{FF2B5EF4-FFF2-40B4-BE49-F238E27FC236}">
                  <a16:creationId xmlns:a16="http://schemas.microsoft.com/office/drawing/2014/main" id="{AA00FF42-3F22-C740-8AC3-5086F24542CB}"/>
                </a:ext>
              </a:extLst>
            </p:cNvPr>
            <p:cNvSpPr>
              <a:spLocks noChangeArrowheads="1"/>
            </p:cNvSpPr>
            <p:nvPr userDrawn="1"/>
          </p:nvSpPr>
          <p:spPr bwMode="auto">
            <a:xfrm>
              <a:off x="2928938" y="3063875"/>
              <a:ext cx="223837" cy="387350"/>
            </a:xfrm>
            <a:custGeom>
              <a:avLst/>
              <a:gdLst>
                <a:gd name="T0" fmla="*/ 342 w 621"/>
                <a:gd name="T1" fmla="*/ 0 h 1076"/>
                <a:gd name="T2" fmla="*/ 342 w 621"/>
                <a:gd name="T3" fmla="*/ 0 h 1076"/>
                <a:gd name="T4" fmla="*/ 342 w 621"/>
                <a:gd name="T5" fmla="*/ 239 h 1076"/>
                <a:gd name="T6" fmla="*/ 586 w 621"/>
                <a:gd name="T7" fmla="*/ 239 h 1076"/>
                <a:gd name="T8" fmla="*/ 586 w 621"/>
                <a:gd name="T9" fmla="*/ 391 h 1076"/>
                <a:gd name="T10" fmla="*/ 339 w 621"/>
                <a:gd name="T11" fmla="*/ 391 h 1076"/>
                <a:gd name="T12" fmla="*/ 339 w 621"/>
                <a:gd name="T13" fmla="*/ 780 h 1076"/>
                <a:gd name="T14" fmla="*/ 369 w 621"/>
                <a:gd name="T15" fmla="*/ 880 h 1076"/>
                <a:gd name="T16" fmla="*/ 461 w 621"/>
                <a:gd name="T17" fmla="*/ 916 h 1076"/>
                <a:gd name="T18" fmla="*/ 514 w 621"/>
                <a:gd name="T19" fmla="*/ 908 h 1076"/>
                <a:gd name="T20" fmla="*/ 567 w 621"/>
                <a:gd name="T21" fmla="*/ 889 h 1076"/>
                <a:gd name="T22" fmla="*/ 620 w 621"/>
                <a:gd name="T23" fmla="*/ 1036 h 1076"/>
                <a:gd name="T24" fmla="*/ 533 w 621"/>
                <a:gd name="T25" fmla="*/ 1064 h 1076"/>
                <a:gd name="T26" fmla="*/ 450 w 621"/>
                <a:gd name="T27" fmla="*/ 1072 h 1076"/>
                <a:gd name="T28" fmla="*/ 236 w 621"/>
                <a:gd name="T29" fmla="*/ 1002 h 1076"/>
                <a:gd name="T30" fmla="*/ 164 w 621"/>
                <a:gd name="T31" fmla="*/ 783 h 1076"/>
                <a:gd name="T32" fmla="*/ 164 w 621"/>
                <a:gd name="T33" fmla="*/ 391 h 1076"/>
                <a:gd name="T34" fmla="*/ 0 w 621"/>
                <a:gd name="T35" fmla="*/ 391 h 1076"/>
                <a:gd name="T36" fmla="*/ 0 w 621"/>
                <a:gd name="T37" fmla="*/ 239 h 1076"/>
                <a:gd name="T38" fmla="*/ 164 w 621"/>
                <a:gd name="T39" fmla="*/ 239 h 1076"/>
                <a:gd name="T40" fmla="*/ 164 w 621"/>
                <a:gd name="T41" fmla="*/ 19 h 1076"/>
                <a:gd name="T42" fmla="*/ 342 w 621"/>
                <a:gd name="T43" fmla="*/ 0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1" h="1076">
                  <a:moveTo>
                    <a:pt x="342" y="0"/>
                  </a:moveTo>
                  <a:lnTo>
                    <a:pt x="342" y="0"/>
                  </a:lnTo>
                  <a:cubicBezTo>
                    <a:pt x="342" y="239"/>
                    <a:pt x="342" y="239"/>
                    <a:pt x="342" y="239"/>
                  </a:cubicBezTo>
                  <a:cubicBezTo>
                    <a:pt x="586" y="239"/>
                    <a:pt x="586" y="239"/>
                    <a:pt x="586" y="239"/>
                  </a:cubicBezTo>
                  <a:cubicBezTo>
                    <a:pt x="586" y="391"/>
                    <a:pt x="586" y="391"/>
                    <a:pt x="586" y="391"/>
                  </a:cubicBezTo>
                  <a:cubicBezTo>
                    <a:pt x="339" y="391"/>
                    <a:pt x="339" y="391"/>
                    <a:pt x="339" y="391"/>
                  </a:cubicBezTo>
                  <a:cubicBezTo>
                    <a:pt x="339" y="780"/>
                    <a:pt x="339" y="780"/>
                    <a:pt x="339" y="780"/>
                  </a:cubicBezTo>
                  <a:cubicBezTo>
                    <a:pt x="339" y="825"/>
                    <a:pt x="350" y="858"/>
                    <a:pt x="369" y="880"/>
                  </a:cubicBezTo>
                  <a:cubicBezTo>
                    <a:pt x="389" y="905"/>
                    <a:pt x="420" y="916"/>
                    <a:pt x="461" y="916"/>
                  </a:cubicBezTo>
                  <a:cubicBezTo>
                    <a:pt x="478" y="916"/>
                    <a:pt x="494" y="914"/>
                    <a:pt x="514" y="908"/>
                  </a:cubicBezTo>
                  <a:cubicBezTo>
                    <a:pt x="533" y="905"/>
                    <a:pt x="550" y="897"/>
                    <a:pt x="567" y="889"/>
                  </a:cubicBezTo>
                  <a:cubicBezTo>
                    <a:pt x="620" y="1036"/>
                    <a:pt x="620" y="1036"/>
                    <a:pt x="620" y="1036"/>
                  </a:cubicBezTo>
                  <a:cubicBezTo>
                    <a:pt x="589" y="1047"/>
                    <a:pt x="561" y="1058"/>
                    <a:pt x="533" y="1064"/>
                  </a:cubicBezTo>
                  <a:cubicBezTo>
                    <a:pt x="508" y="1069"/>
                    <a:pt x="481" y="1072"/>
                    <a:pt x="450" y="1072"/>
                  </a:cubicBezTo>
                  <a:cubicBezTo>
                    <a:pt x="358" y="1075"/>
                    <a:pt x="286" y="1050"/>
                    <a:pt x="236" y="1002"/>
                  </a:cubicBezTo>
                  <a:cubicBezTo>
                    <a:pt x="189" y="952"/>
                    <a:pt x="164" y="880"/>
                    <a:pt x="164" y="783"/>
                  </a:cubicBezTo>
                  <a:cubicBezTo>
                    <a:pt x="164" y="391"/>
                    <a:pt x="164" y="391"/>
                    <a:pt x="164" y="391"/>
                  </a:cubicBezTo>
                  <a:cubicBezTo>
                    <a:pt x="0" y="391"/>
                    <a:pt x="0" y="391"/>
                    <a:pt x="0" y="391"/>
                  </a:cubicBezTo>
                  <a:cubicBezTo>
                    <a:pt x="0" y="239"/>
                    <a:pt x="0" y="239"/>
                    <a:pt x="0" y="239"/>
                  </a:cubicBezTo>
                  <a:cubicBezTo>
                    <a:pt x="164" y="239"/>
                    <a:pt x="164" y="239"/>
                    <a:pt x="164" y="239"/>
                  </a:cubicBezTo>
                  <a:cubicBezTo>
                    <a:pt x="164" y="19"/>
                    <a:pt x="164" y="19"/>
                    <a:pt x="164" y="19"/>
                  </a:cubicBezTo>
                  <a:lnTo>
                    <a:pt x="34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8" name="Freeform 5">
              <a:extLst>
                <a:ext uri="{FF2B5EF4-FFF2-40B4-BE49-F238E27FC236}">
                  <a16:creationId xmlns:a16="http://schemas.microsoft.com/office/drawing/2014/main" id="{C4EE45D9-A5B2-3340-A884-8CB6BE0C9CA3}"/>
                </a:ext>
              </a:extLst>
            </p:cNvPr>
            <p:cNvSpPr>
              <a:spLocks noChangeArrowheads="1"/>
            </p:cNvSpPr>
            <p:nvPr userDrawn="1"/>
          </p:nvSpPr>
          <p:spPr bwMode="auto">
            <a:xfrm>
              <a:off x="3186113" y="3143250"/>
              <a:ext cx="314325" cy="307975"/>
            </a:xfrm>
            <a:custGeom>
              <a:avLst/>
              <a:gdLst>
                <a:gd name="T0" fmla="*/ 433 w 873"/>
                <a:gd name="T1" fmla="*/ 0 h 857"/>
                <a:gd name="T2" fmla="*/ 433 w 873"/>
                <a:gd name="T3" fmla="*/ 0 h 857"/>
                <a:gd name="T4" fmla="*/ 611 w 873"/>
                <a:gd name="T5" fmla="*/ 33 h 857"/>
                <a:gd name="T6" fmla="*/ 750 w 873"/>
                <a:gd name="T7" fmla="*/ 125 h 857"/>
                <a:gd name="T8" fmla="*/ 839 w 873"/>
                <a:gd name="T9" fmla="*/ 261 h 857"/>
                <a:gd name="T10" fmla="*/ 872 w 873"/>
                <a:gd name="T11" fmla="*/ 428 h 857"/>
                <a:gd name="T12" fmla="*/ 839 w 873"/>
                <a:gd name="T13" fmla="*/ 597 h 857"/>
                <a:gd name="T14" fmla="*/ 753 w 873"/>
                <a:gd name="T15" fmla="*/ 733 h 857"/>
                <a:gd name="T16" fmla="*/ 614 w 873"/>
                <a:gd name="T17" fmla="*/ 825 h 857"/>
                <a:gd name="T18" fmla="*/ 433 w 873"/>
                <a:gd name="T19" fmla="*/ 856 h 857"/>
                <a:gd name="T20" fmla="*/ 256 w 873"/>
                <a:gd name="T21" fmla="*/ 825 h 857"/>
                <a:gd name="T22" fmla="*/ 117 w 873"/>
                <a:gd name="T23" fmla="*/ 733 h 857"/>
                <a:gd name="T24" fmla="*/ 31 w 873"/>
                <a:gd name="T25" fmla="*/ 597 h 857"/>
                <a:gd name="T26" fmla="*/ 0 w 873"/>
                <a:gd name="T27" fmla="*/ 428 h 857"/>
                <a:gd name="T28" fmla="*/ 31 w 873"/>
                <a:gd name="T29" fmla="*/ 261 h 857"/>
                <a:gd name="T30" fmla="*/ 120 w 873"/>
                <a:gd name="T31" fmla="*/ 125 h 857"/>
                <a:gd name="T32" fmla="*/ 256 w 873"/>
                <a:gd name="T33" fmla="*/ 33 h 857"/>
                <a:gd name="T34" fmla="*/ 433 w 873"/>
                <a:gd name="T35" fmla="*/ 0 h 857"/>
                <a:gd name="T36" fmla="*/ 433 w 873"/>
                <a:gd name="T37" fmla="*/ 161 h 857"/>
                <a:gd name="T38" fmla="*/ 433 w 873"/>
                <a:gd name="T39" fmla="*/ 161 h 857"/>
                <a:gd name="T40" fmla="*/ 325 w 873"/>
                <a:gd name="T41" fmla="*/ 181 h 857"/>
                <a:gd name="T42" fmla="*/ 245 w 873"/>
                <a:gd name="T43" fmla="*/ 242 h 857"/>
                <a:gd name="T44" fmla="*/ 195 w 873"/>
                <a:gd name="T45" fmla="*/ 328 h 857"/>
                <a:gd name="T46" fmla="*/ 175 w 873"/>
                <a:gd name="T47" fmla="*/ 430 h 857"/>
                <a:gd name="T48" fmla="*/ 195 w 873"/>
                <a:gd name="T49" fmla="*/ 533 h 857"/>
                <a:gd name="T50" fmla="*/ 245 w 873"/>
                <a:gd name="T51" fmla="*/ 617 h 857"/>
                <a:gd name="T52" fmla="*/ 325 w 873"/>
                <a:gd name="T53" fmla="*/ 675 h 857"/>
                <a:gd name="T54" fmla="*/ 433 w 873"/>
                <a:gd name="T55" fmla="*/ 697 h 857"/>
                <a:gd name="T56" fmla="*/ 542 w 873"/>
                <a:gd name="T57" fmla="*/ 675 h 857"/>
                <a:gd name="T58" fmla="*/ 625 w 873"/>
                <a:gd name="T59" fmla="*/ 617 h 857"/>
                <a:gd name="T60" fmla="*/ 675 w 873"/>
                <a:gd name="T61" fmla="*/ 533 h 857"/>
                <a:gd name="T62" fmla="*/ 694 w 873"/>
                <a:gd name="T63" fmla="*/ 430 h 857"/>
                <a:gd name="T64" fmla="*/ 675 w 873"/>
                <a:gd name="T65" fmla="*/ 328 h 857"/>
                <a:gd name="T66" fmla="*/ 622 w 873"/>
                <a:gd name="T67" fmla="*/ 242 h 857"/>
                <a:gd name="T68" fmla="*/ 539 w 873"/>
                <a:gd name="T69" fmla="*/ 181 h 857"/>
                <a:gd name="T70" fmla="*/ 433 w 873"/>
                <a:gd name="T71" fmla="*/ 161 h 857"/>
                <a:gd name="T72" fmla="*/ 433 w 873"/>
                <a:gd name="T73"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57">
                  <a:moveTo>
                    <a:pt x="433" y="0"/>
                  </a:moveTo>
                  <a:lnTo>
                    <a:pt x="433" y="0"/>
                  </a:lnTo>
                  <a:cubicBezTo>
                    <a:pt x="500" y="0"/>
                    <a:pt x="558" y="11"/>
                    <a:pt x="611" y="33"/>
                  </a:cubicBezTo>
                  <a:cubicBezTo>
                    <a:pt x="664" y="56"/>
                    <a:pt x="711" y="86"/>
                    <a:pt x="750" y="125"/>
                  </a:cubicBezTo>
                  <a:cubicBezTo>
                    <a:pt x="789" y="161"/>
                    <a:pt x="820" y="208"/>
                    <a:pt x="839" y="261"/>
                  </a:cubicBezTo>
                  <a:cubicBezTo>
                    <a:pt x="861" y="314"/>
                    <a:pt x="872" y="369"/>
                    <a:pt x="872" y="428"/>
                  </a:cubicBezTo>
                  <a:cubicBezTo>
                    <a:pt x="872" y="489"/>
                    <a:pt x="861" y="547"/>
                    <a:pt x="839" y="597"/>
                  </a:cubicBezTo>
                  <a:cubicBezTo>
                    <a:pt x="820" y="650"/>
                    <a:pt x="792" y="694"/>
                    <a:pt x="753" y="733"/>
                  </a:cubicBezTo>
                  <a:cubicBezTo>
                    <a:pt x="714" y="772"/>
                    <a:pt x="667" y="803"/>
                    <a:pt x="614" y="825"/>
                  </a:cubicBezTo>
                  <a:cubicBezTo>
                    <a:pt x="561" y="847"/>
                    <a:pt x="500" y="856"/>
                    <a:pt x="433" y="856"/>
                  </a:cubicBezTo>
                  <a:cubicBezTo>
                    <a:pt x="367" y="856"/>
                    <a:pt x="308" y="847"/>
                    <a:pt x="256" y="825"/>
                  </a:cubicBezTo>
                  <a:cubicBezTo>
                    <a:pt x="200" y="803"/>
                    <a:pt x="156" y="772"/>
                    <a:pt x="117" y="733"/>
                  </a:cubicBezTo>
                  <a:cubicBezTo>
                    <a:pt x="81" y="694"/>
                    <a:pt x="50" y="650"/>
                    <a:pt x="31" y="597"/>
                  </a:cubicBezTo>
                  <a:cubicBezTo>
                    <a:pt x="11" y="547"/>
                    <a:pt x="0" y="489"/>
                    <a:pt x="0" y="428"/>
                  </a:cubicBezTo>
                  <a:cubicBezTo>
                    <a:pt x="0" y="369"/>
                    <a:pt x="11" y="314"/>
                    <a:pt x="31" y="261"/>
                  </a:cubicBezTo>
                  <a:cubicBezTo>
                    <a:pt x="50" y="208"/>
                    <a:pt x="81" y="161"/>
                    <a:pt x="120" y="125"/>
                  </a:cubicBezTo>
                  <a:cubicBezTo>
                    <a:pt x="156" y="86"/>
                    <a:pt x="203" y="56"/>
                    <a:pt x="256" y="33"/>
                  </a:cubicBezTo>
                  <a:cubicBezTo>
                    <a:pt x="308" y="11"/>
                    <a:pt x="370" y="0"/>
                    <a:pt x="433" y="0"/>
                  </a:cubicBezTo>
                  <a:lnTo>
                    <a:pt x="433" y="161"/>
                  </a:lnTo>
                  <a:lnTo>
                    <a:pt x="433" y="161"/>
                  </a:lnTo>
                  <a:cubicBezTo>
                    <a:pt x="394" y="161"/>
                    <a:pt x="358" y="167"/>
                    <a:pt x="325" y="181"/>
                  </a:cubicBezTo>
                  <a:cubicBezTo>
                    <a:pt x="295" y="197"/>
                    <a:pt x="267" y="217"/>
                    <a:pt x="245" y="242"/>
                  </a:cubicBezTo>
                  <a:cubicBezTo>
                    <a:pt x="222" y="267"/>
                    <a:pt x="206" y="294"/>
                    <a:pt x="195" y="328"/>
                  </a:cubicBezTo>
                  <a:cubicBezTo>
                    <a:pt x="181" y="358"/>
                    <a:pt x="175" y="394"/>
                    <a:pt x="175" y="430"/>
                  </a:cubicBezTo>
                  <a:cubicBezTo>
                    <a:pt x="175" y="467"/>
                    <a:pt x="181" y="500"/>
                    <a:pt x="195" y="533"/>
                  </a:cubicBezTo>
                  <a:cubicBezTo>
                    <a:pt x="206" y="567"/>
                    <a:pt x="222" y="594"/>
                    <a:pt x="245" y="617"/>
                  </a:cubicBezTo>
                  <a:cubicBezTo>
                    <a:pt x="267" y="642"/>
                    <a:pt x="295" y="661"/>
                    <a:pt x="325" y="675"/>
                  </a:cubicBezTo>
                  <a:cubicBezTo>
                    <a:pt x="358" y="689"/>
                    <a:pt x="394" y="697"/>
                    <a:pt x="433" y="697"/>
                  </a:cubicBezTo>
                  <a:cubicBezTo>
                    <a:pt x="475" y="697"/>
                    <a:pt x="511" y="689"/>
                    <a:pt x="542" y="675"/>
                  </a:cubicBezTo>
                  <a:cubicBezTo>
                    <a:pt x="575" y="661"/>
                    <a:pt x="603" y="642"/>
                    <a:pt x="625" y="617"/>
                  </a:cubicBezTo>
                  <a:cubicBezTo>
                    <a:pt x="647" y="594"/>
                    <a:pt x="664" y="567"/>
                    <a:pt x="675" y="533"/>
                  </a:cubicBezTo>
                  <a:cubicBezTo>
                    <a:pt x="686" y="500"/>
                    <a:pt x="694" y="467"/>
                    <a:pt x="694" y="430"/>
                  </a:cubicBezTo>
                  <a:cubicBezTo>
                    <a:pt x="694" y="394"/>
                    <a:pt x="686" y="358"/>
                    <a:pt x="675" y="328"/>
                  </a:cubicBezTo>
                  <a:cubicBezTo>
                    <a:pt x="661" y="294"/>
                    <a:pt x="645" y="267"/>
                    <a:pt x="622" y="242"/>
                  </a:cubicBezTo>
                  <a:cubicBezTo>
                    <a:pt x="600" y="217"/>
                    <a:pt x="572" y="197"/>
                    <a:pt x="539" y="181"/>
                  </a:cubicBezTo>
                  <a:cubicBezTo>
                    <a:pt x="508" y="167"/>
                    <a:pt x="472" y="161"/>
                    <a:pt x="433" y="161"/>
                  </a:cubicBezTo>
                  <a:lnTo>
                    <a:pt x="4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9" name="Freeform 6">
              <a:extLst>
                <a:ext uri="{FF2B5EF4-FFF2-40B4-BE49-F238E27FC236}">
                  <a16:creationId xmlns:a16="http://schemas.microsoft.com/office/drawing/2014/main" id="{B0316715-7EBD-7246-939D-5A483B415505}"/>
                </a:ext>
              </a:extLst>
            </p:cNvPr>
            <p:cNvSpPr>
              <a:spLocks noChangeArrowheads="1"/>
            </p:cNvSpPr>
            <p:nvPr userDrawn="1"/>
          </p:nvSpPr>
          <p:spPr bwMode="auto">
            <a:xfrm>
              <a:off x="3567113" y="3143250"/>
              <a:ext cx="476250" cy="301625"/>
            </a:xfrm>
            <a:custGeom>
              <a:avLst/>
              <a:gdLst>
                <a:gd name="T0" fmla="*/ 575 w 1321"/>
                <a:gd name="T1" fmla="*/ 839 h 840"/>
                <a:gd name="T2" fmla="*/ 575 w 1321"/>
                <a:gd name="T3" fmla="*/ 839 h 840"/>
                <a:gd name="T4" fmla="*/ 575 w 1321"/>
                <a:gd name="T5" fmla="*/ 386 h 840"/>
                <a:gd name="T6" fmla="*/ 561 w 1321"/>
                <a:gd name="T7" fmla="*/ 300 h 840"/>
                <a:gd name="T8" fmla="*/ 523 w 1321"/>
                <a:gd name="T9" fmla="*/ 228 h 840"/>
                <a:gd name="T10" fmla="*/ 461 w 1321"/>
                <a:gd name="T11" fmla="*/ 181 h 840"/>
                <a:gd name="T12" fmla="*/ 378 w 1321"/>
                <a:gd name="T13" fmla="*/ 161 h 840"/>
                <a:gd name="T14" fmla="*/ 295 w 1321"/>
                <a:gd name="T15" fmla="*/ 181 h 840"/>
                <a:gd name="T16" fmla="*/ 231 w 1321"/>
                <a:gd name="T17" fmla="*/ 228 h 840"/>
                <a:gd name="T18" fmla="*/ 189 w 1321"/>
                <a:gd name="T19" fmla="*/ 300 h 840"/>
                <a:gd name="T20" fmla="*/ 175 w 1321"/>
                <a:gd name="T21" fmla="*/ 386 h 840"/>
                <a:gd name="T22" fmla="*/ 175 w 1321"/>
                <a:gd name="T23" fmla="*/ 839 h 840"/>
                <a:gd name="T24" fmla="*/ 0 w 1321"/>
                <a:gd name="T25" fmla="*/ 839 h 840"/>
                <a:gd name="T26" fmla="*/ 0 w 1321"/>
                <a:gd name="T27" fmla="*/ 14 h 840"/>
                <a:gd name="T28" fmla="*/ 164 w 1321"/>
                <a:gd name="T29" fmla="*/ 14 h 840"/>
                <a:gd name="T30" fmla="*/ 175 w 1321"/>
                <a:gd name="T31" fmla="*/ 125 h 840"/>
                <a:gd name="T32" fmla="*/ 278 w 1321"/>
                <a:gd name="T33" fmla="*/ 28 h 840"/>
                <a:gd name="T34" fmla="*/ 411 w 1321"/>
                <a:gd name="T35" fmla="*/ 0 h 840"/>
                <a:gd name="T36" fmla="*/ 492 w 1321"/>
                <a:gd name="T37" fmla="*/ 8 h 840"/>
                <a:gd name="T38" fmla="*/ 564 w 1321"/>
                <a:gd name="T39" fmla="*/ 39 h 840"/>
                <a:gd name="T40" fmla="*/ 628 w 1321"/>
                <a:gd name="T41" fmla="*/ 89 h 840"/>
                <a:gd name="T42" fmla="*/ 675 w 1321"/>
                <a:gd name="T43" fmla="*/ 167 h 840"/>
                <a:gd name="T44" fmla="*/ 800 w 1321"/>
                <a:gd name="T45" fmla="*/ 39 h 840"/>
                <a:gd name="T46" fmla="*/ 964 w 1321"/>
                <a:gd name="T47" fmla="*/ 3 h 840"/>
                <a:gd name="T48" fmla="*/ 1231 w 1321"/>
                <a:gd name="T49" fmla="*/ 103 h 840"/>
                <a:gd name="T50" fmla="*/ 1320 w 1321"/>
                <a:gd name="T51" fmla="*/ 383 h 840"/>
                <a:gd name="T52" fmla="*/ 1320 w 1321"/>
                <a:gd name="T53" fmla="*/ 839 h 840"/>
                <a:gd name="T54" fmla="*/ 1142 w 1321"/>
                <a:gd name="T55" fmla="*/ 839 h 840"/>
                <a:gd name="T56" fmla="*/ 1142 w 1321"/>
                <a:gd name="T57" fmla="*/ 383 h 840"/>
                <a:gd name="T58" fmla="*/ 1131 w 1321"/>
                <a:gd name="T59" fmla="*/ 297 h 840"/>
                <a:gd name="T60" fmla="*/ 1095 w 1321"/>
                <a:gd name="T61" fmla="*/ 228 h 840"/>
                <a:gd name="T62" fmla="*/ 1039 w 1321"/>
                <a:gd name="T63" fmla="*/ 181 h 840"/>
                <a:gd name="T64" fmla="*/ 956 w 1321"/>
                <a:gd name="T65" fmla="*/ 164 h 840"/>
                <a:gd name="T66" fmla="*/ 873 w 1321"/>
                <a:gd name="T67" fmla="*/ 181 h 840"/>
                <a:gd name="T68" fmla="*/ 809 w 1321"/>
                <a:gd name="T69" fmla="*/ 228 h 840"/>
                <a:gd name="T70" fmla="*/ 767 w 1321"/>
                <a:gd name="T71" fmla="*/ 300 h 840"/>
                <a:gd name="T72" fmla="*/ 753 w 1321"/>
                <a:gd name="T73" fmla="*/ 386 h 840"/>
                <a:gd name="T74" fmla="*/ 753 w 1321"/>
                <a:gd name="T75" fmla="*/ 839 h 840"/>
                <a:gd name="T76" fmla="*/ 575 w 1321"/>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1" h="840">
                  <a:moveTo>
                    <a:pt x="575" y="839"/>
                  </a:moveTo>
                  <a:lnTo>
                    <a:pt x="575" y="839"/>
                  </a:lnTo>
                  <a:cubicBezTo>
                    <a:pt x="575" y="386"/>
                    <a:pt x="575" y="386"/>
                    <a:pt x="575" y="386"/>
                  </a:cubicBezTo>
                  <a:cubicBezTo>
                    <a:pt x="575" y="356"/>
                    <a:pt x="570" y="328"/>
                    <a:pt x="561" y="300"/>
                  </a:cubicBezTo>
                  <a:cubicBezTo>
                    <a:pt x="553" y="272"/>
                    <a:pt x="539" y="247"/>
                    <a:pt x="523" y="228"/>
                  </a:cubicBezTo>
                  <a:cubicBezTo>
                    <a:pt x="506" y="208"/>
                    <a:pt x="486" y="192"/>
                    <a:pt x="461" y="181"/>
                  </a:cubicBezTo>
                  <a:cubicBezTo>
                    <a:pt x="436" y="167"/>
                    <a:pt x="409" y="161"/>
                    <a:pt x="378" y="161"/>
                  </a:cubicBezTo>
                  <a:cubicBezTo>
                    <a:pt x="348" y="161"/>
                    <a:pt x="320" y="167"/>
                    <a:pt x="295" y="181"/>
                  </a:cubicBezTo>
                  <a:cubicBezTo>
                    <a:pt x="270" y="192"/>
                    <a:pt x="248" y="208"/>
                    <a:pt x="231" y="228"/>
                  </a:cubicBezTo>
                  <a:cubicBezTo>
                    <a:pt x="211" y="247"/>
                    <a:pt x="200" y="272"/>
                    <a:pt x="189" y="300"/>
                  </a:cubicBezTo>
                  <a:cubicBezTo>
                    <a:pt x="181" y="328"/>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198" y="78"/>
                    <a:pt x="234" y="47"/>
                    <a:pt x="278" y="28"/>
                  </a:cubicBezTo>
                  <a:cubicBezTo>
                    <a:pt x="323" y="11"/>
                    <a:pt x="367" y="0"/>
                    <a:pt x="411" y="0"/>
                  </a:cubicBezTo>
                  <a:cubicBezTo>
                    <a:pt x="439" y="0"/>
                    <a:pt x="464" y="3"/>
                    <a:pt x="492" y="8"/>
                  </a:cubicBezTo>
                  <a:cubicBezTo>
                    <a:pt x="517" y="14"/>
                    <a:pt x="542" y="25"/>
                    <a:pt x="564" y="39"/>
                  </a:cubicBezTo>
                  <a:cubicBezTo>
                    <a:pt x="589" y="50"/>
                    <a:pt x="609" y="69"/>
                    <a:pt x="628" y="89"/>
                  </a:cubicBezTo>
                  <a:cubicBezTo>
                    <a:pt x="647" y="111"/>
                    <a:pt x="661" y="136"/>
                    <a:pt x="675" y="167"/>
                  </a:cubicBezTo>
                  <a:cubicBezTo>
                    <a:pt x="709" y="106"/>
                    <a:pt x="750" y="64"/>
                    <a:pt x="800" y="39"/>
                  </a:cubicBezTo>
                  <a:cubicBezTo>
                    <a:pt x="850" y="14"/>
                    <a:pt x="906" y="3"/>
                    <a:pt x="964" y="3"/>
                  </a:cubicBezTo>
                  <a:cubicBezTo>
                    <a:pt x="1081" y="3"/>
                    <a:pt x="1170" y="36"/>
                    <a:pt x="1231" y="103"/>
                  </a:cubicBezTo>
                  <a:cubicBezTo>
                    <a:pt x="1289" y="172"/>
                    <a:pt x="1320" y="264"/>
                    <a:pt x="1320" y="383"/>
                  </a:cubicBezTo>
                  <a:cubicBezTo>
                    <a:pt x="1320" y="839"/>
                    <a:pt x="1320" y="839"/>
                    <a:pt x="1320" y="839"/>
                  </a:cubicBezTo>
                  <a:cubicBezTo>
                    <a:pt x="1142" y="839"/>
                    <a:pt x="1142" y="839"/>
                    <a:pt x="1142" y="839"/>
                  </a:cubicBezTo>
                  <a:cubicBezTo>
                    <a:pt x="1142" y="383"/>
                    <a:pt x="1142" y="383"/>
                    <a:pt x="1142" y="383"/>
                  </a:cubicBezTo>
                  <a:cubicBezTo>
                    <a:pt x="1142" y="353"/>
                    <a:pt x="1139" y="325"/>
                    <a:pt x="1131" y="297"/>
                  </a:cubicBezTo>
                  <a:cubicBezTo>
                    <a:pt x="1122" y="269"/>
                    <a:pt x="1111" y="247"/>
                    <a:pt x="1095" y="228"/>
                  </a:cubicBezTo>
                  <a:cubicBezTo>
                    <a:pt x="1081" y="206"/>
                    <a:pt x="1061" y="192"/>
                    <a:pt x="1039" y="181"/>
                  </a:cubicBezTo>
                  <a:cubicBezTo>
                    <a:pt x="1014" y="169"/>
                    <a:pt x="986" y="164"/>
                    <a:pt x="956" y="164"/>
                  </a:cubicBezTo>
                  <a:cubicBezTo>
                    <a:pt x="925" y="164"/>
                    <a:pt x="897" y="169"/>
                    <a:pt x="873" y="181"/>
                  </a:cubicBezTo>
                  <a:cubicBezTo>
                    <a:pt x="847" y="192"/>
                    <a:pt x="825" y="208"/>
                    <a:pt x="809" y="228"/>
                  </a:cubicBezTo>
                  <a:cubicBezTo>
                    <a:pt x="789" y="250"/>
                    <a:pt x="775" y="272"/>
                    <a:pt x="767" y="300"/>
                  </a:cubicBezTo>
                  <a:cubicBezTo>
                    <a:pt x="756" y="328"/>
                    <a:pt x="753" y="356"/>
                    <a:pt x="753" y="386"/>
                  </a:cubicBezTo>
                  <a:cubicBezTo>
                    <a:pt x="753" y="839"/>
                    <a:pt x="753" y="839"/>
                    <a:pt x="753" y="839"/>
                  </a:cubicBezTo>
                  <a:lnTo>
                    <a:pt x="575" y="83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0" name="Freeform 7">
              <a:extLst>
                <a:ext uri="{FF2B5EF4-FFF2-40B4-BE49-F238E27FC236}">
                  <a16:creationId xmlns:a16="http://schemas.microsoft.com/office/drawing/2014/main" id="{A8D1D8A4-8EDC-934F-AABC-1517955DBF6D}"/>
                </a:ext>
              </a:extLst>
            </p:cNvPr>
            <p:cNvSpPr>
              <a:spLocks noChangeArrowheads="1"/>
            </p:cNvSpPr>
            <p:nvPr userDrawn="1"/>
          </p:nvSpPr>
          <p:spPr bwMode="auto">
            <a:xfrm>
              <a:off x="4105275" y="3141663"/>
              <a:ext cx="314325" cy="312737"/>
            </a:xfrm>
            <a:custGeom>
              <a:avLst/>
              <a:gdLst>
                <a:gd name="T0" fmla="*/ 864 w 874"/>
                <a:gd name="T1" fmla="*/ 498 h 868"/>
                <a:gd name="T2" fmla="*/ 864 w 874"/>
                <a:gd name="T3" fmla="*/ 498 h 868"/>
                <a:gd name="T4" fmla="*/ 181 w 874"/>
                <a:gd name="T5" fmla="*/ 498 h 868"/>
                <a:gd name="T6" fmla="*/ 267 w 874"/>
                <a:gd name="T7" fmla="*/ 650 h 868"/>
                <a:gd name="T8" fmla="*/ 456 w 874"/>
                <a:gd name="T9" fmla="*/ 706 h 868"/>
                <a:gd name="T10" fmla="*/ 592 w 874"/>
                <a:gd name="T11" fmla="*/ 684 h 868"/>
                <a:gd name="T12" fmla="*/ 700 w 874"/>
                <a:gd name="T13" fmla="*/ 617 h 868"/>
                <a:gd name="T14" fmla="*/ 814 w 874"/>
                <a:gd name="T15" fmla="*/ 725 h 868"/>
                <a:gd name="T16" fmla="*/ 739 w 874"/>
                <a:gd name="T17" fmla="*/ 786 h 868"/>
                <a:gd name="T18" fmla="*/ 650 w 874"/>
                <a:gd name="T19" fmla="*/ 831 h 868"/>
                <a:gd name="T20" fmla="*/ 553 w 874"/>
                <a:gd name="T21" fmla="*/ 859 h 868"/>
                <a:gd name="T22" fmla="*/ 453 w 874"/>
                <a:gd name="T23" fmla="*/ 867 h 868"/>
                <a:gd name="T24" fmla="*/ 267 w 874"/>
                <a:gd name="T25" fmla="*/ 836 h 868"/>
                <a:gd name="T26" fmla="*/ 123 w 874"/>
                <a:gd name="T27" fmla="*/ 748 h 868"/>
                <a:gd name="T28" fmla="*/ 31 w 874"/>
                <a:gd name="T29" fmla="*/ 609 h 868"/>
                <a:gd name="T30" fmla="*/ 0 w 874"/>
                <a:gd name="T31" fmla="*/ 431 h 868"/>
                <a:gd name="T32" fmla="*/ 31 w 874"/>
                <a:gd name="T33" fmla="*/ 256 h 868"/>
                <a:gd name="T34" fmla="*/ 123 w 874"/>
                <a:gd name="T35" fmla="*/ 120 h 868"/>
                <a:gd name="T36" fmla="*/ 261 w 874"/>
                <a:gd name="T37" fmla="*/ 31 h 868"/>
                <a:gd name="T38" fmla="*/ 442 w 874"/>
                <a:gd name="T39" fmla="*/ 0 h 868"/>
                <a:gd name="T40" fmla="*/ 628 w 874"/>
                <a:gd name="T41" fmla="*/ 31 h 868"/>
                <a:gd name="T42" fmla="*/ 767 w 874"/>
                <a:gd name="T43" fmla="*/ 125 h 868"/>
                <a:gd name="T44" fmla="*/ 850 w 874"/>
                <a:gd name="T45" fmla="*/ 278 h 868"/>
                <a:gd name="T46" fmla="*/ 864 w 874"/>
                <a:gd name="T47" fmla="*/ 498 h 868"/>
                <a:gd name="T48" fmla="*/ 187 w 874"/>
                <a:gd name="T49" fmla="*/ 353 h 868"/>
                <a:gd name="T50" fmla="*/ 187 w 874"/>
                <a:gd name="T51" fmla="*/ 353 h 868"/>
                <a:gd name="T52" fmla="*/ 695 w 874"/>
                <a:gd name="T53" fmla="*/ 353 h 868"/>
                <a:gd name="T54" fmla="*/ 620 w 874"/>
                <a:gd name="T55" fmla="*/ 203 h 868"/>
                <a:gd name="T56" fmla="*/ 448 w 874"/>
                <a:gd name="T57" fmla="*/ 153 h 868"/>
                <a:gd name="T58" fmla="*/ 278 w 874"/>
                <a:gd name="T59" fmla="*/ 203 h 868"/>
                <a:gd name="T60" fmla="*/ 187 w 874"/>
                <a:gd name="T61" fmla="*/ 353 h 868"/>
                <a:gd name="T62" fmla="*/ 864 w 874"/>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4" h="868">
                  <a:moveTo>
                    <a:pt x="864" y="498"/>
                  </a:moveTo>
                  <a:lnTo>
                    <a:pt x="864" y="498"/>
                  </a:lnTo>
                  <a:cubicBezTo>
                    <a:pt x="181" y="498"/>
                    <a:pt x="181" y="498"/>
                    <a:pt x="181" y="498"/>
                  </a:cubicBezTo>
                  <a:cubicBezTo>
                    <a:pt x="189" y="562"/>
                    <a:pt x="217" y="611"/>
                    <a:pt x="267" y="650"/>
                  </a:cubicBezTo>
                  <a:cubicBezTo>
                    <a:pt x="317" y="686"/>
                    <a:pt x="378" y="706"/>
                    <a:pt x="456" y="706"/>
                  </a:cubicBezTo>
                  <a:cubicBezTo>
                    <a:pt x="500" y="706"/>
                    <a:pt x="545" y="698"/>
                    <a:pt x="592" y="684"/>
                  </a:cubicBezTo>
                  <a:cubicBezTo>
                    <a:pt x="639" y="667"/>
                    <a:pt x="675" y="645"/>
                    <a:pt x="700" y="617"/>
                  </a:cubicBezTo>
                  <a:cubicBezTo>
                    <a:pt x="814" y="725"/>
                    <a:pt x="814" y="725"/>
                    <a:pt x="814" y="725"/>
                  </a:cubicBezTo>
                  <a:cubicBezTo>
                    <a:pt x="795" y="750"/>
                    <a:pt x="770" y="770"/>
                    <a:pt x="739" y="786"/>
                  </a:cubicBezTo>
                  <a:cubicBezTo>
                    <a:pt x="711" y="806"/>
                    <a:pt x="681" y="820"/>
                    <a:pt x="650" y="831"/>
                  </a:cubicBezTo>
                  <a:cubicBezTo>
                    <a:pt x="620" y="845"/>
                    <a:pt x="587" y="853"/>
                    <a:pt x="553" y="859"/>
                  </a:cubicBezTo>
                  <a:cubicBezTo>
                    <a:pt x="517" y="864"/>
                    <a:pt x="487" y="867"/>
                    <a:pt x="453" y="867"/>
                  </a:cubicBezTo>
                  <a:cubicBezTo>
                    <a:pt x="384" y="867"/>
                    <a:pt x="323" y="856"/>
                    <a:pt x="267" y="836"/>
                  </a:cubicBezTo>
                  <a:cubicBezTo>
                    <a:pt x="209" y="814"/>
                    <a:pt x="161" y="786"/>
                    <a:pt x="123" y="748"/>
                  </a:cubicBezTo>
                  <a:cubicBezTo>
                    <a:pt x="84" y="709"/>
                    <a:pt x="53" y="664"/>
                    <a:pt x="31" y="609"/>
                  </a:cubicBezTo>
                  <a:cubicBezTo>
                    <a:pt x="12" y="556"/>
                    <a:pt x="0" y="495"/>
                    <a:pt x="0" y="431"/>
                  </a:cubicBezTo>
                  <a:cubicBezTo>
                    <a:pt x="0" y="367"/>
                    <a:pt x="12" y="309"/>
                    <a:pt x="31" y="256"/>
                  </a:cubicBezTo>
                  <a:cubicBezTo>
                    <a:pt x="53" y="203"/>
                    <a:pt x="84" y="159"/>
                    <a:pt x="123" y="120"/>
                  </a:cubicBezTo>
                  <a:cubicBezTo>
                    <a:pt x="161" y="84"/>
                    <a:pt x="209" y="53"/>
                    <a:pt x="261" y="31"/>
                  </a:cubicBezTo>
                  <a:cubicBezTo>
                    <a:pt x="314" y="12"/>
                    <a:pt x="375" y="0"/>
                    <a:pt x="442" y="0"/>
                  </a:cubicBezTo>
                  <a:cubicBezTo>
                    <a:pt x="509" y="0"/>
                    <a:pt x="573" y="12"/>
                    <a:pt x="628" y="31"/>
                  </a:cubicBezTo>
                  <a:cubicBezTo>
                    <a:pt x="681" y="53"/>
                    <a:pt x="728" y="84"/>
                    <a:pt x="767" y="125"/>
                  </a:cubicBezTo>
                  <a:cubicBezTo>
                    <a:pt x="806" y="164"/>
                    <a:pt x="834" y="217"/>
                    <a:pt x="850" y="278"/>
                  </a:cubicBezTo>
                  <a:cubicBezTo>
                    <a:pt x="867" y="342"/>
                    <a:pt x="873" y="414"/>
                    <a:pt x="864" y="498"/>
                  </a:cubicBezTo>
                  <a:lnTo>
                    <a:pt x="187" y="353"/>
                  </a:lnTo>
                  <a:lnTo>
                    <a:pt x="187" y="353"/>
                  </a:lnTo>
                  <a:cubicBezTo>
                    <a:pt x="695" y="353"/>
                    <a:pt x="695" y="353"/>
                    <a:pt x="695" y="353"/>
                  </a:cubicBezTo>
                  <a:cubicBezTo>
                    <a:pt x="689" y="287"/>
                    <a:pt x="664" y="236"/>
                    <a:pt x="620" y="203"/>
                  </a:cubicBezTo>
                  <a:cubicBezTo>
                    <a:pt x="575" y="170"/>
                    <a:pt x="517" y="153"/>
                    <a:pt x="448" y="153"/>
                  </a:cubicBezTo>
                  <a:cubicBezTo>
                    <a:pt x="381" y="153"/>
                    <a:pt x="325" y="170"/>
                    <a:pt x="278" y="203"/>
                  </a:cubicBezTo>
                  <a:cubicBezTo>
                    <a:pt x="231" y="236"/>
                    <a:pt x="200" y="287"/>
                    <a:pt x="187" y="353"/>
                  </a:cubicBezTo>
                  <a:lnTo>
                    <a:pt x="864"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1" name="Freeform 8">
              <a:extLst>
                <a:ext uri="{FF2B5EF4-FFF2-40B4-BE49-F238E27FC236}">
                  <a16:creationId xmlns:a16="http://schemas.microsoft.com/office/drawing/2014/main" id="{99C3D801-079F-9C46-BA62-8B82A5C5950C}"/>
                </a:ext>
              </a:extLst>
            </p:cNvPr>
            <p:cNvSpPr>
              <a:spLocks noChangeArrowheads="1"/>
            </p:cNvSpPr>
            <p:nvPr userDrawn="1"/>
          </p:nvSpPr>
          <p:spPr bwMode="auto">
            <a:xfrm>
              <a:off x="4481513" y="3141663"/>
              <a:ext cx="227012" cy="303212"/>
            </a:xfrm>
            <a:custGeom>
              <a:avLst/>
              <a:gdLst>
                <a:gd name="T0" fmla="*/ 164 w 631"/>
                <a:gd name="T1" fmla="*/ 20 h 843"/>
                <a:gd name="T2" fmla="*/ 164 w 631"/>
                <a:gd name="T3" fmla="*/ 20 h 843"/>
                <a:gd name="T4" fmla="*/ 175 w 631"/>
                <a:gd name="T5" fmla="*/ 128 h 843"/>
                <a:gd name="T6" fmla="*/ 289 w 631"/>
                <a:gd name="T7" fmla="*/ 25 h 843"/>
                <a:gd name="T8" fmla="*/ 422 w 631"/>
                <a:gd name="T9" fmla="*/ 0 h 843"/>
                <a:gd name="T10" fmla="*/ 539 w 631"/>
                <a:gd name="T11" fmla="*/ 20 h 843"/>
                <a:gd name="T12" fmla="*/ 630 w 631"/>
                <a:gd name="T13" fmla="*/ 70 h 843"/>
                <a:gd name="T14" fmla="*/ 550 w 631"/>
                <a:gd name="T15" fmla="*/ 222 h 843"/>
                <a:gd name="T16" fmla="*/ 486 w 631"/>
                <a:gd name="T17" fmla="*/ 184 h 843"/>
                <a:gd name="T18" fmla="*/ 402 w 631"/>
                <a:gd name="T19" fmla="*/ 172 h 843"/>
                <a:gd name="T20" fmla="*/ 316 w 631"/>
                <a:gd name="T21" fmla="*/ 186 h 843"/>
                <a:gd name="T22" fmla="*/ 244 w 631"/>
                <a:gd name="T23" fmla="*/ 228 h 843"/>
                <a:gd name="T24" fmla="*/ 194 w 631"/>
                <a:gd name="T25" fmla="*/ 297 h 843"/>
                <a:gd name="T26" fmla="*/ 175 w 631"/>
                <a:gd name="T27" fmla="*/ 397 h 843"/>
                <a:gd name="T28" fmla="*/ 175 w 631"/>
                <a:gd name="T29" fmla="*/ 842 h 843"/>
                <a:gd name="T30" fmla="*/ 0 w 631"/>
                <a:gd name="T31" fmla="*/ 842 h 843"/>
                <a:gd name="T32" fmla="*/ 0 w 631"/>
                <a:gd name="T33" fmla="*/ 20 h 843"/>
                <a:gd name="T34" fmla="*/ 164 w 631"/>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1" h="843">
                  <a:moveTo>
                    <a:pt x="164" y="20"/>
                  </a:moveTo>
                  <a:lnTo>
                    <a:pt x="164" y="20"/>
                  </a:lnTo>
                  <a:cubicBezTo>
                    <a:pt x="175" y="128"/>
                    <a:pt x="175" y="128"/>
                    <a:pt x="175" y="128"/>
                  </a:cubicBezTo>
                  <a:cubicBezTo>
                    <a:pt x="205" y="75"/>
                    <a:pt x="244" y="42"/>
                    <a:pt x="289" y="25"/>
                  </a:cubicBezTo>
                  <a:cubicBezTo>
                    <a:pt x="333" y="9"/>
                    <a:pt x="378" y="0"/>
                    <a:pt x="422" y="0"/>
                  </a:cubicBezTo>
                  <a:cubicBezTo>
                    <a:pt x="464" y="0"/>
                    <a:pt x="502" y="9"/>
                    <a:pt x="539" y="20"/>
                  </a:cubicBezTo>
                  <a:cubicBezTo>
                    <a:pt x="577" y="34"/>
                    <a:pt x="608" y="50"/>
                    <a:pt x="630" y="70"/>
                  </a:cubicBezTo>
                  <a:cubicBezTo>
                    <a:pt x="550" y="222"/>
                    <a:pt x="550" y="222"/>
                    <a:pt x="550" y="222"/>
                  </a:cubicBezTo>
                  <a:cubicBezTo>
                    <a:pt x="530" y="206"/>
                    <a:pt x="508" y="192"/>
                    <a:pt x="486" y="184"/>
                  </a:cubicBezTo>
                  <a:cubicBezTo>
                    <a:pt x="464" y="175"/>
                    <a:pt x="436" y="172"/>
                    <a:pt x="402" y="172"/>
                  </a:cubicBezTo>
                  <a:cubicBezTo>
                    <a:pt x="372" y="172"/>
                    <a:pt x="341" y="175"/>
                    <a:pt x="316" y="186"/>
                  </a:cubicBezTo>
                  <a:cubicBezTo>
                    <a:pt x="289" y="195"/>
                    <a:pt x="264" y="209"/>
                    <a:pt x="244" y="228"/>
                  </a:cubicBezTo>
                  <a:cubicBezTo>
                    <a:pt x="222" y="245"/>
                    <a:pt x="205" y="270"/>
                    <a:pt x="194" y="297"/>
                  </a:cubicBezTo>
                  <a:cubicBezTo>
                    <a:pt x="180" y="325"/>
                    <a:pt x="175" y="359"/>
                    <a:pt x="175" y="397"/>
                  </a:cubicBezTo>
                  <a:cubicBezTo>
                    <a:pt x="175" y="842"/>
                    <a:pt x="175" y="842"/>
                    <a:pt x="175" y="842"/>
                  </a:cubicBezTo>
                  <a:cubicBezTo>
                    <a:pt x="0" y="842"/>
                    <a:pt x="0" y="842"/>
                    <a:pt x="0" y="842"/>
                  </a:cubicBezTo>
                  <a:cubicBezTo>
                    <a:pt x="0" y="20"/>
                    <a:pt x="0" y="20"/>
                    <a:pt x="0" y="20"/>
                  </a:cubicBezTo>
                  <a:lnTo>
                    <a:pt x="164" y="2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2" name="Freeform 9">
              <a:extLst>
                <a:ext uri="{FF2B5EF4-FFF2-40B4-BE49-F238E27FC236}">
                  <a16:creationId xmlns:a16="http://schemas.microsoft.com/office/drawing/2014/main" id="{9ABCFA99-C867-9C49-BA6A-57EB10090B35}"/>
                </a:ext>
              </a:extLst>
            </p:cNvPr>
            <p:cNvSpPr>
              <a:spLocks noChangeArrowheads="1"/>
            </p:cNvSpPr>
            <p:nvPr userDrawn="1"/>
          </p:nvSpPr>
          <p:spPr bwMode="auto">
            <a:xfrm>
              <a:off x="4872038" y="3141663"/>
              <a:ext cx="314325" cy="312737"/>
            </a:xfrm>
            <a:custGeom>
              <a:avLst/>
              <a:gdLst>
                <a:gd name="T0" fmla="*/ 863 w 872"/>
                <a:gd name="T1" fmla="*/ 498 h 868"/>
                <a:gd name="T2" fmla="*/ 863 w 872"/>
                <a:gd name="T3" fmla="*/ 498 h 868"/>
                <a:gd name="T4" fmla="*/ 183 w 872"/>
                <a:gd name="T5" fmla="*/ 498 h 868"/>
                <a:gd name="T6" fmla="*/ 266 w 872"/>
                <a:gd name="T7" fmla="*/ 650 h 868"/>
                <a:gd name="T8" fmla="*/ 458 w 872"/>
                <a:gd name="T9" fmla="*/ 706 h 868"/>
                <a:gd name="T10" fmla="*/ 590 w 872"/>
                <a:gd name="T11" fmla="*/ 684 h 868"/>
                <a:gd name="T12" fmla="*/ 699 w 872"/>
                <a:gd name="T13" fmla="*/ 617 h 868"/>
                <a:gd name="T14" fmla="*/ 815 w 872"/>
                <a:gd name="T15" fmla="*/ 725 h 868"/>
                <a:gd name="T16" fmla="*/ 740 w 872"/>
                <a:gd name="T17" fmla="*/ 786 h 868"/>
                <a:gd name="T18" fmla="*/ 649 w 872"/>
                <a:gd name="T19" fmla="*/ 831 h 868"/>
                <a:gd name="T20" fmla="*/ 551 w 872"/>
                <a:gd name="T21" fmla="*/ 859 h 868"/>
                <a:gd name="T22" fmla="*/ 452 w 872"/>
                <a:gd name="T23" fmla="*/ 867 h 868"/>
                <a:gd name="T24" fmla="*/ 266 w 872"/>
                <a:gd name="T25" fmla="*/ 836 h 868"/>
                <a:gd name="T26" fmla="*/ 122 w 872"/>
                <a:gd name="T27" fmla="*/ 748 h 868"/>
                <a:gd name="T28" fmla="*/ 30 w 872"/>
                <a:gd name="T29" fmla="*/ 609 h 868"/>
                <a:gd name="T30" fmla="*/ 0 w 872"/>
                <a:gd name="T31" fmla="*/ 431 h 868"/>
                <a:gd name="T32" fmla="*/ 30 w 872"/>
                <a:gd name="T33" fmla="*/ 256 h 868"/>
                <a:gd name="T34" fmla="*/ 122 w 872"/>
                <a:gd name="T35" fmla="*/ 120 h 868"/>
                <a:gd name="T36" fmla="*/ 261 w 872"/>
                <a:gd name="T37" fmla="*/ 31 h 868"/>
                <a:gd name="T38" fmla="*/ 441 w 872"/>
                <a:gd name="T39" fmla="*/ 0 h 868"/>
                <a:gd name="T40" fmla="*/ 626 w 872"/>
                <a:gd name="T41" fmla="*/ 31 h 868"/>
                <a:gd name="T42" fmla="*/ 765 w 872"/>
                <a:gd name="T43" fmla="*/ 125 h 868"/>
                <a:gd name="T44" fmla="*/ 849 w 872"/>
                <a:gd name="T45" fmla="*/ 278 h 868"/>
                <a:gd name="T46" fmla="*/ 863 w 872"/>
                <a:gd name="T47" fmla="*/ 498 h 868"/>
                <a:gd name="T48" fmla="*/ 186 w 872"/>
                <a:gd name="T49" fmla="*/ 353 h 868"/>
                <a:gd name="T50" fmla="*/ 186 w 872"/>
                <a:gd name="T51" fmla="*/ 353 h 868"/>
                <a:gd name="T52" fmla="*/ 696 w 872"/>
                <a:gd name="T53" fmla="*/ 353 h 868"/>
                <a:gd name="T54" fmla="*/ 621 w 872"/>
                <a:gd name="T55" fmla="*/ 203 h 868"/>
                <a:gd name="T56" fmla="*/ 447 w 872"/>
                <a:gd name="T57" fmla="*/ 153 h 868"/>
                <a:gd name="T58" fmla="*/ 278 w 872"/>
                <a:gd name="T59" fmla="*/ 203 h 868"/>
                <a:gd name="T60" fmla="*/ 186 w 872"/>
                <a:gd name="T61" fmla="*/ 353 h 868"/>
                <a:gd name="T62" fmla="*/ 863 w 872"/>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2" h="868">
                  <a:moveTo>
                    <a:pt x="863" y="498"/>
                  </a:moveTo>
                  <a:lnTo>
                    <a:pt x="863" y="498"/>
                  </a:lnTo>
                  <a:cubicBezTo>
                    <a:pt x="183" y="498"/>
                    <a:pt x="183" y="498"/>
                    <a:pt x="183" y="498"/>
                  </a:cubicBezTo>
                  <a:cubicBezTo>
                    <a:pt x="189" y="562"/>
                    <a:pt x="219" y="611"/>
                    <a:pt x="266" y="650"/>
                  </a:cubicBezTo>
                  <a:cubicBezTo>
                    <a:pt x="316" y="686"/>
                    <a:pt x="380" y="706"/>
                    <a:pt x="458" y="706"/>
                  </a:cubicBezTo>
                  <a:cubicBezTo>
                    <a:pt x="499" y="706"/>
                    <a:pt x="543" y="698"/>
                    <a:pt x="590" y="684"/>
                  </a:cubicBezTo>
                  <a:cubicBezTo>
                    <a:pt x="638" y="667"/>
                    <a:pt x="674" y="645"/>
                    <a:pt x="699" y="617"/>
                  </a:cubicBezTo>
                  <a:cubicBezTo>
                    <a:pt x="815" y="725"/>
                    <a:pt x="815" y="725"/>
                    <a:pt x="815" y="725"/>
                  </a:cubicBezTo>
                  <a:cubicBezTo>
                    <a:pt x="793" y="750"/>
                    <a:pt x="768" y="770"/>
                    <a:pt x="740" y="786"/>
                  </a:cubicBezTo>
                  <a:cubicBezTo>
                    <a:pt x="710" y="806"/>
                    <a:pt x="682" y="820"/>
                    <a:pt x="649" y="831"/>
                  </a:cubicBezTo>
                  <a:cubicBezTo>
                    <a:pt x="618" y="845"/>
                    <a:pt x="585" y="853"/>
                    <a:pt x="551" y="859"/>
                  </a:cubicBezTo>
                  <a:cubicBezTo>
                    <a:pt x="518" y="864"/>
                    <a:pt x="485" y="867"/>
                    <a:pt x="452" y="867"/>
                  </a:cubicBezTo>
                  <a:cubicBezTo>
                    <a:pt x="383" y="867"/>
                    <a:pt x="322" y="856"/>
                    <a:pt x="266" y="836"/>
                  </a:cubicBezTo>
                  <a:cubicBezTo>
                    <a:pt x="211" y="814"/>
                    <a:pt x="161" y="786"/>
                    <a:pt x="122" y="748"/>
                  </a:cubicBezTo>
                  <a:cubicBezTo>
                    <a:pt x="83" y="709"/>
                    <a:pt x="53" y="664"/>
                    <a:pt x="30" y="609"/>
                  </a:cubicBezTo>
                  <a:cubicBezTo>
                    <a:pt x="11" y="556"/>
                    <a:pt x="0" y="495"/>
                    <a:pt x="0" y="431"/>
                  </a:cubicBezTo>
                  <a:cubicBezTo>
                    <a:pt x="0" y="367"/>
                    <a:pt x="11" y="309"/>
                    <a:pt x="30" y="256"/>
                  </a:cubicBezTo>
                  <a:cubicBezTo>
                    <a:pt x="53" y="203"/>
                    <a:pt x="83" y="159"/>
                    <a:pt x="122" y="120"/>
                  </a:cubicBezTo>
                  <a:cubicBezTo>
                    <a:pt x="161" y="84"/>
                    <a:pt x="208" y="53"/>
                    <a:pt x="261" y="31"/>
                  </a:cubicBezTo>
                  <a:cubicBezTo>
                    <a:pt x="316" y="12"/>
                    <a:pt x="375" y="0"/>
                    <a:pt x="441" y="0"/>
                  </a:cubicBezTo>
                  <a:cubicBezTo>
                    <a:pt x="510" y="0"/>
                    <a:pt x="571" y="12"/>
                    <a:pt x="626" y="31"/>
                  </a:cubicBezTo>
                  <a:cubicBezTo>
                    <a:pt x="682" y="53"/>
                    <a:pt x="726" y="84"/>
                    <a:pt x="765" y="125"/>
                  </a:cubicBezTo>
                  <a:cubicBezTo>
                    <a:pt x="804" y="164"/>
                    <a:pt x="832" y="217"/>
                    <a:pt x="849" y="278"/>
                  </a:cubicBezTo>
                  <a:cubicBezTo>
                    <a:pt x="868" y="342"/>
                    <a:pt x="871" y="414"/>
                    <a:pt x="863" y="498"/>
                  </a:cubicBezTo>
                  <a:lnTo>
                    <a:pt x="186" y="353"/>
                  </a:lnTo>
                  <a:lnTo>
                    <a:pt x="186" y="353"/>
                  </a:lnTo>
                  <a:cubicBezTo>
                    <a:pt x="696" y="353"/>
                    <a:pt x="696" y="353"/>
                    <a:pt x="696" y="353"/>
                  </a:cubicBezTo>
                  <a:cubicBezTo>
                    <a:pt x="690" y="287"/>
                    <a:pt x="663" y="236"/>
                    <a:pt x="621" y="203"/>
                  </a:cubicBezTo>
                  <a:cubicBezTo>
                    <a:pt x="577" y="170"/>
                    <a:pt x="518" y="153"/>
                    <a:pt x="447" y="153"/>
                  </a:cubicBezTo>
                  <a:cubicBezTo>
                    <a:pt x="380" y="153"/>
                    <a:pt x="325" y="170"/>
                    <a:pt x="278" y="203"/>
                  </a:cubicBezTo>
                  <a:cubicBezTo>
                    <a:pt x="230" y="236"/>
                    <a:pt x="200" y="287"/>
                    <a:pt x="186" y="353"/>
                  </a:cubicBezTo>
                  <a:lnTo>
                    <a:pt x="863"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3" name="Freeform 10">
              <a:extLst>
                <a:ext uri="{FF2B5EF4-FFF2-40B4-BE49-F238E27FC236}">
                  <a16:creationId xmlns:a16="http://schemas.microsoft.com/office/drawing/2014/main" id="{D952F8B5-B172-F34E-B79E-B9FAF2C64A35}"/>
                </a:ext>
              </a:extLst>
            </p:cNvPr>
            <p:cNvSpPr>
              <a:spLocks noChangeArrowheads="1"/>
            </p:cNvSpPr>
            <p:nvPr userDrawn="1"/>
          </p:nvSpPr>
          <p:spPr bwMode="auto">
            <a:xfrm>
              <a:off x="5205413" y="3149600"/>
              <a:ext cx="301625" cy="296863"/>
            </a:xfrm>
            <a:custGeom>
              <a:avLst/>
              <a:gdLst>
                <a:gd name="T0" fmla="*/ 606 w 837"/>
                <a:gd name="T1" fmla="*/ 0 h 823"/>
                <a:gd name="T2" fmla="*/ 820 w 837"/>
                <a:gd name="T3" fmla="*/ 0 h 823"/>
                <a:gd name="T4" fmla="*/ 820 w 837"/>
                <a:gd name="T5" fmla="*/ 5 h 823"/>
                <a:gd name="T6" fmla="*/ 536 w 837"/>
                <a:gd name="T7" fmla="*/ 402 h 823"/>
                <a:gd name="T8" fmla="*/ 836 w 837"/>
                <a:gd name="T9" fmla="*/ 819 h 823"/>
                <a:gd name="T10" fmla="*/ 836 w 837"/>
                <a:gd name="T11" fmla="*/ 822 h 823"/>
                <a:gd name="T12" fmla="*/ 625 w 837"/>
                <a:gd name="T13" fmla="*/ 822 h 823"/>
                <a:gd name="T14" fmla="*/ 420 w 837"/>
                <a:gd name="T15" fmla="*/ 525 h 823"/>
                <a:gd name="T16" fmla="*/ 212 w 837"/>
                <a:gd name="T17" fmla="*/ 822 h 823"/>
                <a:gd name="T18" fmla="*/ 0 w 837"/>
                <a:gd name="T19" fmla="*/ 822 h 823"/>
                <a:gd name="T20" fmla="*/ 0 w 837"/>
                <a:gd name="T21" fmla="*/ 819 h 823"/>
                <a:gd name="T22" fmla="*/ 303 w 837"/>
                <a:gd name="T23" fmla="*/ 402 h 823"/>
                <a:gd name="T24" fmla="*/ 20 w 837"/>
                <a:gd name="T25" fmla="*/ 5 h 823"/>
                <a:gd name="T26" fmla="*/ 20 w 837"/>
                <a:gd name="T27" fmla="*/ 0 h 823"/>
                <a:gd name="T28" fmla="*/ 231 w 837"/>
                <a:gd name="T29" fmla="*/ 0 h 823"/>
                <a:gd name="T30" fmla="*/ 420 w 837"/>
                <a:gd name="T31" fmla="*/ 294 h 823"/>
                <a:gd name="T32" fmla="*/ 606 w 837"/>
                <a:gd name="T33"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7" h="823">
                  <a:moveTo>
                    <a:pt x="606" y="0"/>
                  </a:moveTo>
                  <a:lnTo>
                    <a:pt x="820" y="0"/>
                  </a:lnTo>
                  <a:lnTo>
                    <a:pt x="820" y="5"/>
                  </a:lnTo>
                  <a:lnTo>
                    <a:pt x="536" y="402"/>
                  </a:lnTo>
                  <a:lnTo>
                    <a:pt x="836" y="819"/>
                  </a:lnTo>
                  <a:lnTo>
                    <a:pt x="836" y="822"/>
                  </a:lnTo>
                  <a:lnTo>
                    <a:pt x="625" y="822"/>
                  </a:lnTo>
                  <a:lnTo>
                    <a:pt x="420" y="525"/>
                  </a:lnTo>
                  <a:lnTo>
                    <a:pt x="212" y="822"/>
                  </a:lnTo>
                  <a:lnTo>
                    <a:pt x="0" y="822"/>
                  </a:lnTo>
                  <a:lnTo>
                    <a:pt x="0" y="819"/>
                  </a:lnTo>
                  <a:lnTo>
                    <a:pt x="303" y="402"/>
                  </a:lnTo>
                  <a:lnTo>
                    <a:pt x="20" y="5"/>
                  </a:lnTo>
                  <a:lnTo>
                    <a:pt x="20" y="0"/>
                  </a:lnTo>
                  <a:lnTo>
                    <a:pt x="231" y="0"/>
                  </a:lnTo>
                  <a:lnTo>
                    <a:pt x="420" y="294"/>
                  </a:lnTo>
                  <a:lnTo>
                    <a:pt x="60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4" name="Freeform 11">
              <a:extLst>
                <a:ext uri="{FF2B5EF4-FFF2-40B4-BE49-F238E27FC236}">
                  <a16:creationId xmlns:a16="http://schemas.microsoft.com/office/drawing/2014/main" id="{68BD8CEC-2BB3-D540-BDD4-22D01ECC2D8C}"/>
                </a:ext>
              </a:extLst>
            </p:cNvPr>
            <p:cNvSpPr>
              <a:spLocks noChangeArrowheads="1"/>
            </p:cNvSpPr>
            <p:nvPr userDrawn="1"/>
          </p:nvSpPr>
          <p:spPr bwMode="auto">
            <a:xfrm>
              <a:off x="5557838" y="3143250"/>
              <a:ext cx="323850" cy="439738"/>
            </a:xfrm>
            <a:custGeom>
              <a:avLst/>
              <a:gdLst>
                <a:gd name="T0" fmla="*/ 0 w 898"/>
                <a:gd name="T1" fmla="*/ 1221 h 1222"/>
                <a:gd name="T2" fmla="*/ 0 w 898"/>
                <a:gd name="T3" fmla="*/ 1221 h 1222"/>
                <a:gd name="T4" fmla="*/ 0 w 898"/>
                <a:gd name="T5" fmla="*/ 17 h 1222"/>
                <a:gd name="T6" fmla="*/ 164 w 898"/>
                <a:gd name="T7" fmla="*/ 17 h 1222"/>
                <a:gd name="T8" fmla="*/ 175 w 898"/>
                <a:gd name="T9" fmla="*/ 150 h 1222"/>
                <a:gd name="T10" fmla="*/ 306 w 898"/>
                <a:gd name="T11" fmla="*/ 36 h 1222"/>
                <a:gd name="T12" fmla="*/ 472 w 898"/>
                <a:gd name="T13" fmla="*/ 0 h 1222"/>
                <a:gd name="T14" fmla="*/ 645 w 898"/>
                <a:gd name="T15" fmla="*/ 33 h 1222"/>
                <a:gd name="T16" fmla="*/ 781 w 898"/>
                <a:gd name="T17" fmla="*/ 122 h 1222"/>
                <a:gd name="T18" fmla="*/ 867 w 898"/>
                <a:gd name="T19" fmla="*/ 256 h 1222"/>
                <a:gd name="T20" fmla="*/ 897 w 898"/>
                <a:gd name="T21" fmla="*/ 428 h 1222"/>
                <a:gd name="T22" fmla="*/ 867 w 898"/>
                <a:gd name="T23" fmla="*/ 600 h 1222"/>
                <a:gd name="T24" fmla="*/ 783 w 898"/>
                <a:gd name="T25" fmla="*/ 736 h 1222"/>
                <a:gd name="T26" fmla="*/ 650 w 898"/>
                <a:gd name="T27" fmla="*/ 828 h 1222"/>
                <a:gd name="T28" fmla="*/ 472 w 898"/>
                <a:gd name="T29" fmla="*/ 858 h 1222"/>
                <a:gd name="T30" fmla="*/ 392 w 898"/>
                <a:gd name="T31" fmla="*/ 850 h 1222"/>
                <a:gd name="T32" fmla="*/ 308 w 898"/>
                <a:gd name="T33" fmla="*/ 828 h 1222"/>
                <a:gd name="T34" fmla="*/ 233 w 898"/>
                <a:gd name="T35" fmla="*/ 786 h 1222"/>
                <a:gd name="T36" fmla="*/ 175 w 898"/>
                <a:gd name="T37" fmla="*/ 719 h 1222"/>
                <a:gd name="T38" fmla="*/ 175 w 898"/>
                <a:gd name="T39" fmla="*/ 1221 h 1222"/>
                <a:gd name="T40" fmla="*/ 0 w 898"/>
                <a:gd name="T41" fmla="*/ 1221 h 1222"/>
                <a:gd name="T42" fmla="*/ 456 w 898"/>
                <a:gd name="T43" fmla="*/ 692 h 1222"/>
                <a:gd name="T44" fmla="*/ 456 w 898"/>
                <a:gd name="T45" fmla="*/ 692 h 1222"/>
                <a:gd name="T46" fmla="*/ 561 w 898"/>
                <a:gd name="T47" fmla="*/ 672 h 1222"/>
                <a:gd name="T48" fmla="*/ 647 w 898"/>
                <a:gd name="T49" fmla="*/ 617 h 1222"/>
                <a:gd name="T50" fmla="*/ 703 w 898"/>
                <a:gd name="T51" fmla="*/ 536 h 1222"/>
                <a:gd name="T52" fmla="*/ 722 w 898"/>
                <a:gd name="T53" fmla="*/ 428 h 1222"/>
                <a:gd name="T54" fmla="*/ 650 w 898"/>
                <a:gd name="T55" fmla="*/ 239 h 1222"/>
                <a:gd name="T56" fmla="*/ 456 w 898"/>
                <a:gd name="T57" fmla="*/ 167 h 1222"/>
                <a:gd name="T58" fmla="*/ 345 w 898"/>
                <a:gd name="T59" fmla="*/ 186 h 1222"/>
                <a:gd name="T60" fmla="*/ 261 w 898"/>
                <a:gd name="T61" fmla="*/ 242 h 1222"/>
                <a:gd name="T62" fmla="*/ 208 w 898"/>
                <a:gd name="T63" fmla="*/ 325 h 1222"/>
                <a:gd name="T64" fmla="*/ 192 w 898"/>
                <a:gd name="T65" fmla="*/ 428 h 1222"/>
                <a:gd name="T66" fmla="*/ 211 w 898"/>
                <a:gd name="T67" fmla="*/ 530 h 1222"/>
                <a:gd name="T68" fmla="*/ 264 w 898"/>
                <a:gd name="T69" fmla="*/ 617 h 1222"/>
                <a:gd name="T70" fmla="*/ 347 w 898"/>
                <a:gd name="T71" fmla="*/ 672 h 1222"/>
                <a:gd name="T72" fmla="*/ 456 w 898"/>
                <a:gd name="T73" fmla="*/ 69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8" h="1222">
                  <a:moveTo>
                    <a:pt x="0" y="1221"/>
                  </a:moveTo>
                  <a:lnTo>
                    <a:pt x="0" y="1221"/>
                  </a:lnTo>
                  <a:cubicBezTo>
                    <a:pt x="0" y="17"/>
                    <a:pt x="0" y="17"/>
                    <a:pt x="0" y="17"/>
                  </a:cubicBezTo>
                  <a:cubicBezTo>
                    <a:pt x="164" y="17"/>
                    <a:pt x="164" y="17"/>
                    <a:pt x="164" y="17"/>
                  </a:cubicBezTo>
                  <a:cubicBezTo>
                    <a:pt x="175" y="150"/>
                    <a:pt x="175" y="150"/>
                    <a:pt x="175" y="150"/>
                  </a:cubicBezTo>
                  <a:cubicBezTo>
                    <a:pt x="208" y="100"/>
                    <a:pt x="253" y="61"/>
                    <a:pt x="306" y="36"/>
                  </a:cubicBezTo>
                  <a:cubicBezTo>
                    <a:pt x="361" y="11"/>
                    <a:pt x="417" y="0"/>
                    <a:pt x="472" y="0"/>
                  </a:cubicBezTo>
                  <a:cubicBezTo>
                    <a:pt x="536" y="0"/>
                    <a:pt x="592" y="11"/>
                    <a:pt x="645" y="33"/>
                  </a:cubicBezTo>
                  <a:cubicBezTo>
                    <a:pt x="697" y="53"/>
                    <a:pt x="742" y="83"/>
                    <a:pt x="781" y="122"/>
                  </a:cubicBezTo>
                  <a:cubicBezTo>
                    <a:pt x="817" y="158"/>
                    <a:pt x="847" y="206"/>
                    <a:pt x="867" y="256"/>
                  </a:cubicBezTo>
                  <a:cubicBezTo>
                    <a:pt x="886" y="308"/>
                    <a:pt x="897" y="367"/>
                    <a:pt x="897" y="428"/>
                  </a:cubicBezTo>
                  <a:cubicBezTo>
                    <a:pt x="897" y="492"/>
                    <a:pt x="886" y="550"/>
                    <a:pt x="867" y="600"/>
                  </a:cubicBezTo>
                  <a:cubicBezTo>
                    <a:pt x="847" y="653"/>
                    <a:pt x="820" y="700"/>
                    <a:pt x="783" y="736"/>
                  </a:cubicBezTo>
                  <a:cubicBezTo>
                    <a:pt x="747" y="775"/>
                    <a:pt x="703" y="805"/>
                    <a:pt x="650" y="828"/>
                  </a:cubicBezTo>
                  <a:cubicBezTo>
                    <a:pt x="597" y="847"/>
                    <a:pt x="536" y="858"/>
                    <a:pt x="472" y="858"/>
                  </a:cubicBezTo>
                  <a:cubicBezTo>
                    <a:pt x="447" y="858"/>
                    <a:pt x="420" y="856"/>
                    <a:pt x="392" y="850"/>
                  </a:cubicBezTo>
                  <a:cubicBezTo>
                    <a:pt x="364" y="847"/>
                    <a:pt x="336" y="839"/>
                    <a:pt x="308" y="828"/>
                  </a:cubicBezTo>
                  <a:cubicBezTo>
                    <a:pt x="283" y="817"/>
                    <a:pt x="258" y="803"/>
                    <a:pt x="233" y="786"/>
                  </a:cubicBezTo>
                  <a:cubicBezTo>
                    <a:pt x="211" y="767"/>
                    <a:pt x="192" y="744"/>
                    <a:pt x="175" y="719"/>
                  </a:cubicBezTo>
                  <a:cubicBezTo>
                    <a:pt x="175" y="1221"/>
                    <a:pt x="175" y="1221"/>
                    <a:pt x="175" y="1221"/>
                  </a:cubicBezTo>
                  <a:lnTo>
                    <a:pt x="0" y="1221"/>
                  </a:lnTo>
                  <a:close/>
                  <a:moveTo>
                    <a:pt x="456" y="692"/>
                  </a:moveTo>
                  <a:lnTo>
                    <a:pt x="456" y="692"/>
                  </a:lnTo>
                  <a:cubicBezTo>
                    <a:pt x="495" y="692"/>
                    <a:pt x="531" y="686"/>
                    <a:pt x="561" y="672"/>
                  </a:cubicBezTo>
                  <a:cubicBezTo>
                    <a:pt x="595" y="658"/>
                    <a:pt x="622" y="642"/>
                    <a:pt x="647" y="617"/>
                  </a:cubicBezTo>
                  <a:cubicBezTo>
                    <a:pt x="669" y="594"/>
                    <a:pt x="689" y="567"/>
                    <a:pt x="703" y="536"/>
                  </a:cubicBezTo>
                  <a:cubicBezTo>
                    <a:pt x="714" y="503"/>
                    <a:pt x="722" y="467"/>
                    <a:pt x="722" y="428"/>
                  </a:cubicBezTo>
                  <a:cubicBezTo>
                    <a:pt x="722" y="350"/>
                    <a:pt x="697" y="289"/>
                    <a:pt x="650" y="239"/>
                  </a:cubicBezTo>
                  <a:cubicBezTo>
                    <a:pt x="600" y="192"/>
                    <a:pt x="536" y="167"/>
                    <a:pt x="456" y="167"/>
                  </a:cubicBezTo>
                  <a:cubicBezTo>
                    <a:pt x="414" y="167"/>
                    <a:pt x="378" y="172"/>
                    <a:pt x="345" y="186"/>
                  </a:cubicBezTo>
                  <a:cubicBezTo>
                    <a:pt x="314" y="200"/>
                    <a:pt x="286" y="219"/>
                    <a:pt x="261" y="242"/>
                  </a:cubicBezTo>
                  <a:cubicBezTo>
                    <a:pt x="239" y="267"/>
                    <a:pt x="222" y="294"/>
                    <a:pt x="208" y="325"/>
                  </a:cubicBezTo>
                  <a:cubicBezTo>
                    <a:pt x="197" y="358"/>
                    <a:pt x="192" y="392"/>
                    <a:pt x="192" y="428"/>
                  </a:cubicBezTo>
                  <a:cubicBezTo>
                    <a:pt x="192" y="467"/>
                    <a:pt x="197" y="500"/>
                    <a:pt x="211" y="530"/>
                  </a:cubicBezTo>
                  <a:cubicBezTo>
                    <a:pt x="222" y="564"/>
                    <a:pt x="242" y="592"/>
                    <a:pt x="264" y="617"/>
                  </a:cubicBezTo>
                  <a:cubicBezTo>
                    <a:pt x="289" y="639"/>
                    <a:pt x="317" y="658"/>
                    <a:pt x="347" y="672"/>
                  </a:cubicBezTo>
                  <a:cubicBezTo>
                    <a:pt x="381" y="683"/>
                    <a:pt x="417" y="692"/>
                    <a:pt x="456" y="69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5" name="Freeform 12">
              <a:extLst>
                <a:ext uri="{FF2B5EF4-FFF2-40B4-BE49-F238E27FC236}">
                  <a16:creationId xmlns:a16="http://schemas.microsoft.com/office/drawing/2014/main" id="{34C24972-7ECF-434E-A163-8E91BBA1D4A8}"/>
                </a:ext>
              </a:extLst>
            </p:cNvPr>
            <p:cNvSpPr>
              <a:spLocks noChangeArrowheads="1"/>
            </p:cNvSpPr>
            <p:nvPr userDrawn="1"/>
          </p:nvSpPr>
          <p:spPr bwMode="auto">
            <a:xfrm>
              <a:off x="5929313" y="3141663"/>
              <a:ext cx="315912" cy="312737"/>
            </a:xfrm>
            <a:custGeom>
              <a:avLst/>
              <a:gdLst>
                <a:gd name="T0" fmla="*/ 867 w 876"/>
                <a:gd name="T1" fmla="*/ 498 h 868"/>
                <a:gd name="T2" fmla="*/ 867 w 876"/>
                <a:gd name="T3" fmla="*/ 498 h 868"/>
                <a:gd name="T4" fmla="*/ 184 w 876"/>
                <a:gd name="T5" fmla="*/ 498 h 868"/>
                <a:gd name="T6" fmla="*/ 270 w 876"/>
                <a:gd name="T7" fmla="*/ 650 h 868"/>
                <a:gd name="T8" fmla="*/ 459 w 876"/>
                <a:gd name="T9" fmla="*/ 706 h 868"/>
                <a:gd name="T10" fmla="*/ 595 w 876"/>
                <a:gd name="T11" fmla="*/ 684 h 868"/>
                <a:gd name="T12" fmla="*/ 703 w 876"/>
                <a:gd name="T13" fmla="*/ 617 h 868"/>
                <a:gd name="T14" fmla="*/ 817 w 876"/>
                <a:gd name="T15" fmla="*/ 725 h 868"/>
                <a:gd name="T16" fmla="*/ 742 w 876"/>
                <a:gd name="T17" fmla="*/ 786 h 868"/>
                <a:gd name="T18" fmla="*/ 653 w 876"/>
                <a:gd name="T19" fmla="*/ 831 h 868"/>
                <a:gd name="T20" fmla="*/ 553 w 876"/>
                <a:gd name="T21" fmla="*/ 859 h 868"/>
                <a:gd name="T22" fmla="*/ 456 w 876"/>
                <a:gd name="T23" fmla="*/ 867 h 868"/>
                <a:gd name="T24" fmla="*/ 267 w 876"/>
                <a:gd name="T25" fmla="*/ 836 h 868"/>
                <a:gd name="T26" fmla="*/ 125 w 876"/>
                <a:gd name="T27" fmla="*/ 748 h 868"/>
                <a:gd name="T28" fmla="*/ 34 w 876"/>
                <a:gd name="T29" fmla="*/ 609 h 868"/>
                <a:gd name="T30" fmla="*/ 0 w 876"/>
                <a:gd name="T31" fmla="*/ 431 h 868"/>
                <a:gd name="T32" fmla="*/ 34 w 876"/>
                <a:gd name="T33" fmla="*/ 256 h 868"/>
                <a:gd name="T34" fmla="*/ 125 w 876"/>
                <a:gd name="T35" fmla="*/ 120 h 868"/>
                <a:gd name="T36" fmla="*/ 264 w 876"/>
                <a:gd name="T37" fmla="*/ 31 h 868"/>
                <a:gd name="T38" fmla="*/ 442 w 876"/>
                <a:gd name="T39" fmla="*/ 0 h 868"/>
                <a:gd name="T40" fmla="*/ 628 w 876"/>
                <a:gd name="T41" fmla="*/ 31 h 868"/>
                <a:gd name="T42" fmla="*/ 770 w 876"/>
                <a:gd name="T43" fmla="*/ 125 h 868"/>
                <a:gd name="T44" fmla="*/ 853 w 876"/>
                <a:gd name="T45" fmla="*/ 278 h 868"/>
                <a:gd name="T46" fmla="*/ 867 w 876"/>
                <a:gd name="T47" fmla="*/ 498 h 868"/>
                <a:gd name="T48" fmla="*/ 186 w 876"/>
                <a:gd name="T49" fmla="*/ 353 h 868"/>
                <a:gd name="T50" fmla="*/ 186 w 876"/>
                <a:gd name="T51" fmla="*/ 353 h 868"/>
                <a:gd name="T52" fmla="*/ 698 w 876"/>
                <a:gd name="T53" fmla="*/ 353 h 868"/>
                <a:gd name="T54" fmla="*/ 623 w 876"/>
                <a:gd name="T55" fmla="*/ 203 h 868"/>
                <a:gd name="T56" fmla="*/ 448 w 876"/>
                <a:gd name="T57" fmla="*/ 153 h 868"/>
                <a:gd name="T58" fmla="*/ 278 w 876"/>
                <a:gd name="T59" fmla="*/ 203 h 868"/>
                <a:gd name="T60" fmla="*/ 186 w 876"/>
                <a:gd name="T61" fmla="*/ 353 h 868"/>
                <a:gd name="T62" fmla="*/ 867 w 876"/>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8">
                  <a:moveTo>
                    <a:pt x="867" y="498"/>
                  </a:moveTo>
                  <a:lnTo>
                    <a:pt x="867" y="498"/>
                  </a:lnTo>
                  <a:cubicBezTo>
                    <a:pt x="184" y="498"/>
                    <a:pt x="184" y="498"/>
                    <a:pt x="184" y="498"/>
                  </a:cubicBezTo>
                  <a:cubicBezTo>
                    <a:pt x="192" y="562"/>
                    <a:pt x="220" y="611"/>
                    <a:pt x="270" y="650"/>
                  </a:cubicBezTo>
                  <a:cubicBezTo>
                    <a:pt x="317" y="686"/>
                    <a:pt x="381" y="706"/>
                    <a:pt x="459" y="706"/>
                  </a:cubicBezTo>
                  <a:cubicBezTo>
                    <a:pt x="503" y="706"/>
                    <a:pt x="547" y="698"/>
                    <a:pt x="595" y="684"/>
                  </a:cubicBezTo>
                  <a:cubicBezTo>
                    <a:pt x="639" y="667"/>
                    <a:pt x="675" y="645"/>
                    <a:pt x="703" y="617"/>
                  </a:cubicBezTo>
                  <a:cubicBezTo>
                    <a:pt x="817" y="725"/>
                    <a:pt x="817" y="725"/>
                    <a:pt x="817" y="725"/>
                  </a:cubicBezTo>
                  <a:cubicBezTo>
                    <a:pt x="795" y="750"/>
                    <a:pt x="770" y="770"/>
                    <a:pt x="742" y="786"/>
                  </a:cubicBezTo>
                  <a:cubicBezTo>
                    <a:pt x="714" y="806"/>
                    <a:pt x="684" y="820"/>
                    <a:pt x="653" y="831"/>
                  </a:cubicBezTo>
                  <a:cubicBezTo>
                    <a:pt x="620" y="845"/>
                    <a:pt x="589" y="853"/>
                    <a:pt x="553" y="859"/>
                  </a:cubicBezTo>
                  <a:cubicBezTo>
                    <a:pt x="520" y="864"/>
                    <a:pt x="486" y="867"/>
                    <a:pt x="456" y="867"/>
                  </a:cubicBezTo>
                  <a:cubicBezTo>
                    <a:pt x="386" y="867"/>
                    <a:pt x="323" y="856"/>
                    <a:pt x="267" y="836"/>
                  </a:cubicBezTo>
                  <a:cubicBezTo>
                    <a:pt x="211" y="814"/>
                    <a:pt x="164" y="786"/>
                    <a:pt x="125" y="748"/>
                  </a:cubicBezTo>
                  <a:cubicBezTo>
                    <a:pt x="86" y="709"/>
                    <a:pt x="56" y="664"/>
                    <a:pt x="34" y="609"/>
                  </a:cubicBezTo>
                  <a:cubicBezTo>
                    <a:pt x="11" y="556"/>
                    <a:pt x="0" y="495"/>
                    <a:pt x="0" y="431"/>
                  </a:cubicBezTo>
                  <a:cubicBezTo>
                    <a:pt x="0" y="367"/>
                    <a:pt x="11" y="309"/>
                    <a:pt x="34" y="256"/>
                  </a:cubicBezTo>
                  <a:cubicBezTo>
                    <a:pt x="56" y="203"/>
                    <a:pt x="86" y="159"/>
                    <a:pt x="125" y="120"/>
                  </a:cubicBezTo>
                  <a:cubicBezTo>
                    <a:pt x="161" y="84"/>
                    <a:pt x="209" y="53"/>
                    <a:pt x="264" y="31"/>
                  </a:cubicBezTo>
                  <a:cubicBezTo>
                    <a:pt x="317" y="12"/>
                    <a:pt x="378" y="0"/>
                    <a:pt x="442" y="0"/>
                  </a:cubicBezTo>
                  <a:cubicBezTo>
                    <a:pt x="511" y="0"/>
                    <a:pt x="573" y="12"/>
                    <a:pt x="628" y="31"/>
                  </a:cubicBezTo>
                  <a:cubicBezTo>
                    <a:pt x="684" y="53"/>
                    <a:pt x="731" y="84"/>
                    <a:pt x="770" y="125"/>
                  </a:cubicBezTo>
                  <a:cubicBezTo>
                    <a:pt x="806" y="164"/>
                    <a:pt x="834" y="217"/>
                    <a:pt x="853" y="278"/>
                  </a:cubicBezTo>
                  <a:cubicBezTo>
                    <a:pt x="870" y="342"/>
                    <a:pt x="875" y="414"/>
                    <a:pt x="867" y="498"/>
                  </a:cubicBezTo>
                  <a:lnTo>
                    <a:pt x="186" y="353"/>
                  </a:lnTo>
                  <a:lnTo>
                    <a:pt x="186" y="353"/>
                  </a:lnTo>
                  <a:cubicBezTo>
                    <a:pt x="698" y="353"/>
                    <a:pt x="698" y="353"/>
                    <a:pt x="698" y="353"/>
                  </a:cubicBezTo>
                  <a:cubicBezTo>
                    <a:pt x="692" y="287"/>
                    <a:pt x="667" y="236"/>
                    <a:pt x="623" y="203"/>
                  </a:cubicBezTo>
                  <a:cubicBezTo>
                    <a:pt x="578" y="170"/>
                    <a:pt x="520" y="153"/>
                    <a:pt x="448" y="153"/>
                  </a:cubicBezTo>
                  <a:cubicBezTo>
                    <a:pt x="384" y="153"/>
                    <a:pt x="328" y="170"/>
                    <a:pt x="278" y="203"/>
                  </a:cubicBezTo>
                  <a:cubicBezTo>
                    <a:pt x="231" y="236"/>
                    <a:pt x="200" y="287"/>
                    <a:pt x="186" y="353"/>
                  </a:cubicBezTo>
                  <a:lnTo>
                    <a:pt x="867"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6" name="Freeform 13">
              <a:extLst>
                <a:ext uri="{FF2B5EF4-FFF2-40B4-BE49-F238E27FC236}">
                  <a16:creationId xmlns:a16="http://schemas.microsoft.com/office/drawing/2014/main" id="{D808B508-B861-7C47-882C-1E46A3019A68}"/>
                </a:ext>
              </a:extLst>
            </p:cNvPr>
            <p:cNvSpPr>
              <a:spLocks noChangeArrowheads="1"/>
            </p:cNvSpPr>
            <p:nvPr userDrawn="1"/>
          </p:nvSpPr>
          <p:spPr bwMode="auto">
            <a:xfrm>
              <a:off x="6305550" y="3141663"/>
              <a:ext cx="228600" cy="303212"/>
            </a:xfrm>
            <a:custGeom>
              <a:avLst/>
              <a:gdLst>
                <a:gd name="T0" fmla="*/ 164 w 634"/>
                <a:gd name="T1" fmla="*/ 20 h 843"/>
                <a:gd name="T2" fmla="*/ 164 w 634"/>
                <a:gd name="T3" fmla="*/ 20 h 843"/>
                <a:gd name="T4" fmla="*/ 177 w 634"/>
                <a:gd name="T5" fmla="*/ 128 h 843"/>
                <a:gd name="T6" fmla="*/ 289 w 634"/>
                <a:gd name="T7" fmla="*/ 25 h 843"/>
                <a:gd name="T8" fmla="*/ 425 w 634"/>
                <a:gd name="T9" fmla="*/ 0 h 843"/>
                <a:gd name="T10" fmla="*/ 541 w 634"/>
                <a:gd name="T11" fmla="*/ 20 h 843"/>
                <a:gd name="T12" fmla="*/ 633 w 634"/>
                <a:gd name="T13" fmla="*/ 70 h 843"/>
                <a:gd name="T14" fmla="*/ 552 w 634"/>
                <a:gd name="T15" fmla="*/ 222 h 843"/>
                <a:gd name="T16" fmla="*/ 486 w 634"/>
                <a:gd name="T17" fmla="*/ 184 h 843"/>
                <a:gd name="T18" fmla="*/ 405 w 634"/>
                <a:gd name="T19" fmla="*/ 172 h 843"/>
                <a:gd name="T20" fmla="*/ 316 w 634"/>
                <a:gd name="T21" fmla="*/ 186 h 843"/>
                <a:gd name="T22" fmla="*/ 244 w 634"/>
                <a:gd name="T23" fmla="*/ 228 h 843"/>
                <a:gd name="T24" fmla="*/ 197 w 634"/>
                <a:gd name="T25" fmla="*/ 297 h 843"/>
                <a:gd name="T26" fmla="*/ 177 w 634"/>
                <a:gd name="T27" fmla="*/ 397 h 843"/>
                <a:gd name="T28" fmla="*/ 177 w 634"/>
                <a:gd name="T29" fmla="*/ 842 h 843"/>
                <a:gd name="T30" fmla="*/ 0 w 634"/>
                <a:gd name="T31" fmla="*/ 842 h 843"/>
                <a:gd name="T32" fmla="*/ 0 w 634"/>
                <a:gd name="T33" fmla="*/ 20 h 843"/>
                <a:gd name="T34" fmla="*/ 164 w 634"/>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4" h="843">
                  <a:moveTo>
                    <a:pt x="164" y="20"/>
                  </a:moveTo>
                  <a:lnTo>
                    <a:pt x="164" y="20"/>
                  </a:lnTo>
                  <a:cubicBezTo>
                    <a:pt x="177" y="128"/>
                    <a:pt x="177" y="128"/>
                    <a:pt x="177" y="128"/>
                  </a:cubicBezTo>
                  <a:cubicBezTo>
                    <a:pt x="208" y="75"/>
                    <a:pt x="244" y="42"/>
                    <a:pt x="289" y="25"/>
                  </a:cubicBezTo>
                  <a:cubicBezTo>
                    <a:pt x="333" y="9"/>
                    <a:pt x="380" y="0"/>
                    <a:pt x="425" y="0"/>
                  </a:cubicBezTo>
                  <a:cubicBezTo>
                    <a:pt x="466" y="0"/>
                    <a:pt x="505" y="9"/>
                    <a:pt x="541" y="20"/>
                  </a:cubicBezTo>
                  <a:cubicBezTo>
                    <a:pt x="577" y="34"/>
                    <a:pt x="608" y="50"/>
                    <a:pt x="633" y="70"/>
                  </a:cubicBezTo>
                  <a:cubicBezTo>
                    <a:pt x="552" y="222"/>
                    <a:pt x="552" y="222"/>
                    <a:pt x="552" y="222"/>
                  </a:cubicBezTo>
                  <a:cubicBezTo>
                    <a:pt x="530" y="206"/>
                    <a:pt x="508" y="192"/>
                    <a:pt x="486" y="184"/>
                  </a:cubicBezTo>
                  <a:cubicBezTo>
                    <a:pt x="464" y="175"/>
                    <a:pt x="436" y="172"/>
                    <a:pt x="405" y="172"/>
                  </a:cubicBezTo>
                  <a:cubicBezTo>
                    <a:pt x="372" y="172"/>
                    <a:pt x="344" y="175"/>
                    <a:pt x="316" y="186"/>
                  </a:cubicBezTo>
                  <a:cubicBezTo>
                    <a:pt x="289" y="195"/>
                    <a:pt x="266" y="209"/>
                    <a:pt x="244" y="228"/>
                  </a:cubicBezTo>
                  <a:cubicBezTo>
                    <a:pt x="225" y="245"/>
                    <a:pt x="208" y="270"/>
                    <a:pt x="197" y="297"/>
                  </a:cubicBezTo>
                  <a:cubicBezTo>
                    <a:pt x="183" y="325"/>
                    <a:pt x="177" y="359"/>
                    <a:pt x="177" y="397"/>
                  </a:cubicBezTo>
                  <a:cubicBezTo>
                    <a:pt x="177" y="842"/>
                    <a:pt x="177" y="842"/>
                    <a:pt x="177" y="842"/>
                  </a:cubicBezTo>
                  <a:cubicBezTo>
                    <a:pt x="0" y="842"/>
                    <a:pt x="0" y="842"/>
                    <a:pt x="0" y="842"/>
                  </a:cubicBezTo>
                  <a:cubicBezTo>
                    <a:pt x="0" y="20"/>
                    <a:pt x="0" y="20"/>
                    <a:pt x="0" y="20"/>
                  </a:cubicBezTo>
                  <a:lnTo>
                    <a:pt x="164" y="2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7" name="Freeform 14">
              <a:extLst>
                <a:ext uri="{FF2B5EF4-FFF2-40B4-BE49-F238E27FC236}">
                  <a16:creationId xmlns:a16="http://schemas.microsoft.com/office/drawing/2014/main" id="{DA4B5B07-1DD1-444C-9434-A5BD0D4BC375}"/>
                </a:ext>
              </a:extLst>
            </p:cNvPr>
            <p:cNvSpPr>
              <a:spLocks noChangeArrowheads="1"/>
            </p:cNvSpPr>
            <p:nvPr userDrawn="1"/>
          </p:nvSpPr>
          <p:spPr bwMode="auto">
            <a:xfrm>
              <a:off x="6577013" y="3148013"/>
              <a:ext cx="63500" cy="296862"/>
            </a:xfrm>
            <a:custGeom>
              <a:avLst/>
              <a:gdLst>
                <a:gd name="T0" fmla="*/ 175 w 176"/>
                <a:gd name="T1" fmla="*/ 825 h 826"/>
                <a:gd name="T2" fmla="*/ 0 w 176"/>
                <a:gd name="T3" fmla="*/ 825 h 826"/>
                <a:gd name="T4" fmla="*/ 0 w 176"/>
                <a:gd name="T5" fmla="*/ 0 h 826"/>
                <a:gd name="T6" fmla="*/ 175 w 176"/>
                <a:gd name="T7" fmla="*/ 0 h 826"/>
                <a:gd name="T8" fmla="*/ 175 w 176"/>
                <a:gd name="T9" fmla="*/ 825 h 826"/>
              </a:gdLst>
              <a:ahLst/>
              <a:cxnLst>
                <a:cxn ang="0">
                  <a:pos x="T0" y="T1"/>
                </a:cxn>
                <a:cxn ang="0">
                  <a:pos x="T2" y="T3"/>
                </a:cxn>
                <a:cxn ang="0">
                  <a:pos x="T4" y="T5"/>
                </a:cxn>
                <a:cxn ang="0">
                  <a:pos x="T6" y="T7"/>
                </a:cxn>
                <a:cxn ang="0">
                  <a:pos x="T8" y="T9"/>
                </a:cxn>
              </a:cxnLst>
              <a:rect l="0" t="0" r="r" b="b"/>
              <a:pathLst>
                <a:path w="176" h="826">
                  <a:moveTo>
                    <a:pt x="175" y="825"/>
                  </a:moveTo>
                  <a:lnTo>
                    <a:pt x="0" y="825"/>
                  </a:lnTo>
                  <a:lnTo>
                    <a:pt x="0" y="0"/>
                  </a:lnTo>
                  <a:lnTo>
                    <a:pt x="175" y="0"/>
                  </a:lnTo>
                  <a:lnTo>
                    <a:pt x="175" y="82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8" name="Freeform 15">
              <a:extLst>
                <a:ext uri="{FF2B5EF4-FFF2-40B4-BE49-F238E27FC236}">
                  <a16:creationId xmlns:a16="http://schemas.microsoft.com/office/drawing/2014/main" id="{D083457F-493B-9D49-9B53-1046E4A96F81}"/>
                </a:ext>
              </a:extLst>
            </p:cNvPr>
            <p:cNvSpPr>
              <a:spLocks noChangeArrowheads="1"/>
            </p:cNvSpPr>
            <p:nvPr userDrawn="1"/>
          </p:nvSpPr>
          <p:spPr bwMode="auto">
            <a:xfrm>
              <a:off x="6707188" y="3141663"/>
              <a:ext cx="314325" cy="312737"/>
            </a:xfrm>
            <a:custGeom>
              <a:avLst/>
              <a:gdLst>
                <a:gd name="T0" fmla="*/ 864 w 873"/>
                <a:gd name="T1" fmla="*/ 498 h 868"/>
                <a:gd name="T2" fmla="*/ 864 w 873"/>
                <a:gd name="T3" fmla="*/ 498 h 868"/>
                <a:gd name="T4" fmla="*/ 184 w 873"/>
                <a:gd name="T5" fmla="*/ 498 h 868"/>
                <a:gd name="T6" fmla="*/ 267 w 873"/>
                <a:gd name="T7" fmla="*/ 650 h 868"/>
                <a:gd name="T8" fmla="*/ 459 w 873"/>
                <a:gd name="T9" fmla="*/ 706 h 868"/>
                <a:gd name="T10" fmla="*/ 592 w 873"/>
                <a:gd name="T11" fmla="*/ 684 h 868"/>
                <a:gd name="T12" fmla="*/ 700 w 873"/>
                <a:gd name="T13" fmla="*/ 617 h 868"/>
                <a:gd name="T14" fmla="*/ 817 w 873"/>
                <a:gd name="T15" fmla="*/ 725 h 868"/>
                <a:gd name="T16" fmla="*/ 742 w 873"/>
                <a:gd name="T17" fmla="*/ 786 h 868"/>
                <a:gd name="T18" fmla="*/ 650 w 873"/>
                <a:gd name="T19" fmla="*/ 831 h 868"/>
                <a:gd name="T20" fmla="*/ 553 w 873"/>
                <a:gd name="T21" fmla="*/ 859 h 868"/>
                <a:gd name="T22" fmla="*/ 453 w 873"/>
                <a:gd name="T23" fmla="*/ 867 h 868"/>
                <a:gd name="T24" fmla="*/ 267 w 873"/>
                <a:gd name="T25" fmla="*/ 836 h 868"/>
                <a:gd name="T26" fmla="*/ 123 w 873"/>
                <a:gd name="T27" fmla="*/ 748 h 868"/>
                <a:gd name="T28" fmla="*/ 34 w 873"/>
                <a:gd name="T29" fmla="*/ 609 h 868"/>
                <a:gd name="T30" fmla="*/ 0 w 873"/>
                <a:gd name="T31" fmla="*/ 431 h 868"/>
                <a:gd name="T32" fmla="*/ 34 w 873"/>
                <a:gd name="T33" fmla="*/ 256 h 868"/>
                <a:gd name="T34" fmla="*/ 123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7 w 873"/>
                <a:gd name="T53" fmla="*/ 353 h 868"/>
                <a:gd name="T54" fmla="*/ 622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4" y="498"/>
                    <a:pt x="184" y="498"/>
                    <a:pt x="184" y="498"/>
                  </a:cubicBezTo>
                  <a:cubicBezTo>
                    <a:pt x="189" y="562"/>
                    <a:pt x="220" y="611"/>
                    <a:pt x="267" y="650"/>
                  </a:cubicBezTo>
                  <a:cubicBezTo>
                    <a:pt x="317" y="686"/>
                    <a:pt x="381" y="706"/>
                    <a:pt x="459" y="706"/>
                  </a:cubicBezTo>
                  <a:cubicBezTo>
                    <a:pt x="500" y="706"/>
                    <a:pt x="545" y="698"/>
                    <a:pt x="592" y="684"/>
                  </a:cubicBezTo>
                  <a:cubicBezTo>
                    <a:pt x="639" y="667"/>
                    <a:pt x="675" y="645"/>
                    <a:pt x="700" y="617"/>
                  </a:cubicBezTo>
                  <a:cubicBezTo>
                    <a:pt x="817" y="725"/>
                    <a:pt x="817" y="725"/>
                    <a:pt x="817" y="725"/>
                  </a:cubicBezTo>
                  <a:cubicBezTo>
                    <a:pt x="795" y="750"/>
                    <a:pt x="770" y="770"/>
                    <a:pt x="742" y="786"/>
                  </a:cubicBezTo>
                  <a:cubicBezTo>
                    <a:pt x="711" y="806"/>
                    <a:pt x="684" y="820"/>
                    <a:pt x="650" y="831"/>
                  </a:cubicBezTo>
                  <a:cubicBezTo>
                    <a:pt x="620" y="845"/>
                    <a:pt x="586" y="853"/>
                    <a:pt x="553" y="859"/>
                  </a:cubicBezTo>
                  <a:cubicBezTo>
                    <a:pt x="520" y="864"/>
                    <a:pt x="486" y="867"/>
                    <a:pt x="453" y="867"/>
                  </a:cubicBezTo>
                  <a:cubicBezTo>
                    <a:pt x="384" y="867"/>
                    <a:pt x="322" y="856"/>
                    <a:pt x="267" y="836"/>
                  </a:cubicBezTo>
                  <a:cubicBezTo>
                    <a:pt x="211" y="814"/>
                    <a:pt x="164" y="786"/>
                    <a:pt x="123" y="748"/>
                  </a:cubicBezTo>
                  <a:cubicBezTo>
                    <a:pt x="84" y="709"/>
                    <a:pt x="53" y="664"/>
                    <a:pt x="34" y="609"/>
                  </a:cubicBezTo>
                  <a:cubicBezTo>
                    <a:pt x="11" y="556"/>
                    <a:pt x="0" y="495"/>
                    <a:pt x="0" y="431"/>
                  </a:cubicBezTo>
                  <a:cubicBezTo>
                    <a:pt x="0" y="367"/>
                    <a:pt x="11" y="309"/>
                    <a:pt x="34" y="256"/>
                  </a:cubicBezTo>
                  <a:cubicBezTo>
                    <a:pt x="53" y="203"/>
                    <a:pt x="84" y="159"/>
                    <a:pt x="123" y="120"/>
                  </a:cubicBezTo>
                  <a:cubicBezTo>
                    <a:pt x="161" y="84"/>
                    <a:pt x="209" y="53"/>
                    <a:pt x="261" y="31"/>
                  </a:cubicBezTo>
                  <a:cubicBezTo>
                    <a:pt x="317" y="12"/>
                    <a:pt x="375" y="0"/>
                    <a:pt x="442" y="0"/>
                  </a:cubicBezTo>
                  <a:cubicBezTo>
                    <a:pt x="511" y="0"/>
                    <a:pt x="572" y="12"/>
                    <a:pt x="628" y="31"/>
                  </a:cubicBezTo>
                  <a:cubicBezTo>
                    <a:pt x="684" y="53"/>
                    <a:pt x="728" y="84"/>
                    <a:pt x="767" y="125"/>
                  </a:cubicBezTo>
                  <a:cubicBezTo>
                    <a:pt x="806" y="164"/>
                    <a:pt x="834" y="217"/>
                    <a:pt x="850" y="278"/>
                  </a:cubicBezTo>
                  <a:cubicBezTo>
                    <a:pt x="870" y="342"/>
                    <a:pt x="872" y="414"/>
                    <a:pt x="864" y="498"/>
                  </a:cubicBezTo>
                  <a:lnTo>
                    <a:pt x="186" y="353"/>
                  </a:lnTo>
                  <a:lnTo>
                    <a:pt x="186" y="353"/>
                  </a:lnTo>
                  <a:cubicBezTo>
                    <a:pt x="697" y="353"/>
                    <a:pt x="697" y="353"/>
                    <a:pt x="697" y="353"/>
                  </a:cubicBezTo>
                  <a:cubicBezTo>
                    <a:pt x="692" y="287"/>
                    <a:pt x="667" y="236"/>
                    <a:pt x="622" y="203"/>
                  </a:cubicBezTo>
                  <a:cubicBezTo>
                    <a:pt x="578" y="170"/>
                    <a:pt x="520" y="153"/>
                    <a:pt x="447" y="153"/>
                  </a:cubicBezTo>
                  <a:cubicBezTo>
                    <a:pt x="384" y="153"/>
                    <a:pt x="325" y="170"/>
                    <a:pt x="278" y="203"/>
                  </a:cubicBezTo>
                  <a:cubicBezTo>
                    <a:pt x="231" y="236"/>
                    <a:pt x="200" y="287"/>
                    <a:pt x="186" y="353"/>
                  </a:cubicBezTo>
                  <a:lnTo>
                    <a:pt x="864"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9" name="Freeform 16">
              <a:extLst>
                <a:ext uri="{FF2B5EF4-FFF2-40B4-BE49-F238E27FC236}">
                  <a16:creationId xmlns:a16="http://schemas.microsoft.com/office/drawing/2014/main" id="{DE651136-D223-7E43-A25B-367D3263D05B}"/>
                </a:ext>
              </a:extLst>
            </p:cNvPr>
            <p:cNvSpPr>
              <a:spLocks noChangeArrowheads="1"/>
            </p:cNvSpPr>
            <p:nvPr userDrawn="1"/>
          </p:nvSpPr>
          <p:spPr bwMode="auto">
            <a:xfrm>
              <a:off x="7083425" y="3144838"/>
              <a:ext cx="293688" cy="301625"/>
            </a:xfrm>
            <a:custGeom>
              <a:avLst/>
              <a:gdLst>
                <a:gd name="T0" fmla="*/ 638 w 817"/>
                <a:gd name="T1" fmla="*/ 836 h 837"/>
                <a:gd name="T2" fmla="*/ 638 w 817"/>
                <a:gd name="T3" fmla="*/ 836 h 837"/>
                <a:gd name="T4" fmla="*/ 638 w 817"/>
                <a:gd name="T5" fmla="*/ 397 h 837"/>
                <a:gd name="T6" fmla="*/ 580 w 817"/>
                <a:gd name="T7" fmla="*/ 225 h 837"/>
                <a:gd name="T8" fmla="*/ 411 w 817"/>
                <a:gd name="T9" fmla="*/ 161 h 837"/>
                <a:gd name="T10" fmla="*/ 313 w 817"/>
                <a:gd name="T11" fmla="*/ 180 h 837"/>
                <a:gd name="T12" fmla="*/ 241 w 817"/>
                <a:gd name="T13" fmla="*/ 233 h 837"/>
                <a:gd name="T14" fmla="*/ 194 w 817"/>
                <a:gd name="T15" fmla="*/ 311 h 837"/>
                <a:gd name="T16" fmla="*/ 175 w 817"/>
                <a:gd name="T17" fmla="*/ 408 h 837"/>
                <a:gd name="T18" fmla="*/ 175 w 817"/>
                <a:gd name="T19" fmla="*/ 836 h 837"/>
                <a:gd name="T20" fmla="*/ 0 w 817"/>
                <a:gd name="T21" fmla="*/ 836 h 837"/>
                <a:gd name="T22" fmla="*/ 0 w 817"/>
                <a:gd name="T23" fmla="*/ 11 h 837"/>
                <a:gd name="T24" fmla="*/ 161 w 817"/>
                <a:gd name="T25" fmla="*/ 11 h 837"/>
                <a:gd name="T26" fmla="*/ 172 w 817"/>
                <a:gd name="T27" fmla="*/ 133 h 837"/>
                <a:gd name="T28" fmla="*/ 455 w 817"/>
                <a:gd name="T29" fmla="*/ 0 h 837"/>
                <a:gd name="T30" fmla="*/ 597 w 817"/>
                <a:gd name="T31" fmla="*/ 25 h 837"/>
                <a:gd name="T32" fmla="*/ 711 w 817"/>
                <a:gd name="T33" fmla="*/ 103 h 837"/>
                <a:gd name="T34" fmla="*/ 788 w 817"/>
                <a:gd name="T35" fmla="*/ 225 h 837"/>
                <a:gd name="T36" fmla="*/ 816 w 817"/>
                <a:gd name="T37" fmla="*/ 394 h 837"/>
                <a:gd name="T38" fmla="*/ 816 w 817"/>
                <a:gd name="T39" fmla="*/ 836 h 837"/>
                <a:gd name="T40" fmla="*/ 638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8" y="836"/>
                  </a:moveTo>
                  <a:lnTo>
                    <a:pt x="638" y="836"/>
                  </a:lnTo>
                  <a:cubicBezTo>
                    <a:pt x="638" y="397"/>
                    <a:pt x="638" y="397"/>
                    <a:pt x="638" y="397"/>
                  </a:cubicBezTo>
                  <a:cubicBezTo>
                    <a:pt x="638" y="325"/>
                    <a:pt x="619" y="269"/>
                    <a:pt x="580" y="225"/>
                  </a:cubicBezTo>
                  <a:cubicBezTo>
                    <a:pt x="541" y="183"/>
                    <a:pt x="483" y="161"/>
                    <a:pt x="411" y="161"/>
                  </a:cubicBezTo>
                  <a:cubicBezTo>
                    <a:pt x="375" y="161"/>
                    <a:pt x="344" y="166"/>
                    <a:pt x="313" y="180"/>
                  </a:cubicBezTo>
                  <a:cubicBezTo>
                    <a:pt x="286" y="191"/>
                    <a:pt x="261" y="211"/>
                    <a:pt x="241" y="233"/>
                  </a:cubicBezTo>
                  <a:cubicBezTo>
                    <a:pt x="219" y="255"/>
                    <a:pt x="205" y="283"/>
                    <a:pt x="194" y="311"/>
                  </a:cubicBezTo>
                  <a:cubicBezTo>
                    <a:pt x="180" y="341"/>
                    <a:pt x="175" y="375"/>
                    <a:pt x="175" y="408"/>
                  </a:cubicBezTo>
                  <a:cubicBezTo>
                    <a:pt x="175" y="836"/>
                    <a:pt x="175" y="836"/>
                    <a:pt x="175" y="836"/>
                  </a:cubicBezTo>
                  <a:cubicBezTo>
                    <a:pt x="0" y="836"/>
                    <a:pt x="0" y="836"/>
                    <a:pt x="0" y="836"/>
                  </a:cubicBezTo>
                  <a:cubicBezTo>
                    <a:pt x="0" y="11"/>
                    <a:pt x="0" y="11"/>
                    <a:pt x="0" y="11"/>
                  </a:cubicBezTo>
                  <a:cubicBezTo>
                    <a:pt x="161" y="11"/>
                    <a:pt x="161" y="11"/>
                    <a:pt x="161" y="11"/>
                  </a:cubicBezTo>
                  <a:cubicBezTo>
                    <a:pt x="172" y="133"/>
                    <a:pt x="172" y="133"/>
                    <a:pt x="172" y="133"/>
                  </a:cubicBezTo>
                  <a:cubicBezTo>
                    <a:pt x="250" y="44"/>
                    <a:pt x="344" y="0"/>
                    <a:pt x="455" y="0"/>
                  </a:cubicBezTo>
                  <a:cubicBezTo>
                    <a:pt x="505" y="0"/>
                    <a:pt x="552" y="8"/>
                    <a:pt x="597" y="25"/>
                  </a:cubicBezTo>
                  <a:cubicBezTo>
                    <a:pt x="641" y="44"/>
                    <a:pt x="677" y="69"/>
                    <a:pt x="711" y="103"/>
                  </a:cubicBezTo>
                  <a:cubicBezTo>
                    <a:pt x="744" y="136"/>
                    <a:pt x="769" y="178"/>
                    <a:pt x="788" y="225"/>
                  </a:cubicBezTo>
                  <a:cubicBezTo>
                    <a:pt x="808" y="275"/>
                    <a:pt x="816" y="330"/>
                    <a:pt x="816" y="394"/>
                  </a:cubicBezTo>
                  <a:cubicBezTo>
                    <a:pt x="816" y="836"/>
                    <a:pt x="816" y="836"/>
                    <a:pt x="816" y="836"/>
                  </a:cubicBezTo>
                  <a:lnTo>
                    <a:pt x="638" y="83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0" name="Freeform 17">
              <a:extLst>
                <a:ext uri="{FF2B5EF4-FFF2-40B4-BE49-F238E27FC236}">
                  <a16:creationId xmlns:a16="http://schemas.microsoft.com/office/drawing/2014/main" id="{F66E08D8-03E8-7E47-B511-F56EB14F7451}"/>
                </a:ext>
              </a:extLst>
            </p:cNvPr>
            <p:cNvSpPr>
              <a:spLocks noChangeArrowheads="1"/>
            </p:cNvSpPr>
            <p:nvPr userDrawn="1"/>
          </p:nvSpPr>
          <p:spPr bwMode="auto">
            <a:xfrm>
              <a:off x="7440613" y="3141663"/>
              <a:ext cx="274637" cy="311150"/>
            </a:xfrm>
            <a:custGeom>
              <a:avLst/>
              <a:gdLst>
                <a:gd name="T0" fmla="*/ 761 w 762"/>
                <a:gd name="T1" fmla="*/ 736 h 865"/>
                <a:gd name="T2" fmla="*/ 761 w 762"/>
                <a:gd name="T3" fmla="*/ 736 h 865"/>
                <a:gd name="T4" fmla="*/ 614 w 762"/>
                <a:gd name="T5" fmla="*/ 833 h 865"/>
                <a:gd name="T6" fmla="*/ 442 w 762"/>
                <a:gd name="T7" fmla="*/ 864 h 865"/>
                <a:gd name="T8" fmla="*/ 272 w 762"/>
                <a:gd name="T9" fmla="*/ 836 h 865"/>
                <a:gd name="T10" fmla="*/ 131 w 762"/>
                <a:gd name="T11" fmla="*/ 756 h 865"/>
                <a:gd name="T12" fmla="*/ 34 w 762"/>
                <a:gd name="T13" fmla="*/ 620 h 865"/>
                <a:gd name="T14" fmla="*/ 0 w 762"/>
                <a:gd name="T15" fmla="*/ 431 h 865"/>
                <a:gd name="T16" fmla="*/ 34 w 762"/>
                <a:gd name="T17" fmla="*/ 245 h 865"/>
                <a:gd name="T18" fmla="*/ 131 w 762"/>
                <a:gd name="T19" fmla="*/ 109 h 865"/>
                <a:gd name="T20" fmla="*/ 270 w 762"/>
                <a:gd name="T21" fmla="*/ 28 h 865"/>
                <a:gd name="T22" fmla="*/ 442 w 762"/>
                <a:gd name="T23" fmla="*/ 0 h 865"/>
                <a:gd name="T24" fmla="*/ 603 w 762"/>
                <a:gd name="T25" fmla="*/ 28 h 865"/>
                <a:gd name="T26" fmla="*/ 747 w 762"/>
                <a:gd name="T27" fmla="*/ 122 h 865"/>
                <a:gd name="T28" fmla="*/ 633 w 762"/>
                <a:gd name="T29" fmla="*/ 236 h 865"/>
                <a:gd name="T30" fmla="*/ 545 w 762"/>
                <a:gd name="T31" fmla="*/ 181 h 865"/>
                <a:gd name="T32" fmla="*/ 445 w 762"/>
                <a:gd name="T33" fmla="*/ 164 h 865"/>
                <a:gd name="T34" fmla="*/ 339 w 762"/>
                <a:gd name="T35" fmla="*/ 181 h 865"/>
                <a:gd name="T36" fmla="*/ 253 w 762"/>
                <a:gd name="T37" fmla="*/ 236 h 865"/>
                <a:gd name="T38" fmla="*/ 195 w 762"/>
                <a:gd name="T39" fmla="*/ 320 h 865"/>
                <a:gd name="T40" fmla="*/ 175 w 762"/>
                <a:gd name="T41" fmla="*/ 431 h 865"/>
                <a:gd name="T42" fmla="*/ 197 w 762"/>
                <a:gd name="T43" fmla="*/ 547 h 865"/>
                <a:gd name="T44" fmla="*/ 253 w 762"/>
                <a:gd name="T45" fmla="*/ 631 h 865"/>
                <a:gd name="T46" fmla="*/ 339 w 762"/>
                <a:gd name="T47" fmla="*/ 681 h 865"/>
                <a:gd name="T48" fmla="*/ 442 w 762"/>
                <a:gd name="T49" fmla="*/ 697 h 865"/>
                <a:gd name="T50" fmla="*/ 550 w 762"/>
                <a:gd name="T51" fmla="*/ 681 h 865"/>
                <a:gd name="T52" fmla="*/ 642 w 762"/>
                <a:gd name="T53" fmla="*/ 620 h 865"/>
                <a:gd name="T54" fmla="*/ 761 w 762"/>
                <a:gd name="T55" fmla="*/ 736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62" h="865">
                  <a:moveTo>
                    <a:pt x="761" y="736"/>
                  </a:moveTo>
                  <a:lnTo>
                    <a:pt x="761" y="736"/>
                  </a:lnTo>
                  <a:cubicBezTo>
                    <a:pt x="714" y="781"/>
                    <a:pt x="664" y="814"/>
                    <a:pt x="614" y="833"/>
                  </a:cubicBezTo>
                  <a:cubicBezTo>
                    <a:pt x="561" y="856"/>
                    <a:pt x="503" y="864"/>
                    <a:pt x="442" y="864"/>
                  </a:cubicBezTo>
                  <a:cubicBezTo>
                    <a:pt x="383" y="864"/>
                    <a:pt x="325" y="856"/>
                    <a:pt x="272" y="836"/>
                  </a:cubicBezTo>
                  <a:cubicBezTo>
                    <a:pt x="217" y="820"/>
                    <a:pt x="170" y="792"/>
                    <a:pt x="131" y="756"/>
                  </a:cubicBezTo>
                  <a:cubicBezTo>
                    <a:pt x="89" y="720"/>
                    <a:pt x="58" y="675"/>
                    <a:pt x="34" y="620"/>
                  </a:cubicBezTo>
                  <a:cubicBezTo>
                    <a:pt x="11" y="567"/>
                    <a:pt x="0" y="503"/>
                    <a:pt x="0" y="431"/>
                  </a:cubicBezTo>
                  <a:cubicBezTo>
                    <a:pt x="0" y="361"/>
                    <a:pt x="11" y="297"/>
                    <a:pt x="34" y="245"/>
                  </a:cubicBezTo>
                  <a:cubicBezTo>
                    <a:pt x="58" y="189"/>
                    <a:pt x="89" y="145"/>
                    <a:pt x="131" y="109"/>
                  </a:cubicBezTo>
                  <a:cubicBezTo>
                    <a:pt x="170" y="72"/>
                    <a:pt x="217" y="45"/>
                    <a:pt x="270" y="28"/>
                  </a:cubicBezTo>
                  <a:cubicBezTo>
                    <a:pt x="325" y="9"/>
                    <a:pt x="381" y="0"/>
                    <a:pt x="442" y="0"/>
                  </a:cubicBezTo>
                  <a:cubicBezTo>
                    <a:pt x="500" y="0"/>
                    <a:pt x="556" y="9"/>
                    <a:pt x="603" y="28"/>
                  </a:cubicBezTo>
                  <a:cubicBezTo>
                    <a:pt x="653" y="47"/>
                    <a:pt x="700" y="78"/>
                    <a:pt x="747" y="122"/>
                  </a:cubicBezTo>
                  <a:cubicBezTo>
                    <a:pt x="633" y="236"/>
                    <a:pt x="633" y="236"/>
                    <a:pt x="633" y="236"/>
                  </a:cubicBezTo>
                  <a:cubicBezTo>
                    <a:pt x="608" y="211"/>
                    <a:pt x="578" y="192"/>
                    <a:pt x="545" y="181"/>
                  </a:cubicBezTo>
                  <a:cubicBezTo>
                    <a:pt x="511" y="170"/>
                    <a:pt x="478" y="164"/>
                    <a:pt x="445" y="164"/>
                  </a:cubicBezTo>
                  <a:cubicBezTo>
                    <a:pt x="406" y="164"/>
                    <a:pt x="372" y="170"/>
                    <a:pt x="339" y="181"/>
                  </a:cubicBezTo>
                  <a:cubicBezTo>
                    <a:pt x="306" y="195"/>
                    <a:pt x="278" y="214"/>
                    <a:pt x="253" y="236"/>
                  </a:cubicBezTo>
                  <a:cubicBezTo>
                    <a:pt x="228" y="259"/>
                    <a:pt x="209" y="289"/>
                    <a:pt x="195" y="320"/>
                  </a:cubicBezTo>
                  <a:cubicBezTo>
                    <a:pt x="181" y="353"/>
                    <a:pt x="175" y="392"/>
                    <a:pt x="175" y="431"/>
                  </a:cubicBezTo>
                  <a:cubicBezTo>
                    <a:pt x="175" y="475"/>
                    <a:pt x="181" y="514"/>
                    <a:pt x="197" y="547"/>
                  </a:cubicBezTo>
                  <a:cubicBezTo>
                    <a:pt x="211" y="578"/>
                    <a:pt x="231" y="606"/>
                    <a:pt x="253" y="631"/>
                  </a:cubicBezTo>
                  <a:cubicBezTo>
                    <a:pt x="278" y="653"/>
                    <a:pt x="309" y="670"/>
                    <a:pt x="339" y="681"/>
                  </a:cubicBezTo>
                  <a:cubicBezTo>
                    <a:pt x="372" y="692"/>
                    <a:pt x="406" y="697"/>
                    <a:pt x="442" y="697"/>
                  </a:cubicBezTo>
                  <a:cubicBezTo>
                    <a:pt x="478" y="697"/>
                    <a:pt x="514" y="692"/>
                    <a:pt x="550" y="681"/>
                  </a:cubicBezTo>
                  <a:cubicBezTo>
                    <a:pt x="583" y="670"/>
                    <a:pt x="614" y="647"/>
                    <a:pt x="642" y="620"/>
                  </a:cubicBezTo>
                  <a:lnTo>
                    <a:pt x="761" y="73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1" name="Freeform 18">
              <a:extLst>
                <a:ext uri="{FF2B5EF4-FFF2-40B4-BE49-F238E27FC236}">
                  <a16:creationId xmlns:a16="http://schemas.microsoft.com/office/drawing/2014/main" id="{3566F7C8-94CB-004E-8CF3-366493033F57}"/>
                </a:ext>
              </a:extLst>
            </p:cNvPr>
            <p:cNvSpPr>
              <a:spLocks noChangeArrowheads="1"/>
            </p:cNvSpPr>
            <p:nvPr userDrawn="1"/>
          </p:nvSpPr>
          <p:spPr bwMode="auto">
            <a:xfrm>
              <a:off x="7747000" y="3141663"/>
              <a:ext cx="314325" cy="312737"/>
            </a:xfrm>
            <a:custGeom>
              <a:avLst/>
              <a:gdLst>
                <a:gd name="T0" fmla="*/ 864 w 873"/>
                <a:gd name="T1" fmla="*/ 498 h 868"/>
                <a:gd name="T2" fmla="*/ 864 w 873"/>
                <a:gd name="T3" fmla="*/ 498 h 868"/>
                <a:gd name="T4" fmla="*/ 181 w 873"/>
                <a:gd name="T5" fmla="*/ 498 h 868"/>
                <a:gd name="T6" fmla="*/ 267 w 873"/>
                <a:gd name="T7" fmla="*/ 650 h 868"/>
                <a:gd name="T8" fmla="*/ 456 w 873"/>
                <a:gd name="T9" fmla="*/ 706 h 868"/>
                <a:gd name="T10" fmla="*/ 592 w 873"/>
                <a:gd name="T11" fmla="*/ 684 h 868"/>
                <a:gd name="T12" fmla="*/ 700 w 873"/>
                <a:gd name="T13" fmla="*/ 617 h 868"/>
                <a:gd name="T14" fmla="*/ 817 w 873"/>
                <a:gd name="T15" fmla="*/ 725 h 868"/>
                <a:gd name="T16" fmla="*/ 739 w 873"/>
                <a:gd name="T17" fmla="*/ 786 h 868"/>
                <a:gd name="T18" fmla="*/ 650 w 873"/>
                <a:gd name="T19" fmla="*/ 831 h 868"/>
                <a:gd name="T20" fmla="*/ 553 w 873"/>
                <a:gd name="T21" fmla="*/ 859 h 868"/>
                <a:gd name="T22" fmla="*/ 453 w 873"/>
                <a:gd name="T23" fmla="*/ 867 h 868"/>
                <a:gd name="T24" fmla="*/ 267 w 873"/>
                <a:gd name="T25" fmla="*/ 836 h 868"/>
                <a:gd name="T26" fmla="*/ 122 w 873"/>
                <a:gd name="T27" fmla="*/ 748 h 868"/>
                <a:gd name="T28" fmla="*/ 31 w 873"/>
                <a:gd name="T29" fmla="*/ 609 h 868"/>
                <a:gd name="T30" fmla="*/ 0 w 873"/>
                <a:gd name="T31" fmla="*/ 431 h 868"/>
                <a:gd name="T32" fmla="*/ 31 w 873"/>
                <a:gd name="T33" fmla="*/ 256 h 868"/>
                <a:gd name="T34" fmla="*/ 122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4 w 873"/>
                <a:gd name="T53" fmla="*/ 353 h 868"/>
                <a:gd name="T54" fmla="*/ 619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1" y="498"/>
                    <a:pt x="181" y="498"/>
                    <a:pt x="181" y="498"/>
                  </a:cubicBezTo>
                  <a:cubicBezTo>
                    <a:pt x="189" y="562"/>
                    <a:pt x="219" y="611"/>
                    <a:pt x="267" y="650"/>
                  </a:cubicBezTo>
                  <a:cubicBezTo>
                    <a:pt x="317" y="686"/>
                    <a:pt x="381" y="706"/>
                    <a:pt x="456" y="706"/>
                  </a:cubicBezTo>
                  <a:cubicBezTo>
                    <a:pt x="500" y="706"/>
                    <a:pt x="544" y="698"/>
                    <a:pt x="592" y="684"/>
                  </a:cubicBezTo>
                  <a:cubicBezTo>
                    <a:pt x="639" y="667"/>
                    <a:pt x="675" y="645"/>
                    <a:pt x="700" y="617"/>
                  </a:cubicBezTo>
                  <a:cubicBezTo>
                    <a:pt x="817" y="725"/>
                    <a:pt x="817" y="725"/>
                    <a:pt x="817" y="725"/>
                  </a:cubicBezTo>
                  <a:cubicBezTo>
                    <a:pt x="794" y="750"/>
                    <a:pt x="769" y="770"/>
                    <a:pt x="739" y="786"/>
                  </a:cubicBezTo>
                  <a:cubicBezTo>
                    <a:pt x="711" y="806"/>
                    <a:pt x="681" y="820"/>
                    <a:pt x="650" y="831"/>
                  </a:cubicBezTo>
                  <a:cubicBezTo>
                    <a:pt x="619" y="845"/>
                    <a:pt x="586" y="853"/>
                    <a:pt x="553" y="859"/>
                  </a:cubicBezTo>
                  <a:cubicBezTo>
                    <a:pt x="519" y="864"/>
                    <a:pt x="486" y="867"/>
                    <a:pt x="453" y="867"/>
                  </a:cubicBezTo>
                  <a:cubicBezTo>
                    <a:pt x="383" y="867"/>
                    <a:pt x="322" y="856"/>
                    <a:pt x="267" y="836"/>
                  </a:cubicBezTo>
                  <a:cubicBezTo>
                    <a:pt x="208" y="814"/>
                    <a:pt x="161" y="786"/>
                    <a:pt x="122" y="748"/>
                  </a:cubicBezTo>
                  <a:cubicBezTo>
                    <a:pt x="83" y="709"/>
                    <a:pt x="53" y="664"/>
                    <a:pt x="31" y="609"/>
                  </a:cubicBezTo>
                  <a:cubicBezTo>
                    <a:pt x="11" y="556"/>
                    <a:pt x="0" y="495"/>
                    <a:pt x="0" y="431"/>
                  </a:cubicBezTo>
                  <a:cubicBezTo>
                    <a:pt x="0" y="367"/>
                    <a:pt x="11" y="309"/>
                    <a:pt x="31" y="256"/>
                  </a:cubicBezTo>
                  <a:cubicBezTo>
                    <a:pt x="53" y="203"/>
                    <a:pt x="83" y="159"/>
                    <a:pt x="122" y="120"/>
                  </a:cubicBezTo>
                  <a:cubicBezTo>
                    <a:pt x="161" y="84"/>
                    <a:pt x="208" y="53"/>
                    <a:pt x="261" y="31"/>
                  </a:cubicBezTo>
                  <a:cubicBezTo>
                    <a:pt x="314" y="12"/>
                    <a:pt x="375" y="0"/>
                    <a:pt x="442" y="0"/>
                  </a:cubicBezTo>
                  <a:cubicBezTo>
                    <a:pt x="508" y="0"/>
                    <a:pt x="572" y="12"/>
                    <a:pt x="628" y="31"/>
                  </a:cubicBezTo>
                  <a:cubicBezTo>
                    <a:pt x="681" y="53"/>
                    <a:pt x="728" y="84"/>
                    <a:pt x="767" y="125"/>
                  </a:cubicBezTo>
                  <a:cubicBezTo>
                    <a:pt x="806" y="164"/>
                    <a:pt x="833" y="217"/>
                    <a:pt x="850" y="278"/>
                  </a:cubicBezTo>
                  <a:cubicBezTo>
                    <a:pt x="867" y="342"/>
                    <a:pt x="872" y="414"/>
                    <a:pt x="864" y="498"/>
                  </a:cubicBezTo>
                  <a:lnTo>
                    <a:pt x="186" y="353"/>
                  </a:lnTo>
                  <a:lnTo>
                    <a:pt x="186" y="353"/>
                  </a:lnTo>
                  <a:cubicBezTo>
                    <a:pt x="694" y="353"/>
                    <a:pt x="694" y="353"/>
                    <a:pt x="694" y="353"/>
                  </a:cubicBezTo>
                  <a:cubicBezTo>
                    <a:pt x="689" y="287"/>
                    <a:pt x="664" y="236"/>
                    <a:pt x="619" y="203"/>
                  </a:cubicBezTo>
                  <a:cubicBezTo>
                    <a:pt x="575" y="170"/>
                    <a:pt x="519" y="153"/>
                    <a:pt x="447" y="153"/>
                  </a:cubicBezTo>
                  <a:cubicBezTo>
                    <a:pt x="381" y="153"/>
                    <a:pt x="325" y="170"/>
                    <a:pt x="278" y="203"/>
                  </a:cubicBezTo>
                  <a:cubicBezTo>
                    <a:pt x="231" y="236"/>
                    <a:pt x="200" y="287"/>
                    <a:pt x="186" y="353"/>
                  </a:cubicBezTo>
                  <a:lnTo>
                    <a:pt x="864"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2" name="Freeform 19">
              <a:extLst>
                <a:ext uri="{FF2B5EF4-FFF2-40B4-BE49-F238E27FC236}">
                  <a16:creationId xmlns:a16="http://schemas.microsoft.com/office/drawing/2014/main" id="{DC3296C0-00C5-BF4D-A6F6-652287B3002A}"/>
                </a:ext>
              </a:extLst>
            </p:cNvPr>
            <p:cNvSpPr>
              <a:spLocks noChangeArrowheads="1"/>
            </p:cNvSpPr>
            <p:nvPr userDrawn="1"/>
          </p:nvSpPr>
          <p:spPr bwMode="auto">
            <a:xfrm>
              <a:off x="1828800" y="3743325"/>
              <a:ext cx="323850" cy="311150"/>
            </a:xfrm>
            <a:custGeom>
              <a:avLst/>
              <a:gdLst>
                <a:gd name="T0" fmla="*/ 722 w 901"/>
                <a:gd name="T1" fmla="*/ 147 h 865"/>
                <a:gd name="T2" fmla="*/ 722 w 901"/>
                <a:gd name="T3" fmla="*/ 147 h 865"/>
                <a:gd name="T4" fmla="*/ 728 w 901"/>
                <a:gd name="T5" fmla="*/ 17 h 865"/>
                <a:gd name="T6" fmla="*/ 900 w 901"/>
                <a:gd name="T7" fmla="*/ 17 h 865"/>
                <a:gd name="T8" fmla="*/ 900 w 901"/>
                <a:gd name="T9" fmla="*/ 842 h 865"/>
                <a:gd name="T10" fmla="*/ 731 w 901"/>
                <a:gd name="T11" fmla="*/ 842 h 865"/>
                <a:gd name="T12" fmla="*/ 722 w 901"/>
                <a:gd name="T13" fmla="*/ 709 h 865"/>
                <a:gd name="T14" fmla="*/ 669 w 901"/>
                <a:gd name="T15" fmla="*/ 778 h 865"/>
                <a:gd name="T16" fmla="*/ 597 w 901"/>
                <a:gd name="T17" fmla="*/ 825 h 865"/>
                <a:gd name="T18" fmla="*/ 514 w 901"/>
                <a:gd name="T19" fmla="*/ 856 h 865"/>
                <a:gd name="T20" fmla="*/ 433 w 901"/>
                <a:gd name="T21" fmla="*/ 864 h 865"/>
                <a:gd name="T22" fmla="*/ 261 w 901"/>
                <a:gd name="T23" fmla="*/ 836 h 865"/>
                <a:gd name="T24" fmla="*/ 125 w 901"/>
                <a:gd name="T25" fmla="*/ 753 h 865"/>
                <a:gd name="T26" fmla="*/ 33 w 901"/>
                <a:gd name="T27" fmla="*/ 617 h 865"/>
                <a:gd name="T28" fmla="*/ 0 w 901"/>
                <a:gd name="T29" fmla="*/ 428 h 865"/>
                <a:gd name="T30" fmla="*/ 36 w 901"/>
                <a:gd name="T31" fmla="*/ 245 h 865"/>
                <a:gd name="T32" fmla="*/ 128 w 901"/>
                <a:gd name="T33" fmla="*/ 111 h 865"/>
                <a:gd name="T34" fmla="*/ 267 w 901"/>
                <a:gd name="T35" fmla="*/ 28 h 865"/>
                <a:gd name="T36" fmla="*/ 436 w 901"/>
                <a:gd name="T37" fmla="*/ 0 h 865"/>
                <a:gd name="T38" fmla="*/ 606 w 901"/>
                <a:gd name="T39" fmla="*/ 39 h 865"/>
                <a:gd name="T40" fmla="*/ 722 w 901"/>
                <a:gd name="T41" fmla="*/ 147 h 865"/>
                <a:gd name="T42" fmla="*/ 450 w 901"/>
                <a:gd name="T43" fmla="*/ 156 h 865"/>
                <a:gd name="T44" fmla="*/ 450 w 901"/>
                <a:gd name="T45" fmla="*/ 156 h 865"/>
                <a:gd name="T46" fmla="*/ 344 w 901"/>
                <a:gd name="T47" fmla="*/ 175 h 865"/>
                <a:gd name="T48" fmla="*/ 258 w 901"/>
                <a:gd name="T49" fmla="*/ 231 h 865"/>
                <a:gd name="T50" fmla="*/ 197 w 901"/>
                <a:gd name="T51" fmla="*/ 317 h 865"/>
                <a:gd name="T52" fmla="*/ 178 w 901"/>
                <a:gd name="T53" fmla="*/ 428 h 865"/>
                <a:gd name="T54" fmla="*/ 197 w 901"/>
                <a:gd name="T55" fmla="*/ 545 h 865"/>
                <a:gd name="T56" fmla="*/ 258 w 901"/>
                <a:gd name="T57" fmla="*/ 631 h 865"/>
                <a:gd name="T58" fmla="*/ 344 w 901"/>
                <a:gd name="T59" fmla="*/ 684 h 865"/>
                <a:gd name="T60" fmla="*/ 450 w 901"/>
                <a:gd name="T61" fmla="*/ 703 h 865"/>
                <a:gd name="T62" fmla="*/ 600 w 901"/>
                <a:gd name="T63" fmla="*/ 664 h 865"/>
                <a:gd name="T64" fmla="*/ 692 w 901"/>
                <a:gd name="T65" fmla="*/ 561 h 865"/>
                <a:gd name="T66" fmla="*/ 722 w 901"/>
                <a:gd name="T67" fmla="*/ 431 h 865"/>
                <a:gd name="T68" fmla="*/ 692 w 901"/>
                <a:gd name="T69" fmla="*/ 298 h 865"/>
                <a:gd name="T70" fmla="*/ 600 w 901"/>
                <a:gd name="T71" fmla="*/ 198 h 865"/>
                <a:gd name="T72" fmla="*/ 450 w 901"/>
                <a:gd name="T73" fmla="*/ 156 h 865"/>
                <a:gd name="T74" fmla="*/ 722 w 901"/>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1" h="865">
                  <a:moveTo>
                    <a:pt x="722" y="147"/>
                  </a:moveTo>
                  <a:lnTo>
                    <a:pt x="722" y="147"/>
                  </a:lnTo>
                  <a:cubicBezTo>
                    <a:pt x="728" y="17"/>
                    <a:pt x="728" y="17"/>
                    <a:pt x="728" y="17"/>
                  </a:cubicBezTo>
                  <a:cubicBezTo>
                    <a:pt x="900" y="17"/>
                    <a:pt x="900" y="17"/>
                    <a:pt x="900" y="17"/>
                  </a:cubicBezTo>
                  <a:cubicBezTo>
                    <a:pt x="900" y="842"/>
                    <a:pt x="900" y="842"/>
                    <a:pt x="900" y="842"/>
                  </a:cubicBezTo>
                  <a:cubicBezTo>
                    <a:pt x="731" y="842"/>
                    <a:pt x="731" y="842"/>
                    <a:pt x="731" y="842"/>
                  </a:cubicBezTo>
                  <a:cubicBezTo>
                    <a:pt x="722" y="709"/>
                    <a:pt x="722" y="709"/>
                    <a:pt x="722" y="709"/>
                  </a:cubicBezTo>
                  <a:cubicBezTo>
                    <a:pt x="708" y="736"/>
                    <a:pt x="692" y="759"/>
                    <a:pt x="669" y="778"/>
                  </a:cubicBezTo>
                  <a:cubicBezTo>
                    <a:pt x="647" y="797"/>
                    <a:pt x="622" y="814"/>
                    <a:pt x="597" y="825"/>
                  </a:cubicBezTo>
                  <a:cubicBezTo>
                    <a:pt x="569" y="839"/>
                    <a:pt x="542" y="847"/>
                    <a:pt x="514" y="856"/>
                  </a:cubicBezTo>
                  <a:cubicBezTo>
                    <a:pt x="486" y="861"/>
                    <a:pt x="458" y="864"/>
                    <a:pt x="433" y="864"/>
                  </a:cubicBezTo>
                  <a:cubicBezTo>
                    <a:pt x="372" y="864"/>
                    <a:pt x="314" y="853"/>
                    <a:pt x="261" y="836"/>
                  </a:cubicBezTo>
                  <a:cubicBezTo>
                    <a:pt x="208" y="817"/>
                    <a:pt x="164" y="789"/>
                    <a:pt x="125" y="753"/>
                  </a:cubicBezTo>
                  <a:cubicBezTo>
                    <a:pt x="86" y="714"/>
                    <a:pt x="56" y="670"/>
                    <a:pt x="33" y="617"/>
                  </a:cubicBezTo>
                  <a:cubicBezTo>
                    <a:pt x="11" y="561"/>
                    <a:pt x="0" y="500"/>
                    <a:pt x="0" y="428"/>
                  </a:cubicBezTo>
                  <a:cubicBezTo>
                    <a:pt x="0" y="361"/>
                    <a:pt x="11" y="300"/>
                    <a:pt x="36" y="245"/>
                  </a:cubicBezTo>
                  <a:cubicBezTo>
                    <a:pt x="58" y="192"/>
                    <a:pt x="89" y="147"/>
                    <a:pt x="128" y="111"/>
                  </a:cubicBezTo>
                  <a:cubicBezTo>
                    <a:pt x="167" y="75"/>
                    <a:pt x="214" y="48"/>
                    <a:pt x="267" y="28"/>
                  </a:cubicBezTo>
                  <a:cubicBezTo>
                    <a:pt x="319" y="9"/>
                    <a:pt x="375" y="0"/>
                    <a:pt x="436" y="0"/>
                  </a:cubicBezTo>
                  <a:cubicBezTo>
                    <a:pt x="497" y="0"/>
                    <a:pt x="553" y="14"/>
                    <a:pt x="606" y="39"/>
                  </a:cubicBezTo>
                  <a:cubicBezTo>
                    <a:pt x="658" y="64"/>
                    <a:pt x="697" y="103"/>
                    <a:pt x="722" y="147"/>
                  </a:cubicBezTo>
                  <a:lnTo>
                    <a:pt x="450" y="156"/>
                  </a:lnTo>
                  <a:lnTo>
                    <a:pt x="450" y="156"/>
                  </a:lnTo>
                  <a:cubicBezTo>
                    <a:pt x="414" y="156"/>
                    <a:pt x="378" y="164"/>
                    <a:pt x="344" y="175"/>
                  </a:cubicBezTo>
                  <a:cubicBezTo>
                    <a:pt x="311" y="189"/>
                    <a:pt x="283" y="206"/>
                    <a:pt x="258" y="231"/>
                  </a:cubicBezTo>
                  <a:cubicBezTo>
                    <a:pt x="233" y="253"/>
                    <a:pt x="211" y="284"/>
                    <a:pt x="197" y="317"/>
                  </a:cubicBezTo>
                  <a:cubicBezTo>
                    <a:pt x="183" y="350"/>
                    <a:pt x="178" y="386"/>
                    <a:pt x="178" y="428"/>
                  </a:cubicBezTo>
                  <a:cubicBezTo>
                    <a:pt x="178" y="472"/>
                    <a:pt x="183" y="509"/>
                    <a:pt x="197" y="545"/>
                  </a:cubicBezTo>
                  <a:cubicBezTo>
                    <a:pt x="211" y="578"/>
                    <a:pt x="233" y="606"/>
                    <a:pt x="258" y="631"/>
                  </a:cubicBezTo>
                  <a:cubicBezTo>
                    <a:pt x="283" y="653"/>
                    <a:pt x="311" y="672"/>
                    <a:pt x="344" y="684"/>
                  </a:cubicBezTo>
                  <a:cubicBezTo>
                    <a:pt x="378" y="698"/>
                    <a:pt x="414" y="703"/>
                    <a:pt x="450" y="703"/>
                  </a:cubicBezTo>
                  <a:cubicBezTo>
                    <a:pt x="511" y="703"/>
                    <a:pt x="561" y="689"/>
                    <a:pt x="600" y="664"/>
                  </a:cubicBezTo>
                  <a:cubicBezTo>
                    <a:pt x="642" y="636"/>
                    <a:pt x="672" y="603"/>
                    <a:pt x="692" y="561"/>
                  </a:cubicBezTo>
                  <a:cubicBezTo>
                    <a:pt x="714" y="522"/>
                    <a:pt x="722" y="478"/>
                    <a:pt x="722" y="431"/>
                  </a:cubicBezTo>
                  <a:cubicBezTo>
                    <a:pt x="722" y="384"/>
                    <a:pt x="714" y="339"/>
                    <a:pt x="692" y="298"/>
                  </a:cubicBezTo>
                  <a:cubicBezTo>
                    <a:pt x="672" y="259"/>
                    <a:pt x="642" y="223"/>
                    <a:pt x="600" y="198"/>
                  </a:cubicBezTo>
                  <a:cubicBezTo>
                    <a:pt x="561" y="170"/>
                    <a:pt x="511" y="156"/>
                    <a:pt x="450" y="156"/>
                  </a:cubicBezTo>
                  <a:lnTo>
                    <a:pt x="722" y="14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3" name="Freeform 20">
              <a:extLst>
                <a:ext uri="{FF2B5EF4-FFF2-40B4-BE49-F238E27FC236}">
                  <a16:creationId xmlns:a16="http://schemas.microsoft.com/office/drawing/2014/main" id="{E82F8AD2-BFCD-CE41-BBB0-1559F4962DCA}"/>
                </a:ext>
              </a:extLst>
            </p:cNvPr>
            <p:cNvSpPr>
              <a:spLocks noChangeArrowheads="1"/>
            </p:cNvSpPr>
            <p:nvPr userDrawn="1"/>
          </p:nvSpPr>
          <p:spPr bwMode="auto">
            <a:xfrm>
              <a:off x="2214563" y="3743325"/>
              <a:ext cx="266700" cy="312738"/>
            </a:xfrm>
            <a:custGeom>
              <a:avLst/>
              <a:gdLst>
                <a:gd name="T0" fmla="*/ 603 w 743"/>
                <a:gd name="T1" fmla="*/ 222 h 870"/>
                <a:gd name="T2" fmla="*/ 603 w 743"/>
                <a:gd name="T3" fmla="*/ 222 h 870"/>
                <a:gd name="T4" fmla="*/ 500 w 743"/>
                <a:gd name="T5" fmla="*/ 161 h 870"/>
                <a:gd name="T6" fmla="*/ 381 w 743"/>
                <a:gd name="T7" fmla="*/ 147 h 870"/>
                <a:gd name="T8" fmla="*/ 250 w 743"/>
                <a:gd name="T9" fmla="*/ 169 h 870"/>
                <a:gd name="T10" fmla="*/ 203 w 743"/>
                <a:gd name="T11" fmla="*/ 244 h 870"/>
                <a:gd name="T12" fmla="*/ 253 w 743"/>
                <a:gd name="T13" fmla="*/ 319 h 870"/>
                <a:gd name="T14" fmla="*/ 386 w 743"/>
                <a:gd name="T15" fmla="*/ 349 h 870"/>
                <a:gd name="T16" fmla="*/ 506 w 743"/>
                <a:gd name="T17" fmla="*/ 366 h 870"/>
                <a:gd name="T18" fmla="*/ 622 w 743"/>
                <a:gd name="T19" fmla="*/ 405 h 870"/>
                <a:gd name="T20" fmla="*/ 708 w 743"/>
                <a:gd name="T21" fmla="*/ 480 h 870"/>
                <a:gd name="T22" fmla="*/ 742 w 743"/>
                <a:gd name="T23" fmla="*/ 608 h 870"/>
                <a:gd name="T24" fmla="*/ 717 w 743"/>
                <a:gd name="T25" fmla="*/ 713 h 870"/>
                <a:gd name="T26" fmla="*/ 645 w 743"/>
                <a:gd name="T27" fmla="*/ 797 h 870"/>
                <a:gd name="T28" fmla="*/ 531 w 743"/>
                <a:gd name="T29" fmla="*/ 849 h 870"/>
                <a:gd name="T30" fmla="*/ 383 w 743"/>
                <a:gd name="T31" fmla="*/ 869 h 870"/>
                <a:gd name="T32" fmla="*/ 184 w 743"/>
                <a:gd name="T33" fmla="*/ 838 h 870"/>
                <a:gd name="T34" fmla="*/ 0 w 743"/>
                <a:gd name="T35" fmla="*/ 716 h 870"/>
                <a:gd name="T36" fmla="*/ 92 w 743"/>
                <a:gd name="T37" fmla="*/ 597 h 870"/>
                <a:gd name="T38" fmla="*/ 231 w 743"/>
                <a:gd name="T39" fmla="*/ 688 h 870"/>
                <a:gd name="T40" fmla="*/ 386 w 743"/>
                <a:gd name="T41" fmla="*/ 719 h 870"/>
                <a:gd name="T42" fmla="*/ 450 w 743"/>
                <a:gd name="T43" fmla="*/ 713 h 870"/>
                <a:gd name="T44" fmla="*/ 506 w 743"/>
                <a:gd name="T45" fmla="*/ 694 h 870"/>
                <a:gd name="T46" fmla="*/ 550 w 743"/>
                <a:gd name="T47" fmla="*/ 661 h 870"/>
                <a:gd name="T48" fmla="*/ 567 w 743"/>
                <a:gd name="T49" fmla="*/ 611 h 870"/>
                <a:gd name="T50" fmla="*/ 517 w 743"/>
                <a:gd name="T51" fmla="*/ 530 h 870"/>
                <a:gd name="T52" fmla="*/ 372 w 743"/>
                <a:gd name="T53" fmla="*/ 497 h 870"/>
                <a:gd name="T54" fmla="*/ 250 w 743"/>
                <a:gd name="T55" fmla="*/ 477 h 870"/>
                <a:gd name="T56" fmla="*/ 142 w 743"/>
                <a:gd name="T57" fmla="*/ 436 h 870"/>
                <a:gd name="T58" fmla="*/ 61 w 743"/>
                <a:gd name="T59" fmla="*/ 363 h 870"/>
                <a:gd name="T60" fmla="*/ 28 w 743"/>
                <a:gd name="T61" fmla="*/ 249 h 870"/>
                <a:gd name="T62" fmla="*/ 61 w 743"/>
                <a:gd name="T63" fmla="*/ 133 h 870"/>
                <a:gd name="T64" fmla="*/ 145 w 743"/>
                <a:gd name="T65" fmla="*/ 55 h 870"/>
                <a:gd name="T66" fmla="*/ 258 w 743"/>
                <a:gd name="T67" fmla="*/ 11 h 870"/>
                <a:gd name="T68" fmla="*/ 378 w 743"/>
                <a:gd name="T69" fmla="*/ 0 h 870"/>
                <a:gd name="T70" fmla="*/ 553 w 743"/>
                <a:gd name="T71" fmla="*/ 22 h 870"/>
                <a:gd name="T72" fmla="*/ 703 w 743"/>
                <a:gd name="T73" fmla="*/ 108 h 870"/>
                <a:gd name="T74" fmla="*/ 603 w 743"/>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3" h="870">
                  <a:moveTo>
                    <a:pt x="603" y="222"/>
                  </a:moveTo>
                  <a:lnTo>
                    <a:pt x="603" y="222"/>
                  </a:lnTo>
                  <a:cubicBezTo>
                    <a:pt x="572" y="191"/>
                    <a:pt x="536" y="172"/>
                    <a:pt x="500" y="161"/>
                  </a:cubicBezTo>
                  <a:cubicBezTo>
                    <a:pt x="464" y="149"/>
                    <a:pt x="425" y="147"/>
                    <a:pt x="381" y="147"/>
                  </a:cubicBezTo>
                  <a:cubicBezTo>
                    <a:pt x="328" y="144"/>
                    <a:pt x="284" y="152"/>
                    <a:pt x="250" y="169"/>
                  </a:cubicBezTo>
                  <a:cubicBezTo>
                    <a:pt x="220" y="188"/>
                    <a:pt x="203" y="211"/>
                    <a:pt x="203" y="244"/>
                  </a:cubicBezTo>
                  <a:cubicBezTo>
                    <a:pt x="203" y="280"/>
                    <a:pt x="220" y="302"/>
                    <a:pt x="253" y="319"/>
                  </a:cubicBezTo>
                  <a:cubicBezTo>
                    <a:pt x="286" y="333"/>
                    <a:pt x="331" y="344"/>
                    <a:pt x="386" y="349"/>
                  </a:cubicBezTo>
                  <a:cubicBezTo>
                    <a:pt x="425" y="352"/>
                    <a:pt x="464" y="358"/>
                    <a:pt x="506" y="366"/>
                  </a:cubicBezTo>
                  <a:cubicBezTo>
                    <a:pt x="550" y="372"/>
                    <a:pt x="586" y="386"/>
                    <a:pt x="622" y="405"/>
                  </a:cubicBezTo>
                  <a:cubicBezTo>
                    <a:pt x="658" y="422"/>
                    <a:pt x="686" y="447"/>
                    <a:pt x="708" y="480"/>
                  </a:cubicBezTo>
                  <a:cubicBezTo>
                    <a:pt x="731" y="513"/>
                    <a:pt x="742" y="555"/>
                    <a:pt x="742" y="608"/>
                  </a:cubicBezTo>
                  <a:cubicBezTo>
                    <a:pt x="742" y="647"/>
                    <a:pt x="733" y="683"/>
                    <a:pt x="717" y="713"/>
                  </a:cubicBezTo>
                  <a:cubicBezTo>
                    <a:pt x="700" y="747"/>
                    <a:pt x="675" y="774"/>
                    <a:pt x="645" y="797"/>
                  </a:cubicBezTo>
                  <a:cubicBezTo>
                    <a:pt x="614" y="819"/>
                    <a:pt x="575" y="838"/>
                    <a:pt x="531" y="849"/>
                  </a:cubicBezTo>
                  <a:cubicBezTo>
                    <a:pt x="486" y="863"/>
                    <a:pt x="439" y="869"/>
                    <a:pt x="383" y="869"/>
                  </a:cubicBezTo>
                  <a:cubicBezTo>
                    <a:pt x="317" y="869"/>
                    <a:pt x="247" y="858"/>
                    <a:pt x="184" y="838"/>
                  </a:cubicBezTo>
                  <a:cubicBezTo>
                    <a:pt x="117" y="819"/>
                    <a:pt x="56" y="777"/>
                    <a:pt x="0" y="716"/>
                  </a:cubicBezTo>
                  <a:cubicBezTo>
                    <a:pt x="92" y="597"/>
                    <a:pt x="92" y="597"/>
                    <a:pt x="92" y="597"/>
                  </a:cubicBezTo>
                  <a:cubicBezTo>
                    <a:pt x="131" y="638"/>
                    <a:pt x="178" y="669"/>
                    <a:pt x="231" y="688"/>
                  </a:cubicBezTo>
                  <a:cubicBezTo>
                    <a:pt x="286" y="708"/>
                    <a:pt x="336" y="719"/>
                    <a:pt x="386" y="719"/>
                  </a:cubicBezTo>
                  <a:cubicBezTo>
                    <a:pt x="408" y="719"/>
                    <a:pt x="428" y="716"/>
                    <a:pt x="450" y="713"/>
                  </a:cubicBezTo>
                  <a:cubicBezTo>
                    <a:pt x="470" y="708"/>
                    <a:pt x="489" y="702"/>
                    <a:pt x="506" y="694"/>
                  </a:cubicBezTo>
                  <a:cubicBezTo>
                    <a:pt x="522" y="686"/>
                    <a:pt x="539" y="674"/>
                    <a:pt x="550" y="661"/>
                  </a:cubicBezTo>
                  <a:cubicBezTo>
                    <a:pt x="561" y="647"/>
                    <a:pt x="567" y="630"/>
                    <a:pt x="567" y="611"/>
                  </a:cubicBezTo>
                  <a:cubicBezTo>
                    <a:pt x="567" y="574"/>
                    <a:pt x="550" y="547"/>
                    <a:pt x="517" y="530"/>
                  </a:cubicBezTo>
                  <a:cubicBezTo>
                    <a:pt x="483" y="513"/>
                    <a:pt x="433" y="502"/>
                    <a:pt x="372" y="497"/>
                  </a:cubicBezTo>
                  <a:cubicBezTo>
                    <a:pt x="331" y="494"/>
                    <a:pt x="292" y="486"/>
                    <a:pt x="250" y="477"/>
                  </a:cubicBezTo>
                  <a:cubicBezTo>
                    <a:pt x="211" y="469"/>
                    <a:pt x="175" y="455"/>
                    <a:pt x="142" y="436"/>
                  </a:cubicBezTo>
                  <a:cubicBezTo>
                    <a:pt x="109" y="416"/>
                    <a:pt x="81" y="394"/>
                    <a:pt x="61" y="363"/>
                  </a:cubicBezTo>
                  <a:cubicBezTo>
                    <a:pt x="39" y="333"/>
                    <a:pt x="28" y="294"/>
                    <a:pt x="28" y="249"/>
                  </a:cubicBezTo>
                  <a:cubicBezTo>
                    <a:pt x="28" y="202"/>
                    <a:pt x="39" y="166"/>
                    <a:pt x="61" y="133"/>
                  </a:cubicBezTo>
                  <a:cubicBezTo>
                    <a:pt x="84" y="102"/>
                    <a:pt x="111" y="74"/>
                    <a:pt x="145" y="55"/>
                  </a:cubicBezTo>
                  <a:cubicBezTo>
                    <a:pt x="178" y="36"/>
                    <a:pt x="217" y="22"/>
                    <a:pt x="258" y="11"/>
                  </a:cubicBezTo>
                  <a:cubicBezTo>
                    <a:pt x="297" y="2"/>
                    <a:pt x="339" y="0"/>
                    <a:pt x="378" y="0"/>
                  </a:cubicBezTo>
                  <a:cubicBezTo>
                    <a:pt x="445" y="0"/>
                    <a:pt x="503" y="8"/>
                    <a:pt x="553" y="22"/>
                  </a:cubicBezTo>
                  <a:cubicBezTo>
                    <a:pt x="606" y="38"/>
                    <a:pt x="656" y="66"/>
                    <a:pt x="703" y="108"/>
                  </a:cubicBezTo>
                  <a:lnTo>
                    <a:pt x="603" y="22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4" name="Freeform 21">
              <a:extLst>
                <a:ext uri="{FF2B5EF4-FFF2-40B4-BE49-F238E27FC236}">
                  <a16:creationId xmlns:a16="http://schemas.microsoft.com/office/drawing/2014/main" id="{61AB1DB2-E43E-514B-92CA-CEB287F6494F}"/>
                </a:ext>
              </a:extLst>
            </p:cNvPr>
            <p:cNvSpPr>
              <a:spLocks noChangeArrowheads="1"/>
            </p:cNvSpPr>
            <p:nvPr userDrawn="1"/>
          </p:nvSpPr>
          <p:spPr bwMode="auto">
            <a:xfrm>
              <a:off x="2698750" y="3749675"/>
              <a:ext cx="63500" cy="298450"/>
            </a:xfrm>
            <a:custGeom>
              <a:avLst/>
              <a:gdLst>
                <a:gd name="T0" fmla="*/ 175 w 176"/>
                <a:gd name="T1" fmla="*/ 828 h 829"/>
                <a:gd name="T2" fmla="*/ 0 w 176"/>
                <a:gd name="T3" fmla="*/ 828 h 829"/>
                <a:gd name="T4" fmla="*/ 0 w 176"/>
                <a:gd name="T5" fmla="*/ 0 h 829"/>
                <a:gd name="T6" fmla="*/ 175 w 176"/>
                <a:gd name="T7" fmla="*/ 0 h 829"/>
                <a:gd name="T8" fmla="*/ 175 w 176"/>
                <a:gd name="T9" fmla="*/ 828 h 829"/>
              </a:gdLst>
              <a:ahLst/>
              <a:cxnLst>
                <a:cxn ang="0">
                  <a:pos x="T0" y="T1"/>
                </a:cxn>
                <a:cxn ang="0">
                  <a:pos x="T2" y="T3"/>
                </a:cxn>
                <a:cxn ang="0">
                  <a:pos x="T4" y="T5"/>
                </a:cxn>
                <a:cxn ang="0">
                  <a:pos x="T6" y="T7"/>
                </a:cxn>
                <a:cxn ang="0">
                  <a:pos x="T8" y="T9"/>
                </a:cxn>
              </a:cxnLst>
              <a:rect l="0" t="0" r="r" b="b"/>
              <a:pathLst>
                <a:path w="176" h="829">
                  <a:moveTo>
                    <a:pt x="175" y="828"/>
                  </a:moveTo>
                  <a:lnTo>
                    <a:pt x="0" y="828"/>
                  </a:lnTo>
                  <a:lnTo>
                    <a:pt x="0" y="0"/>
                  </a:lnTo>
                  <a:lnTo>
                    <a:pt x="175" y="0"/>
                  </a:lnTo>
                  <a:lnTo>
                    <a:pt x="175" y="82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5" name="Freeform 22">
              <a:extLst>
                <a:ext uri="{FF2B5EF4-FFF2-40B4-BE49-F238E27FC236}">
                  <a16:creationId xmlns:a16="http://schemas.microsoft.com/office/drawing/2014/main" id="{CFCAC116-9040-2F48-B9AB-C7BCC5BA35A9}"/>
                </a:ext>
              </a:extLst>
            </p:cNvPr>
            <p:cNvSpPr>
              <a:spLocks noChangeArrowheads="1"/>
            </p:cNvSpPr>
            <p:nvPr userDrawn="1"/>
          </p:nvSpPr>
          <p:spPr bwMode="auto">
            <a:xfrm>
              <a:off x="2822575" y="3665538"/>
              <a:ext cx="223838" cy="385762"/>
            </a:xfrm>
            <a:custGeom>
              <a:avLst/>
              <a:gdLst>
                <a:gd name="T0" fmla="*/ 342 w 620"/>
                <a:gd name="T1" fmla="*/ 0 h 1073"/>
                <a:gd name="T2" fmla="*/ 342 w 620"/>
                <a:gd name="T3" fmla="*/ 0 h 1073"/>
                <a:gd name="T4" fmla="*/ 342 w 620"/>
                <a:gd name="T5" fmla="*/ 239 h 1073"/>
                <a:gd name="T6" fmla="*/ 586 w 620"/>
                <a:gd name="T7" fmla="*/ 239 h 1073"/>
                <a:gd name="T8" fmla="*/ 586 w 620"/>
                <a:gd name="T9" fmla="*/ 389 h 1073"/>
                <a:gd name="T10" fmla="*/ 339 w 620"/>
                <a:gd name="T11" fmla="*/ 389 h 1073"/>
                <a:gd name="T12" fmla="*/ 339 w 620"/>
                <a:gd name="T13" fmla="*/ 780 h 1073"/>
                <a:gd name="T14" fmla="*/ 369 w 620"/>
                <a:gd name="T15" fmla="*/ 880 h 1073"/>
                <a:gd name="T16" fmla="*/ 461 w 620"/>
                <a:gd name="T17" fmla="*/ 917 h 1073"/>
                <a:gd name="T18" fmla="*/ 514 w 620"/>
                <a:gd name="T19" fmla="*/ 908 h 1073"/>
                <a:gd name="T20" fmla="*/ 566 w 620"/>
                <a:gd name="T21" fmla="*/ 886 h 1073"/>
                <a:gd name="T22" fmla="*/ 619 w 620"/>
                <a:gd name="T23" fmla="*/ 1033 h 1073"/>
                <a:gd name="T24" fmla="*/ 533 w 620"/>
                <a:gd name="T25" fmla="*/ 1061 h 1073"/>
                <a:gd name="T26" fmla="*/ 450 w 620"/>
                <a:gd name="T27" fmla="*/ 1072 h 1073"/>
                <a:gd name="T28" fmla="*/ 236 w 620"/>
                <a:gd name="T29" fmla="*/ 1000 h 1073"/>
                <a:gd name="T30" fmla="*/ 164 w 620"/>
                <a:gd name="T31" fmla="*/ 780 h 1073"/>
                <a:gd name="T32" fmla="*/ 164 w 620"/>
                <a:gd name="T33" fmla="*/ 389 h 1073"/>
                <a:gd name="T34" fmla="*/ 0 w 620"/>
                <a:gd name="T35" fmla="*/ 389 h 1073"/>
                <a:gd name="T36" fmla="*/ 0 w 620"/>
                <a:gd name="T37" fmla="*/ 239 h 1073"/>
                <a:gd name="T38" fmla="*/ 164 w 620"/>
                <a:gd name="T39" fmla="*/ 239 h 1073"/>
                <a:gd name="T40" fmla="*/ 164 w 620"/>
                <a:gd name="T41" fmla="*/ 19 h 1073"/>
                <a:gd name="T42" fmla="*/ 342 w 620"/>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0" h="1073">
                  <a:moveTo>
                    <a:pt x="342" y="0"/>
                  </a:moveTo>
                  <a:lnTo>
                    <a:pt x="342" y="0"/>
                  </a:lnTo>
                  <a:cubicBezTo>
                    <a:pt x="342" y="239"/>
                    <a:pt x="342" y="239"/>
                    <a:pt x="342" y="239"/>
                  </a:cubicBezTo>
                  <a:cubicBezTo>
                    <a:pt x="586" y="239"/>
                    <a:pt x="586" y="239"/>
                    <a:pt x="586" y="239"/>
                  </a:cubicBezTo>
                  <a:cubicBezTo>
                    <a:pt x="586" y="389"/>
                    <a:pt x="586" y="389"/>
                    <a:pt x="586" y="389"/>
                  </a:cubicBezTo>
                  <a:cubicBezTo>
                    <a:pt x="339" y="389"/>
                    <a:pt x="339" y="389"/>
                    <a:pt x="339" y="389"/>
                  </a:cubicBezTo>
                  <a:cubicBezTo>
                    <a:pt x="339" y="780"/>
                    <a:pt x="339" y="780"/>
                    <a:pt x="339" y="780"/>
                  </a:cubicBezTo>
                  <a:cubicBezTo>
                    <a:pt x="339" y="825"/>
                    <a:pt x="350" y="858"/>
                    <a:pt x="369" y="880"/>
                  </a:cubicBezTo>
                  <a:cubicBezTo>
                    <a:pt x="389" y="905"/>
                    <a:pt x="419" y="917"/>
                    <a:pt x="461" y="917"/>
                  </a:cubicBezTo>
                  <a:cubicBezTo>
                    <a:pt x="478" y="917"/>
                    <a:pt x="494" y="914"/>
                    <a:pt x="514" y="908"/>
                  </a:cubicBezTo>
                  <a:cubicBezTo>
                    <a:pt x="533" y="903"/>
                    <a:pt x="550" y="897"/>
                    <a:pt x="566" y="886"/>
                  </a:cubicBezTo>
                  <a:cubicBezTo>
                    <a:pt x="619" y="1033"/>
                    <a:pt x="619" y="1033"/>
                    <a:pt x="619" y="1033"/>
                  </a:cubicBezTo>
                  <a:cubicBezTo>
                    <a:pt x="589" y="1047"/>
                    <a:pt x="561" y="1055"/>
                    <a:pt x="533" y="1061"/>
                  </a:cubicBezTo>
                  <a:cubicBezTo>
                    <a:pt x="508" y="1069"/>
                    <a:pt x="480" y="1072"/>
                    <a:pt x="450" y="1072"/>
                  </a:cubicBezTo>
                  <a:cubicBezTo>
                    <a:pt x="358" y="1072"/>
                    <a:pt x="286" y="1050"/>
                    <a:pt x="236" y="1000"/>
                  </a:cubicBezTo>
                  <a:cubicBezTo>
                    <a:pt x="189" y="953"/>
                    <a:pt x="164" y="878"/>
                    <a:pt x="164" y="780"/>
                  </a:cubicBezTo>
                  <a:cubicBezTo>
                    <a:pt x="164" y="389"/>
                    <a:pt x="164" y="389"/>
                    <a:pt x="164" y="389"/>
                  </a:cubicBezTo>
                  <a:cubicBezTo>
                    <a:pt x="0" y="389"/>
                    <a:pt x="0" y="389"/>
                    <a:pt x="0" y="389"/>
                  </a:cubicBezTo>
                  <a:cubicBezTo>
                    <a:pt x="0" y="239"/>
                    <a:pt x="0" y="239"/>
                    <a:pt x="0" y="239"/>
                  </a:cubicBezTo>
                  <a:cubicBezTo>
                    <a:pt x="164" y="239"/>
                    <a:pt x="164" y="239"/>
                    <a:pt x="164" y="239"/>
                  </a:cubicBezTo>
                  <a:cubicBezTo>
                    <a:pt x="164" y="19"/>
                    <a:pt x="164" y="19"/>
                    <a:pt x="164" y="19"/>
                  </a:cubicBezTo>
                  <a:lnTo>
                    <a:pt x="34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6" name="Freeform 23">
              <a:extLst>
                <a:ext uri="{FF2B5EF4-FFF2-40B4-BE49-F238E27FC236}">
                  <a16:creationId xmlns:a16="http://schemas.microsoft.com/office/drawing/2014/main" id="{61F6BBC5-E2A1-1344-BAA4-D2A101D1E8E2}"/>
                </a:ext>
              </a:extLst>
            </p:cNvPr>
            <p:cNvSpPr>
              <a:spLocks noChangeArrowheads="1"/>
            </p:cNvSpPr>
            <p:nvPr userDrawn="1"/>
          </p:nvSpPr>
          <p:spPr bwMode="auto">
            <a:xfrm>
              <a:off x="3208338" y="3749675"/>
              <a:ext cx="492125" cy="298450"/>
            </a:xfrm>
            <a:custGeom>
              <a:avLst/>
              <a:gdLst>
                <a:gd name="T0" fmla="*/ 761 w 1368"/>
                <a:gd name="T1" fmla="*/ 0 h 829"/>
                <a:gd name="T2" fmla="*/ 961 w 1368"/>
                <a:gd name="T3" fmla="*/ 647 h 829"/>
                <a:gd name="T4" fmla="*/ 1169 w 1368"/>
                <a:gd name="T5" fmla="*/ 0 h 829"/>
                <a:gd name="T6" fmla="*/ 1367 w 1368"/>
                <a:gd name="T7" fmla="*/ 0 h 829"/>
                <a:gd name="T8" fmla="*/ 1072 w 1368"/>
                <a:gd name="T9" fmla="*/ 828 h 829"/>
                <a:gd name="T10" fmla="*/ 867 w 1368"/>
                <a:gd name="T11" fmla="*/ 828 h 829"/>
                <a:gd name="T12" fmla="*/ 767 w 1368"/>
                <a:gd name="T13" fmla="*/ 555 h 829"/>
                <a:gd name="T14" fmla="*/ 686 w 1368"/>
                <a:gd name="T15" fmla="*/ 267 h 829"/>
                <a:gd name="T16" fmla="*/ 603 w 1368"/>
                <a:gd name="T17" fmla="*/ 555 h 829"/>
                <a:gd name="T18" fmla="*/ 503 w 1368"/>
                <a:gd name="T19" fmla="*/ 828 h 829"/>
                <a:gd name="T20" fmla="*/ 297 w 1368"/>
                <a:gd name="T21" fmla="*/ 828 h 829"/>
                <a:gd name="T22" fmla="*/ 0 w 1368"/>
                <a:gd name="T23" fmla="*/ 0 h 829"/>
                <a:gd name="T24" fmla="*/ 200 w 1368"/>
                <a:gd name="T25" fmla="*/ 0 h 829"/>
                <a:gd name="T26" fmla="*/ 408 w 1368"/>
                <a:gd name="T27" fmla="*/ 647 h 829"/>
                <a:gd name="T28" fmla="*/ 608 w 1368"/>
                <a:gd name="T29" fmla="*/ 0 h 829"/>
                <a:gd name="T30" fmla="*/ 761 w 1368"/>
                <a:gd name="T31" fmla="*/ 0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8" h="829">
                  <a:moveTo>
                    <a:pt x="761" y="0"/>
                  </a:moveTo>
                  <a:lnTo>
                    <a:pt x="961" y="647"/>
                  </a:lnTo>
                  <a:lnTo>
                    <a:pt x="1169" y="0"/>
                  </a:lnTo>
                  <a:lnTo>
                    <a:pt x="1367" y="0"/>
                  </a:lnTo>
                  <a:lnTo>
                    <a:pt x="1072" y="828"/>
                  </a:lnTo>
                  <a:lnTo>
                    <a:pt x="867" y="828"/>
                  </a:lnTo>
                  <a:lnTo>
                    <a:pt x="767" y="555"/>
                  </a:lnTo>
                  <a:lnTo>
                    <a:pt x="686" y="267"/>
                  </a:lnTo>
                  <a:lnTo>
                    <a:pt x="603" y="555"/>
                  </a:lnTo>
                  <a:lnTo>
                    <a:pt x="503" y="828"/>
                  </a:lnTo>
                  <a:lnTo>
                    <a:pt x="297" y="828"/>
                  </a:lnTo>
                  <a:lnTo>
                    <a:pt x="0" y="0"/>
                  </a:lnTo>
                  <a:lnTo>
                    <a:pt x="200" y="0"/>
                  </a:lnTo>
                  <a:lnTo>
                    <a:pt x="408" y="647"/>
                  </a:lnTo>
                  <a:lnTo>
                    <a:pt x="608" y="0"/>
                  </a:lnTo>
                  <a:lnTo>
                    <a:pt x="761"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7" name="Freeform 24">
              <a:extLst>
                <a:ext uri="{FF2B5EF4-FFF2-40B4-BE49-F238E27FC236}">
                  <a16:creationId xmlns:a16="http://schemas.microsoft.com/office/drawing/2014/main" id="{9D996C5A-C3DD-2E4B-8AA7-D5749EE2521F}"/>
                </a:ext>
              </a:extLst>
            </p:cNvPr>
            <p:cNvSpPr>
              <a:spLocks noChangeArrowheads="1"/>
            </p:cNvSpPr>
            <p:nvPr userDrawn="1"/>
          </p:nvSpPr>
          <p:spPr bwMode="auto">
            <a:xfrm>
              <a:off x="37322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3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8" y="147"/>
                    <a:pt x="127" y="111"/>
                  </a:cubicBezTo>
                  <a:cubicBezTo>
                    <a:pt x="166" y="75"/>
                    <a:pt x="211" y="48"/>
                    <a:pt x="263"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38" y="636"/>
                    <a:pt x="669" y="603"/>
                    <a:pt x="691" y="561"/>
                  </a:cubicBezTo>
                  <a:cubicBezTo>
                    <a:pt x="711" y="522"/>
                    <a:pt x="722" y="478"/>
                    <a:pt x="722" y="431"/>
                  </a:cubicBezTo>
                  <a:cubicBezTo>
                    <a:pt x="722" y="384"/>
                    <a:pt x="711" y="339"/>
                    <a:pt x="691" y="298"/>
                  </a:cubicBezTo>
                  <a:cubicBezTo>
                    <a:pt x="669" y="259"/>
                    <a:pt x="638" y="223"/>
                    <a:pt x="600" y="198"/>
                  </a:cubicBezTo>
                  <a:cubicBezTo>
                    <a:pt x="558" y="170"/>
                    <a:pt x="508" y="156"/>
                    <a:pt x="450" y="156"/>
                  </a:cubicBezTo>
                  <a:lnTo>
                    <a:pt x="722" y="14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8" name="Freeform 25">
              <a:extLst>
                <a:ext uri="{FF2B5EF4-FFF2-40B4-BE49-F238E27FC236}">
                  <a16:creationId xmlns:a16="http://schemas.microsoft.com/office/drawing/2014/main" id="{FA0F66E9-1CA9-BB45-BCA8-FB287A85103C}"/>
                </a:ext>
              </a:extLst>
            </p:cNvPr>
            <p:cNvSpPr>
              <a:spLocks noChangeArrowheads="1"/>
            </p:cNvSpPr>
            <p:nvPr userDrawn="1"/>
          </p:nvSpPr>
          <p:spPr bwMode="auto">
            <a:xfrm>
              <a:off x="4116388" y="3743325"/>
              <a:ext cx="268287" cy="312738"/>
            </a:xfrm>
            <a:custGeom>
              <a:avLst/>
              <a:gdLst>
                <a:gd name="T0" fmla="*/ 605 w 745"/>
                <a:gd name="T1" fmla="*/ 222 h 870"/>
                <a:gd name="T2" fmla="*/ 605 w 745"/>
                <a:gd name="T3" fmla="*/ 222 h 870"/>
                <a:gd name="T4" fmla="*/ 500 w 745"/>
                <a:gd name="T5" fmla="*/ 161 h 870"/>
                <a:gd name="T6" fmla="*/ 383 w 745"/>
                <a:gd name="T7" fmla="*/ 147 h 870"/>
                <a:gd name="T8" fmla="*/ 253 w 745"/>
                <a:gd name="T9" fmla="*/ 169 h 870"/>
                <a:gd name="T10" fmla="*/ 203 w 745"/>
                <a:gd name="T11" fmla="*/ 244 h 870"/>
                <a:gd name="T12" fmla="*/ 256 w 745"/>
                <a:gd name="T13" fmla="*/ 319 h 870"/>
                <a:gd name="T14" fmla="*/ 386 w 745"/>
                <a:gd name="T15" fmla="*/ 349 h 870"/>
                <a:gd name="T16" fmla="*/ 508 w 745"/>
                <a:gd name="T17" fmla="*/ 366 h 870"/>
                <a:gd name="T18" fmla="*/ 625 w 745"/>
                <a:gd name="T19" fmla="*/ 405 h 870"/>
                <a:gd name="T20" fmla="*/ 711 w 745"/>
                <a:gd name="T21" fmla="*/ 480 h 870"/>
                <a:gd name="T22" fmla="*/ 744 w 745"/>
                <a:gd name="T23" fmla="*/ 608 h 870"/>
                <a:gd name="T24" fmla="*/ 717 w 745"/>
                <a:gd name="T25" fmla="*/ 713 h 870"/>
                <a:gd name="T26" fmla="*/ 644 w 745"/>
                <a:gd name="T27" fmla="*/ 797 h 870"/>
                <a:gd name="T28" fmla="*/ 533 w 745"/>
                <a:gd name="T29" fmla="*/ 849 h 870"/>
                <a:gd name="T30" fmla="*/ 386 w 745"/>
                <a:gd name="T31" fmla="*/ 869 h 870"/>
                <a:gd name="T32" fmla="*/ 183 w 745"/>
                <a:gd name="T33" fmla="*/ 838 h 870"/>
                <a:gd name="T34" fmla="*/ 0 w 745"/>
                <a:gd name="T35" fmla="*/ 716 h 870"/>
                <a:gd name="T36" fmla="*/ 92 w 745"/>
                <a:gd name="T37" fmla="*/ 597 h 870"/>
                <a:gd name="T38" fmla="*/ 233 w 745"/>
                <a:gd name="T39" fmla="*/ 688 h 870"/>
                <a:gd name="T40" fmla="*/ 389 w 745"/>
                <a:gd name="T41" fmla="*/ 719 h 870"/>
                <a:gd name="T42" fmla="*/ 450 w 745"/>
                <a:gd name="T43" fmla="*/ 713 h 870"/>
                <a:gd name="T44" fmla="*/ 508 w 745"/>
                <a:gd name="T45" fmla="*/ 694 h 870"/>
                <a:gd name="T46" fmla="*/ 550 w 745"/>
                <a:gd name="T47" fmla="*/ 661 h 870"/>
                <a:gd name="T48" fmla="*/ 567 w 745"/>
                <a:gd name="T49" fmla="*/ 611 h 870"/>
                <a:gd name="T50" fmla="*/ 519 w 745"/>
                <a:gd name="T51" fmla="*/ 530 h 870"/>
                <a:gd name="T52" fmla="*/ 372 w 745"/>
                <a:gd name="T53" fmla="*/ 497 h 870"/>
                <a:gd name="T54" fmla="*/ 253 w 745"/>
                <a:gd name="T55" fmla="*/ 477 h 870"/>
                <a:gd name="T56" fmla="*/ 142 w 745"/>
                <a:gd name="T57" fmla="*/ 436 h 870"/>
                <a:gd name="T58" fmla="*/ 61 w 745"/>
                <a:gd name="T59" fmla="*/ 363 h 870"/>
                <a:gd name="T60" fmla="*/ 30 w 745"/>
                <a:gd name="T61" fmla="*/ 249 h 870"/>
                <a:gd name="T62" fmla="*/ 61 w 745"/>
                <a:gd name="T63" fmla="*/ 133 h 870"/>
                <a:gd name="T64" fmla="*/ 147 w 745"/>
                <a:gd name="T65" fmla="*/ 55 h 870"/>
                <a:gd name="T66" fmla="*/ 258 w 745"/>
                <a:gd name="T67" fmla="*/ 11 h 870"/>
                <a:gd name="T68" fmla="*/ 381 w 745"/>
                <a:gd name="T69" fmla="*/ 0 h 870"/>
                <a:gd name="T70" fmla="*/ 556 w 745"/>
                <a:gd name="T71" fmla="*/ 22 h 870"/>
                <a:gd name="T72" fmla="*/ 705 w 745"/>
                <a:gd name="T73" fmla="*/ 108 h 870"/>
                <a:gd name="T74" fmla="*/ 605 w 745"/>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5" h="870">
                  <a:moveTo>
                    <a:pt x="605" y="222"/>
                  </a:moveTo>
                  <a:lnTo>
                    <a:pt x="605" y="222"/>
                  </a:lnTo>
                  <a:cubicBezTo>
                    <a:pt x="572" y="191"/>
                    <a:pt x="536" y="172"/>
                    <a:pt x="500" y="161"/>
                  </a:cubicBezTo>
                  <a:cubicBezTo>
                    <a:pt x="464" y="149"/>
                    <a:pt x="425" y="147"/>
                    <a:pt x="383" y="147"/>
                  </a:cubicBezTo>
                  <a:cubicBezTo>
                    <a:pt x="328" y="144"/>
                    <a:pt x="286" y="152"/>
                    <a:pt x="253" y="169"/>
                  </a:cubicBezTo>
                  <a:cubicBezTo>
                    <a:pt x="219" y="188"/>
                    <a:pt x="203" y="211"/>
                    <a:pt x="203" y="244"/>
                  </a:cubicBezTo>
                  <a:cubicBezTo>
                    <a:pt x="206" y="280"/>
                    <a:pt x="222" y="302"/>
                    <a:pt x="256" y="319"/>
                  </a:cubicBezTo>
                  <a:cubicBezTo>
                    <a:pt x="289" y="333"/>
                    <a:pt x="333" y="344"/>
                    <a:pt x="386" y="349"/>
                  </a:cubicBezTo>
                  <a:cubicBezTo>
                    <a:pt x="425" y="352"/>
                    <a:pt x="467" y="358"/>
                    <a:pt x="508" y="366"/>
                  </a:cubicBezTo>
                  <a:cubicBezTo>
                    <a:pt x="550" y="372"/>
                    <a:pt x="589" y="386"/>
                    <a:pt x="625" y="405"/>
                  </a:cubicBezTo>
                  <a:cubicBezTo>
                    <a:pt x="658" y="422"/>
                    <a:pt x="689" y="447"/>
                    <a:pt x="711" y="480"/>
                  </a:cubicBezTo>
                  <a:cubicBezTo>
                    <a:pt x="733" y="513"/>
                    <a:pt x="744" y="555"/>
                    <a:pt x="744" y="608"/>
                  </a:cubicBezTo>
                  <a:cubicBezTo>
                    <a:pt x="744" y="647"/>
                    <a:pt x="736" y="683"/>
                    <a:pt x="717" y="713"/>
                  </a:cubicBezTo>
                  <a:cubicBezTo>
                    <a:pt x="700" y="747"/>
                    <a:pt x="678" y="774"/>
                    <a:pt x="644" y="797"/>
                  </a:cubicBezTo>
                  <a:cubicBezTo>
                    <a:pt x="614" y="819"/>
                    <a:pt x="578" y="838"/>
                    <a:pt x="533" y="849"/>
                  </a:cubicBezTo>
                  <a:cubicBezTo>
                    <a:pt x="489" y="863"/>
                    <a:pt x="439" y="869"/>
                    <a:pt x="386" y="869"/>
                  </a:cubicBezTo>
                  <a:cubicBezTo>
                    <a:pt x="317" y="869"/>
                    <a:pt x="250" y="858"/>
                    <a:pt x="183" y="838"/>
                  </a:cubicBezTo>
                  <a:cubicBezTo>
                    <a:pt x="117" y="819"/>
                    <a:pt x="56" y="777"/>
                    <a:pt x="0" y="716"/>
                  </a:cubicBezTo>
                  <a:cubicBezTo>
                    <a:pt x="92" y="597"/>
                    <a:pt x="92" y="597"/>
                    <a:pt x="92" y="597"/>
                  </a:cubicBezTo>
                  <a:cubicBezTo>
                    <a:pt x="133" y="638"/>
                    <a:pt x="181" y="669"/>
                    <a:pt x="233" y="688"/>
                  </a:cubicBezTo>
                  <a:cubicBezTo>
                    <a:pt x="286" y="708"/>
                    <a:pt x="339" y="719"/>
                    <a:pt x="389" y="719"/>
                  </a:cubicBezTo>
                  <a:cubicBezTo>
                    <a:pt x="408" y="719"/>
                    <a:pt x="430" y="716"/>
                    <a:pt x="450" y="713"/>
                  </a:cubicBezTo>
                  <a:cubicBezTo>
                    <a:pt x="472" y="708"/>
                    <a:pt x="492" y="702"/>
                    <a:pt x="508" y="694"/>
                  </a:cubicBezTo>
                  <a:cubicBezTo>
                    <a:pt x="525" y="686"/>
                    <a:pt x="539" y="674"/>
                    <a:pt x="550" y="661"/>
                  </a:cubicBezTo>
                  <a:cubicBezTo>
                    <a:pt x="561" y="647"/>
                    <a:pt x="567" y="630"/>
                    <a:pt x="567" y="611"/>
                  </a:cubicBezTo>
                  <a:cubicBezTo>
                    <a:pt x="569" y="574"/>
                    <a:pt x="553" y="547"/>
                    <a:pt x="519" y="530"/>
                  </a:cubicBezTo>
                  <a:cubicBezTo>
                    <a:pt x="483" y="513"/>
                    <a:pt x="436" y="502"/>
                    <a:pt x="372" y="497"/>
                  </a:cubicBezTo>
                  <a:cubicBezTo>
                    <a:pt x="333" y="494"/>
                    <a:pt x="292" y="486"/>
                    <a:pt x="253" y="477"/>
                  </a:cubicBezTo>
                  <a:cubicBezTo>
                    <a:pt x="211" y="469"/>
                    <a:pt x="175" y="455"/>
                    <a:pt x="142" y="436"/>
                  </a:cubicBezTo>
                  <a:cubicBezTo>
                    <a:pt x="108" y="416"/>
                    <a:pt x="83" y="394"/>
                    <a:pt x="61" y="363"/>
                  </a:cubicBezTo>
                  <a:cubicBezTo>
                    <a:pt x="42" y="333"/>
                    <a:pt x="30" y="294"/>
                    <a:pt x="30" y="249"/>
                  </a:cubicBezTo>
                  <a:cubicBezTo>
                    <a:pt x="30" y="202"/>
                    <a:pt x="42" y="166"/>
                    <a:pt x="61" y="133"/>
                  </a:cubicBezTo>
                  <a:cubicBezTo>
                    <a:pt x="83" y="102"/>
                    <a:pt x="111" y="74"/>
                    <a:pt x="147" y="55"/>
                  </a:cubicBezTo>
                  <a:cubicBezTo>
                    <a:pt x="181" y="36"/>
                    <a:pt x="217" y="22"/>
                    <a:pt x="258" y="11"/>
                  </a:cubicBezTo>
                  <a:cubicBezTo>
                    <a:pt x="300" y="2"/>
                    <a:pt x="339" y="0"/>
                    <a:pt x="381" y="0"/>
                  </a:cubicBezTo>
                  <a:cubicBezTo>
                    <a:pt x="444" y="0"/>
                    <a:pt x="503" y="8"/>
                    <a:pt x="556" y="22"/>
                  </a:cubicBezTo>
                  <a:cubicBezTo>
                    <a:pt x="605" y="38"/>
                    <a:pt x="656" y="66"/>
                    <a:pt x="705" y="108"/>
                  </a:cubicBezTo>
                  <a:lnTo>
                    <a:pt x="605" y="22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9" name="Freeform 26">
              <a:extLst>
                <a:ext uri="{FF2B5EF4-FFF2-40B4-BE49-F238E27FC236}">
                  <a16:creationId xmlns:a16="http://schemas.microsoft.com/office/drawing/2014/main" id="{A07ADD3F-5315-224B-972A-2FB32B6B6B0E}"/>
                </a:ext>
              </a:extLst>
            </p:cNvPr>
            <p:cNvSpPr>
              <a:spLocks noChangeArrowheads="1"/>
            </p:cNvSpPr>
            <p:nvPr userDrawn="1"/>
          </p:nvSpPr>
          <p:spPr bwMode="auto">
            <a:xfrm>
              <a:off x="4600575" y="3744913"/>
              <a:ext cx="476250" cy="301625"/>
            </a:xfrm>
            <a:custGeom>
              <a:avLst/>
              <a:gdLst>
                <a:gd name="T0" fmla="*/ 575 w 1322"/>
                <a:gd name="T1" fmla="*/ 839 h 840"/>
                <a:gd name="T2" fmla="*/ 575 w 1322"/>
                <a:gd name="T3" fmla="*/ 839 h 840"/>
                <a:gd name="T4" fmla="*/ 575 w 1322"/>
                <a:gd name="T5" fmla="*/ 386 h 840"/>
                <a:gd name="T6" fmla="*/ 564 w 1322"/>
                <a:gd name="T7" fmla="*/ 300 h 840"/>
                <a:gd name="T8" fmla="*/ 525 w 1322"/>
                <a:gd name="T9" fmla="*/ 228 h 840"/>
                <a:gd name="T10" fmla="*/ 461 w 1322"/>
                <a:gd name="T11" fmla="*/ 178 h 840"/>
                <a:gd name="T12" fmla="*/ 381 w 1322"/>
                <a:gd name="T13" fmla="*/ 161 h 840"/>
                <a:gd name="T14" fmla="*/ 295 w 1322"/>
                <a:gd name="T15" fmla="*/ 178 h 840"/>
                <a:gd name="T16" fmla="*/ 231 w 1322"/>
                <a:gd name="T17" fmla="*/ 228 h 840"/>
                <a:gd name="T18" fmla="*/ 192 w 1322"/>
                <a:gd name="T19" fmla="*/ 300 h 840"/>
                <a:gd name="T20" fmla="*/ 175 w 1322"/>
                <a:gd name="T21" fmla="*/ 386 h 840"/>
                <a:gd name="T22" fmla="*/ 175 w 1322"/>
                <a:gd name="T23" fmla="*/ 839 h 840"/>
                <a:gd name="T24" fmla="*/ 0 w 1322"/>
                <a:gd name="T25" fmla="*/ 839 h 840"/>
                <a:gd name="T26" fmla="*/ 0 w 1322"/>
                <a:gd name="T27" fmla="*/ 14 h 840"/>
                <a:gd name="T28" fmla="*/ 164 w 1322"/>
                <a:gd name="T29" fmla="*/ 14 h 840"/>
                <a:gd name="T30" fmla="*/ 175 w 1322"/>
                <a:gd name="T31" fmla="*/ 125 h 840"/>
                <a:gd name="T32" fmla="*/ 278 w 1322"/>
                <a:gd name="T33" fmla="*/ 28 h 840"/>
                <a:gd name="T34" fmla="*/ 411 w 1322"/>
                <a:gd name="T35" fmla="*/ 0 h 840"/>
                <a:gd name="T36" fmla="*/ 492 w 1322"/>
                <a:gd name="T37" fmla="*/ 8 h 840"/>
                <a:gd name="T38" fmla="*/ 567 w 1322"/>
                <a:gd name="T39" fmla="*/ 36 h 840"/>
                <a:gd name="T40" fmla="*/ 631 w 1322"/>
                <a:gd name="T41" fmla="*/ 89 h 840"/>
                <a:gd name="T42" fmla="*/ 675 w 1322"/>
                <a:gd name="T43" fmla="*/ 167 h 840"/>
                <a:gd name="T44" fmla="*/ 803 w 1322"/>
                <a:gd name="T45" fmla="*/ 39 h 840"/>
                <a:gd name="T46" fmla="*/ 964 w 1322"/>
                <a:gd name="T47" fmla="*/ 3 h 840"/>
                <a:gd name="T48" fmla="*/ 1230 w 1322"/>
                <a:gd name="T49" fmla="*/ 103 h 840"/>
                <a:gd name="T50" fmla="*/ 1321 w 1322"/>
                <a:gd name="T51" fmla="*/ 383 h 840"/>
                <a:gd name="T52" fmla="*/ 1321 w 1322"/>
                <a:gd name="T53" fmla="*/ 839 h 840"/>
                <a:gd name="T54" fmla="*/ 1145 w 1322"/>
                <a:gd name="T55" fmla="*/ 839 h 840"/>
                <a:gd name="T56" fmla="*/ 1145 w 1322"/>
                <a:gd name="T57" fmla="*/ 381 h 840"/>
                <a:gd name="T58" fmla="*/ 1134 w 1322"/>
                <a:gd name="T59" fmla="*/ 297 h 840"/>
                <a:gd name="T60" fmla="*/ 1097 w 1322"/>
                <a:gd name="T61" fmla="*/ 225 h 840"/>
                <a:gd name="T62" fmla="*/ 1039 w 1322"/>
                <a:gd name="T63" fmla="*/ 178 h 840"/>
                <a:gd name="T64" fmla="*/ 959 w 1322"/>
                <a:gd name="T65" fmla="*/ 161 h 840"/>
                <a:gd name="T66" fmla="*/ 872 w 1322"/>
                <a:gd name="T67" fmla="*/ 181 h 840"/>
                <a:gd name="T68" fmla="*/ 809 w 1322"/>
                <a:gd name="T69" fmla="*/ 228 h 840"/>
                <a:gd name="T70" fmla="*/ 767 w 1322"/>
                <a:gd name="T71" fmla="*/ 300 h 840"/>
                <a:gd name="T72" fmla="*/ 753 w 1322"/>
                <a:gd name="T73" fmla="*/ 386 h 840"/>
                <a:gd name="T74" fmla="*/ 753 w 1322"/>
                <a:gd name="T75" fmla="*/ 839 h 840"/>
                <a:gd name="T76" fmla="*/ 575 w 1322"/>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2" h="840">
                  <a:moveTo>
                    <a:pt x="575" y="839"/>
                  </a:moveTo>
                  <a:lnTo>
                    <a:pt x="575" y="839"/>
                  </a:lnTo>
                  <a:cubicBezTo>
                    <a:pt x="575" y="386"/>
                    <a:pt x="575" y="386"/>
                    <a:pt x="575" y="386"/>
                  </a:cubicBezTo>
                  <a:cubicBezTo>
                    <a:pt x="575" y="356"/>
                    <a:pt x="572" y="325"/>
                    <a:pt x="564" y="300"/>
                  </a:cubicBezTo>
                  <a:cubicBezTo>
                    <a:pt x="556" y="272"/>
                    <a:pt x="542" y="247"/>
                    <a:pt x="525" y="228"/>
                  </a:cubicBezTo>
                  <a:cubicBezTo>
                    <a:pt x="509" y="206"/>
                    <a:pt x="486" y="189"/>
                    <a:pt x="461" y="178"/>
                  </a:cubicBezTo>
                  <a:cubicBezTo>
                    <a:pt x="436" y="167"/>
                    <a:pt x="411" y="161"/>
                    <a:pt x="381" y="161"/>
                  </a:cubicBezTo>
                  <a:cubicBezTo>
                    <a:pt x="347" y="161"/>
                    <a:pt x="320" y="167"/>
                    <a:pt x="295" y="178"/>
                  </a:cubicBezTo>
                  <a:cubicBezTo>
                    <a:pt x="270" y="189"/>
                    <a:pt x="250" y="206"/>
                    <a:pt x="231" y="228"/>
                  </a:cubicBezTo>
                  <a:cubicBezTo>
                    <a:pt x="214" y="247"/>
                    <a:pt x="200" y="272"/>
                    <a:pt x="192" y="300"/>
                  </a:cubicBezTo>
                  <a:cubicBezTo>
                    <a:pt x="181" y="325"/>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200" y="78"/>
                    <a:pt x="234" y="47"/>
                    <a:pt x="278" y="28"/>
                  </a:cubicBezTo>
                  <a:cubicBezTo>
                    <a:pt x="323" y="8"/>
                    <a:pt x="367" y="0"/>
                    <a:pt x="411" y="0"/>
                  </a:cubicBezTo>
                  <a:cubicBezTo>
                    <a:pt x="439" y="0"/>
                    <a:pt x="467" y="3"/>
                    <a:pt x="492" y="8"/>
                  </a:cubicBezTo>
                  <a:cubicBezTo>
                    <a:pt x="520" y="14"/>
                    <a:pt x="542" y="22"/>
                    <a:pt x="567" y="36"/>
                  </a:cubicBezTo>
                  <a:cubicBezTo>
                    <a:pt x="589" y="50"/>
                    <a:pt x="611" y="67"/>
                    <a:pt x="631" y="89"/>
                  </a:cubicBezTo>
                  <a:cubicBezTo>
                    <a:pt x="647" y="111"/>
                    <a:pt x="664" y="136"/>
                    <a:pt x="675" y="167"/>
                  </a:cubicBezTo>
                  <a:cubicBezTo>
                    <a:pt x="711" y="106"/>
                    <a:pt x="753" y="61"/>
                    <a:pt x="803" y="39"/>
                  </a:cubicBezTo>
                  <a:cubicBezTo>
                    <a:pt x="853" y="14"/>
                    <a:pt x="906" y="3"/>
                    <a:pt x="964" y="3"/>
                  </a:cubicBezTo>
                  <a:cubicBezTo>
                    <a:pt x="1084" y="3"/>
                    <a:pt x="1172" y="36"/>
                    <a:pt x="1230" y="103"/>
                  </a:cubicBezTo>
                  <a:cubicBezTo>
                    <a:pt x="1291" y="169"/>
                    <a:pt x="1321" y="264"/>
                    <a:pt x="1321" y="383"/>
                  </a:cubicBezTo>
                  <a:cubicBezTo>
                    <a:pt x="1321" y="839"/>
                    <a:pt x="1321" y="839"/>
                    <a:pt x="1321" y="839"/>
                  </a:cubicBezTo>
                  <a:cubicBezTo>
                    <a:pt x="1145" y="839"/>
                    <a:pt x="1145" y="839"/>
                    <a:pt x="1145" y="839"/>
                  </a:cubicBezTo>
                  <a:cubicBezTo>
                    <a:pt x="1145" y="381"/>
                    <a:pt x="1145" y="381"/>
                    <a:pt x="1145" y="381"/>
                  </a:cubicBezTo>
                  <a:cubicBezTo>
                    <a:pt x="1145" y="353"/>
                    <a:pt x="1139" y="322"/>
                    <a:pt x="1134" y="297"/>
                  </a:cubicBezTo>
                  <a:cubicBezTo>
                    <a:pt x="1125" y="269"/>
                    <a:pt x="1114" y="247"/>
                    <a:pt x="1097" y="225"/>
                  </a:cubicBezTo>
                  <a:cubicBezTo>
                    <a:pt x="1081" y="206"/>
                    <a:pt x="1061" y="189"/>
                    <a:pt x="1039" y="178"/>
                  </a:cubicBezTo>
                  <a:cubicBezTo>
                    <a:pt x="1017" y="167"/>
                    <a:pt x="989" y="161"/>
                    <a:pt x="959" y="161"/>
                  </a:cubicBezTo>
                  <a:cubicBezTo>
                    <a:pt x="928" y="161"/>
                    <a:pt x="900" y="169"/>
                    <a:pt x="872" y="181"/>
                  </a:cubicBezTo>
                  <a:cubicBezTo>
                    <a:pt x="847" y="192"/>
                    <a:pt x="825" y="208"/>
                    <a:pt x="809" y="228"/>
                  </a:cubicBezTo>
                  <a:cubicBezTo>
                    <a:pt x="792" y="247"/>
                    <a:pt x="778" y="272"/>
                    <a:pt x="767" y="300"/>
                  </a:cubicBezTo>
                  <a:cubicBezTo>
                    <a:pt x="759" y="325"/>
                    <a:pt x="753" y="356"/>
                    <a:pt x="753" y="386"/>
                  </a:cubicBezTo>
                  <a:cubicBezTo>
                    <a:pt x="753" y="839"/>
                    <a:pt x="753" y="839"/>
                    <a:pt x="753" y="839"/>
                  </a:cubicBezTo>
                  <a:lnTo>
                    <a:pt x="575" y="83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0" name="Freeform 27">
              <a:extLst>
                <a:ext uri="{FF2B5EF4-FFF2-40B4-BE49-F238E27FC236}">
                  <a16:creationId xmlns:a16="http://schemas.microsoft.com/office/drawing/2014/main" id="{1B6B39AC-8529-C84D-9CD3-6DD82AF32DF8}"/>
                </a:ext>
              </a:extLst>
            </p:cNvPr>
            <p:cNvSpPr>
              <a:spLocks noChangeArrowheads="1"/>
            </p:cNvSpPr>
            <p:nvPr userDrawn="1"/>
          </p:nvSpPr>
          <p:spPr bwMode="auto">
            <a:xfrm>
              <a:off x="5138738" y="3743325"/>
              <a:ext cx="315912"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2 w 876"/>
                <a:gd name="T11" fmla="*/ 680 h 864"/>
                <a:gd name="T12" fmla="*/ 703 w 876"/>
                <a:gd name="T13" fmla="*/ 616 h 864"/>
                <a:gd name="T14" fmla="*/ 817 w 876"/>
                <a:gd name="T15" fmla="*/ 724 h 864"/>
                <a:gd name="T16" fmla="*/ 742 w 876"/>
                <a:gd name="T17" fmla="*/ 786 h 864"/>
                <a:gd name="T18" fmla="*/ 653 w 876"/>
                <a:gd name="T19" fmla="*/ 830 h 864"/>
                <a:gd name="T20" fmla="*/ 553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3 w 876"/>
                <a:gd name="T35" fmla="*/ 119 h 864"/>
                <a:gd name="T36" fmla="*/ 261 w 876"/>
                <a:gd name="T37" fmla="*/ 30 h 864"/>
                <a:gd name="T38" fmla="*/ 442 w 876"/>
                <a:gd name="T39" fmla="*/ 0 h 864"/>
                <a:gd name="T40" fmla="*/ 628 w 876"/>
                <a:gd name="T41" fmla="*/ 30 h 864"/>
                <a:gd name="T42" fmla="*/ 767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2 w 876"/>
                <a:gd name="T55" fmla="*/ 202 h 864"/>
                <a:gd name="T56" fmla="*/ 448 w 876"/>
                <a:gd name="T57" fmla="*/ 152 h 864"/>
                <a:gd name="T58" fmla="*/ 278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17" y="686"/>
                    <a:pt x="381" y="705"/>
                    <a:pt x="459" y="705"/>
                  </a:cubicBezTo>
                  <a:cubicBezTo>
                    <a:pt x="500" y="705"/>
                    <a:pt x="548" y="697"/>
                    <a:pt x="592" y="680"/>
                  </a:cubicBezTo>
                  <a:cubicBezTo>
                    <a:pt x="639" y="666"/>
                    <a:pt x="675" y="644"/>
                    <a:pt x="703" y="616"/>
                  </a:cubicBezTo>
                  <a:cubicBezTo>
                    <a:pt x="817" y="724"/>
                    <a:pt x="817" y="724"/>
                    <a:pt x="817" y="724"/>
                  </a:cubicBezTo>
                  <a:cubicBezTo>
                    <a:pt x="795" y="747"/>
                    <a:pt x="770" y="769"/>
                    <a:pt x="742" y="786"/>
                  </a:cubicBezTo>
                  <a:cubicBezTo>
                    <a:pt x="714" y="802"/>
                    <a:pt x="684" y="819"/>
                    <a:pt x="653" y="830"/>
                  </a:cubicBezTo>
                  <a:cubicBezTo>
                    <a:pt x="620" y="841"/>
                    <a:pt x="589" y="849"/>
                    <a:pt x="553" y="855"/>
                  </a:cubicBezTo>
                  <a:cubicBezTo>
                    <a:pt x="520" y="861"/>
                    <a:pt x="486" y="863"/>
                    <a:pt x="456" y="863"/>
                  </a:cubicBezTo>
                  <a:cubicBezTo>
                    <a:pt x="386" y="863"/>
                    <a:pt x="323" y="855"/>
                    <a:pt x="267" y="833"/>
                  </a:cubicBezTo>
                  <a:cubicBezTo>
                    <a:pt x="211" y="813"/>
                    <a:pt x="164" y="783"/>
                    <a:pt x="125" y="747"/>
                  </a:cubicBezTo>
                  <a:cubicBezTo>
                    <a:pt x="86" y="708"/>
                    <a:pt x="56" y="661"/>
                    <a:pt x="34" y="608"/>
                  </a:cubicBezTo>
                  <a:cubicBezTo>
                    <a:pt x="11" y="552"/>
                    <a:pt x="0" y="494"/>
                    <a:pt x="0" y="427"/>
                  </a:cubicBezTo>
                  <a:cubicBezTo>
                    <a:pt x="0" y="366"/>
                    <a:pt x="11" y="308"/>
                    <a:pt x="34" y="255"/>
                  </a:cubicBezTo>
                  <a:cubicBezTo>
                    <a:pt x="56" y="202"/>
                    <a:pt x="84" y="158"/>
                    <a:pt x="123" y="119"/>
                  </a:cubicBezTo>
                  <a:cubicBezTo>
                    <a:pt x="161" y="80"/>
                    <a:pt x="209" y="52"/>
                    <a:pt x="261" y="30"/>
                  </a:cubicBezTo>
                  <a:cubicBezTo>
                    <a:pt x="317" y="8"/>
                    <a:pt x="378" y="0"/>
                    <a:pt x="442" y="0"/>
                  </a:cubicBezTo>
                  <a:cubicBezTo>
                    <a:pt x="511" y="0"/>
                    <a:pt x="573" y="8"/>
                    <a:pt x="628" y="30"/>
                  </a:cubicBezTo>
                  <a:cubicBezTo>
                    <a:pt x="684" y="50"/>
                    <a:pt x="731" y="80"/>
                    <a:pt x="767" y="122"/>
                  </a:cubicBezTo>
                  <a:cubicBezTo>
                    <a:pt x="806" y="163"/>
                    <a:pt x="834" y="216"/>
                    <a:pt x="853" y="277"/>
                  </a:cubicBezTo>
                  <a:cubicBezTo>
                    <a:pt x="870" y="341"/>
                    <a:pt x="875" y="413"/>
                    <a:pt x="867" y="497"/>
                  </a:cubicBezTo>
                  <a:lnTo>
                    <a:pt x="186" y="352"/>
                  </a:lnTo>
                  <a:lnTo>
                    <a:pt x="186" y="352"/>
                  </a:lnTo>
                  <a:cubicBezTo>
                    <a:pt x="698" y="352"/>
                    <a:pt x="698" y="352"/>
                    <a:pt x="698" y="352"/>
                  </a:cubicBezTo>
                  <a:cubicBezTo>
                    <a:pt x="692" y="286"/>
                    <a:pt x="667" y="236"/>
                    <a:pt x="622" y="202"/>
                  </a:cubicBezTo>
                  <a:cubicBezTo>
                    <a:pt x="578" y="169"/>
                    <a:pt x="520" y="152"/>
                    <a:pt x="448" y="152"/>
                  </a:cubicBezTo>
                  <a:cubicBezTo>
                    <a:pt x="384" y="152"/>
                    <a:pt x="328" y="169"/>
                    <a:pt x="278" y="202"/>
                  </a:cubicBezTo>
                  <a:cubicBezTo>
                    <a:pt x="231" y="236"/>
                    <a:pt x="200" y="286"/>
                    <a:pt x="186" y="352"/>
                  </a:cubicBezTo>
                  <a:lnTo>
                    <a:pt x="867" y="49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1" name="Freeform 28">
              <a:extLst>
                <a:ext uri="{FF2B5EF4-FFF2-40B4-BE49-F238E27FC236}">
                  <a16:creationId xmlns:a16="http://schemas.microsoft.com/office/drawing/2014/main" id="{A0B688E5-E880-494C-A7E2-965EBD02B269}"/>
                </a:ext>
              </a:extLst>
            </p:cNvPr>
            <p:cNvSpPr>
              <a:spLocks noChangeArrowheads="1"/>
            </p:cNvSpPr>
            <p:nvPr userDrawn="1"/>
          </p:nvSpPr>
          <p:spPr bwMode="auto">
            <a:xfrm>
              <a:off x="54975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4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9" y="147"/>
                    <a:pt x="127" y="111"/>
                  </a:cubicBezTo>
                  <a:cubicBezTo>
                    <a:pt x="166" y="75"/>
                    <a:pt x="211" y="48"/>
                    <a:pt x="264"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41" y="636"/>
                    <a:pt x="669" y="603"/>
                    <a:pt x="691" y="561"/>
                  </a:cubicBezTo>
                  <a:cubicBezTo>
                    <a:pt x="711" y="522"/>
                    <a:pt x="722" y="478"/>
                    <a:pt x="722" y="431"/>
                  </a:cubicBezTo>
                  <a:cubicBezTo>
                    <a:pt x="722" y="384"/>
                    <a:pt x="711" y="339"/>
                    <a:pt x="691" y="298"/>
                  </a:cubicBezTo>
                  <a:cubicBezTo>
                    <a:pt x="669" y="259"/>
                    <a:pt x="641" y="223"/>
                    <a:pt x="600" y="198"/>
                  </a:cubicBezTo>
                  <a:cubicBezTo>
                    <a:pt x="558" y="170"/>
                    <a:pt x="508" y="156"/>
                    <a:pt x="450" y="156"/>
                  </a:cubicBezTo>
                  <a:lnTo>
                    <a:pt x="722" y="14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2" name="Freeform 29">
              <a:extLst>
                <a:ext uri="{FF2B5EF4-FFF2-40B4-BE49-F238E27FC236}">
                  <a16:creationId xmlns:a16="http://schemas.microsoft.com/office/drawing/2014/main" id="{39472782-B9C9-C849-8527-BCD0B682C440}"/>
                </a:ext>
              </a:extLst>
            </p:cNvPr>
            <p:cNvSpPr>
              <a:spLocks noChangeArrowheads="1"/>
            </p:cNvSpPr>
            <p:nvPr userDrawn="1"/>
          </p:nvSpPr>
          <p:spPr bwMode="auto">
            <a:xfrm>
              <a:off x="5905500" y="3746500"/>
              <a:ext cx="293688" cy="301625"/>
            </a:xfrm>
            <a:custGeom>
              <a:avLst/>
              <a:gdLst>
                <a:gd name="T0" fmla="*/ 639 w 817"/>
                <a:gd name="T1" fmla="*/ 836 h 837"/>
                <a:gd name="T2" fmla="*/ 639 w 817"/>
                <a:gd name="T3" fmla="*/ 836 h 837"/>
                <a:gd name="T4" fmla="*/ 639 w 817"/>
                <a:gd name="T5" fmla="*/ 397 h 837"/>
                <a:gd name="T6" fmla="*/ 580 w 817"/>
                <a:gd name="T7" fmla="*/ 225 h 837"/>
                <a:gd name="T8" fmla="*/ 411 w 817"/>
                <a:gd name="T9" fmla="*/ 158 h 837"/>
                <a:gd name="T10" fmla="*/ 316 w 817"/>
                <a:gd name="T11" fmla="*/ 178 h 837"/>
                <a:gd name="T12" fmla="*/ 241 w 817"/>
                <a:gd name="T13" fmla="*/ 230 h 837"/>
                <a:gd name="T14" fmla="*/ 194 w 817"/>
                <a:gd name="T15" fmla="*/ 311 h 837"/>
                <a:gd name="T16" fmla="*/ 177 w 817"/>
                <a:gd name="T17" fmla="*/ 405 h 837"/>
                <a:gd name="T18" fmla="*/ 177 w 817"/>
                <a:gd name="T19" fmla="*/ 836 h 837"/>
                <a:gd name="T20" fmla="*/ 0 w 817"/>
                <a:gd name="T21" fmla="*/ 836 h 837"/>
                <a:gd name="T22" fmla="*/ 0 w 817"/>
                <a:gd name="T23" fmla="*/ 11 h 837"/>
                <a:gd name="T24" fmla="*/ 161 w 817"/>
                <a:gd name="T25" fmla="*/ 11 h 837"/>
                <a:gd name="T26" fmla="*/ 172 w 817"/>
                <a:gd name="T27" fmla="*/ 130 h 837"/>
                <a:gd name="T28" fmla="*/ 455 w 817"/>
                <a:gd name="T29" fmla="*/ 0 h 837"/>
                <a:gd name="T30" fmla="*/ 597 w 817"/>
                <a:gd name="T31" fmla="*/ 25 h 837"/>
                <a:gd name="T32" fmla="*/ 711 w 817"/>
                <a:gd name="T33" fmla="*/ 100 h 837"/>
                <a:gd name="T34" fmla="*/ 789 w 817"/>
                <a:gd name="T35" fmla="*/ 225 h 837"/>
                <a:gd name="T36" fmla="*/ 816 w 817"/>
                <a:gd name="T37" fmla="*/ 394 h 837"/>
                <a:gd name="T38" fmla="*/ 816 w 817"/>
                <a:gd name="T39" fmla="*/ 836 h 837"/>
                <a:gd name="T40" fmla="*/ 639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9" y="836"/>
                  </a:moveTo>
                  <a:lnTo>
                    <a:pt x="639" y="836"/>
                  </a:lnTo>
                  <a:cubicBezTo>
                    <a:pt x="639" y="397"/>
                    <a:pt x="639" y="397"/>
                    <a:pt x="639" y="397"/>
                  </a:cubicBezTo>
                  <a:cubicBezTo>
                    <a:pt x="639" y="325"/>
                    <a:pt x="619" y="266"/>
                    <a:pt x="580" y="225"/>
                  </a:cubicBezTo>
                  <a:cubicBezTo>
                    <a:pt x="541" y="180"/>
                    <a:pt x="486" y="158"/>
                    <a:pt x="411" y="158"/>
                  </a:cubicBezTo>
                  <a:cubicBezTo>
                    <a:pt x="377" y="158"/>
                    <a:pt x="344" y="166"/>
                    <a:pt x="316" y="178"/>
                  </a:cubicBezTo>
                  <a:cubicBezTo>
                    <a:pt x="286" y="192"/>
                    <a:pt x="261" y="208"/>
                    <a:pt x="241" y="230"/>
                  </a:cubicBezTo>
                  <a:cubicBezTo>
                    <a:pt x="222" y="255"/>
                    <a:pt x="205" y="280"/>
                    <a:pt x="194" y="311"/>
                  </a:cubicBezTo>
                  <a:cubicBezTo>
                    <a:pt x="183" y="341"/>
                    <a:pt x="177" y="372"/>
                    <a:pt x="177" y="405"/>
                  </a:cubicBezTo>
                  <a:cubicBezTo>
                    <a:pt x="177" y="836"/>
                    <a:pt x="177" y="836"/>
                    <a:pt x="177" y="836"/>
                  </a:cubicBezTo>
                  <a:cubicBezTo>
                    <a:pt x="0" y="836"/>
                    <a:pt x="0" y="836"/>
                    <a:pt x="0" y="836"/>
                  </a:cubicBezTo>
                  <a:cubicBezTo>
                    <a:pt x="0" y="11"/>
                    <a:pt x="0" y="11"/>
                    <a:pt x="0" y="11"/>
                  </a:cubicBezTo>
                  <a:cubicBezTo>
                    <a:pt x="161" y="11"/>
                    <a:pt x="161" y="11"/>
                    <a:pt x="161" y="11"/>
                  </a:cubicBezTo>
                  <a:cubicBezTo>
                    <a:pt x="172" y="130"/>
                    <a:pt x="172" y="130"/>
                    <a:pt x="172" y="130"/>
                  </a:cubicBezTo>
                  <a:cubicBezTo>
                    <a:pt x="250" y="42"/>
                    <a:pt x="344" y="0"/>
                    <a:pt x="455" y="0"/>
                  </a:cubicBezTo>
                  <a:cubicBezTo>
                    <a:pt x="505" y="0"/>
                    <a:pt x="552" y="8"/>
                    <a:pt x="597" y="25"/>
                  </a:cubicBezTo>
                  <a:cubicBezTo>
                    <a:pt x="641" y="42"/>
                    <a:pt x="680" y="66"/>
                    <a:pt x="711" y="100"/>
                  </a:cubicBezTo>
                  <a:cubicBezTo>
                    <a:pt x="744" y="133"/>
                    <a:pt x="769" y="175"/>
                    <a:pt x="789" y="225"/>
                  </a:cubicBezTo>
                  <a:cubicBezTo>
                    <a:pt x="808" y="275"/>
                    <a:pt x="816" y="330"/>
                    <a:pt x="816" y="394"/>
                  </a:cubicBezTo>
                  <a:cubicBezTo>
                    <a:pt x="816" y="836"/>
                    <a:pt x="816" y="836"/>
                    <a:pt x="816" y="836"/>
                  </a:cubicBezTo>
                  <a:lnTo>
                    <a:pt x="639" y="83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3" name="Freeform 30">
              <a:extLst>
                <a:ext uri="{FF2B5EF4-FFF2-40B4-BE49-F238E27FC236}">
                  <a16:creationId xmlns:a16="http://schemas.microsoft.com/office/drawing/2014/main" id="{8F11BFC9-4076-B740-8CE4-34A4B1E5C4AA}"/>
                </a:ext>
              </a:extLst>
            </p:cNvPr>
            <p:cNvSpPr>
              <a:spLocks noChangeArrowheads="1"/>
            </p:cNvSpPr>
            <p:nvPr userDrawn="1"/>
          </p:nvSpPr>
          <p:spPr bwMode="auto">
            <a:xfrm>
              <a:off x="6251575"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4" name="Freeform 31">
              <a:extLst>
                <a:ext uri="{FF2B5EF4-FFF2-40B4-BE49-F238E27FC236}">
                  <a16:creationId xmlns:a16="http://schemas.microsoft.com/office/drawing/2014/main" id="{24B40F44-AAD1-F643-9711-673A0A45D8F3}"/>
                </a:ext>
              </a:extLst>
            </p:cNvPr>
            <p:cNvSpPr>
              <a:spLocks noChangeArrowheads="1"/>
            </p:cNvSpPr>
            <p:nvPr userDrawn="1"/>
          </p:nvSpPr>
          <p:spPr bwMode="auto">
            <a:xfrm>
              <a:off x="6643688"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5" name="Freeform 32">
              <a:extLst>
                <a:ext uri="{FF2B5EF4-FFF2-40B4-BE49-F238E27FC236}">
                  <a16:creationId xmlns:a16="http://schemas.microsoft.com/office/drawing/2014/main" id="{8E0C36A3-BC82-984B-A39A-002214E497EA}"/>
                </a:ext>
              </a:extLst>
            </p:cNvPr>
            <p:cNvSpPr>
              <a:spLocks noChangeArrowheads="1"/>
            </p:cNvSpPr>
            <p:nvPr userDrawn="1"/>
          </p:nvSpPr>
          <p:spPr bwMode="auto">
            <a:xfrm>
              <a:off x="6897688" y="3743325"/>
              <a:ext cx="314325" cy="309563"/>
            </a:xfrm>
            <a:custGeom>
              <a:avLst/>
              <a:gdLst>
                <a:gd name="T0" fmla="*/ 436 w 873"/>
                <a:gd name="T1" fmla="*/ 0 h 860"/>
                <a:gd name="T2" fmla="*/ 436 w 873"/>
                <a:gd name="T3" fmla="*/ 0 h 860"/>
                <a:gd name="T4" fmla="*/ 611 w 873"/>
                <a:gd name="T5" fmla="*/ 34 h 860"/>
                <a:gd name="T6" fmla="*/ 750 w 873"/>
                <a:gd name="T7" fmla="*/ 125 h 860"/>
                <a:gd name="T8" fmla="*/ 842 w 873"/>
                <a:gd name="T9" fmla="*/ 261 h 860"/>
                <a:gd name="T10" fmla="*/ 872 w 873"/>
                <a:gd name="T11" fmla="*/ 431 h 860"/>
                <a:gd name="T12" fmla="*/ 842 w 873"/>
                <a:gd name="T13" fmla="*/ 600 h 860"/>
                <a:gd name="T14" fmla="*/ 753 w 873"/>
                <a:gd name="T15" fmla="*/ 736 h 860"/>
                <a:gd name="T16" fmla="*/ 614 w 873"/>
                <a:gd name="T17" fmla="*/ 825 h 860"/>
                <a:gd name="T18" fmla="*/ 436 w 873"/>
                <a:gd name="T19" fmla="*/ 859 h 860"/>
                <a:gd name="T20" fmla="*/ 256 w 873"/>
                <a:gd name="T21" fmla="*/ 825 h 860"/>
                <a:gd name="T22" fmla="*/ 119 w 873"/>
                <a:gd name="T23" fmla="*/ 736 h 860"/>
                <a:gd name="T24" fmla="*/ 31 w 873"/>
                <a:gd name="T25" fmla="*/ 600 h 860"/>
                <a:gd name="T26" fmla="*/ 0 w 873"/>
                <a:gd name="T27" fmla="*/ 431 h 860"/>
                <a:gd name="T28" fmla="*/ 31 w 873"/>
                <a:gd name="T29" fmla="*/ 261 h 860"/>
                <a:gd name="T30" fmla="*/ 119 w 873"/>
                <a:gd name="T31" fmla="*/ 125 h 860"/>
                <a:gd name="T32" fmla="*/ 258 w 873"/>
                <a:gd name="T33" fmla="*/ 34 h 860"/>
                <a:gd name="T34" fmla="*/ 436 w 873"/>
                <a:gd name="T35" fmla="*/ 0 h 860"/>
                <a:gd name="T36" fmla="*/ 436 w 873"/>
                <a:gd name="T37" fmla="*/ 161 h 860"/>
                <a:gd name="T38" fmla="*/ 436 w 873"/>
                <a:gd name="T39" fmla="*/ 161 h 860"/>
                <a:gd name="T40" fmla="*/ 328 w 873"/>
                <a:gd name="T41" fmla="*/ 184 h 860"/>
                <a:gd name="T42" fmla="*/ 247 w 873"/>
                <a:gd name="T43" fmla="*/ 242 h 860"/>
                <a:gd name="T44" fmla="*/ 194 w 873"/>
                <a:gd name="T45" fmla="*/ 328 h 860"/>
                <a:gd name="T46" fmla="*/ 178 w 873"/>
                <a:gd name="T47" fmla="*/ 431 h 860"/>
                <a:gd name="T48" fmla="*/ 194 w 873"/>
                <a:gd name="T49" fmla="*/ 536 h 860"/>
                <a:gd name="T50" fmla="*/ 247 w 873"/>
                <a:gd name="T51" fmla="*/ 620 h 860"/>
                <a:gd name="T52" fmla="*/ 328 w 873"/>
                <a:gd name="T53" fmla="*/ 678 h 860"/>
                <a:gd name="T54" fmla="*/ 436 w 873"/>
                <a:gd name="T55" fmla="*/ 698 h 860"/>
                <a:gd name="T56" fmla="*/ 544 w 873"/>
                <a:gd name="T57" fmla="*/ 678 h 860"/>
                <a:gd name="T58" fmla="*/ 625 w 873"/>
                <a:gd name="T59" fmla="*/ 620 h 860"/>
                <a:gd name="T60" fmla="*/ 678 w 873"/>
                <a:gd name="T61" fmla="*/ 536 h 860"/>
                <a:gd name="T62" fmla="*/ 694 w 873"/>
                <a:gd name="T63" fmla="*/ 431 h 860"/>
                <a:gd name="T64" fmla="*/ 675 w 873"/>
                <a:gd name="T65" fmla="*/ 328 h 860"/>
                <a:gd name="T66" fmla="*/ 622 w 873"/>
                <a:gd name="T67" fmla="*/ 242 h 860"/>
                <a:gd name="T68" fmla="*/ 542 w 873"/>
                <a:gd name="T69" fmla="*/ 184 h 860"/>
                <a:gd name="T70" fmla="*/ 436 w 873"/>
                <a:gd name="T71" fmla="*/ 161 h 860"/>
                <a:gd name="T72" fmla="*/ 436 w 873"/>
                <a:gd name="T73"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60">
                  <a:moveTo>
                    <a:pt x="436" y="0"/>
                  </a:moveTo>
                  <a:lnTo>
                    <a:pt x="436" y="0"/>
                  </a:lnTo>
                  <a:cubicBezTo>
                    <a:pt x="500" y="0"/>
                    <a:pt x="558" y="11"/>
                    <a:pt x="611" y="34"/>
                  </a:cubicBezTo>
                  <a:cubicBezTo>
                    <a:pt x="667" y="59"/>
                    <a:pt x="711" y="86"/>
                    <a:pt x="750" y="125"/>
                  </a:cubicBezTo>
                  <a:cubicBezTo>
                    <a:pt x="789" y="164"/>
                    <a:pt x="819" y="209"/>
                    <a:pt x="842" y="261"/>
                  </a:cubicBezTo>
                  <a:cubicBezTo>
                    <a:pt x="861" y="314"/>
                    <a:pt x="872" y="370"/>
                    <a:pt x="872" y="431"/>
                  </a:cubicBezTo>
                  <a:cubicBezTo>
                    <a:pt x="872" y="492"/>
                    <a:pt x="861" y="547"/>
                    <a:pt x="842" y="600"/>
                  </a:cubicBezTo>
                  <a:cubicBezTo>
                    <a:pt x="819" y="653"/>
                    <a:pt x="792" y="698"/>
                    <a:pt x="753" y="736"/>
                  </a:cubicBezTo>
                  <a:cubicBezTo>
                    <a:pt x="714" y="775"/>
                    <a:pt x="669" y="806"/>
                    <a:pt x="614" y="825"/>
                  </a:cubicBezTo>
                  <a:cubicBezTo>
                    <a:pt x="561" y="847"/>
                    <a:pt x="500" y="859"/>
                    <a:pt x="436" y="859"/>
                  </a:cubicBezTo>
                  <a:cubicBezTo>
                    <a:pt x="369" y="859"/>
                    <a:pt x="308" y="847"/>
                    <a:pt x="256" y="825"/>
                  </a:cubicBezTo>
                  <a:cubicBezTo>
                    <a:pt x="203" y="806"/>
                    <a:pt x="156" y="775"/>
                    <a:pt x="119" y="736"/>
                  </a:cubicBezTo>
                  <a:cubicBezTo>
                    <a:pt x="80" y="698"/>
                    <a:pt x="53" y="653"/>
                    <a:pt x="31" y="600"/>
                  </a:cubicBezTo>
                  <a:cubicBezTo>
                    <a:pt x="11" y="547"/>
                    <a:pt x="0" y="492"/>
                    <a:pt x="0" y="431"/>
                  </a:cubicBezTo>
                  <a:cubicBezTo>
                    <a:pt x="0" y="370"/>
                    <a:pt x="11" y="314"/>
                    <a:pt x="31" y="261"/>
                  </a:cubicBezTo>
                  <a:cubicBezTo>
                    <a:pt x="53" y="209"/>
                    <a:pt x="80" y="164"/>
                    <a:pt x="119" y="125"/>
                  </a:cubicBezTo>
                  <a:cubicBezTo>
                    <a:pt x="158" y="86"/>
                    <a:pt x="203" y="59"/>
                    <a:pt x="258" y="34"/>
                  </a:cubicBezTo>
                  <a:cubicBezTo>
                    <a:pt x="311" y="11"/>
                    <a:pt x="369" y="0"/>
                    <a:pt x="436" y="0"/>
                  </a:cubicBezTo>
                  <a:lnTo>
                    <a:pt x="436" y="161"/>
                  </a:lnTo>
                  <a:lnTo>
                    <a:pt x="436" y="161"/>
                  </a:lnTo>
                  <a:cubicBezTo>
                    <a:pt x="394" y="161"/>
                    <a:pt x="358" y="170"/>
                    <a:pt x="328" y="184"/>
                  </a:cubicBezTo>
                  <a:cubicBezTo>
                    <a:pt x="294" y="198"/>
                    <a:pt x="269" y="217"/>
                    <a:pt x="247" y="242"/>
                  </a:cubicBezTo>
                  <a:cubicBezTo>
                    <a:pt x="225" y="267"/>
                    <a:pt x="206" y="298"/>
                    <a:pt x="194" y="328"/>
                  </a:cubicBezTo>
                  <a:cubicBezTo>
                    <a:pt x="183" y="361"/>
                    <a:pt x="178" y="395"/>
                    <a:pt x="178" y="431"/>
                  </a:cubicBezTo>
                  <a:cubicBezTo>
                    <a:pt x="178" y="470"/>
                    <a:pt x="183" y="503"/>
                    <a:pt x="194" y="536"/>
                  </a:cubicBezTo>
                  <a:cubicBezTo>
                    <a:pt x="206" y="567"/>
                    <a:pt x="225" y="595"/>
                    <a:pt x="247" y="620"/>
                  </a:cubicBezTo>
                  <a:cubicBezTo>
                    <a:pt x="269" y="645"/>
                    <a:pt x="294" y="664"/>
                    <a:pt x="328" y="678"/>
                  </a:cubicBezTo>
                  <a:cubicBezTo>
                    <a:pt x="358" y="692"/>
                    <a:pt x="394" y="698"/>
                    <a:pt x="436" y="698"/>
                  </a:cubicBezTo>
                  <a:cubicBezTo>
                    <a:pt x="475" y="698"/>
                    <a:pt x="511" y="692"/>
                    <a:pt x="544" y="678"/>
                  </a:cubicBezTo>
                  <a:cubicBezTo>
                    <a:pt x="575" y="664"/>
                    <a:pt x="603" y="645"/>
                    <a:pt x="625" y="620"/>
                  </a:cubicBezTo>
                  <a:cubicBezTo>
                    <a:pt x="647" y="595"/>
                    <a:pt x="664" y="567"/>
                    <a:pt x="678" y="536"/>
                  </a:cubicBezTo>
                  <a:cubicBezTo>
                    <a:pt x="689" y="503"/>
                    <a:pt x="694" y="470"/>
                    <a:pt x="694" y="431"/>
                  </a:cubicBezTo>
                  <a:cubicBezTo>
                    <a:pt x="694" y="395"/>
                    <a:pt x="689" y="361"/>
                    <a:pt x="675" y="328"/>
                  </a:cubicBezTo>
                  <a:cubicBezTo>
                    <a:pt x="664" y="298"/>
                    <a:pt x="644" y="267"/>
                    <a:pt x="622" y="242"/>
                  </a:cubicBezTo>
                  <a:cubicBezTo>
                    <a:pt x="600" y="217"/>
                    <a:pt x="572" y="198"/>
                    <a:pt x="542" y="184"/>
                  </a:cubicBezTo>
                  <a:cubicBezTo>
                    <a:pt x="508" y="170"/>
                    <a:pt x="472" y="161"/>
                    <a:pt x="436" y="161"/>
                  </a:cubicBezTo>
                  <a:lnTo>
                    <a:pt x="43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6" name="Freeform 33">
              <a:extLst>
                <a:ext uri="{FF2B5EF4-FFF2-40B4-BE49-F238E27FC236}">
                  <a16:creationId xmlns:a16="http://schemas.microsoft.com/office/drawing/2014/main" id="{5CF4A206-F53D-1944-A7FE-2F43061F8665}"/>
                </a:ext>
              </a:extLst>
            </p:cNvPr>
            <p:cNvSpPr>
              <a:spLocks noChangeArrowheads="1"/>
            </p:cNvSpPr>
            <p:nvPr userDrawn="1"/>
          </p:nvSpPr>
          <p:spPr bwMode="auto">
            <a:xfrm>
              <a:off x="7431088" y="3627438"/>
              <a:ext cx="323850" cy="427037"/>
            </a:xfrm>
            <a:custGeom>
              <a:avLst/>
              <a:gdLst>
                <a:gd name="T0" fmla="*/ 175 w 898"/>
                <a:gd name="T1" fmla="*/ 0 h 1185"/>
                <a:gd name="T2" fmla="*/ 175 w 898"/>
                <a:gd name="T3" fmla="*/ 0 h 1185"/>
                <a:gd name="T4" fmla="*/ 175 w 898"/>
                <a:gd name="T5" fmla="*/ 472 h 1185"/>
                <a:gd name="T6" fmla="*/ 231 w 898"/>
                <a:gd name="T7" fmla="*/ 409 h 1185"/>
                <a:gd name="T8" fmla="*/ 306 w 898"/>
                <a:gd name="T9" fmla="*/ 361 h 1185"/>
                <a:gd name="T10" fmla="*/ 389 w 898"/>
                <a:gd name="T11" fmla="*/ 334 h 1185"/>
                <a:gd name="T12" fmla="*/ 472 w 898"/>
                <a:gd name="T13" fmla="*/ 325 h 1185"/>
                <a:gd name="T14" fmla="*/ 639 w 898"/>
                <a:gd name="T15" fmla="*/ 353 h 1185"/>
                <a:gd name="T16" fmla="*/ 775 w 898"/>
                <a:gd name="T17" fmla="*/ 434 h 1185"/>
                <a:gd name="T18" fmla="*/ 867 w 898"/>
                <a:gd name="T19" fmla="*/ 570 h 1185"/>
                <a:gd name="T20" fmla="*/ 897 w 898"/>
                <a:gd name="T21" fmla="*/ 753 h 1185"/>
                <a:gd name="T22" fmla="*/ 864 w 898"/>
                <a:gd name="T23" fmla="*/ 936 h 1185"/>
                <a:gd name="T24" fmla="*/ 775 w 898"/>
                <a:gd name="T25" fmla="*/ 1072 h 1185"/>
                <a:gd name="T26" fmla="*/ 639 w 898"/>
                <a:gd name="T27" fmla="*/ 1156 h 1185"/>
                <a:gd name="T28" fmla="*/ 467 w 898"/>
                <a:gd name="T29" fmla="*/ 1184 h 1185"/>
                <a:gd name="T30" fmla="*/ 303 w 898"/>
                <a:gd name="T31" fmla="*/ 1150 h 1185"/>
                <a:gd name="T32" fmla="*/ 175 w 898"/>
                <a:gd name="T33" fmla="*/ 1036 h 1185"/>
                <a:gd name="T34" fmla="*/ 167 w 898"/>
                <a:gd name="T35" fmla="*/ 1167 h 1185"/>
                <a:gd name="T36" fmla="*/ 0 w 898"/>
                <a:gd name="T37" fmla="*/ 1167 h 1185"/>
                <a:gd name="T38" fmla="*/ 0 w 898"/>
                <a:gd name="T39" fmla="*/ 0 h 1185"/>
                <a:gd name="T40" fmla="*/ 175 w 898"/>
                <a:gd name="T41" fmla="*/ 0 h 1185"/>
                <a:gd name="T42" fmla="*/ 456 w 898"/>
                <a:gd name="T43" fmla="*/ 486 h 1185"/>
                <a:gd name="T44" fmla="*/ 456 w 898"/>
                <a:gd name="T45" fmla="*/ 486 h 1185"/>
                <a:gd name="T46" fmla="*/ 353 w 898"/>
                <a:gd name="T47" fmla="*/ 506 h 1185"/>
                <a:gd name="T48" fmla="*/ 267 w 898"/>
                <a:gd name="T49" fmla="*/ 559 h 1185"/>
                <a:gd name="T50" fmla="*/ 208 w 898"/>
                <a:gd name="T51" fmla="*/ 645 h 1185"/>
                <a:gd name="T52" fmla="*/ 186 w 898"/>
                <a:gd name="T53" fmla="*/ 753 h 1185"/>
                <a:gd name="T54" fmla="*/ 208 w 898"/>
                <a:gd name="T55" fmla="*/ 864 h 1185"/>
                <a:gd name="T56" fmla="*/ 267 w 898"/>
                <a:gd name="T57" fmla="*/ 950 h 1185"/>
                <a:gd name="T58" fmla="*/ 350 w 898"/>
                <a:gd name="T59" fmla="*/ 1003 h 1185"/>
                <a:gd name="T60" fmla="*/ 456 w 898"/>
                <a:gd name="T61" fmla="*/ 1023 h 1185"/>
                <a:gd name="T62" fmla="*/ 558 w 898"/>
                <a:gd name="T63" fmla="*/ 1006 h 1185"/>
                <a:gd name="T64" fmla="*/ 645 w 898"/>
                <a:gd name="T65" fmla="*/ 950 h 1185"/>
                <a:gd name="T66" fmla="*/ 700 w 898"/>
                <a:gd name="T67" fmla="*/ 867 h 1185"/>
                <a:gd name="T68" fmla="*/ 722 w 898"/>
                <a:gd name="T69" fmla="*/ 753 h 1185"/>
                <a:gd name="T70" fmla="*/ 700 w 898"/>
                <a:gd name="T71" fmla="*/ 639 h 1185"/>
                <a:gd name="T72" fmla="*/ 645 w 898"/>
                <a:gd name="T73" fmla="*/ 556 h 1185"/>
                <a:gd name="T74" fmla="*/ 558 w 898"/>
                <a:gd name="T75" fmla="*/ 503 h 1185"/>
                <a:gd name="T76" fmla="*/ 456 w 898"/>
                <a:gd name="T77" fmla="*/ 48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8" h="1185">
                  <a:moveTo>
                    <a:pt x="175" y="0"/>
                  </a:moveTo>
                  <a:lnTo>
                    <a:pt x="175" y="0"/>
                  </a:lnTo>
                  <a:cubicBezTo>
                    <a:pt x="175" y="472"/>
                    <a:pt x="175" y="472"/>
                    <a:pt x="175" y="472"/>
                  </a:cubicBezTo>
                  <a:cubicBezTo>
                    <a:pt x="189" y="448"/>
                    <a:pt x="208" y="425"/>
                    <a:pt x="231" y="409"/>
                  </a:cubicBezTo>
                  <a:cubicBezTo>
                    <a:pt x="253" y="389"/>
                    <a:pt x="278" y="373"/>
                    <a:pt x="306" y="361"/>
                  </a:cubicBezTo>
                  <a:cubicBezTo>
                    <a:pt x="334" y="350"/>
                    <a:pt x="361" y="339"/>
                    <a:pt x="389" y="334"/>
                  </a:cubicBezTo>
                  <a:cubicBezTo>
                    <a:pt x="417" y="328"/>
                    <a:pt x="445" y="325"/>
                    <a:pt x="472" y="325"/>
                  </a:cubicBezTo>
                  <a:cubicBezTo>
                    <a:pt x="531" y="325"/>
                    <a:pt x="589" y="334"/>
                    <a:pt x="639" y="353"/>
                  </a:cubicBezTo>
                  <a:cubicBezTo>
                    <a:pt x="692" y="370"/>
                    <a:pt x="739" y="397"/>
                    <a:pt x="775" y="434"/>
                  </a:cubicBezTo>
                  <a:cubicBezTo>
                    <a:pt x="814" y="470"/>
                    <a:pt x="845" y="514"/>
                    <a:pt x="867" y="570"/>
                  </a:cubicBezTo>
                  <a:cubicBezTo>
                    <a:pt x="886" y="623"/>
                    <a:pt x="897" y="684"/>
                    <a:pt x="897" y="753"/>
                  </a:cubicBezTo>
                  <a:cubicBezTo>
                    <a:pt x="897" y="823"/>
                    <a:pt x="886" y="884"/>
                    <a:pt x="864" y="936"/>
                  </a:cubicBezTo>
                  <a:cubicBezTo>
                    <a:pt x="842" y="989"/>
                    <a:pt x="811" y="1036"/>
                    <a:pt x="775" y="1072"/>
                  </a:cubicBezTo>
                  <a:cubicBezTo>
                    <a:pt x="736" y="1109"/>
                    <a:pt x="692" y="1136"/>
                    <a:pt x="639" y="1156"/>
                  </a:cubicBezTo>
                  <a:cubicBezTo>
                    <a:pt x="586" y="1175"/>
                    <a:pt x="531" y="1184"/>
                    <a:pt x="467" y="1184"/>
                  </a:cubicBezTo>
                  <a:cubicBezTo>
                    <a:pt x="411" y="1184"/>
                    <a:pt x="356" y="1172"/>
                    <a:pt x="303" y="1150"/>
                  </a:cubicBezTo>
                  <a:cubicBezTo>
                    <a:pt x="253" y="1128"/>
                    <a:pt x="208" y="1089"/>
                    <a:pt x="175" y="1036"/>
                  </a:cubicBezTo>
                  <a:cubicBezTo>
                    <a:pt x="167" y="1167"/>
                    <a:pt x="167" y="1167"/>
                    <a:pt x="167" y="1167"/>
                  </a:cubicBezTo>
                  <a:cubicBezTo>
                    <a:pt x="0" y="1167"/>
                    <a:pt x="0" y="1167"/>
                    <a:pt x="0" y="1167"/>
                  </a:cubicBezTo>
                  <a:cubicBezTo>
                    <a:pt x="0" y="0"/>
                    <a:pt x="0" y="0"/>
                    <a:pt x="0" y="0"/>
                  </a:cubicBezTo>
                  <a:lnTo>
                    <a:pt x="175" y="0"/>
                  </a:lnTo>
                  <a:close/>
                  <a:moveTo>
                    <a:pt x="456" y="486"/>
                  </a:moveTo>
                  <a:lnTo>
                    <a:pt x="456" y="486"/>
                  </a:lnTo>
                  <a:cubicBezTo>
                    <a:pt x="420" y="486"/>
                    <a:pt x="383" y="492"/>
                    <a:pt x="353" y="506"/>
                  </a:cubicBezTo>
                  <a:cubicBezTo>
                    <a:pt x="320" y="517"/>
                    <a:pt x="289" y="536"/>
                    <a:pt x="267" y="559"/>
                  </a:cubicBezTo>
                  <a:cubicBezTo>
                    <a:pt x="242" y="584"/>
                    <a:pt x="222" y="611"/>
                    <a:pt x="208" y="645"/>
                  </a:cubicBezTo>
                  <a:cubicBezTo>
                    <a:pt x="195" y="678"/>
                    <a:pt x="186" y="714"/>
                    <a:pt x="186" y="753"/>
                  </a:cubicBezTo>
                  <a:cubicBezTo>
                    <a:pt x="186" y="795"/>
                    <a:pt x="195" y="831"/>
                    <a:pt x="208" y="864"/>
                  </a:cubicBezTo>
                  <a:cubicBezTo>
                    <a:pt x="222" y="897"/>
                    <a:pt x="242" y="925"/>
                    <a:pt x="267" y="950"/>
                  </a:cubicBezTo>
                  <a:cubicBezTo>
                    <a:pt x="289" y="972"/>
                    <a:pt x="320" y="992"/>
                    <a:pt x="350" y="1003"/>
                  </a:cubicBezTo>
                  <a:cubicBezTo>
                    <a:pt x="383" y="1017"/>
                    <a:pt x="420" y="1023"/>
                    <a:pt x="456" y="1023"/>
                  </a:cubicBezTo>
                  <a:cubicBezTo>
                    <a:pt x="492" y="1023"/>
                    <a:pt x="528" y="1017"/>
                    <a:pt x="558" y="1006"/>
                  </a:cubicBezTo>
                  <a:cubicBezTo>
                    <a:pt x="592" y="992"/>
                    <a:pt x="620" y="975"/>
                    <a:pt x="645" y="950"/>
                  </a:cubicBezTo>
                  <a:cubicBezTo>
                    <a:pt x="667" y="928"/>
                    <a:pt x="686" y="900"/>
                    <a:pt x="700" y="867"/>
                  </a:cubicBezTo>
                  <a:cubicBezTo>
                    <a:pt x="714" y="834"/>
                    <a:pt x="722" y="795"/>
                    <a:pt x="722" y="753"/>
                  </a:cubicBezTo>
                  <a:cubicBezTo>
                    <a:pt x="722" y="711"/>
                    <a:pt x="714" y="672"/>
                    <a:pt x="700" y="639"/>
                  </a:cubicBezTo>
                  <a:cubicBezTo>
                    <a:pt x="686" y="609"/>
                    <a:pt x="667" y="581"/>
                    <a:pt x="645" y="556"/>
                  </a:cubicBezTo>
                  <a:cubicBezTo>
                    <a:pt x="620" y="534"/>
                    <a:pt x="592" y="517"/>
                    <a:pt x="558" y="503"/>
                  </a:cubicBezTo>
                  <a:cubicBezTo>
                    <a:pt x="528" y="492"/>
                    <a:pt x="492" y="486"/>
                    <a:pt x="456" y="4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7" name="Freeform 34">
              <a:extLst>
                <a:ext uri="{FF2B5EF4-FFF2-40B4-BE49-F238E27FC236}">
                  <a16:creationId xmlns:a16="http://schemas.microsoft.com/office/drawing/2014/main" id="{721AEE28-67D2-9249-97C2-EEF0842E5ECE}"/>
                </a:ext>
              </a:extLst>
            </p:cNvPr>
            <p:cNvSpPr>
              <a:spLocks noChangeArrowheads="1"/>
            </p:cNvSpPr>
            <p:nvPr userDrawn="1"/>
          </p:nvSpPr>
          <p:spPr bwMode="auto">
            <a:xfrm>
              <a:off x="7804150" y="3743325"/>
              <a:ext cx="315913"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5 w 876"/>
                <a:gd name="T11" fmla="*/ 680 h 864"/>
                <a:gd name="T12" fmla="*/ 703 w 876"/>
                <a:gd name="T13" fmla="*/ 616 h 864"/>
                <a:gd name="T14" fmla="*/ 817 w 876"/>
                <a:gd name="T15" fmla="*/ 724 h 864"/>
                <a:gd name="T16" fmla="*/ 742 w 876"/>
                <a:gd name="T17" fmla="*/ 786 h 864"/>
                <a:gd name="T18" fmla="*/ 653 w 876"/>
                <a:gd name="T19" fmla="*/ 830 h 864"/>
                <a:gd name="T20" fmla="*/ 556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5 w 876"/>
                <a:gd name="T35" fmla="*/ 119 h 864"/>
                <a:gd name="T36" fmla="*/ 264 w 876"/>
                <a:gd name="T37" fmla="*/ 30 h 864"/>
                <a:gd name="T38" fmla="*/ 445 w 876"/>
                <a:gd name="T39" fmla="*/ 0 h 864"/>
                <a:gd name="T40" fmla="*/ 628 w 876"/>
                <a:gd name="T41" fmla="*/ 30 h 864"/>
                <a:gd name="T42" fmla="*/ 770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3 w 876"/>
                <a:gd name="T55" fmla="*/ 202 h 864"/>
                <a:gd name="T56" fmla="*/ 450 w 876"/>
                <a:gd name="T57" fmla="*/ 152 h 864"/>
                <a:gd name="T58" fmla="*/ 281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20" y="686"/>
                    <a:pt x="381" y="705"/>
                    <a:pt x="459" y="705"/>
                  </a:cubicBezTo>
                  <a:cubicBezTo>
                    <a:pt x="503" y="705"/>
                    <a:pt x="548" y="697"/>
                    <a:pt x="595" y="680"/>
                  </a:cubicBezTo>
                  <a:cubicBezTo>
                    <a:pt x="642" y="666"/>
                    <a:pt x="678" y="644"/>
                    <a:pt x="703" y="616"/>
                  </a:cubicBezTo>
                  <a:cubicBezTo>
                    <a:pt x="817" y="724"/>
                    <a:pt x="817" y="724"/>
                    <a:pt x="817" y="724"/>
                  </a:cubicBezTo>
                  <a:cubicBezTo>
                    <a:pt x="798" y="747"/>
                    <a:pt x="770" y="769"/>
                    <a:pt x="742" y="786"/>
                  </a:cubicBezTo>
                  <a:cubicBezTo>
                    <a:pt x="714" y="802"/>
                    <a:pt x="684" y="819"/>
                    <a:pt x="653" y="830"/>
                  </a:cubicBezTo>
                  <a:cubicBezTo>
                    <a:pt x="623" y="841"/>
                    <a:pt x="589" y="849"/>
                    <a:pt x="556" y="855"/>
                  </a:cubicBezTo>
                  <a:cubicBezTo>
                    <a:pt x="520" y="861"/>
                    <a:pt x="486" y="863"/>
                    <a:pt x="456" y="863"/>
                  </a:cubicBezTo>
                  <a:cubicBezTo>
                    <a:pt x="386" y="863"/>
                    <a:pt x="323" y="855"/>
                    <a:pt x="267" y="833"/>
                  </a:cubicBezTo>
                  <a:cubicBezTo>
                    <a:pt x="212" y="813"/>
                    <a:pt x="164" y="783"/>
                    <a:pt x="125" y="747"/>
                  </a:cubicBezTo>
                  <a:cubicBezTo>
                    <a:pt x="86" y="708"/>
                    <a:pt x="56" y="661"/>
                    <a:pt x="34" y="608"/>
                  </a:cubicBezTo>
                  <a:cubicBezTo>
                    <a:pt x="12" y="552"/>
                    <a:pt x="0" y="494"/>
                    <a:pt x="0" y="427"/>
                  </a:cubicBezTo>
                  <a:cubicBezTo>
                    <a:pt x="0" y="366"/>
                    <a:pt x="12" y="308"/>
                    <a:pt x="34" y="255"/>
                  </a:cubicBezTo>
                  <a:cubicBezTo>
                    <a:pt x="56" y="202"/>
                    <a:pt x="86" y="158"/>
                    <a:pt x="125" y="119"/>
                  </a:cubicBezTo>
                  <a:cubicBezTo>
                    <a:pt x="164" y="80"/>
                    <a:pt x="209" y="52"/>
                    <a:pt x="264" y="30"/>
                  </a:cubicBezTo>
                  <a:cubicBezTo>
                    <a:pt x="317" y="8"/>
                    <a:pt x="378" y="0"/>
                    <a:pt x="445" y="0"/>
                  </a:cubicBezTo>
                  <a:cubicBezTo>
                    <a:pt x="511" y="0"/>
                    <a:pt x="573" y="8"/>
                    <a:pt x="628" y="30"/>
                  </a:cubicBezTo>
                  <a:cubicBezTo>
                    <a:pt x="684" y="50"/>
                    <a:pt x="731" y="80"/>
                    <a:pt x="770" y="122"/>
                  </a:cubicBezTo>
                  <a:cubicBezTo>
                    <a:pt x="809" y="163"/>
                    <a:pt x="836" y="216"/>
                    <a:pt x="853" y="277"/>
                  </a:cubicBezTo>
                  <a:cubicBezTo>
                    <a:pt x="870" y="341"/>
                    <a:pt x="875" y="413"/>
                    <a:pt x="867" y="497"/>
                  </a:cubicBezTo>
                  <a:lnTo>
                    <a:pt x="186" y="352"/>
                  </a:lnTo>
                  <a:lnTo>
                    <a:pt x="186" y="352"/>
                  </a:lnTo>
                  <a:cubicBezTo>
                    <a:pt x="698" y="352"/>
                    <a:pt x="698" y="352"/>
                    <a:pt x="698" y="352"/>
                  </a:cubicBezTo>
                  <a:cubicBezTo>
                    <a:pt x="692" y="286"/>
                    <a:pt x="667" y="236"/>
                    <a:pt x="623" y="202"/>
                  </a:cubicBezTo>
                  <a:cubicBezTo>
                    <a:pt x="578" y="169"/>
                    <a:pt x="520" y="152"/>
                    <a:pt x="450" y="152"/>
                  </a:cubicBezTo>
                  <a:cubicBezTo>
                    <a:pt x="384" y="152"/>
                    <a:pt x="328" y="169"/>
                    <a:pt x="281" y="202"/>
                  </a:cubicBezTo>
                  <a:cubicBezTo>
                    <a:pt x="231" y="236"/>
                    <a:pt x="200" y="286"/>
                    <a:pt x="186" y="352"/>
                  </a:cubicBezTo>
                  <a:lnTo>
                    <a:pt x="867" y="49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9" name="Freeform 36">
              <a:extLst>
                <a:ext uri="{FF2B5EF4-FFF2-40B4-BE49-F238E27FC236}">
                  <a16:creationId xmlns:a16="http://schemas.microsoft.com/office/drawing/2014/main" id="{94F82546-F7D5-734A-8AE0-05FA12E572B7}"/>
                </a:ext>
              </a:extLst>
            </p:cNvPr>
            <p:cNvSpPr>
              <a:spLocks noChangeArrowheads="1"/>
            </p:cNvSpPr>
            <p:nvPr userDrawn="1"/>
          </p:nvSpPr>
          <p:spPr bwMode="auto">
            <a:xfrm>
              <a:off x="6570663" y="3024188"/>
              <a:ext cx="77787" cy="76200"/>
            </a:xfrm>
            <a:custGeom>
              <a:avLst/>
              <a:gdLst>
                <a:gd name="T0" fmla="*/ 0 w 218"/>
                <a:gd name="T1" fmla="*/ 106 h 213"/>
                <a:gd name="T2" fmla="*/ 0 w 218"/>
                <a:gd name="T3" fmla="*/ 106 h 213"/>
                <a:gd name="T4" fmla="*/ 33 w 218"/>
                <a:gd name="T5" fmla="*/ 25 h 213"/>
                <a:gd name="T6" fmla="*/ 108 w 218"/>
                <a:gd name="T7" fmla="*/ 0 h 213"/>
                <a:gd name="T8" fmla="*/ 183 w 218"/>
                <a:gd name="T9" fmla="*/ 25 h 213"/>
                <a:gd name="T10" fmla="*/ 217 w 218"/>
                <a:gd name="T11" fmla="*/ 106 h 213"/>
                <a:gd name="T12" fmla="*/ 183 w 218"/>
                <a:gd name="T13" fmla="*/ 184 h 213"/>
                <a:gd name="T14" fmla="*/ 108 w 218"/>
                <a:gd name="T15" fmla="*/ 212 h 213"/>
                <a:gd name="T16" fmla="*/ 33 w 218"/>
                <a:gd name="T17" fmla="*/ 184 h 213"/>
                <a:gd name="T18" fmla="*/ 0 w 218"/>
                <a:gd name="T19" fmla="*/ 10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3">
                  <a:moveTo>
                    <a:pt x="0" y="106"/>
                  </a:moveTo>
                  <a:lnTo>
                    <a:pt x="0" y="106"/>
                  </a:lnTo>
                  <a:cubicBezTo>
                    <a:pt x="0" y="70"/>
                    <a:pt x="11" y="42"/>
                    <a:pt x="33" y="25"/>
                  </a:cubicBezTo>
                  <a:cubicBezTo>
                    <a:pt x="56" y="9"/>
                    <a:pt x="80" y="0"/>
                    <a:pt x="108" y="0"/>
                  </a:cubicBezTo>
                  <a:cubicBezTo>
                    <a:pt x="136" y="0"/>
                    <a:pt x="161" y="9"/>
                    <a:pt x="183" y="25"/>
                  </a:cubicBezTo>
                  <a:cubicBezTo>
                    <a:pt x="206" y="42"/>
                    <a:pt x="217" y="70"/>
                    <a:pt x="217" y="106"/>
                  </a:cubicBezTo>
                  <a:cubicBezTo>
                    <a:pt x="217" y="139"/>
                    <a:pt x="206" y="167"/>
                    <a:pt x="183" y="184"/>
                  </a:cubicBezTo>
                  <a:cubicBezTo>
                    <a:pt x="161" y="203"/>
                    <a:pt x="136" y="212"/>
                    <a:pt x="108" y="212"/>
                  </a:cubicBezTo>
                  <a:cubicBezTo>
                    <a:pt x="80" y="212"/>
                    <a:pt x="56" y="203"/>
                    <a:pt x="33" y="184"/>
                  </a:cubicBezTo>
                  <a:cubicBezTo>
                    <a:pt x="11" y="167"/>
                    <a:pt x="0" y="139"/>
                    <a:pt x="0"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0" name="Freeform 37">
              <a:extLst>
                <a:ext uri="{FF2B5EF4-FFF2-40B4-BE49-F238E27FC236}">
                  <a16:creationId xmlns:a16="http://schemas.microsoft.com/office/drawing/2014/main" id="{F32F4CFE-B218-A640-BC61-78FC631429B0}"/>
                </a:ext>
              </a:extLst>
            </p:cNvPr>
            <p:cNvSpPr>
              <a:spLocks noChangeArrowheads="1"/>
            </p:cNvSpPr>
            <p:nvPr userDrawn="1"/>
          </p:nvSpPr>
          <p:spPr bwMode="auto">
            <a:xfrm>
              <a:off x="2690813" y="3625850"/>
              <a:ext cx="79375" cy="77788"/>
            </a:xfrm>
            <a:custGeom>
              <a:avLst/>
              <a:gdLst>
                <a:gd name="T0" fmla="*/ 0 w 221"/>
                <a:gd name="T1" fmla="*/ 105 h 215"/>
                <a:gd name="T2" fmla="*/ 0 w 221"/>
                <a:gd name="T3" fmla="*/ 105 h 215"/>
                <a:gd name="T4" fmla="*/ 34 w 221"/>
                <a:gd name="T5" fmla="*/ 28 h 215"/>
                <a:gd name="T6" fmla="*/ 111 w 221"/>
                <a:gd name="T7" fmla="*/ 0 h 215"/>
                <a:gd name="T8" fmla="*/ 186 w 221"/>
                <a:gd name="T9" fmla="*/ 28 h 215"/>
                <a:gd name="T10" fmla="*/ 220 w 221"/>
                <a:gd name="T11" fmla="*/ 105 h 215"/>
                <a:gd name="T12" fmla="*/ 186 w 221"/>
                <a:gd name="T13" fmla="*/ 186 h 215"/>
                <a:gd name="T14" fmla="*/ 111 w 221"/>
                <a:gd name="T15" fmla="*/ 214 h 215"/>
                <a:gd name="T16" fmla="*/ 34 w 221"/>
                <a:gd name="T17" fmla="*/ 186 h 215"/>
                <a:gd name="T18" fmla="*/ 0 w 221"/>
                <a:gd name="T19" fmla="*/ 10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215">
                  <a:moveTo>
                    <a:pt x="0" y="105"/>
                  </a:moveTo>
                  <a:lnTo>
                    <a:pt x="0" y="105"/>
                  </a:lnTo>
                  <a:cubicBezTo>
                    <a:pt x="0" y="69"/>
                    <a:pt x="11" y="44"/>
                    <a:pt x="34" y="28"/>
                  </a:cubicBezTo>
                  <a:cubicBezTo>
                    <a:pt x="59" y="8"/>
                    <a:pt x="84" y="0"/>
                    <a:pt x="111" y="0"/>
                  </a:cubicBezTo>
                  <a:cubicBezTo>
                    <a:pt x="136" y="0"/>
                    <a:pt x="161" y="8"/>
                    <a:pt x="186" y="28"/>
                  </a:cubicBezTo>
                  <a:cubicBezTo>
                    <a:pt x="209" y="44"/>
                    <a:pt x="220" y="69"/>
                    <a:pt x="220" y="105"/>
                  </a:cubicBezTo>
                  <a:cubicBezTo>
                    <a:pt x="220" y="141"/>
                    <a:pt x="209" y="169"/>
                    <a:pt x="186" y="186"/>
                  </a:cubicBezTo>
                  <a:cubicBezTo>
                    <a:pt x="161" y="202"/>
                    <a:pt x="136" y="214"/>
                    <a:pt x="111" y="214"/>
                  </a:cubicBezTo>
                  <a:cubicBezTo>
                    <a:pt x="84" y="214"/>
                    <a:pt x="59" y="202"/>
                    <a:pt x="34" y="186"/>
                  </a:cubicBezTo>
                  <a:cubicBezTo>
                    <a:pt x="11" y="169"/>
                    <a:pt x="0" y="141"/>
                    <a:pt x="0" y="10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Tree>
    <p:extLst>
      <p:ext uri="{BB962C8B-B14F-4D97-AF65-F5344CB8AC3E}">
        <p14:creationId xmlns:p14="http://schemas.microsoft.com/office/powerpoint/2010/main" val="306530043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digo-Cover_Ogo-illustration">
    <p:spTree>
      <p:nvGrpSpPr>
        <p:cNvPr id="1" name=""/>
        <p:cNvGrpSpPr/>
        <p:nvPr/>
      </p:nvGrpSpPr>
      <p:grpSpPr>
        <a:xfrm>
          <a:off x="0" y="0"/>
          <a:ext cx="0" cy="0"/>
          <a:chOff x="0" y="0"/>
          <a:chExt cx="0" cy="0"/>
        </a:xfrm>
      </p:grpSpPr>
      <p:sp>
        <p:nvSpPr>
          <p:cNvPr id="22" name="Freeform 1">
            <a:extLst>
              <a:ext uri="{FF2B5EF4-FFF2-40B4-BE49-F238E27FC236}">
                <a16:creationId xmlns:a16="http://schemas.microsoft.com/office/drawing/2014/main" id="{012B1637-88AD-2745-83B2-27BC58FFD203}"/>
              </a:ext>
            </a:extLst>
          </p:cNvPr>
          <p:cNvSpPr>
            <a:spLocks noChangeArrowheads="1"/>
          </p:cNvSpPr>
          <p:nvPr userDrawn="1"/>
        </p:nvSpPr>
        <p:spPr bwMode="auto">
          <a:xfrm>
            <a:off x="6800654" y="0"/>
            <a:ext cx="2747903" cy="2612855"/>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4" name="Title 1">
            <a:extLst>
              <a:ext uri="{FF2B5EF4-FFF2-40B4-BE49-F238E27FC236}">
                <a16:creationId xmlns:a16="http://schemas.microsoft.com/office/drawing/2014/main" id="{FCFEA4AF-DDE1-3B4C-85B8-C1A1D78F60B0}"/>
              </a:ext>
            </a:extLst>
          </p:cNvPr>
          <p:cNvSpPr>
            <a:spLocks noGrp="1"/>
          </p:cNvSpPr>
          <p:nvPr userDrawn="1">
            <p:ph type="title" hasCustomPrompt="1"/>
          </p:nvPr>
        </p:nvSpPr>
        <p:spPr>
          <a:xfrm>
            <a:off x="1" y="1508558"/>
            <a:ext cx="3455988" cy="1187449"/>
          </a:xfrm>
          <a:prstGeom prst="rect">
            <a:avLst/>
          </a:prstGeom>
        </p:spPr>
        <p:txBody>
          <a:bodyPr lIns="432000" tIns="180000" rIns="72000" bIns="0"/>
          <a:lstStyle>
            <a:lvl1pPr>
              <a:defRPr lang="pl-PL" dirty="0"/>
            </a:lvl1pPr>
          </a:lstStyle>
          <a:p>
            <a:pPr lvl="0"/>
            <a:r>
              <a:rPr lang="en-US" noProof="0"/>
              <a:t>Presentation title</a:t>
            </a:r>
          </a:p>
        </p:txBody>
      </p:sp>
      <p:grpSp>
        <p:nvGrpSpPr>
          <p:cNvPr id="25" name="Group 24">
            <a:extLst>
              <a:ext uri="{FF2B5EF4-FFF2-40B4-BE49-F238E27FC236}">
                <a16:creationId xmlns:a16="http://schemas.microsoft.com/office/drawing/2014/main" id="{2FBD87C8-6045-0D47-9EBA-9EFCD740A2A0}"/>
              </a:ext>
            </a:extLst>
          </p:cNvPr>
          <p:cNvGrpSpPr/>
          <p:nvPr userDrawn="1"/>
        </p:nvGrpSpPr>
        <p:grpSpPr>
          <a:xfrm>
            <a:off x="431799" y="407248"/>
            <a:ext cx="1336166" cy="539307"/>
            <a:chOff x="2286000" y="2193925"/>
            <a:chExt cx="6835775" cy="2759075"/>
          </a:xfrm>
        </p:grpSpPr>
        <p:sp>
          <p:nvSpPr>
            <p:cNvPr id="26" name="Freeform 1">
              <a:extLst>
                <a:ext uri="{FF2B5EF4-FFF2-40B4-BE49-F238E27FC236}">
                  <a16:creationId xmlns:a16="http://schemas.microsoft.com/office/drawing/2014/main" id="{C3B29DF1-FA04-F34B-BF4C-56B3967A2EA2}"/>
                </a:ext>
              </a:extLst>
            </p:cNvPr>
            <p:cNvSpPr>
              <a:spLocks noChangeArrowheads="1"/>
            </p:cNvSpPr>
            <p:nvPr/>
          </p:nvSpPr>
          <p:spPr bwMode="auto">
            <a:xfrm>
              <a:off x="8378825" y="2471738"/>
              <a:ext cx="742950" cy="706437"/>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7" name="Freeform 2">
              <a:extLst>
                <a:ext uri="{FF2B5EF4-FFF2-40B4-BE49-F238E27FC236}">
                  <a16:creationId xmlns:a16="http://schemas.microsoft.com/office/drawing/2014/main" id="{8FD16FF3-416F-8040-8694-1A05511B1A32}"/>
                </a:ext>
              </a:extLst>
            </p:cNvPr>
            <p:cNvSpPr>
              <a:spLocks noChangeArrowheads="1"/>
            </p:cNvSpPr>
            <p:nvPr/>
          </p:nvSpPr>
          <p:spPr bwMode="auto">
            <a:xfrm>
              <a:off x="5299075" y="2781300"/>
              <a:ext cx="333375" cy="1349375"/>
            </a:xfrm>
            <a:custGeom>
              <a:avLst/>
              <a:gdLst>
                <a:gd name="T0" fmla="*/ 0 w 927"/>
                <a:gd name="T1" fmla="*/ 3749 h 3750"/>
                <a:gd name="T2" fmla="*/ 926 w 927"/>
                <a:gd name="T3" fmla="*/ 3749 h 3750"/>
                <a:gd name="T4" fmla="*/ 926 w 927"/>
                <a:gd name="T5" fmla="*/ 0 h 3750"/>
                <a:gd name="T6" fmla="*/ 0 w 927"/>
                <a:gd name="T7" fmla="*/ 0 h 3750"/>
                <a:gd name="T8" fmla="*/ 0 w 927"/>
                <a:gd name="T9" fmla="*/ 3749 h 3750"/>
              </a:gdLst>
              <a:ahLst/>
              <a:cxnLst>
                <a:cxn ang="0">
                  <a:pos x="T0" y="T1"/>
                </a:cxn>
                <a:cxn ang="0">
                  <a:pos x="T2" y="T3"/>
                </a:cxn>
                <a:cxn ang="0">
                  <a:pos x="T4" y="T5"/>
                </a:cxn>
                <a:cxn ang="0">
                  <a:pos x="T6" y="T7"/>
                </a:cxn>
                <a:cxn ang="0">
                  <a:pos x="T8" y="T9"/>
                </a:cxn>
              </a:cxnLst>
              <a:rect l="0" t="0" r="r" b="b"/>
              <a:pathLst>
                <a:path w="927" h="3750">
                  <a:moveTo>
                    <a:pt x="0" y="3749"/>
                  </a:moveTo>
                  <a:lnTo>
                    <a:pt x="926" y="3749"/>
                  </a:lnTo>
                  <a:lnTo>
                    <a:pt x="926" y="0"/>
                  </a:lnTo>
                  <a:lnTo>
                    <a:pt x="0" y="0"/>
                  </a:lnTo>
                  <a:lnTo>
                    <a:pt x="0" y="3749"/>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8" name="Freeform 3">
              <a:extLst>
                <a:ext uri="{FF2B5EF4-FFF2-40B4-BE49-F238E27FC236}">
                  <a16:creationId xmlns:a16="http://schemas.microsoft.com/office/drawing/2014/main" id="{50FA5CEE-F71C-524F-9F01-6BC30F520AA7}"/>
                </a:ext>
              </a:extLst>
            </p:cNvPr>
            <p:cNvSpPr>
              <a:spLocks noChangeArrowheads="1"/>
            </p:cNvSpPr>
            <p:nvPr/>
          </p:nvSpPr>
          <p:spPr bwMode="auto">
            <a:xfrm>
              <a:off x="3781425" y="2193925"/>
              <a:ext cx="1206500" cy="1973263"/>
            </a:xfrm>
            <a:custGeom>
              <a:avLst/>
              <a:gdLst>
                <a:gd name="T0" fmla="*/ 2426 w 3353"/>
                <a:gd name="T1" fmla="*/ 1631 h 5480"/>
                <a:gd name="T2" fmla="*/ 2426 w 3353"/>
                <a:gd name="T3" fmla="*/ 1631 h 5480"/>
                <a:gd name="T4" fmla="*/ 2459 w 3353"/>
                <a:gd name="T5" fmla="*/ 1940 h 5480"/>
                <a:gd name="T6" fmla="*/ 1290 w 3353"/>
                <a:gd name="T7" fmla="*/ 1532 h 5480"/>
                <a:gd name="T8" fmla="*/ 0 w 3353"/>
                <a:gd name="T9" fmla="*/ 1995 h 5480"/>
                <a:gd name="T10" fmla="*/ 463 w 3353"/>
                <a:gd name="T11" fmla="*/ 2833 h 5480"/>
                <a:gd name="T12" fmla="*/ 1323 w 3353"/>
                <a:gd name="T13" fmla="*/ 2403 h 5480"/>
                <a:gd name="T14" fmla="*/ 2393 w 3353"/>
                <a:gd name="T15" fmla="*/ 3506 h 5480"/>
                <a:gd name="T16" fmla="*/ 1323 w 3353"/>
                <a:gd name="T17" fmla="*/ 4619 h 5480"/>
                <a:gd name="T18" fmla="*/ 485 w 3353"/>
                <a:gd name="T19" fmla="*/ 4178 h 5480"/>
                <a:gd name="T20" fmla="*/ 0 w 3353"/>
                <a:gd name="T21" fmla="*/ 5049 h 5480"/>
                <a:gd name="T22" fmla="*/ 1290 w 3353"/>
                <a:gd name="T23" fmla="*/ 5479 h 5480"/>
                <a:gd name="T24" fmla="*/ 2459 w 3353"/>
                <a:gd name="T25" fmla="*/ 5071 h 5480"/>
                <a:gd name="T26" fmla="*/ 2492 w 3353"/>
                <a:gd name="T27" fmla="*/ 5380 h 5480"/>
                <a:gd name="T28" fmla="*/ 3352 w 3353"/>
                <a:gd name="T29" fmla="*/ 5380 h 5480"/>
                <a:gd name="T30" fmla="*/ 3352 w 3353"/>
                <a:gd name="T31" fmla="*/ 0 h 5480"/>
                <a:gd name="T32" fmla="*/ 2426 w 3353"/>
                <a:gd name="T33" fmla="*/ 0 h 5480"/>
                <a:gd name="T34" fmla="*/ 2426 w 3353"/>
                <a:gd name="T35" fmla="*/ 1631 h 5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53" h="5480">
                  <a:moveTo>
                    <a:pt x="2426" y="1631"/>
                  </a:moveTo>
                  <a:lnTo>
                    <a:pt x="2426" y="1631"/>
                  </a:lnTo>
                  <a:cubicBezTo>
                    <a:pt x="2426" y="1819"/>
                    <a:pt x="2459" y="1940"/>
                    <a:pt x="2459" y="1940"/>
                  </a:cubicBezTo>
                  <a:cubicBezTo>
                    <a:pt x="2150" y="1720"/>
                    <a:pt x="1786" y="1532"/>
                    <a:pt x="1290" y="1532"/>
                  </a:cubicBezTo>
                  <a:cubicBezTo>
                    <a:pt x="794" y="1532"/>
                    <a:pt x="364" y="1720"/>
                    <a:pt x="0" y="1995"/>
                  </a:cubicBezTo>
                  <a:cubicBezTo>
                    <a:pt x="210" y="2249"/>
                    <a:pt x="364" y="2524"/>
                    <a:pt x="463" y="2833"/>
                  </a:cubicBezTo>
                  <a:cubicBezTo>
                    <a:pt x="673" y="2557"/>
                    <a:pt x="948" y="2403"/>
                    <a:pt x="1323" y="2403"/>
                  </a:cubicBezTo>
                  <a:cubicBezTo>
                    <a:pt x="1963" y="2403"/>
                    <a:pt x="2393" y="2833"/>
                    <a:pt x="2393" y="3506"/>
                  </a:cubicBezTo>
                  <a:cubicBezTo>
                    <a:pt x="2393" y="4211"/>
                    <a:pt x="1941" y="4619"/>
                    <a:pt x="1323" y="4619"/>
                  </a:cubicBezTo>
                  <a:cubicBezTo>
                    <a:pt x="982" y="4619"/>
                    <a:pt x="673" y="4465"/>
                    <a:pt x="485" y="4178"/>
                  </a:cubicBezTo>
                  <a:cubicBezTo>
                    <a:pt x="397" y="4520"/>
                    <a:pt x="210" y="4795"/>
                    <a:pt x="0" y="5049"/>
                  </a:cubicBezTo>
                  <a:cubicBezTo>
                    <a:pt x="364" y="5325"/>
                    <a:pt x="794" y="5479"/>
                    <a:pt x="1290" y="5479"/>
                  </a:cubicBezTo>
                  <a:cubicBezTo>
                    <a:pt x="1753" y="5479"/>
                    <a:pt x="2183" y="5292"/>
                    <a:pt x="2459" y="5071"/>
                  </a:cubicBezTo>
                  <a:cubicBezTo>
                    <a:pt x="2492" y="5380"/>
                    <a:pt x="2492" y="5380"/>
                    <a:pt x="2492" y="5380"/>
                  </a:cubicBezTo>
                  <a:cubicBezTo>
                    <a:pt x="3352" y="5380"/>
                    <a:pt x="3352" y="5380"/>
                    <a:pt x="3352" y="5380"/>
                  </a:cubicBezTo>
                  <a:cubicBezTo>
                    <a:pt x="3352" y="0"/>
                    <a:pt x="3352" y="0"/>
                    <a:pt x="3352" y="0"/>
                  </a:cubicBezTo>
                  <a:cubicBezTo>
                    <a:pt x="2426" y="0"/>
                    <a:pt x="2426" y="0"/>
                    <a:pt x="2426" y="0"/>
                  </a:cubicBezTo>
                  <a:lnTo>
                    <a:pt x="2426" y="1631"/>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9" name="Freeform 4">
              <a:extLst>
                <a:ext uri="{FF2B5EF4-FFF2-40B4-BE49-F238E27FC236}">
                  <a16:creationId xmlns:a16="http://schemas.microsoft.com/office/drawing/2014/main" id="{1843977D-768B-CE49-9799-E3974D3C4002}"/>
                </a:ext>
              </a:extLst>
            </p:cNvPr>
            <p:cNvSpPr>
              <a:spLocks noChangeArrowheads="1"/>
            </p:cNvSpPr>
            <p:nvPr/>
          </p:nvSpPr>
          <p:spPr bwMode="auto">
            <a:xfrm>
              <a:off x="2286000" y="2746375"/>
              <a:ext cx="1441450" cy="1420813"/>
            </a:xfrm>
            <a:custGeom>
              <a:avLst/>
              <a:gdLst>
                <a:gd name="T0" fmla="*/ 1995 w 4003"/>
                <a:gd name="T1" fmla="*/ 0 h 3948"/>
                <a:gd name="T2" fmla="*/ 1995 w 4003"/>
                <a:gd name="T3" fmla="*/ 0 h 3948"/>
                <a:gd name="T4" fmla="*/ 0 w 4003"/>
                <a:gd name="T5" fmla="*/ 1974 h 3948"/>
                <a:gd name="T6" fmla="*/ 1995 w 4003"/>
                <a:gd name="T7" fmla="*/ 3947 h 3948"/>
                <a:gd name="T8" fmla="*/ 4002 w 4003"/>
                <a:gd name="T9" fmla="*/ 1974 h 3948"/>
                <a:gd name="T10" fmla="*/ 1995 w 4003"/>
                <a:gd name="T11" fmla="*/ 0 h 3948"/>
                <a:gd name="T12" fmla="*/ 1995 w 4003"/>
                <a:gd name="T13" fmla="*/ 3087 h 3948"/>
                <a:gd name="T14" fmla="*/ 1995 w 4003"/>
                <a:gd name="T15" fmla="*/ 3087 h 3948"/>
                <a:gd name="T16" fmla="*/ 926 w 4003"/>
                <a:gd name="T17" fmla="*/ 1974 h 3948"/>
                <a:gd name="T18" fmla="*/ 1995 w 4003"/>
                <a:gd name="T19" fmla="*/ 871 h 3948"/>
                <a:gd name="T20" fmla="*/ 3076 w 4003"/>
                <a:gd name="T21" fmla="*/ 1974 h 3948"/>
                <a:gd name="T22" fmla="*/ 1995 w 4003"/>
                <a:gd name="T23" fmla="*/ 3087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3" h="3948">
                  <a:moveTo>
                    <a:pt x="1995" y="0"/>
                  </a:moveTo>
                  <a:lnTo>
                    <a:pt x="1995" y="0"/>
                  </a:lnTo>
                  <a:cubicBezTo>
                    <a:pt x="860" y="0"/>
                    <a:pt x="0" y="893"/>
                    <a:pt x="0" y="1974"/>
                  </a:cubicBezTo>
                  <a:cubicBezTo>
                    <a:pt x="0" y="3109"/>
                    <a:pt x="860" y="3947"/>
                    <a:pt x="1995" y="3947"/>
                  </a:cubicBezTo>
                  <a:cubicBezTo>
                    <a:pt x="3142" y="3947"/>
                    <a:pt x="4002" y="3109"/>
                    <a:pt x="4002" y="1974"/>
                  </a:cubicBezTo>
                  <a:cubicBezTo>
                    <a:pt x="4002" y="893"/>
                    <a:pt x="3142" y="0"/>
                    <a:pt x="1995" y="0"/>
                  </a:cubicBezTo>
                  <a:close/>
                  <a:moveTo>
                    <a:pt x="1995" y="3087"/>
                  </a:moveTo>
                  <a:lnTo>
                    <a:pt x="1995" y="3087"/>
                  </a:lnTo>
                  <a:cubicBezTo>
                    <a:pt x="1389" y="3087"/>
                    <a:pt x="926" y="2624"/>
                    <a:pt x="926" y="1974"/>
                  </a:cubicBezTo>
                  <a:cubicBezTo>
                    <a:pt x="926" y="1356"/>
                    <a:pt x="1356" y="871"/>
                    <a:pt x="1995" y="871"/>
                  </a:cubicBezTo>
                  <a:cubicBezTo>
                    <a:pt x="2646" y="871"/>
                    <a:pt x="3076" y="1356"/>
                    <a:pt x="3076" y="1974"/>
                  </a:cubicBezTo>
                  <a:cubicBezTo>
                    <a:pt x="3076" y="2624"/>
                    <a:pt x="2613" y="3087"/>
                    <a:pt x="1995" y="3087"/>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0" name="Freeform 5">
              <a:extLst>
                <a:ext uri="{FF2B5EF4-FFF2-40B4-BE49-F238E27FC236}">
                  <a16:creationId xmlns:a16="http://schemas.microsoft.com/office/drawing/2014/main" id="{D3C33316-F0B6-7847-932F-F67B9F07C687}"/>
                </a:ext>
              </a:extLst>
            </p:cNvPr>
            <p:cNvSpPr>
              <a:spLocks noChangeArrowheads="1"/>
            </p:cNvSpPr>
            <p:nvPr/>
          </p:nvSpPr>
          <p:spPr bwMode="auto">
            <a:xfrm>
              <a:off x="5862638" y="2627313"/>
              <a:ext cx="1420812" cy="2325687"/>
            </a:xfrm>
            <a:custGeom>
              <a:avLst/>
              <a:gdLst>
                <a:gd name="T0" fmla="*/ 3914 w 3948"/>
                <a:gd name="T1" fmla="*/ 2216 h 6462"/>
                <a:gd name="T2" fmla="*/ 3914 w 3948"/>
                <a:gd name="T3" fmla="*/ 2216 h 6462"/>
                <a:gd name="T4" fmla="*/ 3517 w 3948"/>
                <a:gd name="T5" fmla="*/ 1048 h 6462"/>
                <a:gd name="T6" fmla="*/ 3947 w 3948"/>
                <a:gd name="T7" fmla="*/ 519 h 6462"/>
                <a:gd name="T8" fmla="*/ 3263 w 3948"/>
                <a:gd name="T9" fmla="*/ 0 h 6462"/>
                <a:gd name="T10" fmla="*/ 2800 w 3948"/>
                <a:gd name="T11" fmla="*/ 519 h 6462"/>
                <a:gd name="T12" fmla="*/ 1940 w 3948"/>
                <a:gd name="T13" fmla="*/ 331 h 6462"/>
                <a:gd name="T14" fmla="*/ 0 w 3948"/>
                <a:gd name="T15" fmla="*/ 2305 h 6462"/>
                <a:gd name="T16" fmla="*/ 1510 w 3948"/>
                <a:gd name="T17" fmla="*/ 4057 h 6462"/>
                <a:gd name="T18" fmla="*/ 2954 w 3948"/>
                <a:gd name="T19" fmla="*/ 4895 h 6462"/>
                <a:gd name="T20" fmla="*/ 2061 w 3948"/>
                <a:gd name="T21" fmla="*/ 5568 h 6462"/>
                <a:gd name="T22" fmla="*/ 1080 w 3948"/>
                <a:gd name="T23" fmla="*/ 4829 h 6462"/>
                <a:gd name="T24" fmla="*/ 1080 w 3948"/>
                <a:gd name="T25" fmla="*/ 4741 h 6462"/>
                <a:gd name="T26" fmla="*/ 132 w 3948"/>
                <a:gd name="T27" fmla="*/ 4741 h 6462"/>
                <a:gd name="T28" fmla="*/ 132 w 3948"/>
                <a:gd name="T29" fmla="*/ 4829 h 6462"/>
                <a:gd name="T30" fmla="*/ 2039 w 3948"/>
                <a:gd name="T31" fmla="*/ 6461 h 6462"/>
                <a:gd name="T32" fmla="*/ 3914 w 3948"/>
                <a:gd name="T33" fmla="*/ 4951 h 6462"/>
                <a:gd name="T34" fmla="*/ 3021 w 3948"/>
                <a:gd name="T35" fmla="*/ 3694 h 6462"/>
                <a:gd name="T36" fmla="*/ 3914 w 3948"/>
                <a:gd name="T37" fmla="*/ 2216 h 6462"/>
                <a:gd name="T38" fmla="*/ 1940 w 3948"/>
                <a:gd name="T39" fmla="*/ 3286 h 6462"/>
                <a:gd name="T40" fmla="*/ 1940 w 3948"/>
                <a:gd name="T41" fmla="*/ 3286 h 6462"/>
                <a:gd name="T42" fmla="*/ 959 w 3948"/>
                <a:gd name="T43" fmla="*/ 2238 h 6462"/>
                <a:gd name="T44" fmla="*/ 1940 w 3948"/>
                <a:gd name="T45" fmla="*/ 1202 h 6462"/>
                <a:gd name="T46" fmla="*/ 2954 w 3948"/>
                <a:gd name="T47" fmla="*/ 2238 h 6462"/>
                <a:gd name="T48" fmla="*/ 1940 w 3948"/>
                <a:gd name="T49" fmla="*/ 3286 h 6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8" h="6462">
                  <a:moveTo>
                    <a:pt x="3914" y="2216"/>
                  </a:moveTo>
                  <a:lnTo>
                    <a:pt x="3914" y="2216"/>
                  </a:lnTo>
                  <a:cubicBezTo>
                    <a:pt x="3914" y="1786"/>
                    <a:pt x="3759" y="1356"/>
                    <a:pt x="3517" y="1048"/>
                  </a:cubicBezTo>
                  <a:cubicBezTo>
                    <a:pt x="3947" y="519"/>
                    <a:pt x="3947" y="519"/>
                    <a:pt x="3947" y="519"/>
                  </a:cubicBezTo>
                  <a:cubicBezTo>
                    <a:pt x="3263" y="0"/>
                    <a:pt x="3263" y="0"/>
                    <a:pt x="3263" y="0"/>
                  </a:cubicBezTo>
                  <a:cubicBezTo>
                    <a:pt x="2800" y="519"/>
                    <a:pt x="2800" y="519"/>
                    <a:pt x="2800" y="519"/>
                  </a:cubicBezTo>
                  <a:cubicBezTo>
                    <a:pt x="2558" y="397"/>
                    <a:pt x="2282" y="331"/>
                    <a:pt x="1940" y="331"/>
                  </a:cubicBezTo>
                  <a:cubicBezTo>
                    <a:pt x="805" y="331"/>
                    <a:pt x="0" y="1202"/>
                    <a:pt x="0" y="2305"/>
                  </a:cubicBezTo>
                  <a:cubicBezTo>
                    <a:pt x="0" y="3286"/>
                    <a:pt x="595" y="3903"/>
                    <a:pt x="1510" y="4057"/>
                  </a:cubicBezTo>
                  <a:cubicBezTo>
                    <a:pt x="2128" y="4179"/>
                    <a:pt x="2954" y="4157"/>
                    <a:pt x="2954" y="4895"/>
                  </a:cubicBezTo>
                  <a:cubicBezTo>
                    <a:pt x="2954" y="5292"/>
                    <a:pt x="2679" y="5568"/>
                    <a:pt x="2061" y="5568"/>
                  </a:cubicBezTo>
                  <a:cubicBezTo>
                    <a:pt x="1422" y="5568"/>
                    <a:pt x="1080" y="5193"/>
                    <a:pt x="1080" y="4829"/>
                  </a:cubicBezTo>
                  <a:cubicBezTo>
                    <a:pt x="1080" y="4796"/>
                    <a:pt x="1080" y="4763"/>
                    <a:pt x="1080" y="4741"/>
                  </a:cubicBezTo>
                  <a:cubicBezTo>
                    <a:pt x="132" y="4741"/>
                    <a:pt x="132" y="4741"/>
                    <a:pt x="132" y="4741"/>
                  </a:cubicBezTo>
                  <a:cubicBezTo>
                    <a:pt x="132" y="4763"/>
                    <a:pt x="132" y="4796"/>
                    <a:pt x="132" y="4829"/>
                  </a:cubicBezTo>
                  <a:cubicBezTo>
                    <a:pt x="132" y="5689"/>
                    <a:pt x="871" y="6461"/>
                    <a:pt x="2039" y="6461"/>
                  </a:cubicBezTo>
                  <a:cubicBezTo>
                    <a:pt x="3329" y="6461"/>
                    <a:pt x="3914" y="5689"/>
                    <a:pt x="3914" y="4951"/>
                  </a:cubicBezTo>
                  <a:cubicBezTo>
                    <a:pt x="3914" y="4245"/>
                    <a:pt x="3539" y="3870"/>
                    <a:pt x="3021" y="3694"/>
                  </a:cubicBezTo>
                  <a:cubicBezTo>
                    <a:pt x="3539" y="3440"/>
                    <a:pt x="3914" y="2889"/>
                    <a:pt x="3914" y="2216"/>
                  </a:cubicBezTo>
                  <a:close/>
                  <a:moveTo>
                    <a:pt x="1940" y="3286"/>
                  </a:moveTo>
                  <a:lnTo>
                    <a:pt x="1940" y="3286"/>
                  </a:lnTo>
                  <a:cubicBezTo>
                    <a:pt x="1356" y="3286"/>
                    <a:pt x="959" y="2889"/>
                    <a:pt x="959" y="2238"/>
                  </a:cubicBezTo>
                  <a:cubicBezTo>
                    <a:pt x="959" y="1632"/>
                    <a:pt x="1334" y="1202"/>
                    <a:pt x="1940" y="1202"/>
                  </a:cubicBezTo>
                  <a:cubicBezTo>
                    <a:pt x="2591" y="1202"/>
                    <a:pt x="2954" y="1632"/>
                    <a:pt x="2954" y="2238"/>
                  </a:cubicBezTo>
                  <a:cubicBezTo>
                    <a:pt x="2954" y="2889"/>
                    <a:pt x="2624" y="3286"/>
                    <a:pt x="1940" y="3286"/>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1" name="Freeform 6">
              <a:extLst>
                <a:ext uri="{FF2B5EF4-FFF2-40B4-BE49-F238E27FC236}">
                  <a16:creationId xmlns:a16="http://schemas.microsoft.com/office/drawing/2014/main" id="{0B7E5FCE-40AB-6242-8B57-E5960B64EB87}"/>
                </a:ext>
              </a:extLst>
            </p:cNvPr>
            <p:cNvSpPr>
              <a:spLocks noChangeArrowheads="1"/>
            </p:cNvSpPr>
            <p:nvPr/>
          </p:nvSpPr>
          <p:spPr bwMode="auto">
            <a:xfrm>
              <a:off x="5299075" y="2193925"/>
              <a:ext cx="333375" cy="322263"/>
            </a:xfrm>
            <a:custGeom>
              <a:avLst/>
              <a:gdLst>
                <a:gd name="T0" fmla="*/ 0 w 927"/>
                <a:gd name="T1" fmla="*/ 893 h 894"/>
                <a:gd name="T2" fmla="*/ 926 w 927"/>
                <a:gd name="T3" fmla="*/ 893 h 894"/>
                <a:gd name="T4" fmla="*/ 926 w 927"/>
                <a:gd name="T5" fmla="*/ 0 h 894"/>
                <a:gd name="T6" fmla="*/ 0 w 927"/>
                <a:gd name="T7" fmla="*/ 0 h 894"/>
                <a:gd name="T8" fmla="*/ 0 w 927"/>
                <a:gd name="T9" fmla="*/ 893 h 894"/>
              </a:gdLst>
              <a:ahLst/>
              <a:cxnLst>
                <a:cxn ang="0">
                  <a:pos x="T0" y="T1"/>
                </a:cxn>
                <a:cxn ang="0">
                  <a:pos x="T2" y="T3"/>
                </a:cxn>
                <a:cxn ang="0">
                  <a:pos x="T4" y="T5"/>
                </a:cxn>
                <a:cxn ang="0">
                  <a:pos x="T6" y="T7"/>
                </a:cxn>
                <a:cxn ang="0">
                  <a:pos x="T8" y="T9"/>
                </a:cxn>
              </a:cxnLst>
              <a:rect l="0" t="0" r="r" b="b"/>
              <a:pathLst>
                <a:path w="927" h="894">
                  <a:moveTo>
                    <a:pt x="0" y="893"/>
                  </a:moveTo>
                  <a:lnTo>
                    <a:pt x="926" y="893"/>
                  </a:lnTo>
                  <a:lnTo>
                    <a:pt x="926" y="0"/>
                  </a:lnTo>
                  <a:lnTo>
                    <a:pt x="0" y="0"/>
                  </a:lnTo>
                  <a:lnTo>
                    <a:pt x="0" y="893"/>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2" name="Freeform 7">
              <a:extLst>
                <a:ext uri="{FF2B5EF4-FFF2-40B4-BE49-F238E27FC236}">
                  <a16:creationId xmlns:a16="http://schemas.microsoft.com/office/drawing/2014/main" id="{7C5AAB3B-78AE-2D42-BAA2-4F84F9672947}"/>
                </a:ext>
              </a:extLst>
            </p:cNvPr>
            <p:cNvSpPr>
              <a:spLocks noChangeArrowheads="1"/>
            </p:cNvSpPr>
            <p:nvPr/>
          </p:nvSpPr>
          <p:spPr bwMode="auto">
            <a:xfrm>
              <a:off x="7458075" y="2746375"/>
              <a:ext cx="1452563" cy="1420813"/>
            </a:xfrm>
            <a:custGeom>
              <a:avLst/>
              <a:gdLst>
                <a:gd name="T0" fmla="*/ 3076 w 4036"/>
                <a:gd name="T1" fmla="*/ 1764 h 3948"/>
                <a:gd name="T2" fmla="*/ 3076 w 4036"/>
                <a:gd name="T3" fmla="*/ 1764 h 3948"/>
                <a:gd name="T4" fmla="*/ 3076 w 4036"/>
                <a:gd name="T5" fmla="*/ 1974 h 3948"/>
                <a:gd name="T6" fmla="*/ 2007 w 4036"/>
                <a:gd name="T7" fmla="*/ 3087 h 3948"/>
                <a:gd name="T8" fmla="*/ 959 w 4036"/>
                <a:gd name="T9" fmla="*/ 1974 h 3948"/>
                <a:gd name="T10" fmla="*/ 2007 w 4036"/>
                <a:gd name="T11" fmla="*/ 871 h 3948"/>
                <a:gd name="T12" fmla="*/ 2062 w 4036"/>
                <a:gd name="T13" fmla="*/ 871 h 3948"/>
                <a:gd name="T14" fmla="*/ 2062 w 4036"/>
                <a:gd name="T15" fmla="*/ 0 h 3948"/>
                <a:gd name="T16" fmla="*/ 2007 w 4036"/>
                <a:gd name="T17" fmla="*/ 0 h 3948"/>
                <a:gd name="T18" fmla="*/ 0 w 4036"/>
                <a:gd name="T19" fmla="*/ 1974 h 3948"/>
                <a:gd name="T20" fmla="*/ 2007 w 4036"/>
                <a:gd name="T21" fmla="*/ 3947 h 3948"/>
                <a:gd name="T22" fmla="*/ 4035 w 4036"/>
                <a:gd name="T23" fmla="*/ 1974 h 3948"/>
                <a:gd name="T24" fmla="*/ 4002 w 4036"/>
                <a:gd name="T25" fmla="*/ 1764 h 3948"/>
                <a:gd name="T26" fmla="*/ 3076 w 4036"/>
                <a:gd name="T27" fmla="*/ 1764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6" h="3948">
                  <a:moveTo>
                    <a:pt x="3076" y="1764"/>
                  </a:moveTo>
                  <a:lnTo>
                    <a:pt x="3076" y="1764"/>
                  </a:lnTo>
                  <a:cubicBezTo>
                    <a:pt x="3076" y="1852"/>
                    <a:pt x="3076" y="1907"/>
                    <a:pt x="3076" y="1974"/>
                  </a:cubicBezTo>
                  <a:cubicBezTo>
                    <a:pt x="3076" y="2624"/>
                    <a:pt x="2624" y="3087"/>
                    <a:pt x="2007" y="3087"/>
                  </a:cubicBezTo>
                  <a:cubicBezTo>
                    <a:pt x="1422" y="3087"/>
                    <a:pt x="959" y="2624"/>
                    <a:pt x="959" y="1974"/>
                  </a:cubicBezTo>
                  <a:cubicBezTo>
                    <a:pt x="959" y="1356"/>
                    <a:pt x="1389" y="871"/>
                    <a:pt x="2007" y="871"/>
                  </a:cubicBezTo>
                  <a:cubicBezTo>
                    <a:pt x="2040" y="871"/>
                    <a:pt x="2040" y="871"/>
                    <a:pt x="2062" y="871"/>
                  </a:cubicBezTo>
                  <a:cubicBezTo>
                    <a:pt x="2062" y="0"/>
                    <a:pt x="2062" y="0"/>
                    <a:pt x="2062" y="0"/>
                  </a:cubicBezTo>
                  <a:cubicBezTo>
                    <a:pt x="2040" y="0"/>
                    <a:pt x="2040" y="0"/>
                    <a:pt x="2007" y="0"/>
                  </a:cubicBezTo>
                  <a:cubicBezTo>
                    <a:pt x="871" y="0"/>
                    <a:pt x="0" y="893"/>
                    <a:pt x="0" y="1974"/>
                  </a:cubicBezTo>
                  <a:cubicBezTo>
                    <a:pt x="0" y="3109"/>
                    <a:pt x="871" y="3947"/>
                    <a:pt x="2007" y="3947"/>
                  </a:cubicBezTo>
                  <a:cubicBezTo>
                    <a:pt x="3175" y="3947"/>
                    <a:pt x="4035" y="3109"/>
                    <a:pt x="4035" y="1974"/>
                  </a:cubicBezTo>
                  <a:cubicBezTo>
                    <a:pt x="4035" y="1907"/>
                    <a:pt x="4035" y="1852"/>
                    <a:pt x="4002" y="1764"/>
                  </a:cubicBezTo>
                  <a:lnTo>
                    <a:pt x="3076" y="176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grpSp>
        <p:nvGrpSpPr>
          <p:cNvPr id="33" name="Group 32">
            <a:extLst>
              <a:ext uri="{FF2B5EF4-FFF2-40B4-BE49-F238E27FC236}">
                <a16:creationId xmlns:a16="http://schemas.microsoft.com/office/drawing/2014/main" id="{4B2B9ED4-4DFA-EB49-939D-3F245C247D48}"/>
              </a:ext>
            </a:extLst>
          </p:cNvPr>
          <p:cNvGrpSpPr/>
          <p:nvPr userDrawn="1"/>
        </p:nvGrpSpPr>
        <p:grpSpPr>
          <a:xfrm>
            <a:off x="434640" y="4447762"/>
            <a:ext cx="1692983" cy="279387"/>
            <a:chOff x="1828800" y="3017838"/>
            <a:chExt cx="6291263" cy="1038225"/>
          </a:xfrm>
        </p:grpSpPr>
        <p:sp>
          <p:nvSpPr>
            <p:cNvPr id="34" name="Freeform 1">
              <a:extLst>
                <a:ext uri="{FF2B5EF4-FFF2-40B4-BE49-F238E27FC236}">
                  <a16:creationId xmlns:a16="http://schemas.microsoft.com/office/drawing/2014/main" id="{668DE3C6-9435-F84B-8EE5-06AB30A25176}"/>
                </a:ext>
              </a:extLst>
            </p:cNvPr>
            <p:cNvSpPr>
              <a:spLocks noChangeArrowheads="1"/>
            </p:cNvSpPr>
            <p:nvPr userDrawn="1"/>
          </p:nvSpPr>
          <p:spPr bwMode="auto">
            <a:xfrm>
              <a:off x="1831975" y="3017838"/>
              <a:ext cx="388938" cy="438150"/>
            </a:xfrm>
            <a:custGeom>
              <a:avLst/>
              <a:gdLst>
                <a:gd name="T0" fmla="*/ 1081 w 1082"/>
                <a:gd name="T1" fmla="*/ 1042 h 1215"/>
                <a:gd name="T2" fmla="*/ 1081 w 1082"/>
                <a:gd name="T3" fmla="*/ 1042 h 1215"/>
                <a:gd name="T4" fmla="*/ 873 w 1082"/>
                <a:gd name="T5" fmla="*/ 1172 h 1215"/>
                <a:gd name="T6" fmla="*/ 631 w 1082"/>
                <a:gd name="T7" fmla="*/ 1214 h 1215"/>
                <a:gd name="T8" fmla="*/ 350 w 1082"/>
                <a:gd name="T9" fmla="*/ 1164 h 1215"/>
                <a:gd name="T10" fmla="*/ 153 w 1082"/>
                <a:gd name="T11" fmla="*/ 1028 h 1215"/>
                <a:gd name="T12" fmla="*/ 39 w 1082"/>
                <a:gd name="T13" fmla="*/ 836 h 1215"/>
                <a:gd name="T14" fmla="*/ 0 w 1082"/>
                <a:gd name="T15" fmla="*/ 614 h 1215"/>
                <a:gd name="T16" fmla="*/ 39 w 1082"/>
                <a:gd name="T17" fmla="*/ 389 h 1215"/>
                <a:gd name="T18" fmla="*/ 156 w 1082"/>
                <a:gd name="T19" fmla="*/ 192 h 1215"/>
                <a:gd name="T20" fmla="*/ 353 w 1082"/>
                <a:gd name="T21" fmla="*/ 53 h 1215"/>
                <a:gd name="T22" fmla="*/ 631 w 1082"/>
                <a:gd name="T23" fmla="*/ 0 h 1215"/>
                <a:gd name="T24" fmla="*/ 864 w 1082"/>
                <a:gd name="T25" fmla="*/ 44 h 1215"/>
                <a:gd name="T26" fmla="*/ 1070 w 1082"/>
                <a:gd name="T27" fmla="*/ 178 h 1215"/>
                <a:gd name="T28" fmla="*/ 942 w 1082"/>
                <a:gd name="T29" fmla="*/ 297 h 1215"/>
                <a:gd name="T30" fmla="*/ 795 w 1082"/>
                <a:gd name="T31" fmla="*/ 206 h 1215"/>
                <a:gd name="T32" fmla="*/ 631 w 1082"/>
                <a:gd name="T33" fmla="*/ 178 h 1215"/>
                <a:gd name="T34" fmla="*/ 434 w 1082"/>
                <a:gd name="T35" fmla="*/ 214 h 1215"/>
                <a:gd name="T36" fmla="*/ 298 w 1082"/>
                <a:gd name="T37" fmla="*/ 314 h 1215"/>
                <a:gd name="T38" fmla="*/ 217 w 1082"/>
                <a:gd name="T39" fmla="*/ 453 h 1215"/>
                <a:gd name="T40" fmla="*/ 192 w 1082"/>
                <a:gd name="T41" fmla="*/ 614 h 1215"/>
                <a:gd name="T42" fmla="*/ 217 w 1082"/>
                <a:gd name="T43" fmla="*/ 769 h 1215"/>
                <a:gd name="T44" fmla="*/ 295 w 1082"/>
                <a:gd name="T45" fmla="*/ 906 h 1215"/>
                <a:gd name="T46" fmla="*/ 434 w 1082"/>
                <a:gd name="T47" fmla="*/ 1003 h 1215"/>
                <a:gd name="T48" fmla="*/ 631 w 1082"/>
                <a:gd name="T49" fmla="*/ 1039 h 1215"/>
                <a:gd name="T50" fmla="*/ 800 w 1082"/>
                <a:gd name="T51" fmla="*/ 1008 h 1215"/>
                <a:gd name="T52" fmla="*/ 950 w 1082"/>
                <a:gd name="T53" fmla="*/ 911 h 1215"/>
                <a:gd name="T54" fmla="*/ 1081 w 1082"/>
                <a:gd name="T55" fmla="*/ 1042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2" h="1215">
                  <a:moveTo>
                    <a:pt x="1081" y="1042"/>
                  </a:moveTo>
                  <a:lnTo>
                    <a:pt x="1081" y="1042"/>
                  </a:lnTo>
                  <a:cubicBezTo>
                    <a:pt x="1020" y="1100"/>
                    <a:pt x="950" y="1144"/>
                    <a:pt x="873" y="1172"/>
                  </a:cubicBezTo>
                  <a:cubicBezTo>
                    <a:pt x="798" y="1200"/>
                    <a:pt x="717" y="1214"/>
                    <a:pt x="631" y="1214"/>
                  </a:cubicBezTo>
                  <a:cubicBezTo>
                    <a:pt x="523" y="1214"/>
                    <a:pt x="431" y="1197"/>
                    <a:pt x="350" y="1164"/>
                  </a:cubicBezTo>
                  <a:cubicBezTo>
                    <a:pt x="273" y="1130"/>
                    <a:pt x="206" y="1086"/>
                    <a:pt x="153" y="1028"/>
                  </a:cubicBezTo>
                  <a:cubicBezTo>
                    <a:pt x="103" y="972"/>
                    <a:pt x="64" y="908"/>
                    <a:pt x="39" y="836"/>
                  </a:cubicBezTo>
                  <a:cubicBezTo>
                    <a:pt x="14" y="764"/>
                    <a:pt x="0" y="692"/>
                    <a:pt x="0" y="614"/>
                  </a:cubicBezTo>
                  <a:cubicBezTo>
                    <a:pt x="0" y="536"/>
                    <a:pt x="14" y="461"/>
                    <a:pt x="39" y="389"/>
                  </a:cubicBezTo>
                  <a:cubicBezTo>
                    <a:pt x="67" y="314"/>
                    <a:pt x="103" y="250"/>
                    <a:pt x="156" y="192"/>
                  </a:cubicBezTo>
                  <a:cubicBezTo>
                    <a:pt x="209" y="133"/>
                    <a:pt x="273" y="89"/>
                    <a:pt x="353" y="53"/>
                  </a:cubicBezTo>
                  <a:cubicBezTo>
                    <a:pt x="431" y="17"/>
                    <a:pt x="525" y="0"/>
                    <a:pt x="631" y="0"/>
                  </a:cubicBezTo>
                  <a:cubicBezTo>
                    <a:pt x="711" y="0"/>
                    <a:pt x="789" y="14"/>
                    <a:pt x="864" y="44"/>
                  </a:cubicBezTo>
                  <a:cubicBezTo>
                    <a:pt x="939" y="72"/>
                    <a:pt x="1009" y="117"/>
                    <a:pt x="1070" y="178"/>
                  </a:cubicBezTo>
                  <a:cubicBezTo>
                    <a:pt x="942" y="297"/>
                    <a:pt x="942" y="297"/>
                    <a:pt x="942" y="297"/>
                  </a:cubicBezTo>
                  <a:cubicBezTo>
                    <a:pt x="898" y="256"/>
                    <a:pt x="850" y="225"/>
                    <a:pt x="795" y="206"/>
                  </a:cubicBezTo>
                  <a:cubicBezTo>
                    <a:pt x="742" y="186"/>
                    <a:pt x="686" y="178"/>
                    <a:pt x="631" y="178"/>
                  </a:cubicBezTo>
                  <a:cubicBezTo>
                    <a:pt x="556" y="178"/>
                    <a:pt x="489" y="189"/>
                    <a:pt x="434" y="214"/>
                  </a:cubicBezTo>
                  <a:cubicBezTo>
                    <a:pt x="378" y="239"/>
                    <a:pt x="334" y="272"/>
                    <a:pt x="298" y="314"/>
                  </a:cubicBezTo>
                  <a:cubicBezTo>
                    <a:pt x="261" y="356"/>
                    <a:pt x="234" y="400"/>
                    <a:pt x="217" y="453"/>
                  </a:cubicBezTo>
                  <a:cubicBezTo>
                    <a:pt x="200" y="506"/>
                    <a:pt x="192" y="558"/>
                    <a:pt x="192" y="614"/>
                  </a:cubicBezTo>
                  <a:cubicBezTo>
                    <a:pt x="192" y="667"/>
                    <a:pt x="200" y="719"/>
                    <a:pt x="217" y="769"/>
                  </a:cubicBezTo>
                  <a:cubicBezTo>
                    <a:pt x="234" y="822"/>
                    <a:pt x="261" y="867"/>
                    <a:pt x="295" y="906"/>
                  </a:cubicBezTo>
                  <a:cubicBezTo>
                    <a:pt x="331" y="947"/>
                    <a:pt x="378" y="978"/>
                    <a:pt x="434" y="1003"/>
                  </a:cubicBezTo>
                  <a:cubicBezTo>
                    <a:pt x="489" y="1028"/>
                    <a:pt x="553" y="1039"/>
                    <a:pt x="631" y="1039"/>
                  </a:cubicBezTo>
                  <a:cubicBezTo>
                    <a:pt x="686" y="1039"/>
                    <a:pt x="745" y="1028"/>
                    <a:pt x="800" y="1008"/>
                  </a:cubicBezTo>
                  <a:cubicBezTo>
                    <a:pt x="859" y="986"/>
                    <a:pt x="906" y="953"/>
                    <a:pt x="950" y="911"/>
                  </a:cubicBezTo>
                  <a:lnTo>
                    <a:pt x="1081" y="104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5" name="Freeform 2">
              <a:extLst>
                <a:ext uri="{FF2B5EF4-FFF2-40B4-BE49-F238E27FC236}">
                  <a16:creationId xmlns:a16="http://schemas.microsoft.com/office/drawing/2014/main" id="{C493F1EF-D6F4-6D4E-A1FD-6E3D9CD1D6D4}"/>
                </a:ext>
              </a:extLst>
            </p:cNvPr>
            <p:cNvSpPr>
              <a:spLocks noChangeArrowheads="1"/>
            </p:cNvSpPr>
            <p:nvPr userDrawn="1"/>
          </p:nvSpPr>
          <p:spPr bwMode="auto">
            <a:xfrm>
              <a:off x="2268538" y="3149600"/>
              <a:ext cx="293687" cy="301625"/>
            </a:xfrm>
            <a:custGeom>
              <a:avLst/>
              <a:gdLst>
                <a:gd name="T0" fmla="*/ 175 w 815"/>
                <a:gd name="T1" fmla="*/ 0 h 837"/>
                <a:gd name="T2" fmla="*/ 175 w 815"/>
                <a:gd name="T3" fmla="*/ 0 h 837"/>
                <a:gd name="T4" fmla="*/ 175 w 815"/>
                <a:gd name="T5" fmla="*/ 439 h 837"/>
                <a:gd name="T6" fmla="*/ 233 w 815"/>
                <a:gd name="T7" fmla="*/ 611 h 837"/>
                <a:gd name="T8" fmla="*/ 406 w 815"/>
                <a:gd name="T9" fmla="*/ 675 h 837"/>
                <a:gd name="T10" fmla="*/ 500 w 815"/>
                <a:gd name="T11" fmla="*/ 658 h 837"/>
                <a:gd name="T12" fmla="*/ 572 w 815"/>
                <a:gd name="T13" fmla="*/ 602 h 837"/>
                <a:gd name="T14" fmla="*/ 622 w 815"/>
                <a:gd name="T15" fmla="*/ 525 h 837"/>
                <a:gd name="T16" fmla="*/ 639 w 815"/>
                <a:gd name="T17" fmla="*/ 427 h 837"/>
                <a:gd name="T18" fmla="*/ 639 w 815"/>
                <a:gd name="T19" fmla="*/ 0 h 837"/>
                <a:gd name="T20" fmla="*/ 814 w 815"/>
                <a:gd name="T21" fmla="*/ 0 h 837"/>
                <a:gd name="T22" fmla="*/ 814 w 815"/>
                <a:gd name="T23" fmla="*/ 825 h 837"/>
                <a:gd name="T24" fmla="*/ 656 w 815"/>
                <a:gd name="T25" fmla="*/ 825 h 837"/>
                <a:gd name="T26" fmla="*/ 645 w 815"/>
                <a:gd name="T27" fmla="*/ 702 h 837"/>
                <a:gd name="T28" fmla="*/ 514 w 815"/>
                <a:gd name="T29" fmla="*/ 805 h 837"/>
                <a:gd name="T30" fmla="*/ 356 w 815"/>
                <a:gd name="T31" fmla="*/ 836 h 837"/>
                <a:gd name="T32" fmla="*/ 211 w 815"/>
                <a:gd name="T33" fmla="*/ 811 h 837"/>
                <a:gd name="T34" fmla="*/ 100 w 815"/>
                <a:gd name="T35" fmla="*/ 733 h 837"/>
                <a:gd name="T36" fmla="*/ 25 w 815"/>
                <a:gd name="T37" fmla="*/ 608 h 837"/>
                <a:gd name="T38" fmla="*/ 0 w 815"/>
                <a:gd name="T39" fmla="*/ 441 h 837"/>
                <a:gd name="T40" fmla="*/ 0 w 815"/>
                <a:gd name="T41" fmla="*/ 0 h 837"/>
                <a:gd name="T42" fmla="*/ 175 w 815"/>
                <a:gd name="T43" fmla="*/ 0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5" h="837">
                  <a:moveTo>
                    <a:pt x="175" y="0"/>
                  </a:moveTo>
                  <a:lnTo>
                    <a:pt x="175" y="0"/>
                  </a:lnTo>
                  <a:cubicBezTo>
                    <a:pt x="175" y="439"/>
                    <a:pt x="175" y="439"/>
                    <a:pt x="175" y="439"/>
                  </a:cubicBezTo>
                  <a:cubicBezTo>
                    <a:pt x="175" y="508"/>
                    <a:pt x="195" y="566"/>
                    <a:pt x="233" y="611"/>
                  </a:cubicBezTo>
                  <a:cubicBezTo>
                    <a:pt x="275" y="655"/>
                    <a:pt x="331" y="675"/>
                    <a:pt x="406" y="675"/>
                  </a:cubicBezTo>
                  <a:cubicBezTo>
                    <a:pt x="439" y="675"/>
                    <a:pt x="470" y="669"/>
                    <a:pt x="500" y="658"/>
                  </a:cubicBezTo>
                  <a:cubicBezTo>
                    <a:pt x="528" y="644"/>
                    <a:pt x="553" y="627"/>
                    <a:pt x="572" y="602"/>
                  </a:cubicBezTo>
                  <a:cubicBezTo>
                    <a:pt x="595" y="580"/>
                    <a:pt x="611" y="555"/>
                    <a:pt x="622" y="525"/>
                  </a:cubicBezTo>
                  <a:cubicBezTo>
                    <a:pt x="633" y="494"/>
                    <a:pt x="639" y="461"/>
                    <a:pt x="639" y="427"/>
                  </a:cubicBezTo>
                  <a:cubicBezTo>
                    <a:pt x="639" y="0"/>
                    <a:pt x="639" y="0"/>
                    <a:pt x="639" y="0"/>
                  </a:cubicBezTo>
                  <a:cubicBezTo>
                    <a:pt x="814" y="0"/>
                    <a:pt x="814" y="0"/>
                    <a:pt x="814" y="0"/>
                  </a:cubicBezTo>
                  <a:cubicBezTo>
                    <a:pt x="814" y="825"/>
                    <a:pt x="814" y="825"/>
                    <a:pt x="814" y="825"/>
                  </a:cubicBezTo>
                  <a:cubicBezTo>
                    <a:pt x="656" y="825"/>
                    <a:pt x="656" y="825"/>
                    <a:pt x="656" y="825"/>
                  </a:cubicBezTo>
                  <a:cubicBezTo>
                    <a:pt x="645" y="702"/>
                    <a:pt x="645" y="702"/>
                    <a:pt x="645" y="702"/>
                  </a:cubicBezTo>
                  <a:cubicBezTo>
                    <a:pt x="603" y="750"/>
                    <a:pt x="561" y="783"/>
                    <a:pt x="514" y="805"/>
                  </a:cubicBezTo>
                  <a:cubicBezTo>
                    <a:pt x="467" y="825"/>
                    <a:pt x="414" y="836"/>
                    <a:pt x="356" y="836"/>
                  </a:cubicBezTo>
                  <a:cubicBezTo>
                    <a:pt x="303" y="836"/>
                    <a:pt x="256" y="827"/>
                    <a:pt x="211" y="811"/>
                  </a:cubicBezTo>
                  <a:cubicBezTo>
                    <a:pt x="170" y="791"/>
                    <a:pt x="131" y="766"/>
                    <a:pt x="100" y="733"/>
                  </a:cubicBezTo>
                  <a:cubicBezTo>
                    <a:pt x="70" y="700"/>
                    <a:pt x="45" y="658"/>
                    <a:pt x="25" y="608"/>
                  </a:cubicBezTo>
                  <a:cubicBezTo>
                    <a:pt x="8" y="561"/>
                    <a:pt x="0" y="505"/>
                    <a:pt x="0" y="441"/>
                  </a:cubicBezTo>
                  <a:cubicBezTo>
                    <a:pt x="0" y="0"/>
                    <a:pt x="0" y="0"/>
                    <a:pt x="0" y="0"/>
                  </a:cubicBezTo>
                  <a:lnTo>
                    <a:pt x="175"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6" name="Freeform 3">
              <a:extLst>
                <a:ext uri="{FF2B5EF4-FFF2-40B4-BE49-F238E27FC236}">
                  <a16:creationId xmlns:a16="http://schemas.microsoft.com/office/drawing/2014/main" id="{C9C84F0E-3548-014E-A8C1-5C7A30B4D79E}"/>
                </a:ext>
              </a:extLst>
            </p:cNvPr>
            <p:cNvSpPr>
              <a:spLocks noChangeArrowheads="1"/>
            </p:cNvSpPr>
            <p:nvPr userDrawn="1"/>
          </p:nvSpPr>
          <p:spPr bwMode="auto">
            <a:xfrm>
              <a:off x="2624138" y="3141663"/>
              <a:ext cx="268287" cy="314325"/>
            </a:xfrm>
            <a:custGeom>
              <a:avLst/>
              <a:gdLst>
                <a:gd name="T0" fmla="*/ 606 w 746"/>
                <a:gd name="T1" fmla="*/ 225 h 871"/>
                <a:gd name="T2" fmla="*/ 606 w 746"/>
                <a:gd name="T3" fmla="*/ 225 h 871"/>
                <a:gd name="T4" fmla="*/ 500 w 746"/>
                <a:gd name="T5" fmla="*/ 164 h 871"/>
                <a:gd name="T6" fmla="*/ 383 w 746"/>
                <a:gd name="T7" fmla="*/ 148 h 871"/>
                <a:gd name="T8" fmla="*/ 253 w 746"/>
                <a:gd name="T9" fmla="*/ 173 h 871"/>
                <a:gd name="T10" fmla="*/ 203 w 746"/>
                <a:gd name="T11" fmla="*/ 245 h 871"/>
                <a:gd name="T12" fmla="*/ 256 w 746"/>
                <a:gd name="T13" fmla="*/ 320 h 871"/>
                <a:gd name="T14" fmla="*/ 386 w 746"/>
                <a:gd name="T15" fmla="*/ 350 h 871"/>
                <a:gd name="T16" fmla="*/ 508 w 746"/>
                <a:gd name="T17" fmla="*/ 367 h 871"/>
                <a:gd name="T18" fmla="*/ 625 w 746"/>
                <a:gd name="T19" fmla="*/ 406 h 871"/>
                <a:gd name="T20" fmla="*/ 711 w 746"/>
                <a:gd name="T21" fmla="*/ 481 h 871"/>
                <a:gd name="T22" fmla="*/ 745 w 746"/>
                <a:gd name="T23" fmla="*/ 611 h 871"/>
                <a:gd name="T24" fmla="*/ 717 w 746"/>
                <a:gd name="T25" fmla="*/ 717 h 871"/>
                <a:gd name="T26" fmla="*/ 645 w 746"/>
                <a:gd name="T27" fmla="*/ 798 h 871"/>
                <a:gd name="T28" fmla="*/ 533 w 746"/>
                <a:gd name="T29" fmla="*/ 853 h 871"/>
                <a:gd name="T30" fmla="*/ 383 w 746"/>
                <a:gd name="T31" fmla="*/ 870 h 871"/>
                <a:gd name="T32" fmla="*/ 183 w 746"/>
                <a:gd name="T33" fmla="*/ 842 h 871"/>
                <a:gd name="T34" fmla="*/ 0 w 746"/>
                <a:gd name="T35" fmla="*/ 720 h 871"/>
                <a:gd name="T36" fmla="*/ 92 w 746"/>
                <a:gd name="T37" fmla="*/ 598 h 871"/>
                <a:gd name="T38" fmla="*/ 233 w 746"/>
                <a:gd name="T39" fmla="*/ 689 h 871"/>
                <a:gd name="T40" fmla="*/ 389 w 746"/>
                <a:gd name="T41" fmla="*/ 720 h 871"/>
                <a:gd name="T42" fmla="*/ 450 w 746"/>
                <a:gd name="T43" fmla="*/ 714 h 871"/>
                <a:gd name="T44" fmla="*/ 508 w 746"/>
                <a:gd name="T45" fmla="*/ 698 h 871"/>
                <a:gd name="T46" fmla="*/ 550 w 746"/>
                <a:gd name="T47" fmla="*/ 662 h 871"/>
                <a:gd name="T48" fmla="*/ 567 w 746"/>
                <a:gd name="T49" fmla="*/ 614 h 871"/>
                <a:gd name="T50" fmla="*/ 517 w 746"/>
                <a:gd name="T51" fmla="*/ 531 h 871"/>
                <a:gd name="T52" fmla="*/ 372 w 746"/>
                <a:gd name="T53" fmla="*/ 498 h 871"/>
                <a:gd name="T54" fmla="*/ 253 w 746"/>
                <a:gd name="T55" fmla="*/ 478 h 871"/>
                <a:gd name="T56" fmla="*/ 142 w 746"/>
                <a:gd name="T57" fmla="*/ 436 h 871"/>
                <a:gd name="T58" fmla="*/ 61 w 746"/>
                <a:gd name="T59" fmla="*/ 364 h 871"/>
                <a:gd name="T60" fmla="*/ 31 w 746"/>
                <a:gd name="T61" fmla="*/ 250 h 871"/>
                <a:gd name="T62" fmla="*/ 61 w 746"/>
                <a:gd name="T63" fmla="*/ 134 h 871"/>
                <a:gd name="T64" fmla="*/ 145 w 746"/>
                <a:gd name="T65" fmla="*/ 56 h 871"/>
                <a:gd name="T66" fmla="*/ 259 w 746"/>
                <a:gd name="T67" fmla="*/ 14 h 871"/>
                <a:gd name="T68" fmla="*/ 381 w 746"/>
                <a:gd name="T69" fmla="*/ 0 h 871"/>
                <a:gd name="T70" fmla="*/ 556 w 746"/>
                <a:gd name="T71" fmla="*/ 25 h 871"/>
                <a:gd name="T72" fmla="*/ 703 w 746"/>
                <a:gd name="T73" fmla="*/ 112 h 871"/>
                <a:gd name="T74" fmla="*/ 606 w 746"/>
                <a:gd name="T75" fmla="*/ 225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6" h="871">
                  <a:moveTo>
                    <a:pt x="606" y="225"/>
                  </a:moveTo>
                  <a:lnTo>
                    <a:pt x="606" y="225"/>
                  </a:lnTo>
                  <a:cubicBezTo>
                    <a:pt x="572" y="195"/>
                    <a:pt x="536" y="173"/>
                    <a:pt x="500" y="164"/>
                  </a:cubicBezTo>
                  <a:cubicBezTo>
                    <a:pt x="464" y="153"/>
                    <a:pt x="425" y="148"/>
                    <a:pt x="383" y="148"/>
                  </a:cubicBezTo>
                  <a:cubicBezTo>
                    <a:pt x="328" y="148"/>
                    <a:pt x="286" y="153"/>
                    <a:pt x="253" y="173"/>
                  </a:cubicBezTo>
                  <a:cubicBezTo>
                    <a:pt x="220" y="189"/>
                    <a:pt x="203" y="214"/>
                    <a:pt x="203" y="245"/>
                  </a:cubicBezTo>
                  <a:cubicBezTo>
                    <a:pt x="206" y="281"/>
                    <a:pt x="222" y="306"/>
                    <a:pt x="256" y="320"/>
                  </a:cubicBezTo>
                  <a:cubicBezTo>
                    <a:pt x="289" y="336"/>
                    <a:pt x="331" y="345"/>
                    <a:pt x="386" y="350"/>
                  </a:cubicBezTo>
                  <a:cubicBezTo>
                    <a:pt x="425" y="356"/>
                    <a:pt x="467" y="359"/>
                    <a:pt x="508" y="367"/>
                  </a:cubicBezTo>
                  <a:cubicBezTo>
                    <a:pt x="550" y="375"/>
                    <a:pt x="589" y="387"/>
                    <a:pt x="625" y="406"/>
                  </a:cubicBezTo>
                  <a:cubicBezTo>
                    <a:pt x="658" y="425"/>
                    <a:pt x="689" y="450"/>
                    <a:pt x="711" y="481"/>
                  </a:cubicBezTo>
                  <a:cubicBezTo>
                    <a:pt x="733" y="514"/>
                    <a:pt x="745" y="556"/>
                    <a:pt x="745" y="611"/>
                  </a:cubicBezTo>
                  <a:cubicBezTo>
                    <a:pt x="745" y="650"/>
                    <a:pt x="736" y="684"/>
                    <a:pt x="717" y="717"/>
                  </a:cubicBezTo>
                  <a:cubicBezTo>
                    <a:pt x="700" y="748"/>
                    <a:pt x="675" y="775"/>
                    <a:pt x="645" y="798"/>
                  </a:cubicBezTo>
                  <a:cubicBezTo>
                    <a:pt x="614" y="823"/>
                    <a:pt x="575" y="839"/>
                    <a:pt x="533" y="853"/>
                  </a:cubicBezTo>
                  <a:cubicBezTo>
                    <a:pt x="489" y="864"/>
                    <a:pt x="439" y="870"/>
                    <a:pt x="383" y="870"/>
                  </a:cubicBezTo>
                  <a:cubicBezTo>
                    <a:pt x="317" y="870"/>
                    <a:pt x="250" y="862"/>
                    <a:pt x="183" y="842"/>
                  </a:cubicBezTo>
                  <a:cubicBezTo>
                    <a:pt x="117" y="820"/>
                    <a:pt x="56" y="781"/>
                    <a:pt x="0" y="720"/>
                  </a:cubicBezTo>
                  <a:cubicBezTo>
                    <a:pt x="92" y="598"/>
                    <a:pt x="92" y="598"/>
                    <a:pt x="92" y="598"/>
                  </a:cubicBezTo>
                  <a:cubicBezTo>
                    <a:pt x="133" y="639"/>
                    <a:pt x="181" y="673"/>
                    <a:pt x="233" y="689"/>
                  </a:cubicBezTo>
                  <a:cubicBezTo>
                    <a:pt x="286" y="709"/>
                    <a:pt x="339" y="720"/>
                    <a:pt x="389" y="720"/>
                  </a:cubicBezTo>
                  <a:cubicBezTo>
                    <a:pt x="408" y="720"/>
                    <a:pt x="431" y="720"/>
                    <a:pt x="450" y="714"/>
                  </a:cubicBezTo>
                  <a:cubicBezTo>
                    <a:pt x="472" y="711"/>
                    <a:pt x="492" y="706"/>
                    <a:pt x="508" y="698"/>
                  </a:cubicBezTo>
                  <a:cubicBezTo>
                    <a:pt x="525" y="686"/>
                    <a:pt x="539" y="675"/>
                    <a:pt x="550" y="662"/>
                  </a:cubicBezTo>
                  <a:cubicBezTo>
                    <a:pt x="561" y="648"/>
                    <a:pt x="567" y="631"/>
                    <a:pt x="567" y="614"/>
                  </a:cubicBezTo>
                  <a:cubicBezTo>
                    <a:pt x="570" y="575"/>
                    <a:pt x="553" y="548"/>
                    <a:pt x="517" y="531"/>
                  </a:cubicBezTo>
                  <a:cubicBezTo>
                    <a:pt x="483" y="514"/>
                    <a:pt x="436" y="503"/>
                    <a:pt x="372" y="498"/>
                  </a:cubicBezTo>
                  <a:cubicBezTo>
                    <a:pt x="333" y="495"/>
                    <a:pt x="292" y="489"/>
                    <a:pt x="253" y="478"/>
                  </a:cubicBezTo>
                  <a:cubicBezTo>
                    <a:pt x="211" y="470"/>
                    <a:pt x="175" y="456"/>
                    <a:pt x="142" y="436"/>
                  </a:cubicBezTo>
                  <a:cubicBezTo>
                    <a:pt x="108" y="420"/>
                    <a:pt x="84" y="395"/>
                    <a:pt x="61" y="364"/>
                  </a:cubicBezTo>
                  <a:cubicBezTo>
                    <a:pt x="39" y="334"/>
                    <a:pt x="31" y="298"/>
                    <a:pt x="31" y="250"/>
                  </a:cubicBezTo>
                  <a:cubicBezTo>
                    <a:pt x="31" y="206"/>
                    <a:pt x="42" y="167"/>
                    <a:pt x="61" y="134"/>
                  </a:cubicBezTo>
                  <a:cubicBezTo>
                    <a:pt x="84" y="103"/>
                    <a:pt x="111" y="78"/>
                    <a:pt x="145" y="56"/>
                  </a:cubicBezTo>
                  <a:cubicBezTo>
                    <a:pt x="181" y="37"/>
                    <a:pt x="217" y="23"/>
                    <a:pt x="259" y="14"/>
                  </a:cubicBezTo>
                  <a:cubicBezTo>
                    <a:pt x="300" y="6"/>
                    <a:pt x="339" y="0"/>
                    <a:pt x="381" y="0"/>
                  </a:cubicBezTo>
                  <a:cubicBezTo>
                    <a:pt x="445" y="0"/>
                    <a:pt x="503" y="9"/>
                    <a:pt x="556" y="25"/>
                  </a:cubicBezTo>
                  <a:cubicBezTo>
                    <a:pt x="606" y="42"/>
                    <a:pt x="656" y="70"/>
                    <a:pt x="703" y="112"/>
                  </a:cubicBezTo>
                  <a:lnTo>
                    <a:pt x="606" y="2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7" name="Freeform 4">
              <a:extLst>
                <a:ext uri="{FF2B5EF4-FFF2-40B4-BE49-F238E27FC236}">
                  <a16:creationId xmlns:a16="http://schemas.microsoft.com/office/drawing/2014/main" id="{BFDBDE14-7DDA-BC4B-8B26-0D40258509DE}"/>
                </a:ext>
              </a:extLst>
            </p:cNvPr>
            <p:cNvSpPr>
              <a:spLocks noChangeArrowheads="1"/>
            </p:cNvSpPr>
            <p:nvPr userDrawn="1"/>
          </p:nvSpPr>
          <p:spPr bwMode="auto">
            <a:xfrm>
              <a:off x="2928938" y="3063875"/>
              <a:ext cx="223837" cy="387350"/>
            </a:xfrm>
            <a:custGeom>
              <a:avLst/>
              <a:gdLst>
                <a:gd name="T0" fmla="*/ 342 w 621"/>
                <a:gd name="T1" fmla="*/ 0 h 1076"/>
                <a:gd name="T2" fmla="*/ 342 w 621"/>
                <a:gd name="T3" fmla="*/ 0 h 1076"/>
                <a:gd name="T4" fmla="*/ 342 w 621"/>
                <a:gd name="T5" fmla="*/ 239 h 1076"/>
                <a:gd name="T6" fmla="*/ 586 w 621"/>
                <a:gd name="T7" fmla="*/ 239 h 1076"/>
                <a:gd name="T8" fmla="*/ 586 w 621"/>
                <a:gd name="T9" fmla="*/ 391 h 1076"/>
                <a:gd name="T10" fmla="*/ 339 w 621"/>
                <a:gd name="T11" fmla="*/ 391 h 1076"/>
                <a:gd name="T12" fmla="*/ 339 w 621"/>
                <a:gd name="T13" fmla="*/ 780 h 1076"/>
                <a:gd name="T14" fmla="*/ 369 w 621"/>
                <a:gd name="T15" fmla="*/ 880 h 1076"/>
                <a:gd name="T16" fmla="*/ 461 w 621"/>
                <a:gd name="T17" fmla="*/ 916 h 1076"/>
                <a:gd name="T18" fmla="*/ 514 w 621"/>
                <a:gd name="T19" fmla="*/ 908 h 1076"/>
                <a:gd name="T20" fmla="*/ 567 w 621"/>
                <a:gd name="T21" fmla="*/ 889 h 1076"/>
                <a:gd name="T22" fmla="*/ 620 w 621"/>
                <a:gd name="T23" fmla="*/ 1036 h 1076"/>
                <a:gd name="T24" fmla="*/ 533 w 621"/>
                <a:gd name="T25" fmla="*/ 1064 h 1076"/>
                <a:gd name="T26" fmla="*/ 450 w 621"/>
                <a:gd name="T27" fmla="*/ 1072 h 1076"/>
                <a:gd name="T28" fmla="*/ 236 w 621"/>
                <a:gd name="T29" fmla="*/ 1002 h 1076"/>
                <a:gd name="T30" fmla="*/ 164 w 621"/>
                <a:gd name="T31" fmla="*/ 783 h 1076"/>
                <a:gd name="T32" fmla="*/ 164 w 621"/>
                <a:gd name="T33" fmla="*/ 391 h 1076"/>
                <a:gd name="T34" fmla="*/ 0 w 621"/>
                <a:gd name="T35" fmla="*/ 391 h 1076"/>
                <a:gd name="T36" fmla="*/ 0 w 621"/>
                <a:gd name="T37" fmla="*/ 239 h 1076"/>
                <a:gd name="T38" fmla="*/ 164 w 621"/>
                <a:gd name="T39" fmla="*/ 239 h 1076"/>
                <a:gd name="T40" fmla="*/ 164 w 621"/>
                <a:gd name="T41" fmla="*/ 19 h 1076"/>
                <a:gd name="T42" fmla="*/ 342 w 621"/>
                <a:gd name="T43" fmla="*/ 0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1" h="1076">
                  <a:moveTo>
                    <a:pt x="342" y="0"/>
                  </a:moveTo>
                  <a:lnTo>
                    <a:pt x="342" y="0"/>
                  </a:lnTo>
                  <a:cubicBezTo>
                    <a:pt x="342" y="239"/>
                    <a:pt x="342" y="239"/>
                    <a:pt x="342" y="239"/>
                  </a:cubicBezTo>
                  <a:cubicBezTo>
                    <a:pt x="586" y="239"/>
                    <a:pt x="586" y="239"/>
                    <a:pt x="586" y="239"/>
                  </a:cubicBezTo>
                  <a:cubicBezTo>
                    <a:pt x="586" y="391"/>
                    <a:pt x="586" y="391"/>
                    <a:pt x="586" y="391"/>
                  </a:cubicBezTo>
                  <a:cubicBezTo>
                    <a:pt x="339" y="391"/>
                    <a:pt x="339" y="391"/>
                    <a:pt x="339" y="391"/>
                  </a:cubicBezTo>
                  <a:cubicBezTo>
                    <a:pt x="339" y="780"/>
                    <a:pt x="339" y="780"/>
                    <a:pt x="339" y="780"/>
                  </a:cubicBezTo>
                  <a:cubicBezTo>
                    <a:pt x="339" y="825"/>
                    <a:pt x="350" y="858"/>
                    <a:pt x="369" y="880"/>
                  </a:cubicBezTo>
                  <a:cubicBezTo>
                    <a:pt x="389" y="905"/>
                    <a:pt x="420" y="916"/>
                    <a:pt x="461" y="916"/>
                  </a:cubicBezTo>
                  <a:cubicBezTo>
                    <a:pt x="478" y="916"/>
                    <a:pt x="494" y="914"/>
                    <a:pt x="514" y="908"/>
                  </a:cubicBezTo>
                  <a:cubicBezTo>
                    <a:pt x="533" y="905"/>
                    <a:pt x="550" y="897"/>
                    <a:pt x="567" y="889"/>
                  </a:cubicBezTo>
                  <a:cubicBezTo>
                    <a:pt x="620" y="1036"/>
                    <a:pt x="620" y="1036"/>
                    <a:pt x="620" y="1036"/>
                  </a:cubicBezTo>
                  <a:cubicBezTo>
                    <a:pt x="589" y="1047"/>
                    <a:pt x="561" y="1058"/>
                    <a:pt x="533" y="1064"/>
                  </a:cubicBezTo>
                  <a:cubicBezTo>
                    <a:pt x="508" y="1069"/>
                    <a:pt x="481" y="1072"/>
                    <a:pt x="450" y="1072"/>
                  </a:cubicBezTo>
                  <a:cubicBezTo>
                    <a:pt x="358" y="1075"/>
                    <a:pt x="286" y="1050"/>
                    <a:pt x="236" y="1002"/>
                  </a:cubicBezTo>
                  <a:cubicBezTo>
                    <a:pt x="189" y="952"/>
                    <a:pt x="164" y="880"/>
                    <a:pt x="164" y="783"/>
                  </a:cubicBezTo>
                  <a:cubicBezTo>
                    <a:pt x="164" y="391"/>
                    <a:pt x="164" y="391"/>
                    <a:pt x="164" y="391"/>
                  </a:cubicBezTo>
                  <a:cubicBezTo>
                    <a:pt x="0" y="391"/>
                    <a:pt x="0" y="391"/>
                    <a:pt x="0" y="391"/>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8" name="Freeform 5">
              <a:extLst>
                <a:ext uri="{FF2B5EF4-FFF2-40B4-BE49-F238E27FC236}">
                  <a16:creationId xmlns:a16="http://schemas.microsoft.com/office/drawing/2014/main" id="{4F4686AA-F632-E543-BF95-BA90F74EB178}"/>
                </a:ext>
              </a:extLst>
            </p:cNvPr>
            <p:cNvSpPr>
              <a:spLocks noChangeArrowheads="1"/>
            </p:cNvSpPr>
            <p:nvPr userDrawn="1"/>
          </p:nvSpPr>
          <p:spPr bwMode="auto">
            <a:xfrm>
              <a:off x="3186113" y="3143250"/>
              <a:ext cx="314325" cy="307975"/>
            </a:xfrm>
            <a:custGeom>
              <a:avLst/>
              <a:gdLst>
                <a:gd name="T0" fmla="*/ 433 w 873"/>
                <a:gd name="T1" fmla="*/ 0 h 857"/>
                <a:gd name="T2" fmla="*/ 433 w 873"/>
                <a:gd name="T3" fmla="*/ 0 h 857"/>
                <a:gd name="T4" fmla="*/ 611 w 873"/>
                <a:gd name="T5" fmla="*/ 33 h 857"/>
                <a:gd name="T6" fmla="*/ 750 w 873"/>
                <a:gd name="T7" fmla="*/ 125 h 857"/>
                <a:gd name="T8" fmla="*/ 839 w 873"/>
                <a:gd name="T9" fmla="*/ 261 h 857"/>
                <a:gd name="T10" fmla="*/ 872 w 873"/>
                <a:gd name="T11" fmla="*/ 428 h 857"/>
                <a:gd name="T12" fmla="*/ 839 w 873"/>
                <a:gd name="T13" fmla="*/ 597 h 857"/>
                <a:gd name="T14" fmla="*/ 753 w 873"/>
                <a:gd name="T15" fmla="*/ 733 h 857"/>
                <a:gd name="T16" fmla="*/ 614 w 873"/>
                <a:gd name="T17" fmla="*/ 825 h 857"/>
                <a:gd name="T18" fmla="*/ 433 w 873"/>
                <a:gd name="T19" fmla="*/ 856 h 857"/>
                <a:gd name="T20" fmla="*/ 256 w 873"/>
                <a:gd name="T21" fmla="*/ 825 h 857"/>
                <a:gd name="T22" fmla="*/ 117 w 873"/>
                <a:gd name="T23" fmla="*/ 733 h 857"/>
                <a:gd name="T24" fmla="*/ 31 w 873"/>
                <a:gd name="T25" fmla="*/ 597 h 857"/>
                <a:gd name="T26" fmla="*/ 0 w 873"/>
                <a:gd name="T27" fmla="*/ 428 h 857"/>
                <a:gd name="T28" fmla="*/ 31 w 873"/>
                <a:gd name="T29" fmla="*/ 261 h 857"/>
                <a:gd name="T30" fmla="*/ 120 w 873"/>
                <a:gd name="T31" fmla="*/ 125 h 857"/>
                <a:gd name="T32" fmla="*/ 256 w 873"/>
                <a:gd name="T33" fmla="*/ 33 h 857"/>
                <a:gd name="T34" fmla="*/ 433 w 873"/>
                <a:gd name="T35" fmla="*/ 0 h 857"/>
                <a:gd name="T36" fmla="*/ 433 w 873"/>
                <a:gd name="T37" fmla="*/ 161 h 857"/>
                <a:gd name="T38" fmla="*/ 433 w 873"/>
                <a:gd name="T39" fmla="*/ 161 h 857"/>
                <a:gd name="T40" fmla="*/ 325 w 873"/>
                <a:gd name="T41" fmla="*/ 181 h 857"/>
                <a:gd name="T42" fmla="*/ 245 w 873"/>
                <a:gd name="T43" fmla="*/ 242 h 857"/>
                <a:gd name="T44" fmla="*/ 195 w 873"/>
                <a:gd name="T45" fmla="*/ 328 h 857"/>
                <a:gd name="T46" fmla="*/ 175 w 873"/>
                <a:gd name="T47" fmla="*/ 430 h 857"/>
                <a:gd name="T48" fmla="*/ 195 w 873"/>
                <a:gd name="T49" fmla="*/ 533 h 857"/>
                <a:gd name="T50" fmla="*/ 245 w 873"/>
                <a:gd name="T51" fmla="*/ 617 h 857"/>
                <a:gd name="T52" fmla="*/ 325 w 873"/>
                <a:gd name="T53" fmla="*/ 675 h 857"/>
                <a:gd name="T54" fmla="*/ 433 w 873"/>
                <a:gd name="T55" fmla="*/ 697 h 857"/>
                <a:gd name="T56" fmla="*/ 542 w 873"/>
                <a:gd name="T57" fmla="*/ 675 h 857"/>
                <a:gd name="T58" fmla="*/ 625 w 873"/>
                <a:gd name="T59" fmla="*/ 617 h 857"/>
                <a:gd name="T60" fmla="*/ 675 w 873"/>
                <a:gd name="T61" fmla="*/ 533 h 857"/>
                <a:gd name="T62" fmla="*/ 694 w 873"/>
                <a:gd name="T63" fmla="*/ 430 h 857"/>
                <a:gd name="T64" fmla="*/ 675 w 873"/>
                <a:gd name="T65" fmla="*/ 328 h 857"/>
                <a:gd name="T66" fmla="*/ 622 w 873"/>
                <a:gd name="T67" fmla="*/ 242 h 857"/>
                <a:gd name="T68" fmla="*/ 539 w 873"/>
                <a:gd name="T69" fmla="*/ 181 h 857"/>
                <a:gd name="T70" fmla="*/ 433 w 873"/>
                <a:gd name="T71" fmla="*/ 161 h 857"/>
                <a:gd name="T72" fmla="*/ 433 w 873"/>
                <a:gd name="T73"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57">
                  <a:moveTo>
                    <a:pt x="433" y="0"/>
                  </a:moveTo>
                  <a:lnTo>
                    <a:pt x="433" y="0"/>
                  </a:lnTo>
                  <a:cubicBezTo>
                    <a:pt x="500" y="0"/>
                    <a:pt x="558" y="11"/>
                    <a:pt x="611" y="33"/>
                  </a:cubicBezTo>
                  <a:cubicBezTo>
                    <a:pt x="664" y="56"/>
                    <a:pt x="711" y="86"/>
                    <a:pt x="750" y="125"/>
                  </a:cubicBezTo>
                  <a:cubicBezTo>
                    <a:pt x="789" y="161"/>
                    <a:pt x="820" y="208"/>
                    <a:pt x="839" y="261"/>
                  </a:cubicBezTo>
                  <a:cubicBezTo>
                    <a:pt x="861" y="314"/>
                    <a:pt x="872" y="369"/>
                    <a:pt x="872" y="428"/>
                  </a:cubicBezTo>
                  <a:cubicBezTo>
                    <a:pt x="872" y="489"/>
                    <a:pt x="861" y="547"/>
                    <a:pt x="839" y="597"/>
                  </a:cubicBezTo>
                  <a:cubicBezTo>
                    <a:pt x="820" y="650"/>
                    <a:pt x="792" y="694"/>
                    <a:pt x="753" y="733"/>
                  </a:cubicBezTo>
                  <a:cubicBezTo>
                    <a:pt x="714" y="772"/>
                    <a:pt x="667" y="803"/>
                    <a:pt x="614" y="825"/>
                  </a:cubicBezTo>
                  <a:cubicBezTo>
                    <a:pt x="561" y="847"/>
                    <a:pt x="500" y="856"/>
                    <a:pt x="433" y="856"/>
                  </a:cubicBezTo>
                  <a:cubicBezTo>
                    <a:pt x="367" y="856"/>
                    <a:pt x="308" y="847"/>
                    <a:pt x="256" y="825"/>
                  </a:cubicBezTo>
                  <a:cubicBezTo>
                    <a:pt x="200" y="803"/>
                    <a:pt x="156" y="772"/>
                    <a:pt x="117" y="733"/>
                  </a:cubicBezTo>
                  <a:cubicBezTo>
                    <a:pt x="81" y="694"/>
                    <a:pt x="50" y="650"/>
                    <a:pt x="31" y="597"/>
                  </a:cubicBezTo>
                  <a:cubicBezTo>
                    <a:pt x="11" y="547"/>
                    <a:pt x="0" y="489"/>
                    <a:pt x="0" y="428"/>
                  </a:cubicBezTo>
                  <a:cubicBezTo>
                    <a:pt x="0" y="369"/>
                    <a:pt x="11" y="314"/>
                    <a:pt x="31" y="261"/>
                  </a:cubicBezTo>
                  <a:cubicBezTo>
                    <a:pt x="50" y="208"/>
                    <a:pt x="81" y="161"/>
                    <a:pt x="120" y="125"/>
                  </a:cubicBezTo>
                  <a:cubicBezTo>
                    <a:pt x="156" y="86"/>
                    <a:pt x="203" y="56"/>
                    <a:pt x="256" y="33"/>
                  </a:cubicBezTo>
                  <a:cubicBezTo>
                    <a:pt x="308" y="11"/>
                    <a:pt x="370" y="0"/>
                    <a:pt x="433" y="0"/>
                  </a:cubicBezTo>
                  <a:lnTo>
                    <a:pt x="433" y="161"/>
                  </a:lnTo>
                  <a:lnTo>
                    <a:pt x="433" y="161"/>
                  </a:lnTo>
                  <a:cubicBezTo>
                    <a:pt x="394" y="161"/>
                    <a:pt x="358" y="167"/>
                    <a:pt x="325" y="181"/>
                  </a:cubicBezTo>
                  <a:cubicBezTo>
                    <a:pt x="295" y="197"/>
                    <a:pt x="267" y="217"/>
                    <a:pt x="245" y="242"/>
                  </a:cubicBezTo>
                  <a:cubicBezTo>
                    <a:pt x="222" y="267"/>
                    <a:pt x="206" y="294"/>
                    <a:pt x="195" y="328"/>
                  </a:cubicBezTo>
                  <a:cubicBezTo>
                    <a:pt x="181" y="358"/>
                    <a:pt x="175" y="394"/>
                    <a:pt x="175" y="430"/>
                  </a:cubicBezTo>
                  <a:cubicBezTo>
                    <a:pt x="175" y="467"/>
                    <a:pt x="181" y="500"/>
                    <a:pt x="195" y="533"/>
                  </a:cubicBezTo>
                  <a:cubicBezTo>
                    <a:pt x="206" y="567"/>
                    <a:pt x="222" y="594"/>
                    <a:pt x="245" y="617"/>
                  </a:cubicBezTo>
                  <a:cubicBezTo>
                    <a:pt x="267" y="642"/>
                    <a:pt x="295" y="661"/>
                    <a:pt x="325" y="675"/>
                  </a:cubicBezTo>
                  <a:cubicBezTo>
                    <a:pt x="358" y="689"/>
                    <a:pt x="394" y="697"/>
                    <a:pt x="433" y="697"/>
                  </a:cubicBezTo>
                  <a:cubicBezTo>
                    <a:pt x="475" y="697"/>
                    <a:pt x="511" y="689"/>
                    <a:pt x="542" y="675"/>
                  </a:cubicBezTo>
                  <a:cubicBezTo>
                    <a:pt x="575" y="661"/>
                    <a:pt x="603" y="642"/>
                    <a:pt x="625" y="617"/>
                  </a:cubicBezTo>
                  <a:cubicBezTo>
                    <a:pt x="647" y="594"/>
                    <a:pt x="664" y="567"/>
                    <a:pt x="675" y="533"/>
                  </a:cubicBezTo>
                  <a:cubicBezTo>
                    <a:pt x="686" y="500"/>
                    <a:pt x="694" y="467"/>
                    <a:pt x="694" y="430"/>
                  </a:cubicBezTo>
                  <a:cubicBezTo>
                    <a:pt x="694" y="394"/>
                    <a:pt x="686" y="358"/>
                    <a:pt x="675" y="328"/>
                  </a:cubicBezTo>
                  <a:cubicBezTo>
                    <a:pt x="661" y="294"/>
                    <a:pt x="645" y="267"/>
                    <a:pt x="622" y="242"/>
                  </a:cubicBezTo>
                  <a:cubicBezTo>
                    <a:pt x="600" y="217"/>
                    <a:pt x="572" y="197"/>
                    <a:pt x="539" y="181"/>
                  </a:cubicBezTo>
                  <a:cubicBezTo>
                    <a:pt x="508" y="167"/>
                    <a:pt x="472" y="161"/>
                    <a:pt x="433" y="161"/>
                  </a:cubicBezTo>
                  <a:lnTo>
                    <a:pt x="433"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9" name="Freeform 6">
              <a:extLst>
                <a:ext uri="{FF2B5EF4-FFF2-40B4-BE49-F238E27FC236}">
                  <a16:creationId xmlns:a16="http://schemas.microsoft.com/office/drawing/2014/main" id="{1AFF59FE-12B4-6D4D-B799-C1D0C79BBC9D}"/>
                </a:ext>
              </a:extLst>
            </p:cNvPr>
            <p:cNvSpPr>
              <a:spLocks noChangeArrowheads="1"/>
            </p:cNvSpPr>
            <p:nvPr userDrawn="1"/>
          </p:nvSpPr>
          <p:spPr bwMode="auto">
            <a:xfrm>
              <a:off x="3567113" y="3143250"/>
              <a:ext cx="476250" cy="301625"/>
            </a:xfrm>
            <a:custGeom>
              <a:avLst/>
              <a:gdLst>
                <a:gd name="T0" fmla="*/ 575 w 1321"/>
                <a:gd name="T1" fmla="*/ 839 h 840"/>
                <a:gd name="T2" fmla="*/ 575 w 1321"/>
                <a:gd name="T3" fmla="*/ 839 h 840"/>
                <a:gd name="T4" fmla="*/ 575 w 1321"/>
                <a:gd name="T5" fmla="*/ 386 h 840"/>
                <a:gd name="T6" fmla="*/ 561 w 1321"/>
                <a:gd name="T7" fmla="*/ 300 h 840"/>
                <a:gd name="T8" fmla="*/ 523 w 1321"/>
                <a:gd name="T9" fmla="*/ 228 h 840"/>
                <a:gd name="T10" fmla="*/ 461 w 1321"/>
                <a:gd name="T11" fmla="*/ 181 h 840"/>
                <a:gd name="T12" fmla="*/ 378 w 1321"/>
                <a:gd name="T13" fmla="*/ 161 h 840"/>
                <a:gd name="T14" fmla="*/ 295 w 1321"/>
                <a:gd name="T15" fmla="*/ 181 h 840"/>
                <a:gd name="T16" fmla="*/ 231 w 1321"/>
                <a:gd name="T17" fmla="*/ 228 h 840"/>
                <a:gd name="T18" fmla="*/ 189 w 1321"/>
                <a:gd name="T19" fmla="*/ 300 h 840"/>
                <a:gd name="T20" fmla="*/ 175 w 1321"/>
                <a:gd name="T21" fmla="*/ 386 h 840"/>
                <a:gd name="T22" fmla="*/ 175 w 1321"/>
                <a:gd name="T23" fmla="*/ 839 h 840"/>
                <a:gd name="T24" fmla="*/ 0 w 1321"/>
                <a:gd name="T25" fmla="*/ 839 h 840"/>
                <a:gd name="T26" fmla="*/ 0 w 1321"/>
                <a:gd name="T27" fmla="*/ 14 h 840"/>
                <a:gd name="T28" fmla="*/ 164 w 1321"/>
                <a:gd name="T29" fmla="*/ 14 h 840"/>
                <a:gd name="T30" fmla="*/ 175 w 1321"/>
                <a:gd name="T31" fmla="*/ 125 h 840"/>
                <a:gd name="T32" fmla="*/ 278 w 1321"/>
                <a:gd name="T33" fmla="*/ 28 h 840"/>
                <a:gd name="T34" fmla="*/ 411 w 1321"/>
                <a:gd name="T35" fmla="*/ 0 h 840"/>
                <a:gd name="T36" fmla="*/ 492 w 1321"/>
                <a:gd name="T37" fmla="*/ 8 h 840"/>
                <a:gd name="T38" fmla="*/ 564 w 1321"/>
                <a:gd name="T39" fmla="*/ 39 h 840"/>
                <a:gd name="T40" fmla="*/ 628 w 1321"/>
                <a:gd name="T41" fmla="*/ 89 h 840"/>
                <a:gd name="T42" fmla="*/ 675 w 1321"/>
                <a:gd name="T43" fmla="*/ 167 h 840"/>
                <a:gd name="T44" fmla="*/ 800 w 1321"/>
                <a:gd name="T45" fmla="*/ 39 h 840"/>
                <a:gd name="T46" fmla="*/ 964 w 1321"/>
                <a:gd name="T47" fmla="*/ 3 h 840"/>
                <a:gd name="T48" fmla="*/ 1231 w 1321"/>
                <a:gd name="T49" fmla="*/ 103 h 840"/>
                <a:gd name="T50" fmla="*/ 1320 w 1321"/>
                <a:gd name="T51" fmla="*/ 383 h 840"/>
                <a:gd name="T52" fmla="*/ 1320 w 1321"/>
                <a:gd name="T53" fmla="*/ 839 h 840"/>
                <a:gd name="T54" fmla="*/ 1142 w 1321"/>
                <a:gd name="T55" fmla="*/ 839 h 840"/>
                <a:gd name="T56" fmla="*/ 1142 w 1321"/>
                <a:gd name="T57" fmla="*/ 383 h 840"/>
                <a:gd name="T58" fmla="*/ 1131 w 1321"/>
                <a:gd name="T59" fmla="*/ 297 h 840"/>
                <a:gd name="T60" fmla="*/ 1095 w 1321"/>
                <a:gd name="T61" fmla="*/ 228 h 840"/>
                <a:gd name="T62" fmla="*/ 1039 w 1321"/>
                <a:gd name="T63" fmla="*/ 181 h 840"/>
                <a:gd name="T64" fmla="*/ 956 w 1321"/>
                <a:gd name="T65" fmla="*/ 164 h 840"/>
                <a:gd name="T66" fmla="*/ 873 w 1321"/>
                <a:gd name="T67" fmla="*/ 181 h 840"/>
                <a:gd name="T68" fmla="*/ 809 w 1321"/>
                <a:gd name="T69" fmla="*/ 228 h 840"/>
                <a:gd name="T70" fmla="*/ 767 w 1321"/>
                <a:gd name="T71" fmla="*/ 300 h 840"/>
                <a:gd name="T72" fmla="*/ 753 w 1321"/>
                <a:gd name="T73" fmla="*/ 386 h 840"/>
                <a:gd name="T74" fmla="*/ 753 w 1321"/>
                <a:gd name="T75" fmla="*/ 839 h 840"/>
                <a:gd name="T76" fmla="*/ 575 w 1321"/>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1" h="840">
                  <a:moveTo>
                    <a:pt x="575" y="839"/>
                  </a:moveTo>
                  <a:lnTo>
                    <a:pt x="575" y="839"/>
                  </a:lnTo>
                  <a:cubicBezTo>
                    <a:pt x="575" y="386"/>
                    <a:pt x="575" y="386"/>
                    <a:pt x="575" y="386"/>
                  </a:cubicBezTo>
                  <a:cubicBezTo>
                    <a:pt x="575" y="356"/>
                    <a:pt x="570" y="328"/>
                    <a:pt x="561" y="300"/>
                  </a:cubicBezTo>
                  <a:cubicBezTo>
                    <a:pt x="553" y="272"/>
                    <a:pt x="539" y="247"/>
                    <a:pt x="523" y="228"/>
                  </a:cubicBezTo>
                  <a:cubicBezTo>
                    <a:pt x="506" y="208"/>
                    <a:pt x="486" y="192"/>
                    <a:pt x="461" y="181"/>
                  </a:cubicBezTo>
                  <a:cubicBezTo>
                    <a:pt x="436" y="167"/>
                    <a:pt x="409" y="161"/>
                    <a:pt x="378" y="161"/>
                  </a:cubicBezTo>
                  <a:cubicBezTo>
                    <a:pt x="348" y="161"/>
                    <a:pt x="320" y="167"/>
                    <a:pt x="295" y="181"/>
                  </a:cubicBezTo>
                  <a:cubicBezTo>
                    <a:pt x="270" y="192"/>
                    <a:pt x="248" y="208"/>
                    <a:pt x="231" y="228"/>
                  </a:cubicBezTo>
                  <a:cubicBezTo>
                    <a:pt x="211" y="247"/>
                    <a:pt x="200" y="272"/>
                    <a:pt x="189" y="300"/>
                  </a:cubicBezTo>
                  <a:cubicBezTo>
                    <a:pt x="181" y="328"/>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198" y="78"/>
                    <a:pt x="234" y="47"/>
                    <a:pt x="278" y="28"/>
                  </a:cubicBezTo>
                  <a:cubicBezTo>
                    <a:pt x="323" y="11"/>
                    <a:pt x="367" y="0"/>
                    <a:pt x="411" y="0"/>
                  </a:cubicBezTo>
                  <a:cubicBezTo>
                    <a:pt x="439" y="0"/>
                    <a:pt x="464" y="3"/>
                    <a:pt x="492" y="8"/>
                  </a:cubicBezTo>
                  <a:cubicBezTo>
                    <a:pt x="517" y="14"/>
                    <a:pt x="542" y="25"/>
                    <a:pt x="564" y="39"/>
                  </a:cubicBezTo>
                  <a:cubicBezTo>
                    <a:pt x="589" y="50"/>
                    <a:pt x="609" y="69"/>
                    <a:pt x="628" y="89"/>
                  </a:cubicBezTo>
                  <a:cubicBezTo>
                    <a:pt x="647" y="111"/>
                    <a:pt x="661" y="136"/>
                    <a:pt x="675" y="167"/>
                  </a:cubicBezTo>
                  <a:cubicBezTo>
                    <a:pt x="709" y="106"/>
                    <a:pt x="750" y="64"/>
                    <a:pt x="800" y="39"/>
                  </a:cubicBezTo>
                  <a:cubicBezTo>
                    <a:pt x="850" y="14"/>
                    <a:pt x="906" y="3"/>
                    <a:pt x="964" y="3"/>
                  </a:cubicBezTo>
                  <a:cubicBezTo>
                    <a:pt x="1081" y="3"/>
                    <a:pt x="1170" y="36"/>
                    <a:pt x="1231" y="103"/>
                  </a:cubicBezTo>
                  <a:cubicBezTo>
                    <a:pt x="1289" y="172"/>
                    <a:pt x="1320" y="264"/>
                    <a:pt x="1320" y="383"/>
                  </a:cubicBezTo>
                  <a:cubicBezTo>
                    <a:pt x="1320" y="839"/>
                    <a:pt x="1320" y="839"/>
                    <a:pt x="1320" y="839"/>
                  </a:cubicBezTo>
                  <a:cubicBezTo>
                    <a:pt x="1142" y="839"/>
                    <a:pt x="1142" y="839"/>
                    <a:pt x="1142" y="839"/>
                  </a:cubicBezTo>
                  <a:cubicBezTo>
                    <a:pt x="1142" y="383"/>
                    <a:pt x="1142" y="383"/>
                    <a:pt x="1142" y="383"/>
                  </a:cubicBezTo>
                  <a:cubicBezTo>
                    <a:pt x="1142" y="353"/>
                    <a:pt x="1139" y="325"/>
                    <a:pt x="1131" y="297"/>
                  </a:cubicBezTo>
                  <a:cubicBezTo>
                    <a:pt x="1122" y="269"/>
                    <a:pt x="1111" y="247"/>
                    <a:pt x="1095" y="228"/>
                  </a:cubicBezTo>
                  <a:cubicBezTo>
                    <a:pt x="1081" y="206"/>
                    <a:pt x="1061" y="192"/>
                    <a:pt x="1039" y="181"/>
                  </a:cubicBezTo>
                  <a:cubicBezTo>
                    <a:pt x="1014" y="169"/>
                    <a:pt x="986" y="164"/>
                    <a:pt x="956" y="164"/>
                  </a:cubicBezTo>
                  <a:cubicBezTo>
                    <a:pt x="925" y="164"/>
                    <a:pt x="897" y="169"/>
                    <a:pt x="873" y="181"/>
                  </a:cubicBezTo>
                  <a:cubicBezTo>
                    <a:pt x="847" y="192"/>
                    <a:pt x="825" y="208"/>
                    <a:pt x="809" y="228"/>
                  </a:cubicBezTo>
                  <a:cubicBezTo>
                    <a:pt x="789" y="250"/>
                    <a:pt x="775" y="272"/>
                    <a:pt x="767" y="300"/>
                  </a:cubicBezTo>
                  <a:cubicBezTo>
                    <a:pt x="756" y="328"/>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0" name="Freeform 7">
              <a:extLst>
                <a:ext uri="{FF2B5EF4-FFF2-40B4-BE49-F238E27FC236}">
                  <a16:creationId xmlns:a16="http://schemas.microsoft.com/office/drawing/2014/main" id="{F46638B0-F40C-B24A-93C9-6E1B70739452}"/>
                </a:ext>
              </a:extLst>
            </p:cNvPr>
            <p:cNvSpPr>
              <a:spLocks noChangeArrowheads="1"/>
            </p:cNvSpPr>
            <p:nvPr userDrawn="1"/>
          </p:nvSpPr>
          <p:spPr bwMode="auto">
            <a:xfrm>
              <a:off x="4105275" y="3141663"/>
              <a:ext cx="314325" cy="312737"/>
            </a:xfrm>
            <a:custGeom>
              <a:avLst/>
              <a:gdLst>
                <a:gd name="T0" fmla="*/ 864 w 874"/>
                <a:gd name="T1" fmla="*/ 498 h 868"/>
                <a:gd name="T2" fmla="*/ 864 w 874"/>
                <a:gd name="T3" fmla="*/ 498 h 868"/>
                <a:gd name="T4" fmla="*/ 181 w 874"/>
                <a:gd name="T5" fmla="*/ 498 h 868"/>
                <a:gd name="T6" fmla="*/ 267 w 874"/>
                <a:gd name="T7" fmla="*/ 650 h 868"/>
                <a:gd name="T8" fmla="*/ 456 w 874"/>
                <a:gd name="T9" fmla="*/ 706 h 868"/>
                <a:gd name="T10" fmla="*/ 592 w 874"/>
                <a:gd name="T11" fmla="*/ 684 h 868"/>
                <a:gd name="T12" fmla="*/ 700 w 874"/>
                <a:gd name="T13" fmla="*/ 617 h 868"/>
                <a:gd name="T14" fmla="*/ 814 w 874"/>
                <a:gd name="T15" fmla="*/ 725 h 868"/>
                <a:gd name="T16" fmla="*/ 739 w 874"/>
                <a:gd name="T17" fmla="*/ 786 h 868"/>
                <a:gd name="T18" fmla="*/ 650 w 874"/>
                <a:gd name="T19" fmla="*/ 831 h 868"/>
                <a:gd name="T20" fmla="*/ 553 w 874"/>
                <a:gd name="T21" fmla="*/ 859 h 868"/>
                <a:gd name="T22" fmla="*/ 453 w 874"/>
                <a:gd name="T23" fmla="*/ 867 h 868"/>
                <a:gd name="T24" fmla="*/ 267 w 874"/>
                <a:gd name="T25" fmla="*/ 836 h 868"/>
                <a:gd name="T26" fmla="*/ 123 w 874"/>
                <a:gd name="T27" fmla="*/ 748 h 868"/>
                <a:gd name="T28" fmla="*/ 31 w 874"/>
                <a:gd name="T29" fmla="*/ 609 h 868"/>
                <a:gd name="T30" fmla="*/ 0 w 874"/>
                <a:gd name="T31" fmla="*/ 431 h 868"/>
                <a:gd name="T32" fmla="*/ 31 w 874"/>
                <a:gd name="T33" fmla="*/ 256 h 868"/>
                <a:gd name="T34" fmla="*/ 123 w 874"/>
                <a:gd name="T35" fmla="*/ 120 h 868"/>
                <a:gd name="T36" fmla="*/ 261 w 874"/>
                <a:gd name="T37" fmla="*/ 31 h 868"/>
                <a:gd name="T38" fmla="*/ 442 w 874"/>
                <a:gd name="T39" fmla="*/ 0 h 868"/>
                <a:gd name="T40" fmla="*/ 628 w 874"/>
                <a:gd name="T41" fmla="*/ 31 h 868"/>
                <a:gd name="T42" fmla="*/ 767 w 874"/>
                <a:gd name="T43" fmla="*/ 125 h 868"/>
                <a:gd name="T44" fmla="*/ 850 w 874"/>
                <a:gd name="T45" fmla="*/ 278 h 868"/>
                <a:gd name="T46" fmla="*/ 864 w 874"/>
                <a:gd name="T47" fmla="*/ 498 h 868"/>
                <a:gd name="T48" fmla="*/ 187 w 874"/>
                <a:gd name="T49" fmla="*/ 353 h 868"/>
                <a:gd name="T50" fmla="*/ 187 w 874"/>
                <a:gd name="T51" fmla="*/ 353 h 868"/>
                <a:gd name="T52" fmla="*/ 695 w 874"/>
                <a:gd name="T53" fmla="*/ 353 h 868"/>
                <a:gd name="T54" fmla="*/ 620 w 874"/>
                <a:gd name="T55" fmla="*/ 203 h 868"/>
                <a:gd name="T56" fmla="*/ 448 w 874"/>
                <a:gd name="T57" fmla="*/ 153 h 868"/>
                <a:gd name="T58" fmla="*/ 278 w 874"/>
                <a:gd name="T59" fmla="*/ 203 h 868"/>
                <a:gd name="T60" fmla="*/ 187 w 874"/>
                <a:gd name="T61" fmla="*/ 353 h 868"/>
                <a:gd name="T62" fmla="*/ 864 w 874"/>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4" h="868">
                  <a:moveTo>
                    <a:pt x="864" y="498"/>
                  </a:moveTo>
                  <a:lnTo>
                    <a:pt x="864" y="498"/>
                  </a:lnTo>
                  <a:cubicBezTo>
                    <a:pt x="181" y="498"/>
                    <a:pt x="181" y="498"/>
                    <a:pt x="181" y="498"/>
                  </a:cubicBezTo>
                  <a:cubicBezTo>
                    <a:pt x="189" y="562"/>
                    <a:pt x="217" y="611"/>
                    <a:pt x="267" y="650"/>
                  </a:cubicBezTo>
                  <a:cubicBezTo>
                    <a:pt x="317" y="686"/>
                    <a:pt x="378" y="706"/>
                    <a:pt x="456" y="706"/>
                  </a:cubicBezTo>
                  <a:cubicBezTo>
                    <a:pt x="500" y="706"/>
                    <a:pt x="545" y="698"/>
                    <a:pt x="592" y="684"/>
                  </a:cubicBezTo>
                  <a:cubicBezTo>
                    <a:pt x="639" y="667"/>
                    <a:pt x="675" y="645"/>
                    <a:pt x="700" y="617"/>
                  </a:cubicBezTo>
                  <a:cubicBezTo>
                    <a:pt x="814" y="725"/>
                    <a:pt x="814" y="725"/>
                    <a:pt x="814" y="725"/>
                  </a:cubicBezTo>
                  <a:cubicBezTo>
                    <a:pt x="795" y="750"/>
                    <a:pt x="770" y="770"/>
                    <a:pt x="739" y="786"/>
                  </a:cubicBezTo>
                  <a:cubicBezTo>
                    <a:pt x="711" y="806"/>
                    <a:pt x="681" y="820"/>
                    <a:pt x="650" y="831"/>
                  </a:cubicBezTo>
                  <a:cubicBezTo>
                    <a:pt x="620" y="845"/>
                    <a:pt x="587" y="853"/>
                    <a:pt x="553" y="859"/>
                  </a:cubicBezTo>
                  <a:cubicBezTo>
                    <a:pt x="517" y="864"/>
                    <a:pt x="487" y="867"/>
                    <a:pt x="453" y="867"/>
                  </a:cubicBezTo>
                  <a:cubicBezTo>
                    <a:pt x="384" y="867"/>
                    <a:pt x="323" y="856"/>
                    <a:pt x="267" y="836"/>
                  </a:cubicBezTo>
                  <a:cubicBezTo>
                    <a:pt x="209" y="814"/>
                    <a:pt x="161" y="786"/>
                    <a:pt x="123" y="748"/>
                  </a:cubicBezTo>
                  <a:cubicBezTo>
                    <a:pt x="84" y="709"/>
                    <a:pt x="53" y="664"/>
                    <a:pt x="31" y="609"/>
                  </a:cubicBezTo>
                  <a:cubicBezTo>
                    <a:pt x="12" y="556"/>
                    <a:pt x="0" y="495"/>
                    <a:pt x="0" y="431"/>
                  </a:cubicBezTo>
                  <a:cubicBezTo>
                    <a:pt x="0" y="367"/>
                    <a:pt x="12" y="309"/>
                    <a:pt x="31" y="256"/>
                  </a:cubicBezTo>
                  <a:cubicBezTo>
                    <a:pt x="53" y="203"/>
                    <a:pt x="84" y="159"/>
                    <a:pt x="123" y="120"/>
                  </a:cubicBezTo>
                  <a:cubicBezTo>
                    <a:pt x="161" y="84"/>
                    <a:pt x="209" y="53"/>
                    <a:pt x="261" y="31"/>
                  </a:cubicBezTo>
                  <a:cubicBezTo>
                    <a:pt x="314" y="12"/>
                    <a:pt x="375" y="0"/>
                    <a:pt x="442" y="0"/>
                  </a:cubicBezTo>
                  <a:cubicBezTo>
                    <a:pt x="509" y="0"/>
                    <a:pt x="573" y="12"/>
                    <a:pt x="628" y="31"/>
                  </a:cubicBezTo>
                  <a:cubicBezTo>
                    <a:pt x="681" y="53"/>
                    <a:pt x="728" y="84"/>
                    <a:pt x="767" y="125"/>
                  </a:cubicBezTo>
                  <a:cubicBezTo>
                    <a:pt x="806" y="164"/>
                    <a:pt x="834" y="217"/>
                    <a:pt x="850" y="278"/>
                  </a:cubicBezTo>
                  <a:cubicBezTo>
                    <a:pt x="867" y="342"/>
                    <a:pt x="873" y="414"/>
                    <a:pt x="864" y="498"/>
                  </a:cubicBezTo>
                  <a:lnTo>
                    <a:pt x="187" y="353"/>
                  </a:lnTo>
                  <a:lnTo>
                    <a:pt x="187" y="353"/>
                  </a:lnTo>
                  <a:cubicBezTo>
                    <a:pt x="695" y="353"/>
                    <a:pt x="695" y="353"/>
                    <a:pt x="695" y="353"/>
                  </a:cubicBezTo>
                  <a:cubicBezTo>
                    <a:pt x="689" y="287"/>
                    <a:pt x="664" y="236"/>
                    <a:pt x="620" y="203"/>
                  </a:cubicBezTo>
                  <a:cubicBezTo>
                    <a:pt x="575" y="170"/>
                    <a:pt x="517" y="153"/>
                    <a:pt x="448" y="153"/>
                  </a:cubicBezTo>
                  <a:cubicBezTo>
                    <a:pt x="381" y="153"/>
                    <a:pt x="325" y="170"/>
                    <a:pt x="278" y="203"/>
                  </a:cubicBezTo>
                  <a:cubicBezTo>
                    <a:pt x="231" y="236"/>
                    <a:pt x="200" y="287"/>
                    <a:pt x="187"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1" name="Freeform 8">
              <a:extLst>
                <a:ext uri="{FF2B5EF4-FFF2-40B4-BE49-F238E27FC236}">
                  <a16:creationId xmlns:a16="http://schemas.microsoft.com/office/drawing/2014/main" id="{6730F715-DAA9-4C4F-9015-64A34444B963}"/>
                </a:ext>
              </a:extLst>
            </p:cNvPr>
            <p:cNvSpPr>
              <a:spLocks noChangeArrowheads="1"/>
            </p:cNvSpPr>
            <p:nvPr userDrawn="1"/>
          </p:nvSpPr>
          <p:spPr bwMode="auto">
            <a:xfrm>
              <a:off x="4481513" y="3141663"/>
              <a:ext cx="227012" cy="303212"/>
            </a:xfrm>
            <a:custGeom>
              <a:avLst/>
              <a:gdLst>
                <a:gd name="T0" fmla="*/ 164 w 631"/>
                <a:gd name="T1" fmla="*/ 20 h 843"/>
                <a:gd name="T2" fmla="*/ 164 w 631"/>
                <a:gd name="T3" fmla="*/ 20 h 843"/>
                <a:gd name="T4" fmla="*/ 175 w 631"/>
                <a:gd name="T5" fmla="*/ 128 h 843"/>
                <a:gd name="T6" fmla="*/ 289 w 631"/>
                <a:gd name="T7" fmla="*/ 25 h 843"/>
                <a:gd name="T8" fmla="*/ 422 w 631"/>
                <a:gd name="T9" fmla="*/ 0 h 843"/>
                <a:gd name="T10" fmla="*/ 539 w 631"/>
                <a:gd name="T11" fmla="*/ 20 h 843"/>
                <a:gd name="T12" fmla="*/ 630 w 631"/>
                <a:gd name="T13" fmla="*/ 70 h 843"/>
                <a:gd name="T14" fmla="*/ 550 w 631"/>
                <a:gd name="T15" fmla="*/ 222 h 843"/>
                <a:gd name="T16" fmla="*/ 486 w 631"/>
                <a:gd name="T17" fmla="*/ 184 h 843"/>
                <a:gd name="T18" fmla="*/ 402 w 631"/>
                <a:gd name="T19" fmla="*/ 172 h 843"/>
                <a:gd name="T20" fmla="*/ 316 w 631"/>
                <a:gd name="T21" fmla="*/ 186 h 843"/>
                <a:gd name="T22" fmla="*/ 244 w 631"/>
                <a:gd name="T23" fmla="*/ 228 h 843"/>
                <a:gd name="T24" fmla="*/ 194 w 631"/>
                <a:gd name="T25" fmla="*/ 297 h 843"/>
                <a:gd name="T26" fmla="*/ 175 w 631"/>
                <a:gd name="T27" fmla="*/ 397 h 843"/>
                <a:gd name="T28" fmla="*/ 175 w 631"/>
                <a:gd name="T29" fmla="*/ 842 h 843"/>
                <a:gd name="T30" fmla="*/ 0 w 631"/>
                <a:gd name="T31" fmla="*/ 842 h 843"/>
                <a:gd name="T32" fmla="*/ 0 w 631"/>
                <a:gd name="T33" fmla="*/ 20 h 843"/>
                <a:gd name="T34" fmla="*/ 164 w 631"/>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1" h="843">
                  <a:moveTo>
                    <a:pt x="164" y="20"/>
                  </a:moveTo>
                  <a:lnTo>
                    <a:pt x="164" y="20"/>
                  </a:lnTo>
                  <a:cubicBezTo>
                    <a:pt x="175" y="128"/>
                    <a:pt x="175" y="128"/>
                    <a:pt x="175" y="128"/>
                  </a:cubicBezTo>
                  <a:cubicBezTo>
                    <a:pt x="205" y="75"/>
                    <a:pt x="244" y="42"/>
                    <a:pt x="289" y="25"/>
                  </a:cubicBezTo>
                  <a:cubicBezTo>
                    <a:pt x="333" y="9"/>
                    <a:pt x="378" y="0"/>
                    <a:pt x="422" y="0"/>
                  </a:cubicBezTo>
                  <a:cubicBezTo>
                    <a:pt x="464" y="0"/>
                    <a:pt x="502" y="9"/>
                    <a:pt x="539" y="20"/>
                  </a:cubicBezTo>
                  <a:cubicBezTo>
                    <a:pt x="577" y="34"/>
                    <a:pt x="608" y="50"/>
                    <a:pt x="630" y="70"/>
                  </a:cubicBezTo>
                  <a:cubicBezTo>
                    <a:pt x="550" y="222"/>
                    <a:pt x="550" y="222"/>
                    <a:pt x="550" y="222"/>
                  </a:cubicBezTo>
                  <a:cubicBezTo>
                    <a:pt x="530" y="206"/>
                    <a:pt x="508" y="192"/>
                    <a:pt x="486" y="184"/>
                  </a:cubicBezTo>
                  <a:cubicBezTo>
                    <a:pt x="464" y="175"/>
                    <a:pt x="436" y="172"/>
                    <a:pt x="402" y="172"/>
                  </a:cubicBezTo>
                  <a:cubicBezTo>
                    <a:pt x="372" y="172"/>
                    <a:pt x="341" y="175"/>
                    <a:pt x="316" y="186"/>
                  </a:cubicBezTo>
                  <a:cubicBezTo>
                    <a:pt x="289" y="195"/>
                    <a:pt x="264" y="209"/>
                    <a:pt x="244" y="228"/>
                  </a:cubicBezTo>
                  <a:cubicBezTo>
                    <a:pt x="222" y="245"/>
                    <a:pt x="205" y="270"/>
                    <a:pt x="194" y="297"/>
                  </a:cubicBezTo>
                  <a:cubicBezTo>
                    <a:pt x="180" y="325"/>
                    <a:pt x="175" y="359"/>
                    <a:pt x="175" y="397"/>
                  </a:cubicBezTo>
                  <a:cubicBezTo>
                    <a:pt x="175" y="842"/>
                    <a:pt x="175" y="842"/>
                    <a:pt x="175"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2" name="Freeform 9">
              <a:extLst>
                <a:ext uri="{FF2B5EF4-FFF2-40B4-BE49-F238E27FC236}">
                  <a16:creationId xmlns:a16="http://schemas.microsoft.com/office/drawing/2014/main" id="{597932D4-682B-CC44-977C-859F9F960C77}"/>
                </a:ext>
              </a:extLst>
            </p:cNvPr>
            <p:cNvSpPr>
              <a:spLocks noChangeArrowheads="1"/>
            </p:cNvSpPr>
            <p:nvPr userDrawn="1"/>
          </p:nvSpPr>
          <p:spPr bwMode="auto">
            <a:xfrm>
              <a:off x="4872038" y="3141663"/>
              <a:ext cx="314325" cy="312737"/>
            </a:xfrm>
            <a:custGeom>
              <a:avLst/>
              <a:gdLst>
                <a:gd name="T0" fmla="*/ 863 w 872"/>
                <a:gd name="T1" fmla="*/ 498 h 868"/>
                <a:gd name="T2" fmla="*/ 863 w 872"/>
                <a:gd name="T3" fmla="*/ 498 h 868"/>
                <a:gd name="T4" fmla="*/ 183 w 872"/>
                <a:gd name="T5" fmla="*/ 498 h 868"/>
                <a:gd name="T6" fmla="*/ 266 w 872"/>
                <a:gd name="T7" fmla="*/ 650 h 868"/>
                <a:gd name="T8" fmla="*/ 458 w 872"/>
                <a:gd name="T9" fmla="*/ 706 h 868"/>
                <a:gd name="T10" fmla="*/ 590 w 872"/>
                <a:gd name="T11" fmla="*/ 684 h 868"/>
                <a:gd name="T12" fmla="*/ 699 w 872"/>
                <a:gd name="T13" fmla="*/ 617 h 868"/>
                <a:gd name="T14" fmla="*/ 815 w 872"/>
                <a:gd name="T15" fmla="*/ 725 h 868"/>
                <a:gd name="T16" fmla="*/ 740 w 872"/>
                <a:gd name="T17" fmla="*/ 786 h 868"/>
                <a:gd name="T18" fmla="*/ 649 w 872"/>
                <a:gd name="T19" fmla="*/ 831 h 868"/>
                <a:gd name="T20" fmla="*/ 551 w 872"/>
                <a:gd name="T21" fmla="*/ 859 h 868"/>
                <a:gd name="T22" fmla="*/ 452 w 872"/>
                <a:gd name="T23" fmla="*/ 867 h 868"/>
                <a:gd name="T24" fmla="*/ 266 w 872"/>
                <a:gd name="T25" fmla="*/ 836 h 868"/>
                <a:gd name="T26" fmla="*/ 122 w 872"/>
                <a:gd name="T27" fmla="*/ 748 h 868"/>
                <a:gd name="T28" fmla="*/ 30 w 872"/>
                <a:gd name="T29" fmla="*/ 609 h 868"/>
                <a:gd name="T30" fmla="*/ 0 w 872"/>
                <a:gd name="T31" fmla="*/ 431 h 868"/>
                <a:gd name="T32" fmla="*/ 30 w 872"/>
                <a:gd name="T33" fmla="*/ 256 h 868"/>
                <a:gd name="T34" fmla="*/ 122 w 872"/>
                <a:gd name="T35" fmla="*/ 120 h 868"/>
                <a:gd name="T36" fmla="*/ 261 w 872"/>
                <a:gd name="T37" fmla="*/ 31 h 868"/>
                <a:gd name="T38" fmla="*/ 441 w 872"/>
                <a:gd name="T39" fmla="*/ 0 h 868"/>
                <a:gd name="T40" fmla="*/ 626 w 872"/>
                <a:gd name="T41" fmla="*/ 31 h 868"/>
                <a:gd name="T42" fmla="*/ 765 w 872"/>
                <a:gd name="T43" fmla="*/ 125 h 868"/>
                <a:gd name="T44" fmla="*/ 849 w 872"/>
                <a:gd name="T45" fmla="*/ 278 h 868"/>
                <a:gd name="T46" fmla="*/ 863 w 872"/>
                <a:gd name="T47" fmla="*/ 498 h 868"/>
                <a:gd name="T48" fmla="*/ 186 w 872"/>
                <a:gd name="T49" fmla="*/ 353 h 868"/>
                <a:gd name="T50" fmla="*/ 186 w 872"/>
                <a:gd name="T51" fmla="*/ 353 h 868"/>
                <a:gd name="T52" fmla="*/ 696 w 872"/>
                <a:gd name="T53" fmla="*/ 353 h 868"/>
                <a:gd name="T54" fmla="*/ 621 w 872"/>
                <a:gd name="T55" fmla="*/ 203 h 868"/>
                <a:gd name="T56" fmla="*/ 447 w 872"/>
                <a:gd name="T57" fmla="*/ 153 h 868"/>
                <a:gd name="T58" fmla="*/ 278 w 872"/>
                <a:gd name="T59" fmla="*/ 203 h 868"/>
                <a:gd name="T60" fmla="*/ 186 w 872"/>
                <a:gd name="T61" fmla="*/ 353 h 868"/>
                <a:gd name="T62" fmla="*/ 863 w 872"/>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2" h="868">
                  <a:moveTo>
                    <a:pt x="863" y="498"/>
                  </a:moveTo>
                  <a:lnTo>
                    <a:pt x="863" y="498"/>
                  </a:lnTo>
                  <a:cubicBezTo>
                    <a:pt x="183" y="498"/>
                    <a:pt x="183" y="498"/>
                    <a:pt x="183" y="498"/>
                  </a:cubicBezTo>
                  <a:cubicBezTo>
                    <a:pt x="189" y="562"/>
                    <a:pt x="219" y="611"/>
                    <a:pt x="266" y="650"/>
                  </a:cubicBezTo>
                  <a:cubicBezTo>
                    <a:pt x="316" y="686"/>
                    <a:pt x="380" y="706"/>
                    <a:pt x="458" y="706"/>
                  </a:cubicBezTo>
                  <a:cubicBezTo>
                    <a:pt x="499" y="706"/>
                    <a:pt x="543" y="698"/>
                    <a:pt x="590" y="684"/>
                  </a:cubicBezTo>
                  <a:cubicBezTo>
                    <a:pt x="638" y="667"/>
                    <a:pt x="674" y="645"/>
                    <a:pt x="699" y="617"/>
                  </a:cubicBezTo>
                  <a:cubicBezTo>
                    <a:pt x="815" y="725"/>
                    <a:pt x="815" y="725"/>
                    <a:pt x="815" y="725"/>
                  </a:cubicBezTo>
                  <a:cubicBezTo>
                    <a:pt x="793" y="750"/>
                    <a:pt x="768" y="770"/>
                    <a:pt x="740" y="786"/>
                  </a:cubicBezTo>
                  <a:cubicBezTo>
                    <a:pt x="710" y="806"/>
                    <a:pt x="682" y="820"/>
                    <a:pt x="649" y="831"/>
                  </a:cubicBezTo>
                  <a:cubicBezTo>
                    <a:pt x="618" y="845"/>
                    <a:pt x="585" y="853"/>
                    <a:pt x="551" y="859"/>
                  </a:cubicBezTo>
                  <a:cubicBezTo>
                    <a:pt x="518" y="864"/>
                    <a:pt x="485" y="867"/>
                    <a:pt x="452" y="867"/>
                  </a:cubicBezTo>
                  <a:cubicBezTo>
                    <a:pt x="383" y="867"/>
                    <a:pt x="322" y="856"/>
                    <a:pt x="266" y="836"/>
                  </a:cubicBezTo>
                  <a:cubicBezTo>
                    <a:pt x="211" y="814"/>
                    <a:pt x="161" y="786"/>
                    <a:pt x="122" y="748"/>
                  </a:cubicBezTo>
                  <a:cubicBezTo>
                    <a:pt x="83" y="709"/>
                    <a:pt x="53" y="664"/>
                    <a:pt x="30" y="609"/>
                  </a:cubicBezTo>
                  <a:cubicBezTo>
                    <a:pt x="11" y="556"/>
                    <a:pt x="0" y="495"/>
                    <a:pt x="0" y="431"/>
                  </a:cubicBezTo>
                  <a:cubicBezTo>
                    <a:pt x="0" y="367"/>
                    <a:pt x="11" y="309"/>
                    <a:pt x="30" y="256"/>
                  </a:cubicBezTo>
                  <a:cubicBezTo>
                    <a:pt x="53" y="203"/>
                    <a:pt x="83" y="159"/>
                    <a:pt x="122" y="120"/>
                  </a:cubicBezTo>
                  <a:cubicBezTo>
                    <a:pt x="161" y="84"/>
                    <a:pt x="208" y="53"/>
                    <a:pt x="261" y="31"/>
                  </a:cubicBezTo>
                  <a:cubicBezTo>
                    <a:pt x="316" y="12"/>
                    <a:pt x="375" y="0"/>
                    <a:pt x="441" y="0"/>
                  </a:cubicBezTo>
                  <a:cubicBezTo>
                    <a:pt x="510" y="0"/>
                    <a:pt x="571" y="12"/>
                    <a:pt x="626" y="31"/>
                  </a:cubicBezTo>
                  <a:cubicBezTo>
                    <a:pt x="682" y="53"/>
                    <a:pt x="726" y="84"/>
                    <a:pt x="765" y="125"/>
                  </a:cubicBezTo>
                  <a:cubicBezTo>
                    <a:pt x="804" y="164"/>
                    <a:pt x="832" y="217"/>
                    <a:pt x="849" y="278"/>
                  </a:cubicBezTo>
                  <a:cubicBezTo>
                    <a:pt x="868" y="342"/>
                    <a:pt x="871" y="414"/>
                    <a:pt x="863" y="498"/>
                  </a:cubicBezTo>
                  <a:lnTo>
                    <a:pt x="186" y="353"/>
                  </a:lnTo>
                  <a:lnTo>
                    <a:pt x="186" y="353"/>
                  </a:lnTo>
                  <a:cubicBezTo>
                    <a:pt x="696" y="353"/>
                    <a:pt x="696" y="353"/>
                    <a:pt x="696" y="353"/>
                  </a:cubicBezTo>
                  <a:cubicBezTo>
                    <a:pt x="690" y="287"/>
                    <a:pt x="663" y="236"/>
                    <a:pt x="621" y="203"/>
                  </a:cubicBezTo>
                  <a:cubicBezTo>
                    <a:pt x="577" y="170"/>
                    <a:pt x="518" y="153"/>
                    <a:pt x="447" y="153"/>
                  </a:cubicBezTo>
                  <a:cubicBezTo>
                    <a:pt x="380" y="153"/>
                    <a:pt x="325" y="170"/>
                    <a:pt x="278" y="203"/>
                  </a:cubicBezTo>
                  <a:cubicBezTo>
                    <a:pt x="230" y="236"/>
                    <a:pt x="200" y="287"/>
                    <a:pt x="186" y="353"/>
                  </a:cubicBezTo>
                  <a:lnTo>
                    <a:pt x="863"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3" name="Freeform 10">
              <a:extLst>
                <a:ext uri="{FF2B5EF4-FFF2-40B4-BE49-F238E27FC236}">
                  <a16:creationId xmlns:a16="http://schemas.microsoft.com/office/drawing/2014/main" id="{96065675-A273-F046-BBBD-BF5AD455AD2C}"/>
                </a:ext>
              </a:extLst>
            </p:cNvPr>
            <p:cNvSpPr>
              <a:spLocks noChangeArrowheads="1"/>
            </p:cNvSpPr>
            <p:nvPr userDrawn="1"/>
          </p:nvSpPr>
          <p:spPr bwMode="auto">
            <a:xfrm>
              <a:off x="5205413" y="3149600"/>
              <a:ext cx="301625" cy="296863"/>
            </a:xfrm>
            <a:custGeom>
              <a:avLst/>
              <a:gdLst>
                <a:gd name="T0" fmla="*/ 606 w 837"/>
                <a:gd name="T1" fmla="*/ 0 h 823"/>
                <a:gd name="T2" fmla="*/ 820 w 837"/>
                <a:gd name="T3" fmla="*/ 0 h 823"/>
                <a:gd name="T4" fmla="*/ 820 w 837"/>
                <a:gd name="T5" fmla="*/ 5 h 823"/>
                <a:gd name="T6" fmla="*/ 536 w 837"/>
                <a:gd name="T7" fmla="*/ 402 h 823"/>
                <a:gd name="T8" fmla="*/ 836 w 837"/>
                <a:gd name="T9" fmla="*/ 819 h 823"/>
                <a:gd name="T10" fmla="*/ 836 w 837"/>
                <a:gd name="T11" fmla="*/ 822 h 823"/>
                <a:gd name="T12" fmla="*/ 625 w 837"/>
                <a:gd name="T13" fmla="*/ 822 h 823"/>
                <a:gd name="T14" fmla="*/ 420 w 837"/>
                <a:gd name="T15" fmla="*/ 525 h 823"/>
                <a:gd name="T16" fmla="*/ 212 w 837"/>
                <a:gd name="T17" fmla="*/ 822 h 823"/>
                <a:gd name="T18" fmla="*/ 0 w 837"/>
                <a:gd name="T19" fmla="*/ 822 h 823"/>
                <a:gd name="T20" fmla="*/ 0 w 837"/>
                <a:gd name="T21" fmla="*/ 819 h 823"/>
                <a:gd name="T22" fmla="*/ 303 w 837"/>
                <a:gd name="T23" fmla="*/ 402 h 823"/>
                <a:gd name="T24" fmla="*/ 20 w 837"/>
                <a:gd name="T25" fmla="*/ 5 h 823"/>
                <a:gd name="T26" fmla="*/ 20 w 837"/>
                <a:gd name="T27" fmla="*/ 0 h 823"/>
                <a:gd name="T28" fmla="*/ 231 w 837"/>
                <a:gd name="T29" fmla="*/ 0 h 823"/>
                <a:gd name="T30" fmla="*/ 420 w 837"/>
                <a:gd name="T31" fmla="*/ 294 h 823"/>
                <a:gd name="T32" fmla="*/ 606 w 837"/>
                <a:gd name="T33"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7" h="823">
                  <a:moveTo>
                    <a:pt x="606" y="0"/>
                  </a:moveTo>
                  <a:lnTo>
                    <a:pt x="820" y="0"/>
                  </a:lnTo>
                  <a:lnTo>
                    <a:pt x="820" y="5"/>
                  </a:lnTo>
                  <a:lnTo>
                    <a:pt x="536" y="402"/>
                  </a:lnTo>
                  <a:lnTo>
                    <a:pt x="836" y="819"/>
                  </a:lnTo>
                  <a:lnTo>
                    <a:pt x="836" y="822"/>
                  </a:lnTo>
                  <a:lnTo>
                    <a:pt x="625" y="822"/>
                  </a:lnTo>
                  <a:lnTo>
                    <a:pt x="420" y="525"/>
                  </a:lnTo>
                  <a:lnTo>
                    <a:pt x="212" y="822"/>
                  </a:lnTo>
                  <a:lnTo>
                    <a:pt x="0" y="822"/>
                  </a:lnTo>
                  <a:lnTo>
                    <a:pt x="0" y="819"/>
                  </a:lnTo>
                  <a:lnTo>
                    <a:pt x="303" y="402"/>
                  </a:lnTo>
                  <a:lnTo>
                    <a:pt x="20" y="5"/>
                  </a:lnTo>
                  <a:lnTo>
                    <a:pt x="20" y="0"/>
                  </a:lnTo>
                  <a:lnTo>
                    <a:pt x="231" y="0"/>
                  </a:lnTo>
                  <a:lnTo>
                    <a:pt x="420" y="294"/>
                  </a:lnTo>
                  <a:lnTo>
                    <a:pt x="60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4" name="Freeform 11">
              <a:extLst>
                <a:ext uri="{FF2B5EF4-FFF2-40B4-BE49-F238E27FC236}">
                  <a16:creationId xmlns:a16="http://schemas.microsoft.com/office/drawing/2014/main" id="{CFBF11F7-13DF-164C-9B41-A5A9A575E6B7}"/>
                </a:ext>
              </a:extLst>
            </p:cNvPr>
            <p:cNvSpPr>
              <a:spLocks noChangeArrowheads="1"/>
            </p:cNvSpPr>
            <p:nvPr userDrawn="1"/>
          </p:nvSpPr>
          <p:spPr bwMode="auto">
            <a:xfrm>
              <a:off x="5557838" y="3143250"/>
              <a:ext cx="323850" cy="439738"/>
            </a:xfrm>
            <a:custGeom>
              <a:avLst/>
              <a:gdLst>
                <a:gd name="T0" fmla="*/ 0 w 898"/>
                <a:gd name="T1" fmla="*/ 1221 h 1222"/>
                <a:gd name="T2" fmla="*/ 0 w 898"/>
                <a:gd name="T3" fmla="*/ 1221 h 1222"/>
                <a:gd name="T4" fmla="*/ 0 w 898"/>
                <a:gd name="T5" fmla="*/ 17 h 1222"/>
                <a:gd name="T6" fmla="*/ 164 w 898"/>
                <a:gd name="T7" fmla="*/ 17 h 1222"/>
                <a:gd name="T8" fmla="*/ 175 w 898"/>
                <a:gd name="T9" fmla="*/ 150 h 1222"/>
                <a:gd name="T10" fmla="*/ 306 w 898"/>
                <a:gd name="T11" fmla="*/ 36 h 1222"/>
                <a:gd name="T12" fmla="*/ 472 w 898"/>
                <a:gd name="T13" fmla="*/ 0 h 1222"/>
                <a:gd name="T14" fmla="*/ 645 w 898"/>
                <a:gd name="T15" fmla="*/ 33 h 1222"/>
                <a:gd name="T16" fmla="*/ 781 w 898"/>
                <a:gd name="T17" fmla="*/ 122 h 1222"/>
                <a:gd name="T18" fmla="*/ 867 w 898"/>
                <a:gd name="T19" fmla="*/ 256 h 1222"/>
                <a:gd name="T20" fmla="*/ 897 w 898"/>
                <a:gd name="T21" fmla="*/ 428 h 1222"/>
                <a:gd name="T22" fmla="*/ 867 w 898"/>
                <a:gd name="T23" fmla="*/ 600 h 1222"/>
                <a:gd name="T24" fmla="*/ 783 w 898"/>
                <a:gd name="T25" fmla="*/ 736 h 1222"/>
                <a:gd name="T26" fmla="*/ 650 w 898"/>
                <a:gd name="T27" fmla="*/ 828 h 1222"/>
                <a:gd name="T28" fmla="*/ 472 w 898"/>
                <a:gd name="T29" fmla="*/ 858 h 1222"/>
                <a:gd name="T30" fmla="*/ 392 w 898"/>
                <a:gd name="T31" fmla="*/ 850 h 1222"/>
                <a:gd name="T32" fmla="*/ 308 w 898"/>
                <a:gd name="T33" fmla="*/ 828 h 1222"/>
                <a:gd name="T34" fmla="*/ 233 w 898"/>
                <a:gd name="T35" fmla="*/ 786 h 1222"/>
                <a:gd name="T36" fmla="*/ 175 w 898"/>
                <a:gd name="T37" fmla="*/ 719 h 1222"/>
                <a:gd name="T38" fmla="*/ 175 w 898"/>
                <a:gd name="T39" fmla="*/ 1221 h 1222"/>
                <a:gd name="T40" fmla="*/ 0 w 898"/>
                <a:gd name="T41" fmla="*/ 1221 h 1222"/>
                <a:gd name="T42" fmla="*/ 456 w 898"/>
                <a:gd name="T43" fmla="*/ 692 h 1222"/>
                <a:gd name="T44" fmla="*/ 456 w 898"/>
                <a:gd name="T45" fmla="*/ 692 h 1222"/>
                <a:gd name="T46" fmla="*/ 561 w 898"/>
                <a:gd name="T47" fmla="*/ 672 h 1222"/>
                <a:gd name="T48" fmla="*/ 647 w 898"/>
                <a:gd name="T49" fmla="*/ 617 h 1222"/>
                <a:gd name="T50" fmla="*/ 703 w 898"/>
                <a:gd name="T51" fmla="*/ 536 h 1222"/>
                <a:gd name="T52" fmla="*/ 722 w 898"/>
                <a:gd name="T53" fmla="*/ 428 h 1222"/>
                <a:gd name="T54" fmla="*/ 650 w 898"/>
                <a:gd name="T55" fmla="*/ 239 h 1222"/>
                <a:gd name="T56" fmla="*/ 456 w 898"/>
                <a:gd name="T57" fmla="*/ 167 h 1222"/>
                <a:gd name="T58" fmla="*/ 345 w 898"/>
                <a:gd name="T59" fmla="*/ 186 h 1222"/>
                <a:gd name="T60" fmla="*/ 261 w 898"/>
                <a:gd name="T61" fmla="*/ 242 h 1222"/>
                <a:gd name="T62" fmla="*/ 208 w 898"/>
                <a:gd name="T63" fmla="*/ 325 h 1222"/>
                <a:gd name="T64" fmla="*/ 192 w 898"/>
                <a:gd name="T65" fmla="*/ 428 h 1222"/>
                <a:gd name="T66" fmla="*/ 211 w 898"/>
                <a:gd name="T67" fmla="*/ 530 h 1222"/>
                <a:gd name="T68" fmla="*/ 264 w 898"/>
                <a:gd name="T69" fmla="*/ 617 h 1222"/>
                <a:gd name="T70" fmla="*/ 347 w 898"/>
                <a:gd name="T71" fmla="*/ 672 h 1222"/>
                <a:gd name="T72" fmla="*/ 456 w 898"/>
                <a:gd name="T73" fmla="*/ 69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8" h="1222">
                  <a:moveTo>
                    <a:pt x="0" y="1221"/>
                  </a:moveTo>
                  <a:lnTo>
                    <a:pt x="0" y="1221"/>
                  </a:lnTo>
                  <a:cubicBezTo>
                    <a:pt x="0" y="17"/>
                    <a:pt x="0" y="17"/>
                    <a:pt x="0" y="17"/>
                  </a:cubicBezTo>
                  <a:cubicBezTo>
                    <a:pt x="164" y="17"/>
                    <a:pt x="164" y="17"/>
                    <a:pt x="164" y="17"/>
                  </a:cubicBezTo>
                  <a:cubicBezTo>
                    <a:pt x="175" y="150"/>
                    <a:pt x="175" y="150"/>
                    <a:pt x="175" y="150"/>
                  </a:cubicBezTo>
                  <a:cubicBezTo>
                    <a:pt x="208" y="100"/>
                    <a:pt x="253" y="61"/>
                    <a:pt x="306" y="36"/>
                  </a:cubicBezTo>
                  <a:cubicBezTo>
                    <a:pt x="361" y="11"/>
                    <a:pt x="417" y="0"/>
                    <a:pt x="472" y="0"/>
                  </a:cubicBezTo>
                  <a:cubicBezTo>
                    <a:pt x="536" y="0"/>
                    <a:pt x="592" y="11"/>
                    <a:pt x="645" y="33"/>
                  </a:cubicBezTo>
                  <a:cubicBezTo>
                    <a:pt x="697" y="53"/>
                    <a:pt x="742" y="83"/>
                    <a:pt x="781" y="122"/>
                  </a:cubicBezTo>
                  <a:cubicBezTo>
                    <a:pt x="817" y="158"/>
                    <a:pt x="847" y="206"/>
                    <a:pt x="867" y="256"/>
                  </a:cubicBezTo>
                  <a:cubicBezTo>
                    <a:pt x="886" y="308"/>
                    <a:pt x="897" y="367"/>
                    <a:pt x="897" y="428"/>
                  </a:cubicBezTo>
                  <a:cubicBezTo>
                    <a:pt x="897" y="492"/>
                    <a:pt x="886" y="550"/>
                    <a:pt x="867" y="600"/>
                  </a:cubicBezTo>
                  <a:cubicBezTo>
                    <a:pt x="847" y="653"/>
                    <a:pt x="820" y="700"/>
                    <a:pt x="783" y="736"/>
                  </a:cubicBezTo>
                  <a:cubicBezTo>
                    <a:pt x="747" y="775"/>
                    <a:pt x="703" y="805"/>
                    <a:pt x="650" y="828"/>
                  </a:cubicBezTo>
                  <a:cubicBezTo>
                    <a:pt x="597" y="847"/>
                    <a:pt x="536" y="858"/>
                    <a:pt x="472" y="858"/>
                  </a:cubicBezTo>
                  <a:cubicBezTo>
                    <a:pt x="447" y="858"/>
                    <a:pt x="420" y="856"/>
                    <a:pt x="392" y="850"/>
                  </a:cubicBezTo>
                  <a:cubicBezTo>
                    <a:pt x="364" y="847"/>
                    <a:pt x="336" y="839"/>
                    <a:pt x="308" y="828"/>
                  </a:cubicBezTo>
                  <a:cubicBezTo>
                    <a:pt x="283" y="817"/>
                    <a:pt x="258" y="803"/>
                    <a:pt x="233" y="786"/>
                  </a:cubicBezTo>
                  <a:cubicBezTo>
                    <a:pt x="211" y="767"/>
                    <a:pt x="192" y="744"/>
                    <a:pt x="175" y="719"/>
                  </a:cubicBezTo>
                  <a:cubicBezTo>
                    <a:pt x="175" y="1221"/>
                    <a:pt x="175" y="1221"/>
                    <a:pt x="175" y="1221"/>
                  </a:cubicBezTo>
                  <a:lnTo>
                    <a:pt x="0" y="1221"/>
                  </a:lnTo>
                  <a:close/>
                  <a:moveTo>
                    <a:pt x="456" y="692"/>
                  </a:moveTo>
                  <a:lnTo>
                    <a:pt x="456" y="692"/>
                  </a:lnTo>
                  <a:cubicBezTo>
                    <a:pt x="495" y="692"/>
                    <a:pt x="531" y="686"/>
                    <a:pt x="561" y="672"/>
                  </a:cubicBezTo>
                  <a:cubicBezTo>
                    <a:pt x="595" y="658"/>
                    <a:pt x="622" y="642"/>
                    <a:pt x="647" y="617"/>
                  </a:cubicBezTo>
                  <a:cubicBezTo>
                    <a:pt x="669" y="594"/>
                    <a:pt x="689" y="567"/>
                    <a:pt x="703" y="536"/>
                  </a:cubicBezTo>
                  <a:cubicBezTo>
                    <a:pt x="714" y="503"/>
                    <a:pt x="722" y="467"/>
                    <a:pt x="722" y="428"/>
                  </a:cubicBezTo>
                  <a:cubicBezTo>
                    <a:pt x="722" y="350"/>
                    <a:pt x="697" y="289"/>
                    <a:pt x="650" y="239"/>
                  </a:cubicBezTo>
                  <a:cubicBezTo>
                    <a:pt x="600" y="192"/>
                    <a:pt x="536" y="167"/>
                    <a:pt x="456" y="167"/>
                  </a:cubicBezTo>
                  <a:cubicBezTo>
                    <a:pt x="414" y="167"/>
                    <a:pt x="378" y="172"/>
                    <a:pt x="345" y="186"/>
                  </a:cubicBezTo>
                  <a:cubicBezTo>
                    <a:pt x="314" y="200"/>
                    <a:pt x="286" y="219"/>
                    <a:pt x="261" y="242"/>
                  </a:cubicBezTo>
                  <a:cubicBezTo>
                    <a:pt x="239" y="267"/>
                    <a:pt x="222" y="294"/>
                    <a:pt x="208" y="325"/>
                  </a:cubicBezTo>
                  <a:cubicBezTo>
                    <a:pt x="197" y="358"/>
                    <a:pt x="192" y="392"/>
                    <a:pt x="192" y="428"/>
                  </a:cubicBezTo>
                  <a:cubicBezTo>
                    <a:pt x="192" y="467"/>
                    <a:pt x="197" y="500"/>
                    <a:pt x="211" y="530"/>
                  </a:cubicBezTo>
                  <a:cubicBezTo>
                    <a:pt x="222" y="564"/>
                    <a:pt x="242" y="592"/>
                    <a:pt x="264" y="617"/>
                  </a:cubicBezTo>
                  <a:cubicBezTo>
                    <a:pt x="289" y="639"/>
                    <a:pt x="317" y="658"/>
                    <a:pt x="347" y="672"/>
                  </a:cubicBezTo>
                  <a:cubicBezTo>
                    <a:pt x="381" y="683"/>
                    <a:pt x="417" y="692"/>
                    <a:pt x="456" y="692"/>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5" name="Freeform 12">
              <a:extLst>
                <a:ext uri="{FF2B5EF4-FFF2-40B4-BE49-F238E27FC236}">
                  <a16:creationId xmlns:a16="http://schemas.microsoft.com/office/drawing/2014/main" id="{F56C2BA7-15B0-DA44-BEC3-24CC829F81BF}"/>
                </a:ext>
              </a:extLst>
            </p:cNvPr>
            <p:cNvSpPr>
              <a:spLocks noChangeArrowheads="1"/>
            </p:cNvSpPr>
            <p:nvPr userDrawn="1"/>
          </p:nvSpPr>
          <p:spPr bwMode="auto">
            <a:xfrm>
              <a:off x="5929313" y="3141663"/>
              <a:ext cx="315912" cy="312737"/>
            </a:xfrm>
            <a:custGeom>
              <a:avLst/>
              <a:gdLst>
                <a:gd name="T0" fmla="*/ 867 w 876"/>
                <a:gd name="T1" fmla="*/ 498 h 868"/>
                <a:gd name="T2" fmla="*/ 867 w 876"/>
                <a:gd name="T3" fmla="*/ 498 h 868"/>
                <a:gd name="T4" fmla="*/ 184 w 876"/>
                <a:gd name="T5" fmla="*/ 498 h 868"/>
                <a:gd name="T6" fmla="*/ 270 w 876"/>
                <a:gd name="T7" fmla="*/ 650 h 868"/>
                <a:gd name="T8" fmla="*/ 459 w 876"/>
                <a:gd name="T9" fmla="*/ 706 h 868"/>
                <a:gd name="T10" fmla="*/ 595 w 876"/>
                <a:gd name="T11" fmla="*/ 684 h 868"/>
                <a:gd name="T12" fmla="*/ 703 w 876"/>
                <a:gd name="T13" fmla="*/ 617 h 868"/>
                <a:gd name="T14" fmla="*/ 817 w 876"/>
                <a:gd name="T15" fmla="*/ 725 h 868"/>
                <a:gd name="T16" fmla="*/ 742 w 876"/>
                <a:gd name="T17" fmla="*/ 786 h 868"/>
                <a:gd name="T18" fmla="*/ 653 w 876"/>
                <a:gd name="T19" fmla="*/ 831 h 868"/>
                <a:gd name="T20" fmla="*/ 553 w 876"/>
                <a:gd name="T21" fmla="*/ 859 h 868"/>
                <a:gd name="T22" fmla="*/ 456 w 876"/>
                <a:gd name="T23" fmla="*/ 867 h 868"/>
                <a:gd name="T24" fmla="*/ 267 w 876"/>
                <a:gd name="T25" fmla="*/ 836 h 868"/>
                <a:gd name="T26" fmla="*/ 125 w 876"/>
                <a:gd name="T27" fmla="*/ 748 h 868"/>
                <a:gd name="T28" fmla="*/ 34 w 876"/>
                <a:gd name="T29" fmla="*/ 609 h 868"/>
                <a:gd name="T30" fmla="*/ 0 w 876"/>
                <a:gd name="T31" fmla="*/ 431 h 868"/>
                <a:gd name="T32" fmla="*/ 34 w 876"/>
                <a:gd name="T33" fmla="*/ 256 h 868"/>
                <a:gd name="T34" fmla="*/ 125 w 876"/>
                <a:gd name="T35" fmla="*/ 120 h 868"/>
                <a:gd name="T36" fmla="*/ 264 w 876"/>
                <a:gd name="T37" fmla="*/ 31 h 868"/>
                <a:gd name="T38" fmla="*/ 442 w 876"/>
                <a:gd name="T39" fmla="*/ 0 h 868"/>
                <a:gd name="T40" fmla="*/ 628 w 876"/>
                <a:gd name="T41" fmla="*/ 31 h 868"/>
                <a:gd name="T42" fmla="*/ 770 w 876"/>
                <a:gd name="T43" fmla="*/ 125 h 868"/>
                <a:gd name="T44" fmla="*/ 853 w 876"/>
                <a:gd name="T45" fmla="*/ 278 h 868"/>
                <a:gd name="T46" fmla="*/ 867 w 876"/>
                <a:gd name="T47" fmla="*/ 498 h 868"/>
                <a:gd name="T48" fmla="*/ 186 w 876"/>
                <a:gd name="T49" fmla="*/ 353 h 868"/>
                <a:gd name="T50" fmla="*/ 186 w 876"/>
                <a:gd name="T51" fmla="*/ 353 h 868"/>
                <a:gd name="T52" fmla="*/ 698 w 876"/>
                <a:gd name="T53" fmla="*/ 353 h 868"/>
                <a:gd name="T54" fmla="*/ 623 w 876"/>
                <a:gd name="T55" fmla="*/ 203 h 868"/>
                <a:gd name="T56" fmla="*/ 448 w 876"/>
                <a:gd name="T57" fmla="*/ 153 h 868"/>
                <a:gd name="T58" fmla="*/ 278 w 876"/>
                <a:gd name="T59" fmla="*/ 203 h 868"/>
                <a:gd name="T60" fmla="*/ 186 w 876"/>
                <a:gd name="T61" fmla="*/ 353 h 868"/>
                <a:gd name="T62" fmla="*/ 867 w 876"/>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8">
                  <a:moveTo>
                    <a:pt x="867" y="498"/>
                  </a:moveTo>
                  <a:lnTo>
                    <a:pt x="867" y="498"/>
                  </a:lnTo>
                  <a:cubicBezTo>
                    <a:pt x="184" y="498"/>
                    <a:pt x="184" y="498"/>
                    <a:pt x="184" y="498"/>
                  </a:cubicBezTo>
                  <a:cubicBezTo>
                    <a:pt x="192" y="562"/>
                    <a:pt x="220" y="611"/>
                    <a:pt x="270" y="650"/>
                  </a:cubicBezTo>
                  <a:cubicBezTo>
                    <a:pt x="317" y="686"/>
                    <a:pt x="381" y="706"/>
                    <a:pt x="459" y="706"/>
                  </a:cubicBezTo>
                  <a:cubicBezTo>
                    <a:pt x="503" y="706"/>
                    <a:pt x="547" y="698"/>
                    <a:pt x="595" y="684"/>
                  </a:cubicBezTo>
                  <a:cubicBezTo>
                    <a:pt x="639" y="667"/>
                    <a:pt x="675" y="645"/>
                    <a:pt x="703" y="617"/>
                  </a:cubicBezTo>
                  <a:cubicBezTo>
                    <a:pt x="817" y="725"/>
                    <a:pt x="817" y="725"/>
                    <a:pt x="817" y="725"/>
                  </a:cubicBezTo>
                  <a:cubicBezTo>
                    <a:pt x="795" y="750"/>
                    <a:pt x="770" y="770"/>
                    <a:pt x="742" y="786"/>
                  </a:cubicBezTo>
                  <a:cubicBezTo>
                    <a:pt x="714" y="806"/>
                    <a:pt x="684" y="820"/>
                    <a:pt x="653" y="831"/>
                  </a:cubicBezTo>
                  <a:cubicBezTo>
                    <a:pt x="620" y="845"/>
                    <a:pt x="589" y="853"/>
                    <a:pt x="553" y="859"/>
                  </a:cubicBezTo>
                  <a:cubicBezTo>
                    <a:pt x="520" y="864"/>
                    <a:pt x="486" y="867"/>
                    <a:pt x="456" y="867"/>
                  </a:cubicBezTo>
                  <a:cubicBezTo>
                    <a:pt x="386" y="867"/>
                    <a:pt x="323" y="856"/>
                    <a:pt x="267" y="836"/>
                  </a:cubicBezTo>
                  <a:cubicBezTo>
                    <a:pt x="211" y="814"/>
                    <a:pt x="164" y="786"/>
                    <a:pt x="125" y="748"/>
                  </a:cubicBezTo>
                  <a:cubicBezTo>
                    <a:pt x="86" y="709"/>
                    <a:pt x="56" y="664"/>
                    <a:pt x="34" y="609"/>
                  </a:cubicBezTo>
                  <a:cubicBezTo>
                    <a:pt x="11" y="556"/>
                    <a:pt x="0" y="495"/>
                    <a:pt x="0" y="431"/>
                  </a:cubicBezTo>
                  <a:cubicBezTo>
                    <a:pt x="0" y="367"/>
                    <a:pt x="11" y="309"/>
                    <a:pt x="34" y="256"/>
                  </a:cubicBezTo>
                  <a:cubicBezTo>
                    <a:pt x="56" y="203"/>
                    <a:pt x="86" y="159"/>
                    <a:pt x="125" y="120"/>
                  </a:cubicBezTo>
                  <a:cubicBezTo>
                    <a:pt x="161" y="84"/>
                    <a:pt x="209" y="53"/>
                    <a:pt x="264" y="31"/>
                  </a:cubicBezTo>
                  <a:cubicBezTo>
                    <a:pt x="317" y="12"/>
                    <a:pt x="378" y="0"/>
                    <a:pt x="442" y="0"/>
                  </a:cubicBezTo>
                  <a:cubicBezTo>
                    <a:pt x="511" y="0"/>
                    <a:pt x="573" y="12"/>
                    <a:pt x="628" y="31"/>
                  </a:cubicBezTo>
                  <a:cubicBezTo>
                    <a:pt x="684" y="53"/>
                    <a:pt x="731" y="84"/>
                    <a:pt x="770" y="125"/>
                  </a:cubicBezTo>
                  <a:cubicBezTo>
                    <a:pt x="806" y="164"/>
                    <a:pt x="834" y="217"/>
                    <a:pt x="853" y="278"/>
                  </a:cubicBezTo>
                  <a:cubicBezTo>
                    <a:pt x="870" y="342"/>
                    <a:pt x="875" y="414"/>
                    <a:pt x="867" y="498"/>
                  </a:cubicBezTo>
                  <a:lnTo>
                    <a:pt x="186" y="353"/>
                  </a:lnTo>
                  <a:lnTo>
                    <a:pt x="186" y="353"/>
                  </a:lnTo>
                  <a:cubicBezTo>
                    <a:pt x="698" y="353"/>
                    <a:pt x="698" y="353"/>
                    <a:pt x="698" y="353"/>
                  </a:cubicBezTo>
                  <a:cubicBezTo>
                    <a:pt x="692" y="287"/>
                    <a:pt x="667" y="236"/>
                    <a:pt x="623" y="203"/>
                  </a:cubicBezTo>
                  <a:cubicBezTo>
                    <a:pt x="578" y="170"/>
                    <a:pt x="520" y="153"/>
                    <a:pt x="448" y="153"/>
                  </a:cubicBezTo>
                  <a:cubicBezTo>
                    <a:pt x="384" y="153"/>
                    <a:pt x="328" y="170"/>
                    <a:pt x="278" y="203"/>
                  </a:cubicBezTo>
                  <a:cubicBezTo>
                    <a:pt x="231" y="236"/>
                    <a:pt x="200" y="287"/>
                    <a:pt x="186" y="353"/>
                  </a:cubicBezTo>
                  <a:lnTo>
                    <a:pt x="867"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6" name="Freeform 13">
              <a:extLst>
                <a:ext uri="{FF2B5EF4-FFF2-40B4-BE49-F238E27FC236}">
                  <a16:creationId xmlns:a16="http://schemas.microsoft.com/office/drawing/2014/main" id="{B56F7B07-2A5C-5740-9E94-CE949459735B}"/>
                </a:ext>
              </a:extLst>
            </p:cNvPr>
            <p:cNvSpPr>
              <a:spLocks noChangeArrowheads="1"/>
            </p:cNvSpPr>
            <p:nvPr userDrawn="1"/>
          </p:nvSpPr>
          <p:spPr bwMode="auto">
            <a:xfrm>
              <a:off x="6305550" y="3141663"/>
              <a:ext cx="228600" cy="303212"/>
            </a:xfrm>
            <a:custGeom>
              <a:avLst/>
              <a:gdLst>
                <a:gd name="T0" fmla="*/ 164 w 634"/>
                <a:gd name="T1" fmla="*/ 20 h 843"/>
                <a:gd name="T2" fmla="*/ 164 w 634"/>
                <a:gd name="T3" fmla="*/ 20 h 843"/>
                <a:gd name="T4" fmla="*/ 177 w 634"/>
                <a:gd name="T5" fmla="*/ 128 h 843"/>
                <a:gd name="T6" fmla="*/ 289 w 634"/>
                <a:gd name="T7" fmla="*/ 25 h 843"/>
                <a:gd name="T8" fmla="*/ 425 w 634"/>
                <a:gd name="T9" fmla="*/ 0 h 843"/>
                <a:gd name="T10" fmla="*/ 541 w 634"/>
                <a:gd name="T11" fmla="*/ 20 h 843"/>
                <a:gd name="T12" fmla="*/ 633 w 634"/>
                <a:gd name="T13" fmla="*/ 70 h 843"/>
                <a:gd name="T14" fmla="*/ 552 w 634"/>
                <a:gd name="T15" fmla="*/ 222 h 843"/>
                <a:gd name="T16" fmla="*/ 486 w 634"/>
                <a:gd name="T17" fmla="*/ 184 h 843"/>
                <a:gd name="T18" fmla="*/ 405 w 634"/>
                <a:gd name="T19" fmla="*/ 172 h 843"/>
                <a:gd name="T20" fmla="*/ 316 w 634"/>
                <a:gd name="T21" fmla="*/ 186 h 843"/>
                <a:gd name="T22" fmla="*/ 244 w 634"/>
                <a:gd name="T23" fmla="*/ 228 h 843"/>
                <a:gd name="T24" fmla="*/ 197 w 634"/>
                <a:gd name="T25" fmla="*/ 297 h 843"/>
                <a:gd name="T26" fmla="*/ 177 w 634"/>
                <a:gd name="T27" fmla="*/ 397 h 843"/>
                <a:gd name="T28" fmla="*/ 177 w 634"/>
                <a:gd name="T29" fmla="*/ 842 h 843"/>
                <a:gd name="T30" fmla="*/ 0 w 634"/>
                <a:gd name="T31" fmla="*/ 842 h 843"/>
                <a:gd name="T32" fmla="*/ 0 w 634"/>
                <a:gd name="T33" fmla="*/ 20 h 843"/>
                <a:gd name="T34" fmla="*/ 164 w 634"/>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4" h="843">
                  <a:moveTo>
                    <a:pt x="164" y="20"/>
                  </a:moveTo>
                  <a:lnTo>
                    <a:pt x="164" y="20"/>
                  </a:lnTo>
                  <a:cubicBezTo>
                    <a:pt x="177" y="128"/>
                    <a:pt x="177" y="128"/>
                    <a:pt x="177" y="128"/>
                  </a:cubicBezTo>
                  <a:cubicBezTo>
                    <a:pt x="208" y="75"/>
                    <a:pt x="244" y="42"/>
                    <a:pt x="289" y="25"/>
                  </a:cubicBezTo>
                  <a:cubicBezTo>
                    <a:pt x="333" y="9"/>
                    <a:pt x="380" y="0"/>
                    <a:pt x="425" y="0"/>
                  </a:cubicBezTo>
                  <a:cubicBezTo>
                    <a:pt x="466" y="0"/>
                    <a:pt x="505" y="9"/>
                    <a:pt x="541" y="20"/>
                  </a:cubicBezTo>
                  <a:cubicBezTo>
                    <a:pt x="577" y="34"/>
                    <a:pt x="608" y="50"/>
                    <a:pt x="633" y="70"/>
                  </a:cubicBezTo>
                  <a:cubicBezTo>
                    <a:pt x="552" y="222"/>
                    <a:pt x="552" y="222"/>
                    <a:pt x="552" y="222"/>
                  </a:cubicBezTo>
                  <a:cubicBezTo>
                    <a:pt x="530" y="206"/>
                    <a:pt x="508" y="192"/>
                    <a:pt x="486" y="184"/>
                  </a:cubicBezTo>
                  <a:cubicBezTo>
                    <a:pt x="464" y="175"/>
                    <a:pt x="436" y="172"/>
                    <a:pt x="405" y="172"/>
                  </a:cubicBezTo>
                  <a:cubicBezTo>
                    <a:pt x="372" y="172"/>
                    <a:pt x="344" y="175"/>
                    <a:pt x="316" y="186"/>
                  </a:cubicBezTo>
                  <a:cubicBezTo>
                    <a:pt x="289" y="195"/>
                    <a:pt x="266" y="209"/>
                    <a:pt x="244" y="228"/>
                  </a:cubicBezTo>
                  <a:cubicBezTo>
                    <a:pt x="225" y="245"/>
                    <a:pt x="208" y="270"/>
                    <a:pt x="197" y="297"/>
                  </a:cubicBezTo>
                  <a:cubicBezTo>
                    <a:pt x="183" y="325"/>
                    <a:pt x="177" y="359"/>
                    <a:pt x="177" y="397"/>
                  </a:cubicBezTo>
                  <a:cubicBezTo>
                    <a:pt x="177" y="842"/>
                    <a:pt x="177" y="842"/>
                    <a:pt x="177"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7" name="Freeform 14">
              <a:extLst>
                <a:ext uri="{FF2B5EF4-FFF2-40B4-BE49-F238E27FC236}">
                  <a16:creationId xmlns:a16="http://schemas.microsoft.com/office/drawing/2014/main" id="{A106F4E9-EEB2-DC41-A93F-38BD6AC491A0}"/>
                </a:ext>
              </a:extLst>
            </p:cNvPr>
            <p:cNvSpPr>
              <a:spLocks noChangeArrowheads="1"/>
            </p:cNvSpPr>
            <p:nvPr userDrawn="1"/>
          </p:nvSpPr>
          <p:spPr bwMode="auto">
            <a:xfrm>
              <a:off x="6577013" y="3148013"/>
              <a:ext cx="63500" cy="296862"/>
            </a:xfrm>
            <a:custGeom>
              <a:avLst/>
              <a:gdLst>
                <a:gd name="T0" fmla="*/ 175 w 176"/>
                <a:gd name="T1" fmla="*/ 825 h 826"/>
                <a:gd name="T2" fmla="*/ 0 w 176"/>
                <a:gd name="T3" fmla="*/ 825 h 826"/>
                <a:gd name="T4" fmla="*/ 0 w 176"/>
                <a:gd name="T5" fmla="*/ 0 h 826"/>
                <a:gd name="T6" fmla="*/ 175 w 176"/>
                <a:gd name="T7" fmla="*/ 0 h 826"/>
                <a:gd name="T8" fmla="*/ 175 w 176"/>
                <a:gd name="T9" fmla="*/ 825 h 826"/>
              </a:gdLst>
              <a:ahLst/>
              <a:cxnLst>
                <a:cxn ang="0">
                  <a:pos x="T0" y="T1"/>
                </a:cxn>
                <a:cxn ang="0">
                  <a:pos x="T2" y="T3"/>
                </a:cxn>
                <a:cxn ang="0">
                  <a:pos x="T4" y="T5"/>
                </a:cxn>
                <a:cxn ang="0">
                  <a:pos x="T6" y="T7"/>
                </a:cxn>
                <a:cxn ang="0">
                  <a:pos x="T8" y="T9"/>
                </a:cxn>
              </a:cxnLst>
              <a:rect l="0" t="0" r="r" b="b"/>
              <a:pathLst>
                <a:path w="176" h="826">
                  <a:moveTo>
                    <a:pt x="175" y="825"/>
                  </a:moveTo>
                  <a:lnTo>
                    <a:pt x="0" y="825"/>
                  </a:lnTo>
                  <a:lnTo>
                    <a:pt x="0" y="0"/>
                  </a:lnTo>
                  <a:lnTo>
                    <a:pt x="175" y="0"/>
                  </a:lnTo>
                  <a:lnTo>
                    <a:pt x="175" y="8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8" name="Freeform 15">
              <a:extLst>
                <a:ext uri="{FF2B5EF4-FFF2-40B4-BE49-F238E27FC236}">
                  <a16:creationId xmlns:a16="http://schemas.microsoft.com/office/drawing/2014/main" id="{7C174984-9E4C-8940-ACB5-80FD2A6E2308}"/>
                </a:ext>
              </a:extLst>
            </p:cNvPr>
            <p:cNvSpPr>
              <a:spLocks noChangeArrowheads="1"/>
            </p:cNvSpPr>
            <p:nvPr userDrawn="1"/>
          </p:nvSpPr>
          <p:spPr bwMode="auto">
            <a:xfrm>
              <a:off x="6707188" y="3141663"/>
              <a:ext cx="314325" cy="312737"/>
            </a:xfrm>
            <a:custGeom>
              <a:avLst/>
              <a:gdLst>
                <a:gd name="T0" fmla="*/ 864 w 873"/>
                <a:gd name="T1" fmla="*/ 498 h 868"/>
                <a:gd name="T2" fmla="*/ 864 w 873"/>
                <a:gd name="T3" fmla="*/ 498 h 868"/>
                <a:gd name="T4" fmla="*/ 184 w 873"/>
                <a:gd name="T5" fmla="*/ 498 h 868"/>
                <a:gd name="T6" fmla="*/ 267 w 873"/>
                <a:gd name="T7" fmla="*/ 650 h 868"/>
                <a:gd name="T8" fmla="*/ 459 w 873"/>
                <a:gd name="T9" fmla="*/ 706 h 868"/>
                <a:gd name="T10" fmla="*/ 592 w 873"/>
                <a:gd name="T11" fmla="*/ 684 h 868"/>
                <a:gd name="T12" fmla="*/ 700 w 873"/>
                <a:gd name="T13" fmla="*/ 617 h 868"/>
                <a:gd name="T14" fmla="*/ 817 w 873"/>
                <a:gd name="T15" fmla="*/ 725 h 868"/>
                <a:gd name="T16" fmla="*/ 742 w 873"/>
                <a:gd name="T17" fmla="*/ 786 h 868"/>
                <a:gd name="T18" fmla="*/ 650 w 873"/>
                <a:gd name="T19" fmla="*/ 831 h 868"/>
                <a:gd name="T20" fmla="*/ 553 w 873"/>
                <a:gd name="T21" fmla="*/ 859 h 868"/>
                <a:gd name="T22" fmla="*/ 453 w 873"/>
                <a:gd name="T23" fmla="*/ 867 h 868"/>
                <a:gd name="T24" fmla="*/ 267 w 873"/>
                <a:gd name="T25" fmla="*/ 836 h 868"/>
                <a:gd name="T26" fmla="*/ 123 w 873"/>
                <a:gd name="T27" fmla="*/ 748 h 868"/>
                <a:gd name="T28" fmla="*/ 34 w 873"/>
                <a:gd name="T29" fmla="*/ 609 h 868"/>
                <a:gd name="T30" fmla="*/ 0 w 873"/>
                <a:gd name="T31" fmla="*/ 431 h 868"/>
                <a:gd name="T32" fmla="*/ 34 w 873"/>
                <a:gd name="T33" fmla="*/ 256 h 868"/>
                <a:gd name="T34" fmla="*/ 123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7 w 873"/>
                <a:gd name="T53" fmla="*/ 353 h 868"/>
                <a:gd name="T54" fmla="*/ 622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4" y="498"/>
                    <a:pt x="184" y="498"/>
                    <a:pt x="184" y="498"/>
                  </a:cubicBezTo>
                  <a:cubicBezTo>
                    <a:pt x="189" y="562"/>
                    <a:pt x="220" y="611"/>
                    <a:pt x="267" y="650"/>
                  </a:cubicBezTo>
                  <a:cubicBezTo>
                    <a:pt x="317" y="686"/>
                    <a:pt x="381" y="706"/>
                    <a:pt x="459" y="706"/>
                  </a:cubicBezTo>
                  <a:cubicBezTo>
                    <a:pt x="500" y="706"/>
                    <a:pt x="545" y="698"/>
                    <a:pt x="592" y="684"/>
                  </a:cubicBezTo>
                  <a:cubicBezTo>
                    <a:pt x="639" y="667"/>
                    <a:pt x="675" y="645"/>
                    <a:pt x="700" y="617"/>
                  </a:cubicBezTo>
                  <a:cubicBezTo>
                    <a:pt x="817" y="725"/>
                    <a:pt x="817" y="725"/>
                    <a:pt x="817" y="725"/>
                  </a:cubicBezTo>
                  <a:cubicBezTo>
                    <a:pt x="795" y="750"/>
                    <a:pt x="770" y="770"/>
                    <a:pt x="742" y="786"/>
                  </a:cubicBezTo>
                  <a:cubicBezTo>
                    <a:pt x="711" y="806"/>
                    <a:pt x="684" y="820"/>
                    <a:pt x="650" y="831"/>
                  </a:cubicBezTo>
                  <a:cubicBezTo>
                    <a:pt x="620" y="845"/>
                    <a:pt x="586" y="853"/>
                    <a:pt x="553" y="859"/>
                  </a:cubicBezTo>
                  <a:cubicBezTo>
                    <a:pt x="520" y="864"/>
                    <a:pt x="486" y="867"/>
                    <a:pt x="453" y="867"/>
                  </a:cubicBezTo>
                  <a:cubicBezTo>
                    <a:pt x="384" y="867"/>
                    <a:pt x="322" y="856"/>
                    <a:pt x="267" y="836"/>
                  </a:cubicBezTo>
                  <a:cubicBezTo>
                    <a:pt x="211" y="814"/>
                    <a:pt x="164" y="786"/>
                    <a:pt x="123" y="748"/>
                  </a:cubicBezTo>
                  <a:cubicBezTo>
                    <a:pt x="84" y="709"/>
                    <a:pt x="53" y="664"/>
                    <a:pt x="34" y="609"/>
                  </a:cubicBezTo>
                  <a:cubicBezTo>
                    <a:pt x="11" y="556"/>
                    <a:pt x="0" y="495"/>
                    <a:pt x="0" y="431"/>
                  </a:cubicBezTo>
                  <a:cubicBezTo>
                    <a:pt x="0" y="367"/>
                    <a:pt x="11" y="309"/>
                    <a:pt x="34" y="256"/>
                  </a:cubicBezTo>
                  <a:cubicBezTo>
                    <a:pt x="53" y="203"/>
                    <a:pt x="84" y="159"/>
                    <a:pt x="123" y="120"/>
                  </a:cubicBezTo>
                  <a:cubicBezTo>
                    <a:pt x="161" y="84"/>
                    <a:pt x="209" y="53"/>
                    <a:pt x="261" y="31"/>
                  </a:cubicBezTo>
                  <a:cubicBezTo>
                    <a:pt x="317" y="12"/>
                    <a:pt x="375" y="0"/>
                    <a:pt x="442" y="0"/>
                  </a:cubicBezTo>
                  <a:cubicBezTo>
                    <a:pt x="511" y="0"/>
                    <a:pt x="572" y="12"/>
                    <a:pt x="628" y="31"/>
                  </a:cubicBezTo>
                  <a:cubicBezTo>
                    <a:pt x="684" y="53"/>
                    <a:pt x="728" y="84"/>
                    <a:pt x="767" y="125"/>
                  </a:cubicBezTo>
                  <a:cubicBezTo>
                    <a:pt x="806" y="164"/>
                    <a:pt x="834" y="217"/>
                    <a:pt x="850" y="278"/>
                  </a:cubicBezTo>
                  <a:cubicBezTo>
                    <a:pt x="870" y="342"/>
                    <a:pt x="872" y="414"/>
                    <a:pt x="864" y="498"/>
                  </a:cubicBezTo>
                  <a:lnTo>
                    <a:pt x="186" y="353"/>
                  </a:lnTo>
                  <a:lnTo>
                    <a:pt x="186" y="353"/>
                  </a:lnTo>
                  <a:cubicBezTo>
                    <a:pt x="697" y="353"/>
                    <a:pt x="697" y="353"/>
                    <a:pt x="697" y="353"/>
                  </a:cubicBezTo>
                  <a:cubicBezTo>
                    <a:pt x="692" y="287"/>
                    <a:pt x="667" y="236"/>
                    <a:pt x="622" y="203"/>
                  </a:cubicBezTo>
                  <a:cubicBezTo>
                    <a:pt x="578" y="170"/>
                    <a:pt x="520" y="153"/>
                    <a:pt x="447" y="153"/>
                  </a:cubicBezTo>
                  <a:cubicBezTo>
                    <a:pt x="384"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9" name="Freeform 16">
              <a:extLst>
                <a:ext uri="{FF2B5EF4-FFF2-40B4-BE49-F238E27FC236}">
                  <a16:creationId xmlns:a16="http://schemas.microsoft.com/office/drawing/2014/main" id="{11920894-A1A1-2741-ADAA-8275C1F38D3D}"/>
                </a:ext>
              </a:extLst>
            </p:cNvPr>
            <p:cNvSpPr>
              <a:spLocks noChangeArrowheads="1"/>
            </p:cNvSpPr>
            <p:nvPr userDrawn="1"/>
          </p:nvSpPr>
          <p:spPr bwMode="auto">
            <a:xfrm>
              <a:off x="7083425" y="3144838"/>
              <a:ext cx="293688" cy="301625"/>
            </a:xfrm>
            <a:custGeom>
              <a:avLst/>
              <a:gdLst>
                <a:gd name="T0" fmla="*/ 638 w 817"/>
                <a:gd name="T1" fmla="*/ 836 h 837"/>
                <a:gd name="T2" fmla="*/ 638 w 817"/>
                <a:gd name="T3" fmla="*/ 836 h 837"/>
                <a:gd name="T4" fmla="*/ 638 w 817"/>
                <a:gd name="T5" fmla="*/ 397 h 837"/>
                <a:gd name="T6" fmla="*/ 580 w 817"/>
                <a:gd name="T7" fmla="*/ 225 h 837"/>
                <a:gd name="T8" fmla="*/ 411 w 817"/>
                <a:gd name="T9" fmla="*/ 161 h 837"/>
                <a:gd name="T10" fmla="*/ 313 w 817"/>
                <a:gd name="T11" fmla="*/ 180 h 837"/>
                <a:gd name="T12" fmla="*/ 241 w 817"/>
                <a:gd name="T13" fmla="*/ 233 h 837"/>
                <a:gd name="T14" fmla="*/ 194 w 817"/>
                <a:gd name="T15" fmla="*/ 311 h 837"/>
                <a:gd name="T16" fmla="*/ 175 w 817"/>
                <a:gd name="T17" fmla="*/ 408 h 837"/>
                <a:gd name="T18" fmla="*/ 175 w 817"/>
                <a:gd name="T19" fmla="*/ 836 h 837"/>
                <a:gd name="T20" fmla="*/ 0 w 817"/>
                <a:gd name="T21" fmla="*/ 836 h 837"/>
                <a:gd name="T22" fmla="*/ 0 w 817"/>
                <a:gd name="T23" fmla="*/ 11 h 837"/>
                <a:gd name="T24" fmla="*/ 161 w 817"/>
                <a:gd name="T25" fmla="*/ 11 h 837"/>
                <a:gd name="T26" fmla="*/ 172 w 817"/>
                <a:gd name="T27" fmla="*/ 133 h 837"/>
                <a:gd name="T28" fmla="*/ 455 w 817"/>
                <a:gd name="T29" fmla="*/ 0 h 837"/>
                <a:gd name="T30" fmla="*/ 597 w 817"/>
                <a:gd name="T31" fmla="*/ 25 h 837"/>
                <a:gd name="T32" fmla="*/ 711 w 817"/>
                <a:gd name="T33" fmla="*/ 103 h 837"/>
                <a:gd name="T34" fmla="*/ 788 w 817"/>
                <a:gd name="T35" fmla="*/ 225 h 837"/>
                <a:gd name="T36" fmla="*/ 816 w 817"/>
                <a:gd name="T37" fmla="*/ 394 h 837"/>
                <a:gd name="T38" fmla="*/ 816 w 817"/>
                <a:gd name="T39" fmla="*/ 836 h 837"/>
                <a:gd name="T40" fmla="*/ 638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8" y="836"/>
                  </a:moveTo>
                  <a:lnTo>
                    <a:pt x="638" y="836"/>
                  </a:lnTo>
                  <a:cubicBezTo>
                    <a:pt x="638" y="397"/>
                    <a:pt x="638" y="397"/>
                    <a:pt x="638" y="397"/>
                  </a:cubicBezTo>
                  <a:cubicBezTo>
                    <a:pt x="638" y="325"/>
                    <a:pt x="619" y="269"/>
                    <a:pt x="580" y="225"/>
                  </a:cubicBezTo>
                  <a:cubicBezTo>
                    <a:pt x="541" y="183"/>
                    <a:pt x="483" y="161"/>
                    <a:pt x="411" y="161"/>
                  </a:cubicBezTo>
                  <a:cubicBezTo>
                    <a:pt x="375" y="161"/>
                    <a:pt x="344" y="166"/>
                    <a:pt x="313" y="180"/>
                  </a:cubicBezTo>
                  <a:cubicBezTo>
                    <a:pt x="286" y="191"/>
                    <a:pt x="261" y="211"/>
                    <a:pt x="241" y="233"/>
                  </a:cubicBezTo>
                  <a:cubicBezTo>
                    <a:pt x="219" y="255"/>
                    <a:pt x="205" y="283"/>
                    <a:pt x="194" y="311"/>
                  </a:cubicBezTo>
                  <a:cubicBezTo>
                    <a:pt x="180" y="341"/>
                    <a:pt x="175" y="375"/>
                    <a:pt x="175" y="408"/>
                  </a:cubicBezTo>
                  <a:cubicBezTo>
                    <a:pt x="175" y="836"/>
                    <a:pt x="175" y="836"/>
                    <a:pt x="175" y="836"/>
                  </a:cubicBezTo>
                  <a:cubicBezTo>
                    <a:pt x="0" y="836"/>
                    <a:pt x="0" y="836"/>
                    <a:pt x="0" y="836"/>
                  </a:cubicBezTo>
                  <a:cubicBezTo>
                    <a:pt x="0" y="11"/>
                    <a:pt x="0" y="11"/>
                    <a:pt x="0" y="11"/>
                  </a:cubicBezTo>
                  <a:cubicBezTo>
                    <a:pt x="161" y="11"/>
                    <a:pt x="161" y="11"/>
                    <a:pt x="161" y="11"/>
                  </a:cubicBezTo>
                  <a:cubicBezTo>
                    <a:pt x="172" y="133"/>
                    <a:pt x="172" y="133"/>
                    <a:pt x="172" y="133"/>
                  </a:cubicBezTo>
                  <a:cubicBezTo>
                    <a:pt x="250" y="44"/>
                    <a:pt x="344" y="0"/>
                    <a:pt x="455" y="0"/>
                  </a:cubicBezTo>
                  <a:cubicBezTo>
                    <a:pt x="505" y="0"/>
                    <a:pt x="552" y="8"/>
                    <a:pt x="597" y="25"/>
                  </a:cubicBezTo>
                  <a:cubicBezTo>
                    <a:pt x="641" y="44"/>
                    <a:pt x="677" y="69"/>
                    <a:pt x="711" y="103"/>
                  </a:cubicBezTo>
                  <a:cubicBezTo>
                    <a:pt x="744" y="136"/>
                    <a:pt x="769" y="178"/>
                    <a:pt x="788" y="225"/>
                  </a:cubicBezTo>
                  <a:cubicBezTo>
                    <a:pt x="808" y="275"/>
                    <a:pt x="816" y="330"/>
                    <a:pt x="816" y="394"/>
                  </a:cubicBezTo>
                  <a:cubicBezTo>
                    <a:pt x="816" y="836"/>
                    <a:pt x="816" y="836"/>
                    <a:pt x="816" y="836"/>
                  </a:cubicBezTo>
                  <a:lnTo>
                    <a:pt x="638"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0" name="Freeform 17">
              <a:extLst>
                <a:ext uri="{FF2B5EF4-FFF2-40B4-BE49-F238E27FC236}">
                  <a16:creationId xmlns:a16="http://schemas.microsoft.com/office/drawing/2014/main" id="{1C889C22-C97B-7F4B-838F-9C019CF80E6F}"/>
                </a:ext>
              </a:extLst>
            </p:cNvPr>
            <p:cNvSpPr>
              <a:spLocks noChangeArrowheads="1"/>
            </p:cNvSpPr>
            <p:nvPr userDrawn="1"/>
          </p:nvSpPr>
          <p:spPr bwMode="auto">
            <a:xfrm>
              <a:off x="7440613" y="3141663"/>
              <a:ext cx="274637" cy="311150"/>
            </a:xfrm>
            <a:custGeom>
              <a:avLst/>
              <a:gdLst>
                <a:gd name="T0" fmla="*/ 761 w 762"/>
                <a:gd name="T1" fmla="*/ 736 h 865"/>
                <a:gd name="T2" fmla="*/ 761 w 762"/>
                <a:gd name="T3" fmla="*/ 736 h 865"/>
                <a:gd name="T4" fmla="*/ 614 w 762"/>
                <a:gd name="T5" fmla="*/ 833 h 865"/>
                <a:gd name="T6" fmla="*/ 442 w 762"/>
                <a:gd name="T7" fmla="*/ 864 h 865"/>
                <a:gd name="T8" fmla="*/ 272 w 762"/>
                <a:gd name="T9" fmla="*/ 836 h 865"/>
                <a:gd name="T10" fmla="*/ 131 w 762"/>
                <a:gd name="T11" fmla="*/ 756 h 865"/>
                <a:gd name="T12" fmla="*/ 34 w 762"/>
                <a:gd name="T13" fmla="*/ 620 h 865"/>
                <a:gd name="T14" fmla="*/ 0 w 762"/>
                <a:gd name="T15" fmla="*/ 431 h 865"/>
                <a:gd name="T16" fmla="*/ 34 w 762"/>
                <a:gd name="T17" fmla="*/ 245 h 865"/>
                <a:gd name="T18" fmla="*/ 131 w 762"/>
                <a:gd name="T19" fmla="*/ 109 h 865"/>
                <a:gd name="T20" fmla="*/ 270 w 762"/>
                <a:gd name="T21" fmla="*/ 28 h 865"/>
                <a:gd name="T22" fmla="*/ 442 w 762"/>
                <a:gd name="T23" fmla="*/ 0 h 865"/>
                <a:gd name="T24" fmla="*/ 603 w 762"/>
                <a:gd name="T25" fmla="*/ 28 h 865"/>
                <a:gd name="T26" fmla="*/ 747 w 762"/>
                <a:gd name="T27" fmla="*/ 122 h 865"/>
                <a:gd name="T28" fmla="*/ 633 w 762"/>
                <a:gd name="T29" fmla="*/ 236 h 865"/>
                <a:gd name="T30" fmla="*/ 545 w 762"/>
                <a:gd name="T31" fmla="*/ 181 h 865"/>
                <a:gd name="T32" fmla="*/ 445 w 762"/>
                <a:gd name="T33" fmla="*/ 164 h 865"/>
                <a:gd name="T34" fmla="*/ 339 w 762"/>
                <a:gd name="T35" fmla="*/ 181 h 865"/>
                <a:gd name="T36" fmla="*/ 253 w 762"/>
                <a:gd name="T37" fmla="*/ 236 h 865"/>
                <a:gd name="T38" fmla="*/ 195 w 762"/>
                <a:gd name="T39" fmla="*/ 320 h 865"/>
                <a:gd name="T40" fmla="*/ 175 w 762"/>
                <a:gd name="T41" fmla="*/ 431 h 865"/>
                <a:gd name="T42" fmla="*/ 197 w 762"/>
                <a:gd name="T43" fmla="*/ 547 h 865"/>
                <a:gd name="T44" fmla="*/ 253 w 762"/>
                <a:gd name="T45" fmla="*/ 631 h 865"/>
                <a:gd name="T46" fmla="*/ 339 w 762"/>
                <a:gd name="T47" fmla="*/ 681 h 865"/>
                <a:gd name="T48" fmla="*/ 442 w 762"/>
                <a:gd name="T49" fmla="*/ 697 h 865"/>
                <a:gd name="T50" fmla="*/ 550 w 762"/>
                <a:gd name="T51" fmla="*/ 681 h 865"/>
                <a:gd name="T52" fmla="*/ 642 w 762"/>
                <a:gd name="T53" fmla="*/ 620 h 865"/>
                <a:gd name="T54" fmla="*/ 761 w 762"/>
                <a:gd name="T55" fmla="*/ 736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62" h="865">
                  <a:moveTo>
                    <a:pt x="761" y="736"/>
                  </a:moveTo>
                  <a:lnTo>
                    <a:pt x="761" y="736"/>
                  </a:lnTo>
                  <a:cubicBezTo>
                    <a:pt x="714" y="781"/>
                    <a:pt x="664" y="814"/>
                    <a:pt x="614" y="833"/>
                  </a:cubicBezTo>
                  <a:cubicBezTo>
                    <a:pt x="561" y="856"/>
                    <a:pt x="503" y="864"/>
                    <a:pt x="442" y="864"/>
                  </a:cubicBezTo>
                  <a:cubicBezTo>
                    <a:pt x="383" y="864"/>
                    <a:pt x="325" y="856"/>
                    <a:pt x="272" y="836"/>
                  </a:cubicBezTo>
                  <a:cubicBezTo>
                    <a:pt x="217" y="820"/>
                    <a:pt x="170" y="792"/>
                    <a:pt x="131" y="756"/>
                  </a:cubicBezTo>
                  <a:cubicBezTo>
                    <a:pt x="89" y="720"/>
                    <a:pt x="58" y="675"/>
                    <a:pt x="34" y="620"/>
                  </a:cubicBezTo>
                  <a:cubicBezTo>
                    <a:pt x="11" y="567"/>
                    <a:pt x="0" y="503"/>
                    <a:pt x="0" y="431"/>
                  </a:cubicBezTo>
                  <a:cubicBezTo>
                    <a:pt x="0" y="361"/>
                    <a:pt x="11" y="297"/>
                    <a:pt x="34" y="245"/>
                  </a:cubicBezTo>
                  <a:cubicBezTo>
                    <a:pt x="58" y="189"/>
                    <a:pt x="89" y="145"/>
                    <a:pt x="131" y="109"/>
                  </a:cubicBezTo>
                  <a:cubicBezTo>
                    <a:pt x="170" y="72"/>
                    <a:pt x="217" y="45"/>
                    <a:pt x="270" y="28"/>
                  </a:cubicBezTo>
                  <a:cubicBezTo>
                    <a:pt x="325" y="9"/>
                    <a:pt x="381" y="0"/>
                    <a:pt x="442" y="0"/>
                  </a:cubicBezTo>
                  <a:cubicBezTo>
                    <a:pt x="500" y="0"/>
                    <a:pt x="556" y="9"/>
                    <a:pt x="603" y="28"/>
                  </a:cubicBezTo>
                  <a:cubicBezTo>
                    <a:pt x="653" y="47"/>
                    <a:pt x="700" y="78"/>
                    <a:pt x="747" y="122"/>
                  </a:cubicBezTo>
                  <a:cubicBezTo>
                    <a:pt x="633" y="236"/>
                    <a:pt x="633" y="236"/>
                    <a:pt x="633" y="236"/>
                  </a:cubicBezTo>
                  <a:cubicBezTo>
                    <a:pt x="608" y="211"/>
                    <a:pt x="578" y="192"/>
                    <a:pt x="545" y="181"/>
                  </a:cubicBezTo>
                  <a:cubicBezTo>
                    <a:pt x="511" y="170"/>
                    <a:pt x="478" y="164"/>
                    <a:pt x="445" y="164"/>
                  </a:cubicBezTo>
                  <a:cubicBezTo>
                    <a:pt x="406" y="164"/>
                    <a:pt x="372" y="170"/>
                    <a:pt x="339" y="181"/>
                  </a:cubicBezTo>
                  <a:cubicBezTo>
                    <a:pt x="306" y="195"/>
                    <a:pt x="278" y="214"/>
                    <a:pt x="253" y="236"/>
                  </a:cubicBezTo>
                  <a:cubicBezTo>
                    <a:pt x="228" y="259"/>
                    <a:pt x="209" y="289"/>
                    <a:pt x="195" y="320"/>
                  </a:cubicBezTo>
                  <a:cubicBezTo>
                    <a:pt x="181" y="353"/>
                    <a:pt x="175" y="392"/>
                    <a:pt x="175" y="431"/>
                  </a:cubicBezTo>
                  <a:cubicBezTo>
                    <a:pt x="175" y="475"/>
                    <a:pt x="181" y="514"/>
                    <a:pt x="197" y="547"/>
                  </a:cubicBezTo>
                  <a:cubicBezTo>
                    <a:pt x="211" y="578"/>
                    <a:pt x="231" y="606"/>
                    <a:pt x="253" y="631"/>
                  </a:cubicBezTo>
                  <a:cubicBezTo>
                    <a:pt x="278" y="653"/>
                    <a:pt x="309" y="670"/>
                    <a:pt x="339" y="681"/>
                  </a:cubicBezTo>
                  <a:cubicBezTo>
                    <a:pt x="372" y="692"/>
                    <a:pt x="406" y="697"/>
                    <a:pt x="442" y="697"/>
                  </a:cubicBezTo>
                  <a:cubicBezTo>
                    <a:pt x="478" y="697"/>
                    <a:pt x="514" y="692"/>
                    <a:pt x="550" y="681"/>
                  </a:cubicBezTo>
                  <a:cubicBezTo>
                    <a:pt x="583" y="670"/>
                    <a:pt x="614" y="647"/>
                    <a:pt x="642" y="620"/>
                  </a:cubicBezTo>
                  <a:lnTo>
                    <a:pt x="761" y="7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1" name="Freeform 18">
              <a:extLst>
                <a:ext uri="{FF2B5EF4-FFF2-40B4-BE49-F238E27FC236}">
                  <a16:creationId xmlns:a16="http://schemas.microsoft.com/office/drawing/2014/main" id="{923E9F78-DC24-3F43-9DC2-655AF0EC2C2B}"/>
                </a:ext>
              </a:extLst>
            </p:cNvPr>
            <p:cNvSpPr>
              <a:spLocks noChangeArrowheads="1"/>
            </p:cNvSpPr>
            <p:nvPr userDrawn="1"/>
          </p:nvSpPr>
          <p:spPr bwMode="auto">
            <a:xfrm>
              <a:off x="7747000" y="3141663"/>
              <a:ext cx="314325" cy="312737"/>
            </a:xfrm>
            <a:custGeom>
              <a:avLst/>
              <a:gdLst>
                <a:gd name="T0" fmla="*/ 864 w 873"/>
                <a:gd name="T1" fmla="*/ 498 h 868"/>
                <a:gd name="T2" fmla="*/ 864 w 873"/>
                <a:gd name="T3" fmla="*/ 498 h 868"/>
                <a:gd name="T4" fmla="*/ 181 w 873"/>
                <a:gd name="T5" fmla="*/ 498 h 868"/>
                <a:gd name="T6" fmla="*/ 267 w 873"/>
                <a:gd name="T7" fmla="*/ 650 h 868"/>
                <a:gd name="T8" fmla="*/ 456 w 873"/>
                <a:gd name="T9" fmla="*/ 706 h 868"/>
                <a:gd name="T10" fmla="*/ 592 w 873"/>
                <a:gd name="T11" fmla="*/ 684 h 868"/>
                <a:gd name="T12" fmla="*/ 700 w 873"/>
                <a:gd name="T13" fmla="*/ 617 h 868"/>
                <a:gd name="T14" fmla="*/ 817 w 873"/>
                <a:gd name="T15" fmla="*/ 725 h 868"/>
                <a:gd name="T16" fmla="*/ 739 w 873"/>
                <a:gd name="T17" fmla="*/ 786 h 868"/>
                <a:gd name="T18" fmla="*/ 650 w 873"/>
                <a:gd name="T19" fmla="*/ 831 h 868"/>
                <a:gd name="T20" fmla="*/ 553 w 873"/>
                <a:gd name="T21" fmla="*/ 859 h 868"/>
                <a:gd name="T22" fmla="*/ 453 w 873"/>
                <a:gd name="T23" fmla="*/ 867 h 868"/>
                <a:gd name="T24" fmla="*/ 267 w 873"/>
                <a:gd name="T25" fmla="*/ 836 h 868"/>
                <a:gd name="T26" fmla="*/ 122 w 873"/>
                <a:gd name="T27" fmla="*/ 748 h 868"/>
                <a:gd name="T28" fmla="*/ 31 w 873"/>
                <a:gd name="T29" fmla="*/ 609 h 868"/>
                <a:gd name="T30" fmla="*/ 0 w 873"/>
                <a:gd name="T31" fmla="*/ 431 h 868"/>
                <a:gd name="T32" fmla="*/ 31 w 873"/>
                <a:gd name="T33" fmla="*/ 256 h 868"/>
                <a:gd name="T34" fmla="*/ 122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4 w 873"/>
                <a:gd name="T53" fmla="*/ 353 h 868"/>
                <a:gd name="T54" fmla="*/ 619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1" y="498"/>
                    <a:pt x="181" y="498"/>
                    <a:pt x="181" y="498"/>
                  </a:cubicBezTo>
                  <a:cubicBezTo>
                    <a:pt x="189" y="562"/>
                    <a:pt x="219" y="611"/>
                    <a:pt x="267" y="650"/>
                  </a:cubicBezTo>
                  <a:cubicBezTo>
                    <a:pt x="317" y="686"/>
                    <a:pt x="381" y="706"/>
                    <a:pt x="456" y="706"/>
                  </a:cubicBezTo>
                  <a:cubicBezTo>
                    <a:pt x="500" y="706"/>
                    <a:pt x="544" y="698"/>
                    <a:pt x="592" y="684"/>
                  </a:cubicBezTo>
                  <a:cubicBezTo>
                    <a:pt x="639" y="667"/>
                    <a:pt x="675" y="645"/>
                    <a:pt x="700" y="617"/>
                  </a:cubicBezTo>
                  <a:cubicBezTo>
                    <a:pt x="817" y="725"/>
                    <a:pt x="817" y="725"/>
                    <a:pt x="817" y="725"/>
                  </a:cubicBezTo>
                  <a:cubicBezTo>
                    <a:pt x="794" y="750"/>
                    <a:pt x="769" y="770"/>
                    <a:pt x="739" y="786"/>
                  </a:cubicBezTo>
                  <a:cubicBezTo>
                    <a:pt x="711" y="806"/>
                    <a:pt x="681" y="820"/>
                    <a:pt x="650" y="831"/>
                  </a:cubicBezTo>
                  <a:cubicBezTo>
                    <a:pt x="619" y="845"/>
                    <a:pt x="586" y="853"/>
                    <a:pt x="553" y="859"/>
                  </a:cubicBezTo>
                  <a:cubicBezTo>
                    <a:pt x="519" y="864"/>
                    <a:pt x="486" y="867"/>
                    <a:pt x="453" y="867"/>
                  </a:cubicBezTo>
                  <a:cubicBezTo>
                    <a:pt x="383" y="867"/>
                    <a:pt x="322" y="856"/>
                    <a:pt x="267" y="836"/>
                  </a:cubicBezTo>
                  <a:cubicBezTo>
                    <a:pt x="208" y="814"/>
                    <a:pt x="161" y="786"/>
                    <a:pt x="122" y="748"/>
                  </a:cubicBezTo>
                  <a:cubicBezTo>
                    <a:pt x="83" y="709"/>
                    <a:pt x="53" y="664"/>
                    <a:pt x="31" y="609"/>
                  </a:cubicBezTo>
                  <a:cubicBezTo>
                    <a:pt x="11" y="556"/>
                    <a:pt x="0" y="495"/>
                    <a:pt x="0" y="431"/>
                  </a:cubicBezTo>
                  <a:cubicBezTo>
                    <a:pt x="0" y="367"/>
                    <a:pt x="11" y="309"/>
                    <a:pt x="31" y="256"/>
                  </a:cubicBezTo>
                  <a:cubicBezTo>
                    <a:pt x="53" y="203"/>
                    <a:pt x="83" y="159"/>
                    <a:pt x="122" y="120"/>
                  </a:cubicBezTo>
                  <a:cubicBezTo>
                    <a:pt x="161" y="84"/>
                    <a:pt x="208" y="53"/>
                    <a:pt x="261" y="31"/>
                  </a:cubicBezTo>
                  <a:cubicBezTo>
                    <a:pt x="314" y="12"/>
                    <a:pt x="375" y="0"/>
                    <a:pt x="442" y="0"/>
                  </a:cubicBezTo>
                  <a:cubicBezTo>
                    <a:pt x="508" y="0"/>
                    <a:pt x="572" y="12"/>
                    <a:pt x="628" y="31"/>
                  </a:cubicBezTo>
                  <a:cubicBezTo>
                    <a:pt x="681" y="53"/>
                    <a:pt x="728" y="84"/>
                    <a:pt x="767" y="125"/>
                  </a:cubicBezTo>
                  <a:cubicBezTo>
                    <a:pt x="806" y="164"/>
                    <a:pt x="833" y="217"/>
                    <a:pt x="850" y="278"/>
                  </a:cubicBezTo>
                  <a:cubicBezTo>
                    <a:pt x="867" y="342"/>
                    <a:pt x="872" y="414"/>
                    <a:pt x="864" y="498"/>
                  </a:cubicBezTo>
                  <a:lnTo>
                    <a:pt x="186" y="353"/>
                  </a:lnTo>
                  <a:lnTo>
                    <a:pt x="186" y="353"/>
                  </a:lnTo>
                  <a:cubicBezTo>
                    <a:pt x="694" y="353"/>
                    <a:pt x="694" y="353"/>
                    <a:pt x="694" y="353"/>
                  </a:cubicBezTo>
                  <a:cubicBezTo>
                    <a:pt x="689" y="287"/>
                    <a:pt x="664" y="236"/>
                    <a:pt x="619" y="203"/>
                  </a:cubicBezTo>
                  <a:cubicBezTo>
                    <a:pt x="575" y="170"/>
                    <a:pt x="519" y="153"/>
                    <a:pt x="447" y="153"/>
                  </a:cubicBezTo>
                  <a:cubicBezTo>
                    <a:pt x="381"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2" name="Freeform 19">
              <a:extLst>
                <a:ext uri="{FF2B5EF4-FFF2-40B4-BE49-F238E27FC236}">
                  <a16:creationId xmlns:a16="http://schemas.microsoft.com/office/drawing/2014/main" id="{48AA1122-1D63-FD44-9DBD-CC8788004DA8}"/>
                </a:ext>
              </a:extLst>
            </p:cNvPr>
            <p:cNvSpPr>
              <a:spLocks noChangeArrowheads="1"/>
            </p:cNvSpPr>
            <p:nvPr userDrawn="1"/>
          </p:nvSpPr>
          <p:spPr bwMode="auto">
            <a:xfrm>
              <a:off x="1828800" y="3743325"/>
              <a:ext cx="323850" cy="311150"/>
            </a:xfrm>
            <a:custGeom>
              <a:avLst/>
              <a:gdLst>
                <a:gd name="T0" fmla="*/ 722 w 901"/>
                <a:gd name="T1" fmla="*/ 147 h 865"/>
                <a:gd name="T2" fmla="*/ 722 w 901"/>
                <a:gd name="T3" fmla="*/ 147 h 865"/>
                <a:gd name="T4" fmla="*/ 728 w 901"/>
                <a:gd name="T5" fmla="*/ 17 h 865"/>
                <a:gd name="T6" fmla="*/ 900 w 901"/>
                <a:gd name="T7" fmla="*/ 17 h 865"/>
                <a:gd name="T8" fmla="*/ 900 w 901"/>
                <a:gd name="T9" fmla="*/ 842 h 865"/>
                <a:gd name="T10" fmla="*/ 731 w 901"/>
                <a:gd name="T11" fmla="*/ 842 h 865"/>
                <a:gd name="T12" fmla="*/ 722 w 901"/>
                <a:gd name="T13" fmla="*/ 709 h 865"/>
                <a:gd name="T14" fmla="*/ 669 w 901"/>
                <a:gd name="T15" fmla="*/ 778 h 865"/>
                <a:gd name="T16" fmla="*/ 597 w 901"/>
                <a:gd name="T17" fmla="*/ 825 h 865"/>
                <a:gd name="T18" fmla="*/ 514 w 901"/>
                <a:gd name="T19" fmla="*/ 856 h 865"/>
                <a:gd name="T20" fmla="*/ 433 w 901"/>
                <a:gd name="T21" fmla="*/ 864 h 865"/>
                <a:gd name="T22" fmla="*/ 261 w 901"/>
                <a:gd name="T23" fmla="*/ 836 h 865"/>
                <a:gd name="T24" fmla="*/ 125 w 901"/>
                <a:gd name="T25" fmla="*/ 753 h 865"/>
                <a:gd name="T26" fmla="*/ 33 w 901"/>
                <a:gd name="T27" fmla="*/ 617 h 865"/>
                <a:gd name="T28" fmla="*/ 0 w 901"/>
                <a:gd name="T29" fmla="*/ 428 h 865"/>
                <a:gd name="T30" fmla="*/ 36 w 901"/>
                <a:gd name="T31" fmla="*/ 245 h 865"/>
                <a:gd name="T32" fmla="*/ 128 w 901"/>
                <a:gd name="T33" fmla="*/ 111 h 865"/>
                <a:gd name="T34" fmla="*/ 267 w 901"/>
                <a:gd name="T35" fmla="*/ 28 h 865"/>
                <a:gd name="T36" fmla="*/ 436 w 901"/>
                <a:gd name="T37" fmla="*/ 0 h 865"/>
                <a:gd name="T38" fmla="*/ 606 w 901"/>
                <a:gd name="T39" fmla="*/ 39 h 865"/>
                <a:gd name="T40" fmla="*/ 722 w 901"/>
                <a:gd name="T41" fmla="*/ 147 h 865"/>
                <a:gd name="T42" fmla="*/ 450 w 901"/>
                <a:gd name="T43" fmla="*/ 156 h 865"/>
                <a:gd name="T44" fmla="*/ 450 w 901"/>
                <a:gd name="T45" fmla="*/ 156 h 865"/>
                <a:gd name="T46" fmla="*/ 344 w 901"/>
                <a:gd name="T47" fmla="*/ 175 h 865"/>
                <a:gd name="T48" fmla="*/ 258 w 901"/>
                <a:gd name="T49" fmla="*/ 231 h 865"/>
                <a:gd name="T50" fmla="*/ 197 w 901"/>
                <a:gd name="T51" fmla="*/ 317 h 865"/>
                <a:gd name="T52" fmla="*/ 178 w 901"/>
                <a:gd name="T53" fmla="*/ 428 h 865"/>
                <a:gd name="T54" fmla="*/ 197 w 901"/>
                <a:gd name="T55" fmla="*/ 545 h 865"/>
                <a:gd name="T56" fmla="*/ 258 w 901"/>
                <a:gd name="T57" fmla="*/ 631 h 865"/>
                <a:gd name="T58" fmla="*/ 344 w 901"/>
                <a:gd name="T59" fmla="*/ 684 h 865"/>
                <a:gd name="T60" fmla="*/ 450 w 901"/>
                <a:gd name="T61" fmla="*/ 703 h 865"/>
                <a:gd name="T62" fmla="*/ 600 w 901"/>
                <a:gd name="T63" fmla="*/ 664 h 865"/>
                <a:gd name="T64" fmla="*/ 692 w 901"/>
                <a:gd name="T65" fmla="*/ 561 h 865"/>
                <a:gd name="T66" fmla="*/ 722 w 901"/>
                <a:gd name="T67" fmla="*/ 431 h 865"/>
                <a:gd name="T68" fmla="*/ 692 w 901"/>
                <a:gd name="T69" fmla="*/ 298 h 865"/>
                <a:gd name="T70" fmla="*/ 600 w 901"/>
                <a:gd name="T71" fmla="*/ 198 h 865"/>
                <a:gd name="T72" fmla="*/ 450 w 901"/>
                <a:gd name="T73" fmla="*/ 156 h 865"/>
                <a:gd name="T74" fmla="*/ 722 w 901"/>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1" h="865">
                  <a:moveTo>
                    <a:pt x="722" y="147"/>
                  </a:moveTo>
                  <a:lnTo>
                    <a:pt x="722" y="147"/>
                  </a:lnTo>
                  <a:cubicBezTo>
                    <a:pt x="728" y="17"/>
                    <a:pt x="728" y="17"/>
                    <a:pt x="728" y="17"/>
                  </a:cubicBezTo>
                  <a:cubicBezTo>
                    <a:pt x="900" y="17"/>
                    <a:pt x="900" y="17"/>
                    <a:pt x="900" y="17"/>
                  </a:cubicBezTo>
                  <a:cubicBezTo>
                    <a:pt x="900" y="842"/>
                    <a:pt x="900" y="842"/>
                    <a:pt x="900" y="842"/>
                  </a:cubicBezTo>
                  <a:cubicBezTo>
                    <a:pt x="731" y="842"/>
                    <a:pt x="731" y="842"/>
                    <a:pt x="731" y="842"/>
                  </a:cubicBezTo>
                  <a:cubicBezTo>
                    <a:pt x="722" y="709"/>
                    <a:pt x="722" y="709"/>
                    <a:pt x="722" y="709"/>
                  </a:cubicBezTo>
                  <a:cubicBezTo>
                    <a:pt x="708" y="736"/>
                    <a:pt x="692" y="759"/>
                    <a:pt x="669" y="778"/>
                  </a:cubicBezTo>
                  <a:cubicBezTo>
                    <a:pt x="647" y="797"/>
                    <a:pt x="622" y="814"/>
                    <a:pt x="597" y="825"/>
                  </a:cubicBezTo>
                  <a:cubicBezTo>
                    <a:pt x="569" y="839"/>
                    <a:pt x="542" y="847"/>
                    <a:pt x="514" y="856"/>
                  </a:cubicBezTo>
                  <a:cubicBezTo>
                    <a:pt x="486" y="861"/>
                    <a:pt x="458" y="864"/>
                    <a:pt x="433" y="864"/>
                  </a:cubicBezTo>
                  <a:cubicBezTo>
                    <a:pt x="372" y="864"/>
                    <a:pt x="314" y="853"/>
                    <a:pt x="261" y="836"/>
                  </a:cubicBezTo>
                  <a:cubicBezTo>
                    <a:pt x="208" y="817"/>
                    <a:pt x="164" y="789"/>
                    <a:pt x="125" y="753"/>
                  </a:cubicBezTo>
                  <a:cubicBezTo>
                    <a:pt x="86" y="714"/>
                    <a:pt x="56" y="670"/>
                    <a:pt x="33" y="617"/>
                  </a:cubicBezTo>
                  <a:cubicBezTo>
                    <a:pt x="11" y="561"/>
                    <a:pt x="0" y="500"/>
                    <a:pt x="0" y="428"/>
                  </a:cubicBezTo>
                  <a:cubicBezTo>
                    <a:pt x="0" y="361"/>
                    <a:pt x="11" y="300"/>
                    <a:pt x="36" y="245"/>
                  </a:cubicBezTo>
                  <a:cubicBezTo>
                    <a:pt x="58" y="192"/>
                    <a:pt x="89" y="147"/>
                    <a:pt x="128" y="111"/>
                  </a:cubicBezTo>
                  <a:cubicBezTo>
                    <a:pt x="167" y="75"/>
                    <a:pt x="214" y="48"/>
                    <a:pt x="267" y="28"/>
                  </a:cubicBezTo>
                  <a:cubicBezTo>
                    <a:pt x="319" y="9"/>
                    <a:pt x="375" y="0"/>
                    <a:pt x="436" y="0"/>
                  </a:cubicBezTo>
                  <a:cubicBezTo>
                    <a:pt x="497" y="0"/>
                    <a:pt x="553" y="14"/>
                    <a:pt x="606" y="39"/>
                  </a:cubicBezTo>
                  <a:cubicBezTo>
                    <a:pt x="658" y="64"/>
                    <a:pt x="697" y="103"/>
                    <a:pt x="722" y="147"/>
                  </a:cubicBezTo>
                  <a:lnTo>
                    <a:pt x="450" y="156"/>
                  </a:lnTo>
                  <a:lnTo>
                    <a:pt x="450" y="156"/>
                  </a:lnTo>
                  <a:cubicBezTo>
                    <a:pt x="414" y="156"/>
                    <a:pt x="378" y="164"/>
                    <a:pt x="344" y="175"/>
                  </a:cubicBezTo>
                  <a:cubicBezTo>
                    <a:pt x="311" y="189"/>
                    <a:pt x="283" y="206"/>
                    <a:pt x="258" y="231"/>
                  </a:cubicBezTo>
                  <a:cubicBezTo>
                    <a:pt x="233" y="253"/>
                    <a:pt x="211" y="284"/>
                    <a:pt x="197" y="317"/>
                  </a:cubicBezTo>
                  <a:cubicBezTo>
                    <a:pt x="183" y="350"/>
                    <a:pt x="178" y="386"/>
                    <a:pt x="178" y="428"/>
                  </a:cubicBezTo>
                  <a:cubicBezTo>
                    <a:pt x="178" y="472"/>
                    <a:pt x="183" y="509"/>
                    <a:pt x="197" y="545"/>
                  </a:cubicBezTo>
                  <a:cubicBezTo>
                    <a:pt x="211" y="578"/>
                    <a:pt x="233" y="606"/>
                    <a:pt x="258" y="631"/>
                  </a:cubicBezTo>
                  <a:cubicBezTo>
                    <a:pt x="283" y="653"/>
                    <a:pt x="311" y="672"/>
                    <a:pt x="344" y="684"/>
                  </a:cubicBezTo>
                  <a:cubicBezTo>
                    <a:pt x="378" y="698"/>
                    <a:pt x="414" y="703"/>
                    <a:pt x="450" y="703"/>
                  </a:cubicBezTo>
                  <a:cubicBezTo>
                    <a:pt x="511" y="703"/>
                    <a:pt x="561" y="689"/>
                    <a:pt x="600" y="664"/>
                  </a:cubicBezTo>
                  <a:cubicBezTo>
                    <a:pt x="642" y="636"/>
                    <a:pt x="672" y="603"/>
                    <a:pt x="692" y="561"/>
                  </a:cubicBezTo>
                  <a:cubicBezTo>
                    <a:pt x="714" y="522"/>
                    <a:pt x="722" y="478"/>
                    <a:pt x="722" y="431"/>
                  </a:cubicBezTo>
                  <a:cubicBezTo>
                    <a:pt x="722" y="384"/>
                    <a:pt x="714" y="339"/>
                    <a:pt x="692" y="298"/>
                  </a:cubicBezTo>
                  <a:cubicBezTo>
                    <a:pt x="672" y="259"/>
                    <a:pt x="642" y="223"/>
                    <a:pt x="600" y="198"/>
                  </a:cubicBezTo>
                  <a:cubicBezTo>
                    <a:pt x="561" y="170"/>
                    <a:pt x="511"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3" name="Freeform 20">
              <a:extLst>
                <a:ext uri="{FF2B5EF4-FFF2-40B4-BE49-F238E27FC236}">
                  <a16:creationId xmlns:a16="http://schemas.microsoft.com/office/drawing/2014/main" id="{2E9B9610-9A08-0447-AD11-5AAA13296216}"/>
                </a:ext>
              </a:extLst>
            </p:cNvPr>
            <p:cNvSpPr>
              <a:spLocks noChangeArrowheads="1"/>
            </p:cNvSpPr>
            <p:nvPr userDrawn="1"/>
          </p:nvSpPr>
          <p:spPr bwMode="auto">
            <a:xfrm>
              <a:off x="2214563" y="3743325"/>
              <a:ext cx="266700" cy="312738"/>
            </a:xfrm>
            <a:custGeom>
              <a:avLst/>
              <a:gdLst>
                <a:gd name="T0" fmla="*/ 603 w 743"/>
                <a:gd name="T1" fmla="*/ 222 h 870"/>
                <a:gd name="T2" fmla="*/ 603 w 743"/>
                <a:gd name="T3" fmla="*/ 222 h 870"/>
                <a:gd name="T4" fmla="*/ 500 w 743"/>
                <a:gd name="T5" fmla="*/ 161 h 870"/>
                <a:gd name="T6" fmla="*/ 381 w 743"/>
                <a:gd name="T7" fmla="*/ 147 h 870"/>
                <a:gd name="T8" fmla="*/ 250 w 743"/>
                <a:gd name="T9" fmla="*/ 169 h 870"/>
                <a:gd name="T10" fmla="*/ 203 w 743"/>
                <a:gd name="T11" fmla="*/ 244 h 870"/>
                <a:gd name="T12" fmla="*/ 253 w 743"/>
                <a:gd name="T13" fmla="*/ 319 h 870"/>
                <a:gd name="T14" fmla="*/ 386 w 743"/>
                <a:gd name="T15" fmla="*/ 349 h 870"/>
                <a:gd name="T16" fmla="*/ 506 w 743"/>
                <a:gd name="T17" fmla="*/ 366 h 870"/>
                <a:gd name="T18" fmla="*/ 622 w 743"/>
                <a:gd name="T19" fmla="*/ 405 h 870"/>
                <a:gd name="T20" fmla="*/ 708 w 743"/>
                <a:gd name="T21" fmla="*/ 480 h 870"/>
                <a:gd name="T22" fmla="*/ 742 w 743"/>
                <a:gd name="T23" fmla="*/ 608 h 870"/>
                <a:gd name="T24" fmla="*/ 717 w 743"/>
                <a:gd name="T25" fmla="*/ 713 h 870"/>
                <a:gd name="T26" fmla="*/ 645 w 743"/>
                <a:gd name="T27" fmla="*/ 797 h 870"/>
                <a:gd name="T28" fmla="*/ 531 w 743"/>
                <a:gd name="T29" fmla="*/ 849 h 870"/>
                <a:gd name="T30" fmla="*/ 383 w 743"/>
                <a:gd name="T31" fmla="*/ 869 h 870"/>
                <a:gd name="T32" fmla="*/ 184 w 743"/>
                <a:gd name="T33" fmla="*/ 838 h 870"/>
                <a:gd name="T34" fmla="*/ 0 w 743"/>
                <a:gd name="T35" fmla="*/ 716 h 870"/>
                <a:gd name="T36" fmla="*/ 92 w 743"/>
                <a:gd name="T37" fmla="*/ 597 h 870"/>
                <a:gd name="T38" fmla="*/ 231 w 743"/>
                <a:gd name="T39" fmla="*/ 688 h 870"/>
                <a:gd name="T40" fmla="*/ 386 w 743"/>
                <a:gd name="T41" fmla="*/ 719 h 870"/>
                <a:gd name="T42" fmla="*/ 450 w 743"/>
                <a:gd name="T43" fmla="*/ 713 h 870"/>
                <a:gd name="T44" fmla="*/ 506 w 743"/>
                <a:gd name="T45" fmla="*/ 694 h 870"/>
                <a:gd name="T46" fmla="*/ 550 w 743"/>
                <a:gd name="T47" fmla="*/ 661 h 870"/>
                <a:gd name="T48" fmla="*/ 567 w 743"/>
                <a:gd name="T49" fmla="*/ 611 h 870"/>
                <a:gd name="T50" fmla="*/ 517 w 743"/>
                <a:gd name="T51" fmla="*/ 530 h 870"/>
                <a:gd name="T52" fmla="*/ 372 w 743"/>
                <a:gd name="T53" fmla="*/ 497 h 870"/>
                <a:gd name="T54" fmla="*/ 250 w 743"/>
                <a:gd name="T55" fmla="*/ 477 h 870"/>
                <a:gd name="T56" fmla="*/ 142 w 743"/>
                <a:gd name="T57" fmla="*/ 436 h 870"/>
                <a:gd name="T58" fmla="*/ 61 w 743"/>
                <a:gd name="T59" fmla="*/ 363 h 870"/>
                <a:gd name="T60" fmla="*/ 28 w 743"/>
                <a:gd name="T61" fmla="*/ 249 h 870"/>
                <a:gd name="T62" fmla="*/ 61 w 743"/>
                <a:gd name="T63" fmla="*/ 133 h 870"/>
                <a:gd name="T64" fmla="*/ 145 w 743"/>
                <a:gd name="T65" fmla="*/ 55 h 870"/>
                <a:gd name="T66" fmla="*/ 258 w 743"/>
                <a:gd name="T67" fmla="*/ 11 h 870"/>
                <a:gd name="T68" fmla="*/ 378 w 743"/>
                <a:gd name="T69" fmla="*/ 0 h 870"/>
                <a:gd name="T70" fmla="*/ 553 w 743"/>
                <a:gd name="T71" fmla="*/ 22 h 870"/>
                <a:gd name="T72" fmla="*/ 703 w 743"/>
                <a:gd name="T73" fmla="*/ 108 h 870"/>
                <a:gd name="T74" fmla="*/ 603 w 743"/>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3" h="870">
                  <a:moveTo>
                    <a:pt x="603" y="222"/>
                  </a:moveTo>
                  <a:lnTo>
                    <a:pt x="603" y="222"/>
                  </a:lnTo>
                  <a:cubicBezTo>
                    <a:pt x="572" y="191"/>
                    <a:pt x="536" y="172"/>
                    <a:pt x="500" y="161"/>
                  </a:cubicBezTo>
                  <a:cubicBezTo>
                    <a:pt x="464" y="149"/>
                    <a:pt x="425" y="147"/>
                    <a:pt x="381" y="147"/>
                  </a:cubicBezTo>
                  <a:cubicBezTo>
                    <a:pt x="328" y="144"/>
                    <a:pt x="284" y="152"/>
                    <a:pt x="250" y="169"/>
                  </a:cubicBezTo>
                  <a:cubicBezTo>
                    <a:pt x="220" y="188"/>
                    <a:pt x="203" y="211"/>
                    <a:pt x="203" y="244"/>
                  </a:cubicBezTo>
                  <a:cubicBezTo>
                    <a:pt x="203" y="280"/>
                    <a:pt x="220" y="302"/>
                    <a:pt x="253" y="319"/>
                  </a:cubicBezTo>
                  <a:cubicBezTo>
                    <a:pt x="286" y="333"/>
                    <a:pt x="331" y="344"/>
                    <a:pt x="386" y="349"/>
                  </a:cubicBezTo>
                  <a:cubicBezTo>
                    <a:pt x="425" y="352"/>
                    <a:pt x="464" y="358"/>
                    <a:pt x="506" y="366"/>
                  </a:cubicBezTo>
                  <a:cubicBezTo>
                    <a:pt x="550" y="372"/>
                    <a:pt x="586" y="386"/>
                    <a:pt x="622" y="405"/>
                  </a:cubicBezTo>
                  <a:cubicBezTo>
                    <a:pt x="658" y="422"/>
                    <a:pt x="686" y="447"/>
                    <a:pt x="708" y="480"/>
                  </a:cubicBezTo>
                  <a:cubicBezTo>
                    <a:pt x="731" y="513"/>
                    <a:pt x="742" y="555"/>
                    <a:pt x="742" y="608"/>
                  </a:cubicBezTo>
                  <a:cubicBezTo>
                    <a:pt x="742" y="647"/>
                    <a:pt x="733" y="683"/>
                    <a:pt x="717" y="713"/>
                  </a:cubicBezTo>
                  <a:cubicBezTo>
                    <a:pt x="700" y="747"/>
                    <a:pt x="675" y="774"/>
                    <a:pt x="645" y="797"/>
                  </a:cubicBezTo>
                  <a:cubicBezTo>
                    <a:pt x="614" y="819"/>
                    <a:pt x="575" y="838"/>
                    <a:pt x="531" y="849"/>
                  </a:cubicBezTo>
                  <a:cubicBezTo>
                    <a:pt x="486" y="863"/>
                    <a:pt x="439" y="869"/>
                    <a:pt x="383" y="869"/>
                  </a:cubicBezTo>
                  <a:cubicBezTo>
                    <a:pt x="317" y="869"/>
                    <a:pt x="247" y="858"/>
                    <a:pt x="184" y="838"/>
                  </a:cubicBezTo>
                  <a:cubicBezTo>
                    <a:pt x="117" y="819"/>
                    <a:pt x="56" y="777"/>
                    <a:pt x="0" y="716"/>
                  </a:cubicBezTo>
                  <a:cubicBezTo>
                    <a:pt x="92" y="597"/>
                    <a:pt x="92" y="597"/>
                    <a:pt x="92" y="597"/>
                  </a:cubicBezTo>
                  <a:cubicBezTo>
                    <a:pt x="131" y="638"/>
                    <a:pt x="178" y="669"/>
                    <a:pt x="231" y="688"/>
                  </a:cubicBezTo>
                  <a:cubicBezTo>
                    <a:pt x="286" y="708"/>
                    <a:pt x="336" y="719"/>
                    <a:pt x="386" y="719"/>
                  </a:cubicBezTo>
                  <a:cubicBezTo>
                    <a:pt x="408" y="719"/>
                    <a:pt x="428" y="716"/>
                    <a:pt x="450" y="713"/>
                  </a:cubicBezTo>
                  <a:cubicBezTo>
                    <a:pt x="470" y="708"/>
                    <a:pt x="489" y="702"/>
                    <a:pt x="506" y="694"/>
                  </a:cubicBezTo>
                  <a:cubicBezTo>
                    <a:pt x="522" y="686"/>
                    <a:pt x="539" y="674"/>
                    <a:pt x="550" y="661"/>
                  </a:cubicBezTo>
                  <a:cubicBezTo>
                    <a:pt x="561" y="647"/>
                    <a:pt x="567" y="630"/>
                    <a:pt x="567" y="611"/>
                  </a:cubicBezTo>
                  <a:cubicBezTo>
                    <a:pt x="567" y="574"/>
                    <a:pt x="550" y="547"/>
                    <a:pt x="517" y="530"/>
                  </a:cubicBezTo>
                  <a:cubicBezTo>
                    <a:pt x="483" y="513"/>
                    <a:pt x="433" y="502"/>
                    <a:pt x="372" y="497"/>
                  </a:cubicBezTo>
                  <a:cubicBezTo>
                    <a:pt x="331" y="494"/>
                    <a:pt x="292" y="486"/>
                    <a:pt x="250" y="477"/>
                  </a:cubicBezTo>
                  <a:cubicBezTo>
                    <a:pt x="211" y="469"/>
                    <a:pt x="175" y="455"/>
                    <a:pt x="142" y="436"/>
                  </a:cubicBezTo>
                  <a:cubicBezTo>
                    <a:pt x="109" y="416"/>
                    <a:pt x="81" y="394"/>
                    <a:pt x="61" y="363"/>
                  </a:cubicBezTo>
                  <a:cubicBezTo>
                    <a:pt x="39" y="333"/>
                    <a:pt x="28" y="294"/>
                    <a:pt x="28" y="249"/>
                  </a:cubicBezTo>
                  <a:cubicBezTo>
                    <a:pt x="28" y="202"/>
                    <a:pt x="39" y="166"/>
                    <a:pt x="61" y="133"/>
                  </a:cubicBezTo>
                  <a:cubicBezTo>
                    <a:pt x="84" y="102"/>
                    <a:pt x="111" y="74"/>
                    <a:pt x="145" y="55"/>
                  </a:cubicBezTo>
                  <a:cubicBezTo>
                    <a:pt x="178" y="36"/>
                    <a:pt x="217" y="22"/>
                    <a:pt x="258" y="11"/>
                  </a:cubicBezTo>
                  <a:cubicBezTo>
                    <a:pt x="297" y="2"/>
                    <a:pt x="339" y="0"/>
                    <a:pt x="378" y="0"/>
                  </a:cubicBezTo>
                  <a:cubicBezTo>
                    <a:pt x="445" y="0"/>
                    <a:pt x="503" y="8"/>
                    <a:pt x="553" y="22"/>
                  </a:cubicBezTo>
                  <a:cubicBezTo>
                    <a:pt x="606" y="38"/>
                    <a:pt x="656" y="66"/>
                    <a:pt x="703" y="108"/>
                  </a:cubicBezTo>
                  <a:lnTo>
                    <a:pt x="603"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4" name="Freeform 21">
              <a:extLst>
                <a:ext uri="{FF2B5EF4-FFF2-40B4-BE49-F238E27FC236}">
                  <a16:creationId xmlns:a16="http://schemas.microsoft.com/office/drawing/2014/main" id="{E70BD038-26E5-9A48-804A-252A946F509E}"/>
                </a:ext>
              </a:extLst>
            </p:cNvPr>
            <p:cNvSpPr>
              <a:spLocks noChangeArrowheads="1"/>
            </p:cNvSpPr>
            <p:nvPr userDrawn="1"/>
          </p:nvSpPr>
          <p:spPr bwMode="auto">
            <a:xfrm>
              <a:off x="2698750" y="3749675"/>
              <a:ext cx="63500" cy="298450"/>
            </a:xfrm>
            <a:custGeom>
              <a:avLst/>
              <a:gdLst>
                <a:gd name="T0" fmla="*/ 175 w 176"/>
                <a:gd name="T1" fmla="*/ 828 h 829"/>
                <a:gd name="T2" fmla="*/ 0 w 176"/>
                <a:gd name="T3" fmla="*/ 828 h 829"/>
                <a:gd name="T4" fmla="*/ 0 w 176"/>
                <a:gd name="T5" fmla="*/ 0 h 829"/>
                <a:gd name="T6" fmla="*/ 175 w 176"/>
                <a:gd name="T7" fmla="*/ 0 h 829"/>
                <a:gd name="T8" fmla="*/ 175 w 176"/>
                <a:gd name="T9" fmla="*/ 828 h 829"/>
              </a:gdLst>
              <a:ahLst/>
              <a:cxnLst>
                <a:cxn ang="0">
                  <a:pos x="T0" y="T1"/>
                </a:cxn>
                <a:cxn ang="0">
                  <a:pos x="T2" y="T3"/>
                </a:cxn>
                <a:cxn ang="0">
                  <a:pos x="T4" y="T5"/>
                </a:cxn>
                <a:cxn ang="0">
                  <a:pos x="T6" y="T7"/>
                </a:cxn>
                <a:cxn ang="0">
                  <a:pos x="T8" y="T9"/>
                </a:cxn>
              </a:cxnLst>
              <a:rect l="0" t="0" r="r" b="b"/>
              <a:pathLst>
                <a:path w="176" h="829">
                  <a:moveTo>
                    <a:pt x="175" y="828"/>
                  </a:moveTo>
                  <a:lnTo>
                    <a:pt x="0" y="828"/>
                  </a:lnTo>
                  <a:lnTo>
                    <a:pt x="0" y="0"/>
                  </a:lnTo>
                  <a:lnTo>
                    <a:pt x="175" y="0"/>
                  </a:lnTo>
                  <a:lnTo>
                    <a:pt x="175" y="82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5" name="Freeform 22">
              <a:extLst>
                <a:ext uri="{FF2B5EF4-FFF2-40B4-BE49-F238E27FC236}">
                  <a16:creationId xmlns:a16="http://schemas.microsoft.com/office/drawing/2014/main" id="{EC45D851-8B05-F549-BB5A-3E56A84A68CF}"/>
                </a:ext>
              </a:extLst>
            </p:cNvPr>
            <p:cNvSpPr>
              <a:spLocks noChangeArrowheads="1"/>
            </p:cNvSpPr>
            <p:nvPr userDrawn="1"/>
          </p:nvSpPr>
          <p:spPr bwMode="auto">
            <a:xfrm>
              <a:off x="2822575" y="3665538"/>
              <a:ext cx="223838" cy="385762"/>
            </a:xfrm>
            <a:custGeom>
              <a:avLst/>
              <a:gdLst>
                <a:gd name="T0" fmla="*/ 342 w 620"/>
                <a:gd name="T1" fmla="*/ 0 h 1073"/>
                <a:gd name="T2" fmla="*/ 342 w 620"/>
                <a:gd name="T3" fmla="*/ 0 h 1073"/>
                <a:gd name="T4" fmla="*/ 342 w 620"/>
                <a:gd name="T5" fmla="*/ 239 h 1073"/>
                <a:gd name="T6" fmla="*/ 586 w 620"/>
                <a:gd name="T7" fmla="*/ 239 h 1073"/>
                <a:gd name="T8" fmla="*/ 586 w 620"/>
                <a:gd name="T9" fmla="*/ 389 h 1073"/>
                <a:gd name="T10" fmla="*/ 339 w 620"/>
                <a:gd name="T11" fmla="*/ 389 h 1073"/>
                <a:gd name="T12" fmla="*/ 339 w 620"/>
                <a:gd name="T13" fmla="*/ 780 h 1073"/>
                <a:gd name="T14" fmla="*/ 369 w 620"/>
                <a:gd name="T15" fmla="*/ 880 h 1073"/>
                <a:gd name="T16" fmla="*/ 461 w 620"/>
                <a:gd name="T17" fmla="*/ 917 h 1073"/>
                <a:gd name="T18" fmla="*/ 514 w 620"/>
                <a:gd name="T19" fmla="*/ 908 h 1073"/>
                <a:gd name="T20" fmla="*/ 566 w 620"/>
                <a:gd name="T21" fmla="*/ 886 h 1073"/>
                <a:gd name="T22" fmla="*/ 619 w 620"/>
                <a:gd name="T23" fmla="*/ 1033 h 1073"/>
                <a:gd name="T24" fmla="*/ 533 w 620"/>
                <a:gd name="T25" fmla="*/ 1061 h 1073"/>
                <a:gd name="T26" fmla="*/ 450 w 620"/>
                <a:gd name="T27" fmla="*/ 1072 h 1073"/>
                <a:gd name="T28" fmla="*/ 236 w 620"/>
                <a:gd name="T29" fmla="*/ 1000 h 1073"/>
                <a:gd name="T30" fmla="*/ 164 w 620"/>
                <a:gd name="T31" fmla="*/ 780 h 1073"/>
                <a:gd name="T32" fmla="*/ 164 w 620"/>
                <a:gd name="T33" fmla="*/ 389 h 1073"/>
                <a:gd name="T34" fmla="*/ 0 w 620"/>
                <a:gd name="T35" fmla="*/ 389 h 1073"/>
                <a:gd name="T36" fmla="*/ 0 w 620"/>
                <a:gd name="T37" fmla="*/ 239 h 1073"/>
                <a:gd name="T38" fmla="*/ 164 w 620"/>
                <a:gd name="T39" fmla="*/ 239 h 1073"/>
                <a:gd name="T40" fmla="*/ 164 w 620"/>
                <a:gd name="T41" fmla="*/ 19 h 1073"/>
                <a:gd name="T42" fmla="*/ 342 w 620"/>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0" h="1073">
                  <a:moveTo>
                    <a:pt x="342" y="0"/>
                  </a:moveTo>
                  <a:lnTo>
                    <a:pt x="342" y="0"/>
                  </a:lnTo>
                  <a:cubicBezTo>
                    <a:pt x="342" y="239"/>
                    <a:pt x="342" y="239"/>
                    <a:pt x="342" y="239"/>
                  </a:cubicBezTo>
                  <a:cubicBezTo>
                    <a:pt x="586" y="239"/>
                    <a:pt x="586" y="239"/>
                    <a:pt x="586" y="239"/>
                  </a:cubicBezTo>
                  <a:cubicBezTo>
                    <a:pt x="586" y="389"/>
                    <a:pt x="586" y="389"/>
                    <a:pt x="586" y="389"/>
                  </a:cubicBezTo>
                  <a:cubicBezTo>
                    <a:pt x="339" y="389"/>
                    <a:pt x="339" y="389"/>
                    <a:pt x="339" y="389"/>
                  </a:cubicBezTo>
                  <a:cubicBezTo>
                    <a:pt x="339" y="780"/>
                    <a:pt x="339" y="780"/>
                    <a:pt x="339" y="780"/>
                  </a:cubicBezTo>
                  <a:cubicBezTo>
                    <a:pt x="339" y="825"/>
                    <a:pt x="350" y="858"/>
                    <a:pt x="369" y="880"/>
                  </a:cubicBezTo>
                  <a:cubicBezTo>
                    <a:pt x="389" y="905"/>
                    <a:pt x="419" y="917"/>
                    <a:pt x="461" y="917"/>
                  </a:cubicBezTo>
                  <a:cubicBezTo>
                    <a:pt x="478" y="917"/>
                    <a:pt x="494" y="914"/>
                    <a:pt x="514" y="908"/>
                  </a:cubicBezTo>
                  <a:cubicBezTo>
                    <a:pt x="533" y="903"/>
                    <a:pt x="550" y="897"/>
                    <a:pt x="566" y="886"/>
                  </a:cubicBezTo>
                  <a:cubicBezTo>
                    <a:pt x="619" y="1033"/>
                    <a:pt x="619" y="1033"/>
                    <a:pt x="619" y="1033"/>
                  </a:cubicBezTo>
                  <a:cubicBezTo>
                    <a:pt x="589" y="1047"/>
                    <a:pt x="561" y="1055"/>
                    <a:pt x="533" y="1061"/>
                  </a:cubicBezTo>
                  <a:cubicBezTo>
                    <a:pt x="508" y="1069"/>
                    <a:pt x="480" y="1072"/>
                    <a:pt x="450" y="1072"/>
                  </a:cubicBezTo>
                  <a:cubicBezTo>
                    <a:pt x="358" y="1072"/>
                    <a:pt x="286" y="1050"/>
                    <a:pt x="236" y="1000"/>
                  </a:cubicBezTo>
                  <a:cubicBezTo>
                    <a:pt x="189" y="953"/>
                    <a:pt x="164" y="878"/>
                    <a:pt x="164" y="780"/>
                  </a:cubicBezTo>
                  <a:cubicBezTo>
                    <a:pt x="164" y="389"/>
                    <a:pt x="164" y="389"/>
                    <a:pt x="164" y="389"/>
                  </a:cubicBezTo>
                  <a:cubicBezTo>
                    <a:pt x="0" y="389"/>
                    <a:pt x="0" y="389"/>
                    <a:pt x="0" y="389"/>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6" name="Freeform 23">
              <a:extLst>
                <a:ext uri="{FF2B5EF4-FFF2-40B4-BE49-F238E27FC236}">
                  <a16:creationId xmlns:a16="http://schemas.microsoft.com/office/drawing/2014/main" id="{AA995A18-2D95-0E43-B94A-3DA3DCDB513C}"/>
                </a:ext>
              </a:extLst>
            </p:cNvPr>
            <p:cNvSpPr>
              <a:spLocks noChangeArrowheads="1"/>
            </p:cNvSpPr>
            <p:nvPr userDrawn="1"/>
          </p:nvSpPr>
          <p:spPr bwMode="auto">
            <a:xfrm>
              <a:off x="3208338" y="3749675"/>
              <a:ext cx="492125" cy="298450"/>
            </a:xfrm>
            <a:custGeom>
              <a:avLst/>
              <a:gdLst>
                <a:gd name="T0" fmla="*/ 761 w 1368"/>
                <a:gd name="T1" fmla="*/ 0 h 829"/>
                <a:gd name="T2" fmla="*/ 961 w 1368"/>
                <a:gd name="T3" fmla="*/ 647 h 829"/>
                <a:gd name="T4" fmla="*/ 1169 w 1368"/>
                <a:gd name="T5" fmla="*/ 0 h 829"/>
                <a:gd name="T6" fmla="*/ 1367 w 1368"/>
                <a:gd name="T7" fmla="*/ 0 h 829"/>
                <a:gd name="T8" fmla="*/ 1072 w 1368"/>
                <a:gd name="T9" fmla="*/ 828 h 829"/>
                <a:gd name="T10" fmla="*/ 867 w 1368"/>
                <a:gd name="T11" fmla="*/ 828 h 829"/>
                <a:gd name="T12" fmla="*/ 767 w 1368"/>
                <a:gd name="T13" fmla="*/ 555 h 829"/>
                <a:gd name="T14" fmla="*/ 686 w 1368"/>
                <a:gd name="T15" fmla="*/ 267 h 829"/>
                <a:gd name="T16" fmla="*/ 603 w 1368"/>
                <a:gd name="T17" fmla="*/ 555 h 829"/>
                <a:gd name="T18" fmla="*/ 503 w 1368"/>
                <a:gd name="T19" fmla="*/ 828 h 829"/>
                <a:gd name="T20" fmla="*/ 297 w 1368"/>
                <a:gd name="T21" fmla="*/ 828 h 829"/>
                <a:gd name="T22" fmla="*/ 0 w 1368"/>
                <a:gd name="T23" fmla="*/ 0 h 829"/>
                <a:gd name="T24" fmla="*/ 200 w 1368"/>
                <a:gd name="T25" fmla="*/ 0 h 829"/>
                <a:gd name="T26" fmla="*/ 408 w 1368"/>
                <a:gd name="T27" fmla="*/ 647 h 829"/>
                <a:gd name="T28" fmla="*/ 608 w 1368"/>
                <a:gd name="T29" fmla="*/ 0 h 829"/>
                <a:gd name="T30" fmla="*/ 761 w 1368"/>
                <a:gd name="T31" fmla="*/ 0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8" h="829">
                  <a:moveTo>
                    <a:pt x="761" y="0"/>
                  </a:moveTo>
                  <a:lnTo>
                    <a:pt x="961" y="647"/>
                  </a:lnTo>
                  <a:lnTo>
                    <a:pt x="1169" y="0"/>
                  </a:lnTo>
                  <a:lnTo>
                    <a:pt x="1367" y="0"/>
                  </a:lnTo>
                  <a:lnTo>
                    <a:pt x="1072" y="828"/>
                  </a:lnTo>
                  <a:lnTo>
                    <a:pt x="867" y="828"/>
                  </a:lnTo>
                  <a:lnTo>
                    <a:pt x="767" y="555"/>
                  </a:lnTo>
                  <a:lnTo>
                    <a:pt x="686" y="267"/>
                  </a:lnTo>
                  <a:lnTo>
                    <a:pt x="603" y="555"/>
                  </a:lnTo>
                  <a:lnTo>
                    <a:pt x="503" y="828"/>
                  </a:lnTo>
                  <a:lnTo>
                    <a:pt x="297" y="828"/>
                  </a:lnTo>
                  <a:lnTo>
                    <a:pt x="0" y="0"/>
                  </a:lnTo>
                  <a:lnTo>
                    <a:pt x="200" y="0"/>
                  </a:lnTo>
                  <a:lnTo>
                    <a:pt x="408" y="647"/>
                  </a:lnTo>
                  <a:lnTo>
                    <a:pt x="608" y="0"/>
                  </a:lnTo>
                  <a:lnTo>
                    <a:pt x="761"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7" name="Freeform 24">
              <a:extLst>
                <a:ext uri="{FF2B5EF4-FFF2-40B4-BE49-F238E27FC236}">
                  <a16:creationId xmlns:a16="http://schemas.microsoft.com/office/drawing/2014/main" id="{70EEA587-2306-EB49-8FE3-42EBD34E90A9}"/>
                </a:ext>
              </a:extLst>
            </p:cNvPr>
            <p:cNvSpPr>
              <a:spLocks noChangeArrowheads="1"/>
            </p:cNvSpPr>
            <p:nvPr userDrawn="1"/>
          </p:nvSpPr>
          <p:spPr bwMode="auto">
            <a:xfrm>
              <a:off x="37322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3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8" y="147"/>
                    <a:pt x="127" y="111"/>
                  </a:cubicBezTo>
                  <a:cubicBezTo>
                    <a:pt x="166" y="75"/>
                    <a:pt x="211" y="48"/>
                    <a:pt x="263"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38" y="636"/>
                    <a:pt x="669" y="603"/>
                    <a:pt x="691" y="561"/>
                  </a:cubicBezTo>
                  <a:cubicBezTo>
                    <a:pt x="711" y="522"/>
                    <a:pt x="722" y="478"/>
                    <a:pt x="722" y="431"/>
                  </a:cubicBezTo>
                  <a:cubicBezTo>
                    <a:pt x="722" y="384"/>
                    <a:pt x="711" y="339"/>
                    <a:pt x="691" y="298"/>
                  </a:cubicBezTo>
                  <a:cubicBezTo>
                    <a:pt x="669" y="259"/>
                    <a:pt x="638"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8" name="Freeform 25">
              <a:extLst>
                <a:ext uri="{FF2B5EF4-FFF2-40B4-BE49-F238E27FC236}">
                  <a16:creationId xmlns:a16="http://schemas.microsoft.com/office/drawing/2014/main" id="{72CD9F3A-AD63-334C-8F13-F68D61A86EBC}"/>
                </a:ext>
              </a:extLst>
            </p:cNvPr>
            <p:cNvSpPr>
              <a:spLocks noChangeArrowheads="1"/>
            </p:cNvSpPr>
            <p:nvPr userDrawn="1"/>
          </p:nvSpPr>
          <p:spPr bwMode="auto">
            <a:xfrm>
              <a:off x="4116388" y="3743325"/>
              <a:ext cx="268287" cy="312738"/>
            </a:xfrm>
            <a:custGeom>
              <a:avLst/>
              <a:gdLst>
                <a:gd name="T0" fmla="*/ 605 w 745"/>
                <a:gd name="T1" fmla="*/ 222 h 870"/>
                <a:gd name="T2" fmla="*/ 605 w 745"/>
                <a:gd name="T3" fmla="*/ 222 h 870"/>
                <a:gd name="T4" fmla="*/ 500 w 745"/>
                <a:gd name="T5" fmla="*/ 161 h 870"/>
                <a:gd name="T6" fmla="*/ 383 w 745"/>
                <a:gd name="T7" fmla="*/ 147 h 870"/>
                <a:gd name="T8" fmla="*/ 253 w 745"/>
                <a:gd name="T9" fmla="*/ 169 h 870"/>
                <a:gd name="T10" fmla="*/ 203 w 745"/>
                <a:gd name="T11" fmla="*/ 244 h 870"/>
                <a:gd name="T12" fmla="*/ 256 w 745"/>
                <a:gd name="T13" fmla="*/ 319 h 870"/>
                <a:gd name="T14" fmla="*/ 386 w 745"/>
                <a:gd name="T15" fmla="*/ 349 h 870"/>
                <a:gd name="T16" fmla="*/ 508 w 745"/>
                <a:gd name="T17" fmla="*/ 366 h 870"/>
                <a:gd name="T18" fmla="*/ 625 w 745"/>
                <a:gd name="T19" fmla="*/ 405 h 870"/>
                <a:gd name="T20" fmla="*/ 711 w 745"/>
                <a:gd name="T21" fmla="*/ 480 h 870"/>
                <a:gd name="T22" fmla="*/ 744 w 745"/>
                <a:gd name="T23" fmla="*/ 608 h 870"/>
                <a:gd name="T24" fmla="*/ 717 w 745"/>
                <a:gd name="T25" fmla="*/ 713 h 870"/>
                <a:gd name="T26" fmla="*/ 644 w 745"/>
                <a:gd name="T27" fmla="*/ 797 h 870"/>
                <a:gd name="T28" fmla="*/ 533 w 745"/>
                <a:gd name="T29" fmla="*/ 849 h 870"/>
                <a:gd name="T30" fmla="*/ 386 w 745"/>
                <a:gd name="T31" fmla="*/ 869 h 870"/>
                <a:gd name="T32" fmla="*/ 183 w 745"/>
                <a:gd name="T33" fmla="*/ 838 h 870"/>
                <a:gd name="T34" fmla="*/ 0 w 745"/>
                <a:gd name="T35" fmla="*/ 716 h 870"/>
                <a:gd name="T36" fmla="*/ 92 w 745"/>
                <a:gd name="T37" fmla="*/ 597 h 870"/>
                <a:gd name="T38" fmla="*/ 233 w 745"/>
                <a:gd name="T39" fmla="*/ 688 h 870"/>
                <a:gd name="T40" fmla="*/ 389 w 745"/>
                <a:gd name="T41" fmla="*/ 719 h 870"/>
                <a:gd name="T42" fmla="*/ 450 w 745"/>
                <a:gd name="T43" fmla="*/ 713 h 870"/>
                <a:gd name="T44" fmla="*/ 508 w 745"/>
                <a:gd name="T45" fmla="*/ 694 h 870"/>
                <a:gd name="T46" fmla="*/ 550 w 745"/>
                <a:gd name="T47" fmla="*/ 661 h 870"/>
                <a:gd name="T48" fmla="*/ 567 w 745"/>
                <a:gd name="T49" fmla="*/ 611 h 870"/>
                <a:gd name="T50" fmla="*/ 519 w 745"/>
                <a:gd name="T51" fmla="*/ 530 h 870"/>
                <a:gd name="T52" fmla="*/ 372 w 745"/>
                <a:gd name="T53" fmla="*/ 497 h 870"/>
                <a:gd name="T54" fmla="*/ 253 w 745"/>
                <a:gd name="T55" fmla="*/ 477 h 870"/>
                <a:gd name="T56" fmla="*/ 142 w 745"/>
                <a:gd name="T57" fmla="*/ 436 h 870"/>
                <a:gd name="T58" fmla="*/ 61 w 745"/>
                <a:gd name="T59" fmla="*/ 363 h 870"/>
                <a:gd name="T60" fmla="*/ 30 w 745"/>
                <a:gd name="T61" fmla="*/ 249 h 870"/>
                <a:gd name="T62" fmla="*/ 61 w 745"/>
                <a:gd name="T63" fmla="*/ 133 h 870"/>
                <a:gd name="T64" fmla="*/ 147 w 745"/>
                <a:gd name="T65" fmla="*/ 55 h 870"/>
                <a:gd name="T66" fmla="*/ 258 w 745"/>
                <a:gd name="T67" fmla="*/ 11 h 870"/>
                <a:gd name="T68" fmla="*/ 381 w 745"/>
                <a:gd name="T69" fmla="*/ 0 h 870"/>
                <a:gd name="T70" fmla="*/ 556 w 745"/>
                <a:gd name="T71" fmla="*/ 22 h 870"/>
                <a:gd name="T72" fmla="*/ 705 w 745"/>
                <a:gd name="T73" fmla="*/ 108 h 870"/>
                <a:gd name="T74" fmla="*/ 605 w 745"/>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5" h="870">
                  <a:moveTo>
                    <a:pt x="605" y="222"/>
                  </a:moveTo>
                  <a:lnTo>
                    <a:pt x="605" y="222"/>
                  </a:lnTo>
                  <a:cubicBezTo>
                    <a:pt x="572" y="191"/>
                    <a:pt x="536" y="172"/>
                    <a:pt x="500" y="161"/>
                  </a:cubicBezTo>
                  <a:cubicBezTo>
                    <a:pt x="464" y="149"/>
                    <a:pt x="425" y="147"/>
                    <a:pt x="383" y="147"/>
                  </a:cubicBezTo>
                  <a:cubicBezTo>
                    <a:pt x="328" y="144"/>
                    <a:pt x="286" y="152"/>
                    <a:pt x="253" y="169"/>
                  </a:cubicBezTo>
                  <a:cubicBezTo>
                    <a:pt x="219" y="188"/>
                    <a:pt x="203" y="211"/>
                    <a:pt x="203" y="244"/>
                  </a:cubicBezTo>
                  <a:cubicBezTo>
                    <a:pt x="206" y="280"/>
                    <a:pt x="222" y="302"/>
                    <a:pt x="256" y="319"/>
                  </a:cubicBezTo>
                  <a:cubicBezTo>
                    <a:pt x="289" y="333"/>
                    <a:pt x="333" y="344"/>
                    <a:pt x="386" y="349"/>
                  </a:cubicBezTo>
                  <a:cubicBezTo>
                    <a:pt x="425" y="352"/>
                    <a:pt x="467" y="358"/>
                    <a:pt x="508" y="366"/>
                  </a:cubicBezTo>
                  <a:cubicBezTo>
                    <a:pt x="550" y="372"/>
                    <a:pt x="589" y="386"/>
                    <a:pt x="625" y="405"/>
                  </a:cubicBezTo>
                  <a:cubicBezTo>
                    <a:pt x="658" y="422"/>
                    <a:pt x="689" y="447"/>
                    <a:pt x="711" y="480"/>
                  </a:cubicBezTo>
                  <a:cubicBezTo>
                    <a:pt x="733" y="513"/>
                    <a:pt x="744" y="555"/>
                    <a:pt x="744" y="608"/>
                  </a:cubicBezTo>
                  <a:cubicBezTo>
                    <a:pt x="744" y="647"/>
                    <a:pt x="736" y="683"/>
                    <a:pt x="717" y="713"/>
                  </a:cubicBezTo>
                  <a:cubicBezTo>
                    <a:pt x="700" y="747"/>
                    <a:pt x="678" y="774"/>
                    <a:pt x="644" y="797"/>
                  </a:cubicBezTo>
                  <a:cubicBezTo>
                    <a:pt x="614" y="819"/>
                    <a:pt x="578" y="838"/>
                    <a:pt x="533" y="849"/>
                  </a:cubicBezTo>
                  <a:cubicBezTo>
                    <a:pt x="489" y="863"/>
                    <a:pt x="439" y="869"/>
                    <a:pt x="386" y="869"/>
                  </a:cubicBezTo>
                  <a:cubicBezTo>
                    <a:pt x="317" y="869"/>
                    <a:pt x="250" y="858"/>
                    <a:pt x="183" y="838"/>
                  </a:cubicBezTo>
                  <a:cubicBezTo>
                    <a:pt x="117" y="819"/>
                    <a:pt x="56" y="777"/>
                    <a:pt x="0" y="716"/>
                  </a:cubicBezTo>
                  <a:cubicBezTo>
                    <a:pt x="92" y="597"/>
                    <a:pt x="92" y="597"/>
                    <a:pt x="92" y="597"/>
                  </a:cubicBezTo>
                  <a:cubicBezTo>
                    <a:pt x="133" y="638"/>
                    <a:pt x="181" y="669"/>
                    <a:pt x="233" y="688"/>
                  </a:cubicBezTo>
                  <a:cubicBezTo>
                    <a:pt x="286" y="708"/>
                    <a:pt x="339" y="719"/>
                    <a:pt x="389" y="719"/>
                  </a:cubicBezTo>
                  <a:cubicBezTo>
                    <a:pt x="408" y="719"/>
                    <a:pt x="430" y="716"/>
                    <a:pt x="450" y="713"/>
                  </a:cubicBezTo>
                  <a:cubicBezTo>
                    <a:pt x="472" y="708"/>
                    <a:pt x="492" y="702"/>
                    <a:pt x="508" y="694"/>
                  </a:cubicBezTo>
                  <a:cubicBezTo>
                    <a:pt x="525" y="686"/>
                    <a:pt x="539" y="674"/>
                    <a:pt x="550" y="661"/>
                  </a:cubicBezTo>
                  <a:cubicBezTo>
                    <a:pt x="561" y="647"/>
                    <a:pt x="567" y="630"/>
                    <a:pt x="567" y="611"/>
                  </a:cubicBezTo>
                  <a:cubicBezTo>
                    <a:pt x="569" y="574"/>
                    <a:pt x="553" y="547"/>
                    <a:pt x="519" y="530"/>
                  </a:cubicBezTo>
                  <a:cubicBezTo>
                    <a:pt x="483" y="513"/>
                    <a:pt x="436" y="502"/>
                    <a:pt x="372" y="497"/>
                  </a:cubicBezTo>
                  <a:cubicBezTo>
                    <a:pt x="333" y="494"/>
                    <a:pt x="292" y="486"/>
                    <a:pt x="253" y="477"/>
                  </a:cubicBezTo>
                  <a:cubicBezTo>
                    <a:pt x="211" y="469"/>
                    <a:pt x="175" y="455"/>
                    <a:pt x="142" y="436"/>
                  </a:cubicBezTo>
                  <a:cubicBezTo>
                    <a:pt x="108" y="416"/>
                    <a:pt x="83" y="394"/>
                    <a:pt x="61" y="363"/>
                  </a:cubicBezTo>
                  <a:cubicBezTo>
                    <a:pt x="42" y="333"/>
                    <a:pt x="30" y="294"/>
                    <a:pt x="30" y="249"/>
                  </a:cubicBezTo>
                  <a:cubicBezTo>
                    <a:pt x="30" y="202"/>
                    <a:pt x="42" y="166"/>
                    <a:pt x="61" y="133"/>
                  </a:cubicBezTo>
                  <a:cubicBezTo>
                    <a:pt x="83" y="102"/>
                    <a:pt x="111" y="74"/>
                    <a:pt x="147" y="55"/>
                  </a:cubicBezTo>
                  <a:cubicBezTo>
                    <a:pt x="181" y="36"/>
                    <a:pt x="217" y="22"/>
                    <a:pt x="258" y="11"/>
                  </a:cubicBezTo>
                  <a:cubicBezTo>
                    <a:pt x="300" y="2"/>
                    <a:pt x="339" y="0"/>
                    <a:pt x="381" y="0"/>
                  </a:cubicBezTo>
                  <a:cubicBezTo>
                    <a:pt x="444" y="0"/>
                    <a:pt x="503" y="8"/>
                    <a:pt x="556" y="22"/>
                  </a:cubicBezTo>
                  <a:cubicBezTo>
                    <a:pt x="605" y="38"/>
                    <a:pt x="656" y="66"/>
                    <a:pt x="705" y="108"/>
                  </a:cubicBezTo>
                  <a:lnTo>
                    <a:pt x="605"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9" name="Freeform 26">
              <a:extLst>
                <a:ext uri="{FF2B5EF4-FFF2-40B4-BE49-F238E27FC236}">
                  <a16:creationId xmlns:a16="http://schemas.microsoft.com/office/drawing/2014/main" id="{4AA9266C-9A95-AC43-A5B1-6FB5289A6E70}"/>
                </a:ext>
              </a:extLst>
            </p:cNvPr>
            <p:cNvSpPr>
              <a:spLocks noChangeArrowheads="1"/>
            </p:cNvSpPr>
            <p:nvPr userDrawn="1"/>
          </p:nvSpPr>
          <p:spPr bwMode="auto">
            <a:xfrm>
              <a:off x="4600575" y="3744913"/>
              <a:ext cx="476250" cy="301625"/>
            </a:xfrm>
            <a:custGeom>
              <a:avLst/>
              <a:gdLst>
                <a:gd name="T0" fmla="*/ 575 w 1322"/>
                <a:gd name="T1" fmla="*/ 839 h 840"/>
                <a:gd name="T2" fmla="*/ 575 w 1322"/>
                <a:gd name="T3" fmla="*/ 839 h 840"/>
                <a:gd name="T4" fmla="*/ 575 w 1322"/>
                <a:gd name="T5" fmla="*/ 386 h 840"/>
                <a:gd name="T6" fmla="*/ 564 w 1322"/>
                <a:gd name="T7" fmla="*/ 300 h 840"/>
                <a:gd name="T8" fmla="*/ 525 w 1322"/>
                <a:gd name="T9" fmla="*/ 228 h 840"/>
                <a:gd name="T10" fmla="*/ 461 w 1322"/>
                <a:gd name="T11" fmla="*/ 178 h 840"/>
                <a:gd name="T12" fmla="*/ 381 w 1322"/>
                <a:gd name="T13" fmla="*/ 161 h 840"/>
                <a:gd name="T14" fmla="*/ 295 w 1322"/>
                <a:gd name="T15" fmla="*/ 178 h 840"/>
                <a:gd name="T16" fmla="*/ 231 w 1322"/>
                <a:gd name="T17" fmla="*/ 228 h 840"/>
                <a:gd name="T18" fmla="*/ 192 w 1322"/>
                <a:gd name="T19" fmla="*/ 300 h 840"/>
                <a:gd name="T20" fmla="*/ 175 w 1322"/>
                <a:gd name="T21" fmla="*/ 386 h 840"/>
                <a:gd name="T22" fmla="*/ 175 w 1322"/>
                <a:gd name="T23" fmla="*/ 839 h 840"/>
                <a:gd name="T24" fmla="*/ 0 w 1322"/>
                <a:gd name="T25" fmla="*/ 839 h 840"/>
                <a:gd name="T26" fmla="*/ 0 w 1322"/>
                <a:gd name="T27" fmla="*/ 14 h 840"/>
                <a:gd name="T28" fmla="*/ 164 w 1322"/>
                <a:gd name="T29" fmla="*/ 14 h 840"/>
                <a:gd name="T30" fmla="*/ 175 w 1322"/>
                <a:gd name="T31" fmla="*/ 125 h 840"/>
                <a:gd name="T32" fmla="*/ 278 w 1322"/>
                <a:gd name="T33" fmla="*/ 28 h 840"/>
                <a:gd name="T34" fmla="*/ 411 w 1322"/>
                <a:gd name="T35" fmla="*/ 0 h 840"/>
                <a:gd name="T36" fmla="*/ 492 w 1322"/>
                <a:gd name="T37" fmla="*/ 8 h 840"/>
                <a:gd name="T38" fmla="*/ 567 w 1322"/>
                <a:gd name="T39" fmla="*/ 36 h 840"/>
                <a:gd name="T40" fmla="*/ 631 w 1322"/>
                <a:gd name="T41" fmla="*/ 89 h 840"/>
                <a:gd name="T42" fmla="*/ 675 w 1322"/>
                <a:gd name="T43" fmla="*/ 167 h 840"/>
                <a:gd name="T44" fmla="*/ 803 w 1322"/>
                <a:gd name="T45" fmla="*/ 39 h 840"/>
                <a:gd name="T46" fmla="*/ 964 w 1322"/>
                <a:gd name="T47" fmla="*/ 3 h 840"/>
                <a:gd name="T48" fmla="*/ 1230 w 1322"/>
                <a:gd name="T49" fmla="*/ 103 h 840"/>
                <a:gd name="T50" fmla="*/ 1321 w 1322"/>
                <a:gd name="T51" fmla="*/ 383 h 840"/>
                <a:gd name="T52" fmla="*/ 1321 w 1322"/>
                <a:gd name="T53" fmla="*/ 839 h 840"/>
                <a:gd name="T54" fmla="*/ 1145 w 1322"/>
                <a:gd name="T55" fmla="*/ 839 h 840"/>
                <a:gd name="T56" fmla="*/ 1145 w 1322"/>
                <a:gd name="T57" fmla="*/ 381 h 840"/>
                <a:gd name="T58" fmla="*/ 1134 w 1322"/>
                <a:gd name="T59" fmla="*/ 297 h 840"/>
                <a:gd name="T60" fmla="*/ 1097 w 1322"/>
                <a:gd name="T61" fmla="*/ 225 h 840"/>
                <a:gd name="T62" fmla="*/ 1039 w 1322"/>
                <a:gd name="T63" fmla="*/ 178 h 840"/>
                <a:gd name="T64" fmla="*/ 959 w 1322"/>
                <a:gd name="T65" fmla="*/ 161 h 840"/>
                <a:gd name="T66" fmla="*/ 872 w 1322"/>
                <a:gd name="T67" fmla="*/ 181 h 840"/>
                <a:gd name="T68" fmla="*/ 809 w 1322"/>
                <a:gd name="T69" fmla="*/ 228 h 840"/>
                <a:gd name="T70" fmla="*/ 767 w 1322"/>
                <a:gd name="T71" fmla="*/ 300 h 840"/>
                <a:gd name="T72" fmla="*/ 753 w 1322"/>
                <a:gd name="T73" fmla="*/ 386 h 840"/>
                <a:gd name="T74" fmla="*/ 753 w 1322"/>
                <a:gd name="T75" fmla="*/ 839 h 840"/>
                <a:gd name="T76" fmla="*/ 575 w 1322"/>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2" h="840">
                  <a:moveTo>
                    <a:pt x="575" y="839"/>
                  </a:moveTo>
                  <a:lnTo>
                    <a:pt x="575" y="839"/>
                  </a:lnTo>
                  <a:cubicBezTo>
                    <a:pt x="575" y="386"/>
                    <a:pt x="575" y="386"/>
                    <a:pt x="575" y="386"/>
                  </a:cubicBezTo>
                  <a:cubicBezTo>
                    <a:pt x="575" y="356"/>
                    <a:pt x="572" y="325"/>
                    <a:pt x="564" y="300"/>
                  </a:cubicBezTo>
                  <a:cubicBezTo>
                    <a:pt x="556" y="272"/>
                    <a:pt x="542" y="247"/>
                    <a:pt x="525" y="228"/>
                  </a:cubicBezTo>
                  <a:cubicBezTo>
                    <a:pt x="509" y="206"/>
                    <a:pt x="486" y="189"/>
                    <a:pt x="461" y="178"/>
                  </a:cubicBezTo>
                  <a:cubicBezTo>
                    <a:pt x="436" y="167"/>
                    <a:pt x="411" y="161"/>
                    <a:pt x="381" y="161"/>
                  </a:cubicBezTo>
                  <a:cubicBezTo>
                    <a:pt x="347" y="161"/>
                    <a:pt x="320" y="167"/>
                    <a:pt x="295" y="178"/>
                  </a:cubicBezTo>
                  <a:cubicBezTo>
                    <a:pt x="270" y="189"/>
                    <a:pt x="250" y="206"/>
                    <a:pt x="231" y="228"/>
                  </a:cubicBezTo>
                  <a:cubicBezTo>
                    <a:pt x="214" y="247"/>
                    <a:pt x="200" y="272"/>
                    <a:pt x="192" y="300"/>
                  </a:cubicBezTo>
                  <a:cubicBezTo>
                    <a:pt x="181" y="325"/>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200" y="78"/>
                    <a:pt x="234" y="47"/>
                    <a:pt x="278" y="28"/>
                  </a:cubicBezTo>
                  <a:cubicBezTo>
                    <a:pt x="323" y="8"/>
                    <a:pt x="367" y="0"/>
                    <a:pt x="411" y="0"/>
                  </a:cubicBezTo>
                  <a:cubicBezTo>
                    <a:pt x="439" y="0"/>
                    <a:pt x="467" y="3"/>
                    <a:pt x="492" y="8"/>
                  </a:cubicBezTo>
                  <a:cubicBezTo>
                    <a:pt x="520" y="14"/>
                    <a:pt x="542" y="22"/>
                    <a:pt x="567" y="36"/>
                  </a:cubicBezTo>
                  <a:cubicBezTo>
                    <a:pt x="589" y="50"/>
                    <a:pt x="611" y="67"/>
                    <a:pt x="631" y="89"/>
                  </a:cubicBezTo>
                  <a:cubicBezTo>
                    <a:pt x="647" y="111"/>
                    <a:pt x="664" y="136"/>
                    <a:pt x="675" y="167"/>
                  </a:cubicBezTo>
                  <a:cubicBezTo>
                    <a:pt x="711" y="106"/>
                    <a:pt x="753" y="61"/>
                    <a:pt x="803" y="39"/>
                  </a:cubicBezTo>
                  <a:cubicBezTo>
                    <a:pt x="853" y="14"/>
                    <a:pt x="906" y="3"/>
                    <a:pt x="964" y="3"/>
                  </a:cubicBezTo>
                  <a:cubicBezTo>
                    <a:pt x="1084" y="3"/>
                    <a:pt x="1172" y="36"/>
                    <a:pt x="1230" y="103"/>
                  </a:cubicBezTo>
                  <a:cubicBezTo>
                    <a:pt x="1291" y="169"/>
                    <a:pt x="1321" y="264"/>
                    <a:pt x="1321" y="383"/>
                  </a:cubicBezTo>
                  <a:cubicBezTo>
                    <a:pt x="1321" y="839"/>
                    <a:pt x="1321" y="839"/>
                    <a:pt x="1321" y="839"/>
                  </a:cubicBezTo>
                  <a:cubicBezTo>
                    <a:pt x="1145" y="839"/>
                    <a:pt x="1145" y="839"/>
                    <a:pt x="1145" y="839"/>
                  </a:cubicBezTo>
                  <a:cubicBezTo>
                    <a:pt x="1145" y="381"/>
                    <a:pt x="1145" y="381"/>
                    <a:pt x="1145" y="381"/>
                  </a:cubicBezTo>
                  <a:cubicBezTo>
                    <a:pt x="1145" y="353"/>
                    <a:pt x="1139" y="322"/>
                    <a:pt x="1134" y="297"/>
                  </a:cubicBezTo>
                  <a:cubicBezTo>
                    <a:pt x="1125" y="269"/>
                    <a:pt x="1114" y="247"/>
                    <a:pt x="1097" y="225"/>
                  </a:cubicBezTo>
                  <a:cubicBezTo>
                    <a:pt x="1081" y="206"/>
                    <a:pt x="1061" y="189"/>
                    <a:pt x="1039" y="178"/>
                  </a:cubicBezTo>
                  <a:cubicBezTo>
                    <a:pt x="1017" y="167"/>
                    <a:pt x="989" y="161"/>
                    <a:pt x="959" y="161"/>
                  </a:cubicBezTo>
                  <a:cubicBezTo>
                    <a:pt x="928" y="161"/>
                    <a:pt x="900" y="169"/>
                    <a:pt x="872" y="181"/>
                  </a:cubicBezTo>
                  <a:cubicBezTo>
                    <a:pt x="847" y="192"/>
                    <a:pt x="825" y="208"/>
                    <a:pt x="809" y="228"/>
                  </a:cubicBezTo>
                  <a:cubicBezTo>
                    <a:pt x="792" y="247"/>
                    <a:pt x="778" y="272"/>
                    <a:pt x="767" y="300"/>
                  </a:cubicBezTo>
                  <a:cubicBezTo>
                    <a:pt x="759" y="325"/>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0" name="Freeform 27">
              <a:extLst>
                <a:ext uri="{FF2B5EF4-FFF2-40B4-BE49-F238E27FC236}">
                  <a16:creationId xmlns:a16="http://schemas.microsoft.com/office/drawing/2014/main" id="{6745A430-6FAE-ED4D-A55A-AD8B18569B1C}"/>
                </a:ext>
              </a:extLst>
            </p:cNvPr>
            <p:cNvSpPr>
              <a:spLocks noChangeArrowheads="1"/>
            </p:cNvSpPr>
            <p:nvPr userDrawn="1"/>
          </p:nvSpPr>
          <p:spPr bwMode="auto">
            <a:xfrm>
              <a:off x="5138738" y="3743325"/>
              <a:ext cx="315912"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2 w 876"/>
                <a:gd name="T11" fmla="*/ 680 h 864"/>
                <a:gd name="T12" fmla="*/ 703 w 876"/>
                <a:gd name="T13" fmla="*/ 616 h 864"/>
                <a:gd name="T14" fmla="*/ 817 w 876"/>
                <a:gd name="T15" fmla="*/ 724 h 864"/>
                <a:gd name="T16" fmla="*/ 742 w 876"/>
                <a:gd name="T17" fmla="*/ 786 h 864"/>
                <a:gd name="T18" fmla="*/ 653 w 876"/>
                <a:gd name="T19" fmla="*/ 830 h 864"/>
                <a:gd name="T20" fmla="*/ 553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3 w 876"/>
                <a:gd name="T35" fmla="*/ 119 h 864"/>
                <a:gd name="T36" fmla="*/ 261 w 876"/>
                <a:gd name="T37" fmla="*/ 30 h 864"/>
                <a:gd name="T38" fmla="*/ 442 w 876"/>
                <a:gd name="T39" fmla="*/ 0 h 864"/>
                <a:gd name="T40" fmla="*/ 628 w 876"/>
                <a:gd name="T41" fmla="*/ 30 h 864"/>
                <a:gd name="T42" fmla="*/ 767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2 w 876"/>
                <a:gd name="T55" fmla="*/ 202 h 864"/>
                <a:gd name="T56" fmla="*/ 448 w 876"/>
                <a:gd name="T57" fmla="*/ 152 h 864"/>
                <a:gd name="T58" fmla="*/ 278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17" y="686"/>
                    <a:pt x="381" y="705"/>
                    <a:pt x="459" y="705"/>
                  </a:cubicBezTo>
                  <a:cubicBezTo>
                    <a:pt x="500" y="705"/>
                    <a:pt x="548" y="697"/>
                    <a:pt x="592" y="680"/>
                  </a:cubicBezTo>
                  <a:cubicBezTo>
                    <a:pt x="639" y="666"/>
                    <a:pt x="675" y="644"/>
                    <a:pt x="703" y="616"/>
                  </a:cubicBezTo>
                  <a:cubicBezTo>
                    <a:pt x="817" y="724"/>
                    <a:pt x="817" y="724"/>
                    <a:pt x="817" y="724"/>
                  </a:cubicBezTo>
                  <a:cubicBezTo>
                    <a:pt x="795" y="747"/>
                    <a:pt x="770" y="769"/>
                    <a:pt x="742" y="786"/>
                  </a:cubicBezTo>
                  <a:cubicBezTo>
                    <a:pt x="714" y="802"/>
                    <a:pt x="684" y="819"/>
                    <a:pt x="653" y="830"/>
                  </a:cubicBezTo>
                  <a:cubicBezTo>
                    <a:pt x="620" y="841"/>
                    <a:pt x="589" y="849"/>
                    <a:pt x="553" y="855"/>
                  </a:cubicBezTo>
                  <a:cubicBezTo>
                    <a:pt x="520" y="861"/>
                    <a:pt x="486" y="863"/>
                    <a:pt x="456" y="863"/>
                  </a:cubicBezTo>
                  <a:cubicBezTo>
                    <a:pt x="386" y="863"/>
                    <a:pt x="323" y="855"/>
                    <a:pt x="267" y="833"/>
                  </a:cubicBezTo>
                  <a:cubicBezTo>
                    <a:pt x="211" y="813"/>
                    <a:pt x="164" y="783"/>
                    <a:pt x="125" y="747"/>
                  </a:cubicBezTo>
                  <a:cubicBezTo>
                    <a:pt x="86" y="708"/>
                    <a:pt x="56" y="661"/>
                    <a:pt x="34" y="608"/>
                  </a:cubicBezTo>
                  <a:cubicBezTo>
                    <a:pt x="11" y="552"/>
                    <a:pt x="0" y="494"/>
                    <a:pt x="0" y="427"/>
                  </a:cubicBezTo>
                  <a:cubicBezTo>
                    <a:pt x="0" y="366"/>
                    <a:pt x="11" y="308"/>
                    <a:pt x="34" y="255"/>
                  </a:cubicBezTo>
                  <a:cubicBezTo>
                    <a:pt x="56" y="202"/>
                    <a:pt x="84" y="158"/>
                    <a:pt x="123" y="119"/>
                  </a:cubicBezTo>
                  <a:cubicBezTo>
                    <a:pt x="161" y="80"/>
                    <a:pt x="209" y="52"/>
                    <a:pt x="261" y="30"/>
                  </a:cubicBezTo>
                  <a:cubicBezTo>
                    <a:pt x="317" y="8"/>
                    <a:pt x="378" y="0"/>
                    <a:pt x="442" y="0"/>
                  </a:cubicBezTo>
                  <a:cubicBezTo>
                    <a:pt x="511" y="0"/>
                    <a:pt x="573" y="8"/>
                    <a:pt x="628" y="30"/>
                  </a:cubicBezTo>
                  <a:cubicBezTo>
                    <a:pt x="684" y="50"/>
                    <a:pt x="731" y="80"/>
                    <a:pt x="767" y="122"/>
                  </a:cubicBezTo>
                  <a:cubicBezTo>
                    <a:pt x="806" y="163"/>
                    <a:pt x="834" y="216"/>
                    <a:pt x="853" y="277"/>
                  </a:cubicBezTo>
                  <a:cubicBezTo>
                    <a:pt x="870" y="341"/>
                    <a:pt x="875" y="413"/>
                    <a:pt x="867" y="497"/>
                  </a:cubicBezTo>
                  <a:lnTo>
                    <a:pt x="186" y="352"/>
                  </a:lnTo>
                  <a:lnTo>
                    <a:pt x="186" y="352"/>
                  </a:lnTo>
                  <a:cubicBezTo>
                    <a:pt x="698" y="352"/>
                    <a:pt x="698" y="352"/>
                    <a:pt x="698" y="352"/>
                  </a:cubicBezTo>
                  <a:cubicBezTo>
                    <a:pt x="692" y="286"/>
                    <a:pt x="667" y="236"/>
                    <a:pt x="622" y="202"/>
                  </a:cubicBezTo>
                  <a:cubicBezTo>
                    <a:pt x="578" y="169"/>
                    <a:pt x="520" y="152"/>
                    <a:pt x="448" y="152"/>
                  </a:cubicBezTo>
                  <a:cubicBezTo>
                    <a:pt x="384" y="152"/>
                    <a:pt x="328" y="169"/>
                    <a:pt x="278"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1" name="Freeform 28">
              <a:extLst>
                <a:ext uri="{FF2B5EF4-FFF2-40B4-BE49-F238E27FC236}">
                  <a16:creationId xmlns:a16="http://schemas.microsoft.com/office/drawing/2014/main" id="{E3E2DFF6-D44B-5F42-95C1-7E783E653E68}"/>
                </a:ext>
              </a:extLst>
            </p:cNvPr>
            <p:cNvSpPr>
              <a:spLocks noChangeArrowheads="1"/>
            </p:cNvSpPr>
            <p:nvPr userDrawn="1"/>
          </p:nvSpPr>
          <p:spPr bwMode="auto">
            <a:xfrm>
              <a:off x="54975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4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9" y="147"/>
                    <a:pt x="127" y="111"/>
                  </a:cubicBezTo>
                  <a:cubicBezTo>
                    <a:pt x="166" y="75"/>
                    <a:pt x="211" y="48"/>
                    <a:pt x="264"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41" y="636"/>
                    <a:pt x="669" y="603"/>
                    <a:pt x="691" y="561"/>
                  </a:cubicBezTo>
                  <a:cubicBezTo>
                    <a:pt x="711" y="522"/>
                    <a:pt x="722" y="478"/>
                    <a:pt x="722" y="431"/>
                  </a:cubicBezTo>
                  <a:cubicBezTo>
                    <a:pt x="722" y="384"/>
                    <a:pt x="711" y="339"/>
                    <a:pt x="691" y="298"/>
                  </a:cubicBezTo>
                  <a:cubicBezTo>
                    <a:pt x="669" y="259"/>
                    <a:pt x="641"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2" name="Freeform 29">
              <a:extLst>
                <a:ext uri="{FF2B5EF4-FFF2-40B4-BE49-F238E27FC236}">
                  <a16:creationId xmlns:a16="http://schemas.microsoft.com/office/drawing/2014/main" id="{F1F0A8F6-9229-D949-BA1A-AC62C4C5F933}"/>
                </a:ext>
              </a:extLst>
            </p:cNvPr>
            <p:cNvSpPr>
              <a:spLocks noChangeArrowheads="1"/>
            </p:cNvSpPr>
            <p:nvPr userDrawn="1"/>
          </p:nvSpPr>
          <p:spPr bwMode="auto">
            <a:xfrm>
              <a:off x="5905500" y="3746500"/>
              <a:ext cx="293688" cy="301625"/>
            </a:xfrm>
            <a:custGeom>
              <a:avLst/>
              <a:gdLst>
                <a:gd name="T0" fmla="*/ 639 w 817"/>
                <a:gd name="T1" fmla="*/ 836 h 837"/>
                <a:gd name="T2" fmla="*/ 639 w 817"/>
                <a:gd name="T3" fmla="*/ 836 h 837"/>
                <a:gd name="T4" fmla="*/ 639 w 817"/>
                <a:gd name="T5" fmla="*/ 397 h 837"/>
                <a:gd name="T6" fmla="*/ 580 w 817"/>
                <a:gd name="T7" fmla="*/ 225 h 837"/>
                <a:gd name="T8" fmla="*/ 411 w 817"/>
                <a:gd name="T9" fmla="*/ 158 h 837"/>
                <a:gd name="T10" fmla="*/ 316 w 817"/>
                <a:gd name="T11" fmla="*/ 178 h 837"/>
                <a:gd name="T12" fmla="*/ 241 w 817"/>
                <a:gd name="T13" fmla="*/ 230 h 837"/>
                <a:gd name="T14" fmla="*/ 194 w 817"/>
                <a:gd name="T15" fmla="*/ 311 h 837"/>
                <a:gd name="T16" fmla="*/ 177 w 817"/>
                <a:gd name="T17" fmla="*/ 405 h 837"/>
                <a:gd name="T18" fmla="*/ 177 w 817"/>
                <a:gd name="T19" fmla="*/ 836 h 837"/>
                <a:gd name="T20" fmla="*/ 0 w 817"/>
                <a:gd name="T21" fmla="*/ 836 h 837"/>
                <a:gd name="T22" fmla="*/ 0 w 817"/>
                <a:gd name="T23" fmla="*/ 11 h 837"/>
                <a:gd name="T24" fmla="*/ 161 w 817"/>
                <a:gd name="T25" fmla="*/ 11 h 837"/>
                <a:gd name="T26" fmla="*/ 172 w 817"/>
                <a:gd name="T27" fmla="*/ 130 h 837"/>
                <a:gd name="T28" fmla="*/ 455 w 817"/>
                <a:gd name="T29" fmla="*/ 0 h 837"/>
                <a:gd name="T30" fmla="*/ 597 w 817"/>
                <a:gd name="T31" fmla="*/ 25 h 837"/>
                <a:gd name="T32" fmla="*/ 711 w 817"/>
                <a:gd name="T33" fmla="*/ 100 h 837"/>
                <a:gd name="T34" fmla="*/ 789 w 817"/>
                <a:gd name="T35" fmla="*/ 225 h 837"/>
                <a:gd name="T36" fmla="*/ 816 w 817"/>
                <a:gd name="T37" fmla="*/ 394 h 837"/>
                <a:gd name="T38" fmla="*/ 816 w 817"/>
                <a:gd name="T39" fmla="*/ 836 h 837"/>
                <a:gd name="T40" fmla="*/ 639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9" y="836"/>
                  </a:moveTo>
                  <a:lnTo>
                    <a:pt x="639" y="836"/>
                  </a:lnTo>
                  <a:cubicBezTo>
                    <a:pt x="639" y="397"/>
                    <a:pt x="639" y="397"/>
                    <a:pt x="639" y="397"/>
                  </a:cubicBezTo>
                  <a:cubicBezTo>
                    <a:pt x="639" y="325"/>
                    <a:pt x="619" y="266"/>
                    <a:pt x="580" y="225"/>
                  </a:cubicBezTo>
                  <a:cubicBezTo>
                    <a:pt x="541" y="180"/>
                    <a:pt x="486" y="158"/>
                    <a:pt x="411" y="158"/>
                  </a:cubicBezTo>
                  <a:cubicBezTo>
                    <a:pt x="377" y="158"/>
                    <a:pt x="344" y="166"/>
                    <a:pt x="316" y="178"/>
                  </a:cubicBezTo>
                  <a:cubicBezTo>
                    <a:pt x="286" y="192"/>
                    <a:pt x="261" y="208"/>
                    <a:pt x="241" y="230"/>
                  </a:cubicBezTo>
                  <a:cubicBezTo>
                    <a:pt x="222" y="255"/>
                    <a:pt x="205" y="280"/>
                    <a:pt x="194" y="311"/>
                  </a:cubicBezTo>
                  <a:cubicBezTo>
                    <a:pt x="183" y="341"/>
                    <a:pt x="177" y="372"/>
                    <a:pt x="177" y="405"/>
                  </a:cubicBezTo>
                  <a:cubicBezTo>
                    <a:pt x="177" y="836"/>
                    <a:pt x="177" y="836"/>
                    <a:pt x="177" y="836"/>
                  </a:cubicBezTo>
                  <a:cubicBezTo>
                    <a:pt x="0" y="836"/>
                    <a:pt x="0" y="836"/>
                    <a:pt x="0" y="836"/>
                  </a:cubicBezTo>
                  <a:cubicBezTo>
                    <a:pt x="0" y="11"/>
                    <a:pt x="0" y="11"/>
                    <a:pt x="0" y="11"/>
                  </a:cubicBezTo>
                  <a:cubicBezTo>
                    <a:pt x="161" y="11"/>
                    <a:pt x="161" y="11"/>
                    <a:pt x="161" y="11"/>
                  </a:cubicBezTo>
                  <a:cubicBezTo>
                    <a:pt x="172" y="130"/>
                    <a:pt x="172" y="130"/>
                    <a:pt x="172" y="130"/>
                  </a:cubicBezTo>
                  <a:cubicBezTo>
                    <a:pt x="250" y="42"/>
                    <a:pt x="344" y="0"/>
                    <a:pt x="455" y="0"/>
                  </a:cubicBezTo>
                  <a:cubicBezTo>
                    <a:pt x="505" y="0"/>
                    <a:pt x="552" y="8"/>
                    <a:pt x="597" y="25"/>
                  </a:cubicBezTo>
                  <a:cubicBezTo>
                    <a:pt x="641" y="42"/>
                    <a:pt x="680" y="66"/>
                    <a:pt x="711" y="100"/>
                  </a:cubicBezTo>
                  <a:cubicBezTo>
                    <a:pt x="744" y="133"/>
                    <a:pt x="769" y="175"/>
                    <a:pt x="789" y="225"/>
                  </a:cubicBezTo>
                  <a:cubicBezTo>
                    <a:pt x="808" y="275"/>
                    <a:pt x="816" y="330"/>
                    <a:pt x="816" y="394"/>
                  </a:cubicBezTo>
                  <a:cubicBezTo>
                    <a:pt x="816" y="836"/>
                    <a:pt x="816" y="836"/>
                    <a:pt x="816" y="836"/>
                  </a:cubicBezTo>
                  <a:lnTo>
                    <a:pt x="639"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3" name="Freeform 30">
              <a:extLst>
                <a:ext uri="{FF2B5EF4-FFF2-40B4-BE49-F238E27FC236}">
                  <a16:creationId xmlns:a16="http://schemas.microsoft.com/office/drawing/2014/main" id="{B16A197B-0E17-EF43-80AA-BFBCB40AC761}"/>
                </a:ext>
              </a:extLst>
            </p:cNvPr>
            <p:cNvSpPr>
              <a:spLocks noChangeArrowheads="1"/>
            </p:cNvSpPr>
            <p:nvPr userDrawn="1"/>
          </p:nvSpPr>
          <p:spPr bwMode="auto">
            <a:xfrm>
              <a:off x="6251575"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4" name="Freeform 31">
              <a:extLst>
                <a:ext uri="{FF2B5EF4-FFF2-40B4-BE49-F238E27FC236}">
                  <a16:creationId xmlns:a16="http://schemas.microsoft.com/office/drawing/2014/main" id="{575F5FA7-2A68-E247-8A62-204B7962F005}"/>
                </a:ext>
              </a:extLst>
            </p:cNvPr>
            <p:cNvSpPr>
              <a:spLocks noChangeArrowheads="1"/>
            </p:cNvSpPr>
            <p:nvPr userDrawn="1"/>
          </p:nvSpPr>
          <p:spPr bwMode="auto">
            <a:xfrm>
              <a:off x="6643688"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5" name="Freeform 32">
              <a:extLst>
                <a:ext uri="{FF2B5EF4-FFF2-40B4-BE49-F238E27FC236}">
                  <a16:creationId xmlns:a16="http://schemas.microsoft.com/office/drawing/2014/main" id="{34C098E7-184C-504A-8792-AF18A8E97AEC}"/>
                </a:ext>
              </a:extLst>
            </p:cNvPr>
            <p:cNvSpPr>
              <a:spLocks noChangeArrowheads="1"/>
            </p:cNvSpPr>
            <p:nvPr userDrawn="1"/>
          </p:nvSpPr>
          <p:spPr bwMode="auto">
            <a:xfrm>
              <a:off x="6897688" y="3743325"/>
              <a:ext cx="314325" cy="309563"/>
            </a:xfrm>
            <a:custGeom>
              <a:avLst/>
              <a:gdLst>
                <a:gd name="T0" fmla="*/ 436 w 873"/>
                <a:gd name="T1" fmla="*/ 0 h 860"/>
                <a:gd name="T2" fmla="*/ 436 w 873"/>
                <a:gd name="T3" fmla="*/ 0 h 860"/>
                <a:gd name="T4" fmla="*/ 611 w 873"/>
                <a:gd name="T5" fmla="*/ 34 h 860"/>
                <a:gd name="T6" fmla="*/ 750 w 873"/>
                <a:gd name="T7" fmla="*/ 125 h 860"/>
                <a:gd name="T8" fmla="*/ 842 w 873"/>
                <a:gd name="T9" fmla="*/ 261 h 860"/>
                <a:gd name="T10" fmla="*/ 872 w 873"/>
                <a:gd name="T11" fmla="*/ 431 h 860"/>
                <a:gd name="T12" fmla="*/ 842 w 873"/>
                <a:gd name="T13" fmla="*/ 600 h 860"/>
                <a:gd name="T14" fmla="*/ 753 w 873"/>
                <a:gd name="T15" fmla="*/ 736 h 860"/>
                <a:gd name="T16" fmla="*/ 614 w 873"/>
                <a:gd name="T17" fmla="*/ 825 h 860"/>
                <a:gd name="T18" fmla="*/ 436 w 873"/>
                <a:gd name="T19" fmla="*/ 859 h 860"/>
                <a:gd name="T20" fmla="*/ 256 w 873"/>
                <a:gd name="T21" fmla="*/ 825 h 860"/>
                <a:gd name="T22" fmla="*/ 119 w 873"/>
                <a:gd name="T23" fmla="*/ 736 h 860"/>
                <a:gd name="T24" fmla="*/ 31 w 873"/>
                <a:gd name="T25" fmla="*/ 600 h 860"/>
                <a:gd name="T26" fmla="*/ 0 w 873"/>
                <a:gd name="T27" fmla="*/ 431 h 860"/>
                <a:gd name="T28" fmla="*/ 31 w 873"/>
                <a:gd name="T29" fmla="*/ 261 h 860"/>
                <a:gd name="T30" fmla="*/ 119 w 873"/>
                <a:gd name="T31" fmla="*/ 125 h 860"/>
                <a:gd name="T32" fmla="*/ 258 w 873"/>
                <a:gd name="T33" fmla="*/ 34 h 860"/>
                <a:gd name="T34" fmla="*/ 436 w 873"/>
                <a:gd name="T35" fmla="*/ 0 h 860"/>
                <a:gd name="T36" fmla="*/ 436 w 873"/>
                <a:gd name="T37" fmla="*/ 161 h 860"/>
                <a:gd name="T38" fmla="*/ 436 w 873"/>
                <a:gd name="T39" fmla="*/ 161 h 860"/>
                <a:gd name="T40" fmla="*/ 328 w 873"/>
                <a:gd name="T41" fmla="*/ 184 h 860"/>
                <a:gd name="T42" fmla="*/ 247 w 873"/>
                <a:gd name="T43" fmla="*/ 242 h 860"/>
                <a:gd name="T44" fmla="*/ 194 w 873"/>
                <a:gd name="T45" fmla="*/ 328 h 860"/>
                <a:gd name="T46" fmla="*/ 178 w 873"/>
                <a:gd name="T47" fmla="*/ 431 h 860"/>
                <a:gd name="T48" fmla="*/ 194 w 873"/>
                <a:gd name="T49" fmla="*/ 536 h 860"/>
                <a:gd name="T50" fmla="*/ 247 w 873"/>
                <a:gd name="T51" fmla="*/ 620 h 860"/>
                <a:gd name="T52" fmla="*/ 328 w 873"/>
                <a:gd name="T53" fmla="*/ 678 h 860"/>
                <a:gd name="T54" fmla="*/ 436 w 873"/>
                <a:gd name="T55" fmla="*/ 698 h 860"/>
                <a:gd name="T56" fmla="*/ 544 w 873"/>
                <a:gd name="T57" fmla="*/ 678 h 860"/>
                <a:gd name="T58" fmla="*/ 625 w 873"/>
                <a:gd name="T59" fmla="*/ 620 h 860"/>
                <a:gd name="T60" fmla="*/ 678 w 873"/>
                <a:gd name="T61" fmla="*/ 536 h 860"/>
                <a:gd name="T62" fmla="*/ 694 w 873"/>
                <a:gd name="T63" fmla="*/ 431 h 860"/>
                <a:gd name="T64" fmla="*/ 675 w 873"/>
                <a:gd name="T65" fmla="*/ 328 h 860"/>
                <a:gd name="T66" fmla="*/ 622 w 873"/>
                <a:gd name="T67" fmla="*/ 242 h 860"/>
                <a:gd name="T68" fmla="*/ 542 w 873"/>
                <a:gd name="T69" fmla="*/ 184 h 860"/>
                <a:gd name="T70" fmla="*/ 436 w 873"/>
                <a:gd name="T71" fmla="*/ 161 h 860"/>
                <a:gd name="T72" fmla="*/ 436 w 873"/>
                <a:gd name="T73"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60">
                  <a:moveTo>
                    <a:pt x="436" y="0"/>
                  </a:moveTo>
                  <a:lnTo>
                    <a:pt x="436" y="0"/>
                  </a:lnTo>
                  <a:cubicBezTo>
                    <a:pt x="500" y="0"/>
                    <a:pt x="558" y="11"/>
                    <a:pt x="611" y="34"/>
                  </a:cubicBezTo>
                  <a:cubicBezTo>
                    <a:pt x="667" y="59"/>
                    <a:pt x="711" y="86"/>
                    <a:pt x="750" y="125"/>
                  </a:cubicBezTo>
                  <a:cubicBezTo>
                    <a:pt x="789" y="164"/>
                    <a:pt x="819" y="209"/>
                    <a:pt x="842" y="261"/>
                  </a:cubicBezTo>
                  <a:cubicBezTo>
                    <a:pt x="861" y="314"/>
                    <a:pt x="872" y="370"/>
                    <a:pt x="872" y="431"/>
                  </a:cubicBezTo>
                  <a:cubicBezTo>
                    <a:pt x="872" y="492"/>
                    <a:pt x="861" y="547"/>
                    <a:pt x="842" y="600"/>
                  </a:cubicBezTo>
                  <a:cubicBezTo>
                    <a:pt x="819" y="653"/>
                    <a:pt x="792" y="698"/>
                    <a:pt x="753" y="736"/>
                  </a:cubicBezTo>
                  <a:cubicBezTo>
                    <a:pt x="714" y="775"/>
                    <a:pt x="669" y="806"/>
                    <a:pt x="614" y="825"/>
                  </a:cubicBezTo>
                  <a:cubicBezTo>
                    <a:pt x="561" y="847"/>
                    <a:pt x="500" y="859"/>
                    <a:pt x="436" y="859"/>
                  </a:cubicBezTo>
                  <a:cubicBezTo>
                    <a:pt x="369" y="859"/>
                    <a:pt x="308" y="847"/>
                    <a:pt x="256" y="825"/>
                  </a:cubicBezTo>
                  <a:cubicBezTo>
                    <a:pt x="203" y="806"/>
                    <a:pt x="156" y="775"/>
                    <a:pt x="119" y="736"/>
                  </a:cubicBezTo>
                  <a:cubicBezTo>
                    <a:pt x="80" y="698"/>
                    <a:pt x="53" y="653"/>
                    <a:pt x="31" y="600"/>
                  </a:cubicBezTo>
                  <a:cubicBezTo>
                    <a:pt x="11" y="547"/>
                    <a:pt x="0" y="492"/>
                    <a:pt x="0" y="431"/>
                  </a:cubicBezTo>
                  <a:cubicBezTo>
                    <a:pt x="0" y="370"/>
                    <a:pt x="11" y="314"/>
                    <a:pt x="31" y="261"/>
                  </a:cubicBezTo>
                  <a:cubicBezTo>
                    <a:pt x="53" y="209"/>
                    <a:pt x="80" y="164"/>
                    <a:pt x="119" y="125"/>
                  </a:cubicBezTo>
                  <a:cubicBezTo>
                    <a:pt x="158" y="86"/>
                    <a:pt x="203" y="59"/>
                    <a:pt x="258" y="34"/>
                  </a:cubicBezTo>
                  <a:cubicBezTo>
                    <a:pt x="311" y="11"/>
                    <a:pt x="369" y="0"/>
                    <a:pt x="436" y="0"/>
                  </a:cubicBezTo>
                  <a:lnTo>
                    <a:pt x="436" y="161"/>
                  </a:lnTo>
                  <a:lnTo>
                    <a:pt x="436" y="161"/>
                  </a:lnTo>
                  <a:cubicBezTo>
                    <a:pt x="394" y="161"/>
                    <a:pt x="358" y="170"/>
                    <a:pt x="328" y="184"/>
                  </a:cubicBezTo>
                  <a:cubicBezTo>
                    <a:pt x="294" y="198"/>
                    <a:pt x="269" y="217"/>
                    <a:pt x="247" y="242"/>
                  </a:cubicBezTo>
                  <a:cubicBezTo>
                    <a:pt x="225" y="267"/>
                    <a:pt x="206" y="298"/>
                    <a:pt x="194" y="328"/>
                  </a:cubicBezTo>
                  <a:cubicBezTo>
                    <a:pt x="183" y="361"/>
                    <a:pt x="178" y="395"/>
                    <a:pt x="178" y="431"/>
                  </a:cubicBezTo>
                  <a:cubicBezTo>
                    <a:pt x="178" y="470"/>
                    <a:pt x="183" y="503"/>
                    <a:pt x="194" y="536"/>
                  </a:cubicBezTo>
                  <a:cubicBezTo>
                    <a:pt x="206" y="567"/>
                    <a:pt x="225" y="595"/>
                    <a:pt x="247" y="620"/>
                  </a:cubicBezTo>
                  <a:cubicBezTo>
                    <a:pt x="269" y="645"/>
                    <a:pt x="294" y="664"/>
                    <a:pt x="328" y="678"/>
                  </a:cubicBezTo>
                  <a:cubicBezTo>
                    <a:pt x="358" y="692"/>
                    <a:pt x="394" y="698"/>
                    <a:pt x="436" y="698"/>
                  </a:cubicBezTo>
                  <a:cubicBezTo>
                    <a:pt x="475" y="698"/>
                    <a:pt x="511" y="692"/>
                    <a:pt x="544" y="678"/>
                  </a:cubicBezTo>
                  <a:cubicBezTo>
                    <a:pt x="575" y="664"/>
                    <a:pt x="603" y="645"/>
                    <a:pt x="625" y="620"/>
                  </a:cubicBezTo>
                  <a:cubicBezTo>
                    <a:pt x="647" y="595"/>
                    <a:pt x="664" y="567"/>
                    <a:pt x="678" y="536"/>
                  </a:cubicBezTo>
                  <a:cubicBezTo>
                    <a:pt x="689" y="503"/>
                    <a:pt x="694" y="470"/>
                    <a:pt x="694" y="431"/>
                  </a:cubicBezTo>
                  <a:cubicBezTo>
                    <a:pt x="694" y="395"/>
                    <a:pt x="689" y="361"/>
                    <a:pt x="675" y="328"/>
                  </a:cubicBezTo>
                  <a:cubicBezTo>
                    <a:pt x="664" y="298"/>
                    <a:pt x="644" y="267"/>
                    <a:pt x="622" y="242"/>
                  </a:cubicBezTo>
                  <a:cubicBezTo>
                    <a:pt x="600" y="217"/>
                    <a:pt x="572" y="198"/>
                    <a:pt x="542" y="184"/>
                  </a:cubicBezTo>
                  <a:cubicBezTo>
                    <a:pt x="508" y="170"/>
                    <a:pt x="472" y="161"/>
                    <a:pt x="436" y="161"/>
                  </a:cubicBezTo>
                  <a:lnTo>
                    <a:pt x="43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6" name="Freeform 33">
              <a:extLst>
                <a:ext uri="{FF2B5EF4-FFF2-40B4-BE49-F238E27FC236}">
                  <a16:creationId xmlns:a16="http://schemas.microsoft.com/office/drawing/2014/main" id="{B6A67FDD-10A8-4D43-9C49-154E07D6EE85}"/>
                </a:ext>
              </a:extLst>
            </p:cNvPr>
            <p:cNvSpPr>
              <a:spLocks noChangeArrowheads="1"/>
            </p:cNvSpPr>
            <p:nvPr userDrawn="1"/>
          </p:nvSpPr>
          <p:spPr bwMode="auto">
            <a:xfrm>
              <a:off x="7431088" y="3627438"/>
              <a:ext cx="323850" cy="427037"/>
            </a:xfrm>
            <a:custGeom>
              <a:avLst/>
              <a:gdLst>
                <a:gd name="T0" fmla="*/ 175 w 898"/>
                <a:gd name="T1" fmla="*/ 0 h 1185"/>
                <a:gd name="T2" fmla="*/ 175 w 898"/>
                <a:gd name="T3" fmla="*/ 0 h 1185"/>
                <a:gd name="T4" fmla="*/ 175 w 898"/>
                <a:gd name="T5" fmla="*/ 472 h 1185"/>
                <a:gd name="T6" fmla="*/ 231 w 898"/>
                <a:gd name="T7" fmla="*/ 409 h 1185"/>
                <a:gd name="T8" fmla="*/ 306 w 898"/>
                <a:gd name="T9" fmla="*/ 361 h 1185"/>
                <a:gd name="T10" fmla="*/ 389 w 898"/>
                <a:gd name="T11" fmla="*/ 334 h 1185"/>
                <a:gd name="T12" fmla="*/ 472 w 898"/>
                <a:gd name="T13" fmla="*/ 325 h 1185"/>
                <a:gd name="T14" fmla="*/ 639 w 898"/>
                <a:gd name="T15" fmla="*/ 353 h 1185"/>
                <a:gd name="T16" fmla="*/ 775 w 898"/>
                <a:gd name="T17" fmla="*/ 434 h 1185"/>
                <a:gd name="T18" fmla="*/ 867 w 898"/>
                <a:gd name="T19" fmla="*/ 570 h 1185"/>
                <a:gd name="T20" fmla="*/ 897 w 898"/>
                <a:gd name="T21" fmla="*/ 753 h 1185"/>
                <a:gd name="T22" fmla="*/ 864 w 898"/>
                <a:gd name="T23" fmla="*/ 936 h 1185"/>
                <a:gd name="T24" fmla="*/ 775 w 898"/>
                <a:gd name="T25" fmla="*/ 1072 h 1185"/>
                <a:gd name="T26" fmla="*/ 639 w 898"/>
                <a:gd name="T27" fmla="*/ 1156 h 1185"/>
                <a:gd name="T28" fmla="*/ 467 w 898"/>
                <a:gd name="T29" fmla="*/ 1184 h 1185"/>
                <a:gd name="T30" fmla="*/ 303 w 898"/>
                <a:gd name="T31" fmla="*/ 1150 h 1185"/>
                <a:gd name="T32" fmla="*/ 175 w 898"/>
                <a:gd name="T33" fmla="*/ 1036 h 1185"/>
                <a:gd name="T34" fmla="*/ 167 w 898"/>
                <a:gd name="T35" fmla="*/ 1167 h 1185"/>
                <a:gd name="T36" fmla="*/ 0 w 898"/>
                <a:gd name="T37" fmla="*/ 1167 h 1185"/>
                <a:gd name="T38" fmla="*/ 0 w 898"/>
                <a:gd name="T39" fmla="*/ 0 h 1185"/>
                <a:gd name="T40" fmla="*/ 175 w 898"/>
                <a:gd name="T41" fmla="*/ 0 h 1185"/>
                <a:gd name="T42" fmla="*/ 456 w 898"/>
                <a:gd name="T43" fmla="*/ 486 h 1185"/>
                <a:gd name="T44" fmla="*/ 456 w 898"/>
                <a:gd name="T45" fmla="*/ 486 h 1185"/>
                <a:gd name="T46" fmla="*/ 353 w 898"/>
                <a:gd name="T47" fmla="*/ 506 h 1185"/>
                <a:gd name="T48" fmla="*/ 267 w 898"/>
                <a:gd name="T49" fmla="*/ 559 h 1185"/>
                <a:gd name="T50" fmla="*/ 208 w 898"/>
                <a:gd name="T51" fmla="*/ 645 h 1185"/>
                <a:gd name="T52" fmla="*/ 186 w 898"/>
                <a:gd name="T53" fmla="*/ 753 h 1185"/>
                <a:gd name="T54" fmla="*/ 208 w 898"/>
                <a:gd name="T55" fmla="*/ 864 h 1185"/>
                <a:gd name="T56" fmla="*/ 267 w 898"/>
                <a:gd name="T57" fmla="*/ 950 h 1185"/>
                <a:gd name="T58" fmla="*/ 350 w 898"/>
                <a:gd name="T59" fmla="*/ 1003 h 1185"/>
                <a:gd name="T60" fmla="*/ 456 w 898"/>
                <a:gd name="T61" fmla="*/ 1023 h 1185"/>
                <a:gd name="T62" fmla="*/ 558 w 898"/>
                <a:gd name="T63" fmla="*/ 1006 h 1185"/>
                <a:gd name="T64" fmla="*/ 645 w 898"/>
                <a:gd name="T65" fmla="*/ 950 h 1185"/>
                <a:gd name="T66" fmla="*/ 700 w 898"/>
                <a:gd name="T67" fmla="*/ 867 h 1185"/>
                <a:gd name="T68" fmla="*/ 722 w 898"/>
                <a:gd name="T69" fmla="*/ 753 h 1185"/>
                <a:gd name="T70" fmla="*/ 700 w 898"/>
                <a:gd name="T71" fmla="*/ 639 h 1185"/>
                <a:gd name="T72" fmla="*/ 645 w 898"/>
                <a:gd name="T73" fmla="*/ 556 h 1185"/>
                <a:gd name="T74" fmla="*/ 558 w 898"/>
                <a:gd name="T75" fmla="*/ 503 h 1185"/>
                <a:gd name="T76" fmla="*/ 456 w 898"/>
                <a:gd name="T77" fmla="*/ 48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8" h="1185">
                  <a:moveTo>
                    <a:pt x="175" y="0"/>
                  </a:moveTo>
                  <a:lnTo>
                    <a:pt x="175" y="0"/>
                  </a:lnTo>
                  <a:cubicBezTo>
                    <a:pt x="175" y="472"/>
                    <a:pt x="175" y="472"/>
                    <a:pt x="175" y="472"/>
                  </a:cubicBezTo>
                  <a:cubicBezTo>
                    <a:pt x="189" y="448"/>
                    <a:pt x="208" y="425"/>
                    <a:pt x="231" y="409"/>
                  </a:cubicBezTo>
                  <a:cubicBezTo>
                    <a:pt x="253" y="389"/>
                    <a:pt x="278" y="373"/>
                    <a:pt x="306" y="361"/>
                  </a:cubicBezTo>
                  <a:cubicBezTo>
                    <a:pt x="334" y="350"/>
                    <a:pt x="361" y="339"/>
                    <a:pt x="389" y="334"/>
                  </a:cubicBezTo>
                  <a:cubicBezTo>
                    <a:pt x="417" y="328"/>
                    <a:pt x="445" y="325"/>
                    <a:pt x="472" y="325"/>
                  </a:cubicBezTo>
                  <a:cubicBezTo>
                    <a:pt x="531" y="325"/>
                    <a:pt x="589" y="334"/>
                    <a:pt x="639" y="353"/>
                  </a:cubicBezTo>
                  <a:cubicBezTo>
                    <a:pt x="692" y="370"/>
                    <a:pt x="739" y="397"/>
                    <a:pt x="775" y="434"/>
                  </a:cubicBezTo>
                  <a:cubicBezTo>
                    <a:pt x="814" y="470"/>
                    <a:pt x="845" y="514"/>
                    <a:pt x="867" y="570"/>
                  </a:cubicBezTo>
                  <a:cubicBezTo>
                    <a:pt x="886" y="623"/>
                    <a:pt x="897" y="684"/>
                    <a:pt x="897" y="753"/>
                  </a:cubicBezTo>
                  <a:cubicBezTo>
                    <a:pt x="897" y="823"/>
                    <a:pt x="886" y="884"/>
                    <a:pt x="864" y="936"/>
                  </a:cubicBezTo>
                  <a:cubicBezTo>
                    <a:pt x="842" y="989"/>
                    <a:pt x="811" y="1036"/>
                    <a:pt x="775" y="1072"/>
                  </a:cubicBezTo>
                  <a:cubicBezTo>
                    <a:pt x="736" y="1109"/>
                    <a:pt x="692" y="1136"/>
                    <a:pt x="639" y="1156"/>
                  </a:cubicBezTo>
                  <a:cubicBezTo>
                    <a:pt x="586" y="1175"/>
                    <a:pt x="531" y="1184"/>
                    <a:pt x="467" y="1184"/>
                  </a:cubicBezTo>
                  <a:cubicBezTo>
                    <a:pt x="411" y="1184"/>
                    <a:pt x="356" y="1172"/>
                    <a:pt x="303" y="1150"/>
                  </a:cubicBezTo>
                  <a:cubicBezTo>
                    <a:pt x="253" y="1128"/>
                    <a:pt x="208" y="1089"/>
                    <a:pt x="175" y="1036"/>
                  </a:cubicBezTo>
                  <a:cubicBezTo>
                    <a:pt x="167" y="1167"/>
                    <a:pt x="167" y="1167"/>
                    <a:pt x="167" y="1167"/>
                  </a:cubicBezTo>
                  <a:cubicBezTo>
                    <a:pt x="0" y="1167"/>
                    <a:pt x="0" y="1167"/>
                    <a:pt x="0" y="1167"/>
                  </a:cubicBezTo>
                  <a:cubicBezTo>
                    <a:pt x="0" y="0"/>
                    <a:pt x="0" y="0"/>
                    <a:pt x="0" y="0"/>
                  </a:cubicBezTo>
                  <a:lnTo>
                    <a:pt x="175" y="0"/>
                  </a:lnTo>
                  <a:close/>
                  <a:moveTo>
                    <a:pt x="456" y="486"/>
                  </a:moveTo>
                  <a:lnTo>
                    <a:pt x="456" y="486"/>
                  </a:lnTo>
                  <a:cubicBezTo>
                    <a:pt x="420" y="486"/>
                    <a:pt x="383" y="492"/>
                    <a:pt x="353" y="506"/>
                  </a:cubicBezTo>
                  <a:cubicBezTo>
                    <a:pt x="320" y="517"/>
                    <a:pt x="289" y="536"/>
                    <a:pt x="267" y="559"/>
                  </a:cubicBezTo>
                  <a:cubicBezTo>
                    <a:pt x="242" y="584"/>
                    <a:pt x="222" y="611"/>
                    <a:pt x="208" y="645"/>
                  </a:cubicBezTo>
                  <a:cubicBezTo>
                    <a:pt x="195" y="678"/>
                    <a:pt x="186" y="714"/>
                    <a:pt x="186" y="753"/>
                  </a:cubicBezTo>
                  <a:cubicBezTo>
                    <a:pt x="186" y="795"/>
                    <a:pt x="195" y="831"/>
                    <a:pt x="208" y="864"/>
                  </a:cubicBezTo>
                  <a:cubicBezTo>
                    <a:pt x="222" y="897"/>
                    <a:pt x="242" y="925"/>
                    <a:pt x="267" y="950"/>
                  </a:cubicBezTo>
                  <a:cubicBezTo>
                    <a:pt x="289" y="972"/>
                    <a:pt x="320" y="992"/>
                    <a:pt x="350" y="1003"/>
                  </a:cubicBezTo>
                  <a:cubicBezTo>
                    <a:pt x="383" y="1017"/>
                    <a:pt x="420" y="1023"/>
                    <a:pt x="456" y="1023"/>
                  </a:cubicBezTo>
                  <a:cubicBezTo>
                    <a:pt x="492" y="1023"/>
                    <a:pt x="528" y="1017"/>
                    <a:pt x="558" y="1006"/>
                  </a:cubicBezTo>
                  <a:cubicBezTo>
                    <a:pt x="592" y="992"/>
                    <a:pt x="620" y="975"/>
                    <a:pt x="645" y="950"/>
                  </a:cubicBezTo>
                  <a:cubicBezTo>
                    <a:pt x="667" y="928"/>
                    <a:pt x="686" y="900"/>
                    <a:pt x="700" y="867"/>
                  </a:cubicBezTo>
                  <a:cubicBezTo>
                    <a:pt x="714" y="834"/>
                    <a:pt x="722" y="795"/>
                    <a:pt x="722" y="753"/>
                  </a:cubicBezTo>
                  <a:cubicBezTo>
                    <a:pt x="722" y="711"/>
                    <a:pt x="714" y="672"/>
                    <a:pt x="700" y="639"/>
                  </a:cubicBezTo>
                  <a:cubicBezTo>
                    <a:pt x="686" y="609"/>
                    <a:pt x="667" y="581"/>
                    <a:pt x="645" y="556"/>
                  </a:cubicBezTo>
                  <a:cubicBezTo>
                    <a:pt x="620" y="534"/>
                    <a:pt x="592" y="517"/>
                    <a:pt x="558" y="503"/>
                  </a:cubicBezTo>
                  <a:cubicBezTo>
                    <a:pt x="528" y="492"/>
                    <a:pt x="492" y="486"/>
                    <a:pt x="456" y="486"/>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7" name="Freeform 34">
              <a:extLst>
                <a:ext uri="{FF2B5EF4-FFF2-40B4-BE49-F238E27FC236}">
                  <a16:creationId xmlns:a16="http://schemas.microsoft.com/office/drawing/2014/main" id="{176176EE-7085-B647-A980-50C6B722CB76}"/>
                </a:ext>
              </a:extLst>
            </p:cNvPr>
            <p:cNvSpPr>
              <a:spLocks noChangeArrowheads="1"/>
            </p:cNvSpPr>
            <p:nvPr userDrawn="1"/>
          </p:nvSpPr>
          <p:spPr bwMode="auto">
            <a:xfrm>
              <a:off x="7804150" y="3743325"/>
              <a:ext cx="315913"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5 w 876"/>
                <a:gd name="T11" fmla="*/ 680 h 864"/>
                <a:gd name="T12" fmla="*/ 703 w 876"/>
                <a:gd name="T13" fmla="*/ 616 h 864"/>
                <a:gd name="T14" fmla="*/ 817 w 876"/>
                <a:gd name="T15" fmla="*/ 724 h 864"/>
                <a:gd name="T16" fmla="*/ 742 w 876"/>
                <a:gd name="T17" fmla="*/ 786 h 864"/>
                <a:gd name="T18" fmla="*/ 653 w 876"/>
                <a:gd name="T19" fmla="*/ 830 h 864"/>
                <a:gd name="T20" fmla="*/ 556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5 w 876"/>
                <a:gd name="T35" fmla="*/ 119 h 864"/>
                <a:gd name="T36" fmla="*/ 264 w 876"/>
                <a:gd name="T37" fmla="*/ 30 h 864"/>
                <a:gd name="T38" fmla="*/ 445 w 876"/>
                <a:gd name="T39" fmla="*/ 0 h 864"/>
                <a:gd name="T40" fmla="*/ 628 w 876"/>
                <a:gd name="T41" fmla="*/ 30 h 864"/>
                <a:gd name="T42" fmla="*/ 770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3 w 876"/>
                <a:gd name="T55" fmla="*/ 202 h 864"/>
                <a:gd name="T56" fmla="*/ 450 w 876"/>
                <a:gd name="T57" fmla="*/ 152 h 864"/>
                <a:gd name="T58" fmla="*/ 281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20" y="686"/>
                    <a:pt x="381" y="705"/>
                    <a:pt x="459" y="705"/>
                  </a:cubicBezTo>
                  <a:cubicBezTo>
                    <a:pt x="503" y="705"/>
                    <a:pt x="548" y="697"/>
                    <a:pt x="595" y="680"/>
                  </a:cubicBezTo>
                  <a:cubicBezTo>
                    <a:pt x="642" y="666"/>
                    <a:pt x="678" y="644"/>
                    <a:pt x="703" y="616"/>
                  </a:cubicBezTo>
                  <a:cubicBezTo>
                    <a:pt x="817" y="724"/>
                    <a:pt x="817" y="724"/>
                    <a:pt x="817" y="724"/>
                  </a:cubicBezTo>
                  <a:cubicBezTo>
                    <a:pt x="798" y="747"/>
                    <a:pt x="770" y="769"/>
                    <a:pt x="742" y="786"/>
                  </a:cubicBezTo>
                  <a:cubicBezTo>
                    <a:pt x="714" y="802"/>
                    <a:pt x="684" y="819"/>
                    <a:pt x="653" y="830"/>
                  </a:cubicBezTo>
                  <a:cubicBezTo>
                    <a:pt x="623" y="841"/>
                    <a:pt x="589" y="849"/>
                    <a:pt x="556" y="855"/>
                  </a:cubicBezTo>
                  <a:cubicBezTo>
                    <a:pt x="520" y="861"/>
                    <a:pt x="486" y="863"/>
                    <a:pt x="456" y="863"/>
                  </a:cubicBezTo>
                  <a:cubicBezTo>
                    <a:pt x="386" y="863"/>
                    <a:pt x="323" y="855"/>
                    <a:pt x="267" y="833"/>
                  </a:cubicBezTo>
                  <a:cubicBezTo>
                    <a:pt x="212" y="813"/>
                    <a:pt x="164" y="783"/>
                    <a:pt x="125" y="747"/>
                  </a:cubicBezTo>
                  <a:cubicBezTo>
                    <a:pt x="86" y="708"/>
                    <a:pt x="56" y="661"/>
                    <a:pt x="34" y="608"/>
                  </a:cubicBezTo>
                  <a:cubicBezTo>
                    <a:pt x="12" y="552"/>
                    <a:pt x="0" y="494"/>
                    <a:pt x="0" y="427"/>
                  </a:cubicBezTo>
                  <a:cubicBezTo>
                    <a:pt x="0" y="366"/>
                    <a:pt x="12" y="308"/>
                    <a:pt x="34" y="255"/>
                  </a:cubicBezTo>
                  <a:cubicBezTo>
                    <a:pt x="56" y="202"/>
                    <a:pt x="86" y="158"/>
                    <a:pt x="125" y="119"/>
                  </a:cubicBezTo>
                  <a:cubicBezTo>
                    <a:pt x="164" y="80"/>
                    <a:pt x="209" y="52"/>
                    <a:pt x="264" y="30"/>
                  </a:cubicBezTo>
                  <a:cubicBezTo>
                    <a:pt x="317" y="8"/>
                    <a:pt x="378" y="0"/>
                    <a:pt x="445" y="0"/>
                  </a:cubicBezTo>
                  <a:cubicBezTo>
                    <a:pt x="511" y="0"/>
                    <a:pt x="573" y="8"/>
                    <a:pt x="628" y="30"/>
                  </a:cubicBezTo>
                  <a:cubicBezTo>
                    <a:pt x="684" y="50"/>
                    <a:pt x="731" y="80"/>
                    <a:pt x="770" y="122"/>
                  </a:cubicBezTo>
                  <a:cubicBezTo>
                    <a:pt x="809" y="163"/>
                    <a:pt x="836" y="216"/>
                    <a:pt x="853" y="277"/>
                  </a:cubicBezTo>
                  <a:cubicBezTo>
                    <a:pt x="870" y="341"/>
                    <a:pt x="875" y="413"/>
                    <a:pt x="867" y="497"/>
                  </a:cubicBezTo>
                  <a:lnTo>
                    <a:pt x="186" y="352"/>
                  </a:lnTo>
                  <a:lnTo>
                    <a:pt x="186" y="352"/>
                  </a:lnTo>
                  <a:cubicBezTo>
                    <a:pt x="698" y="352"/>
                    <a:pt x="698" y="352"/>
                    <a:pt x="698" y="352"/>
                  </a:cubicBezTo>
                  <a:cubicBezTo>
                    <a:pt x="692" y="286"/>
                    <a:pt x="667" y="236"/>
                    <a:pt x="623" y="202"/>
                  </a:cubicBezTo>
                  <a:cubicBezTo>
                    <a:pt x="578" y="169"/>
                    <a:pt x="520" y="152"/>
                    <a:pt x="450" y="152"/>
                  </a:cubicBezTo>
                  <a:cubicBezTo>
                    <a:pt x="384" y="152"/>
                    <a:pt x="328" y="169"/>
                    <a:pt x="281"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9" name="Freeform 36">
              <a:extLst>
                <a:ext uri="{FF2B5EF4-FFF2-40B4-BE49-F238E27FC236}">
                  <a16:creationId xmlns:a16="http://schemas.microsoft.com/office/drawing/2014/main" id="{1D65CA47-B9DB-0E42-A6A7-78C35913AE91}"/>
                </a:ext>
              </a:extLst>
            </p:cNvPr>
            <p:cNvSpPr>
              <a:spLocks noChangeArrowheads="1"/>
            </p:cNvSpPr>
            <p:nvPr userDrawn="1"/>
          </p:nvSpPr>
          <p:spPr bwMode="auto">
            <a:xfrm>
              <a:off x="6570663" y="3024188"/>
              <a:ext cx="77787" cy="76200"/>
            </a:xfrm>
            <a:custGeom>
              <a:avLst/>
              <a:gdLst>
                <a:gd name="T0" fmla="*/ 0 w 218"/>
                <a:gd name="T1" fmla="*/ 106 h 213"/>
                <a:gd name="T2" fmla="*/ 0 w 218"/>
                <a:gd name="T3" fmla="*/ 106 h 213"/>
                <a:gd name="T4" fmla="*/ 33 w 218"/>
                <a:gd name="T5" fmla="*/ 25 h 213"/>
                <a:gd name="T6" fmla="*/ 108 w 218"/>
                <a:gd name="T7" fmla="*/ 0 h 213"/>
                <a:gd name="T8" fmla="*/ 183 w 218"/>
                <a:gd name="T9" fmla="*/ 25 h 213"/>
                <a:gd name="T10" fmla="*/ 217 w 218"/>
                <a:gd name="T11" fmla="*/ 106 h 213"/>
                <a:gd name="T12" fmla="*/ 183 w 218"/>
                <a:gd name="T13" fmla="*/ 184 h 213"/>
                <a:gd name="T14" fmla="*/ 108 w 218"/>
                <a:gd name="T15" fmla="*/ 212 h 213"/>
                <a:gd name="T16" fmla="*/ 33 w 218"/>
                <a:gd name="T17" fmla="*/ 184 h 213"/>
                <a:gd name="T18" fmla="*/ 0 w 218"/>
                <a:gd name="T19" fmla="*/ 10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3">
                  <a:moveTo>
                    <a:pt x="0" y="106"/>
                  </a:moveTo>
                  <a:lnTo>
                    <a:pt x="0" y="106"/>
                  </a:lnTo>
                  <a:cubicBezTo>
                    <a:pt x="0" y="70"/>
                    <a:pt x="11" y="42"/>
                    <a:pt x="33" y="25"/>
                  </a:cubicBezTo>
                  <a:cubicBezTo>
                    <a:pt x="56" y="9"/>
                    <a:pt x="80" y="0"/>
                    <a:pt x="108" y="0"/>
                  </a:cubicBezTo>
                  <a:cubicBezTo>
                    <a:pt x="136" y="0"/>
                    <a:pt x="161" y="9"/>
                    <a:pt x="183" y="25"/>
                  </a:cubicBezTo>
                  <a:cubicBezTo>
                    <a:pt x="206" y="42"/>
                    <a:pt x="217" y="70"/>
                    <a:pt x="217" y="106"/>
                  </a:cubicBezTo>
                  <a:cubicBezTo>
                    <a:pt x="217" y="139"/>
                    <a:pt x="206" y="167"/>
                    <a:pt x="183" y="184"/>
                  </a:cubicBezTo>
                  <a:cubicBezTo>
                    <a:pt x="161" y="203"/>
                    <a:pt x="136" y="212"/>
                    <a:pt x="108" y="212"/>
                  </a:cubicBezTo>
                  <a:cubicBezTo>
                    <a:pt x="80" y="212"/>
                    <a:pt x="56" y="203"/>
                    <a:pt x="33" y="184"/>
                  </a:cubicBezTo>
                  <a:cubicBezTo>
                    <a:pt x="11" y="167"/>
                    <a:pt x="0" y="139"/>
                    <a:pt x="0" y="106"/>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0" name="Freeform 37">
              <a:extLst>
                <a:ext uri="{FF2B5EF4-FFF2-40B4-BE49-F238E27FC236}">
                  <a16:creationId xmlns:a16="http://schemas.microsoft.com/office/drawing/2014/main" id="{8BD4A525-070F-7441-85C2-C1097D7DCD5F}"/>
                </a:ext>
              </a:extLst>
            </p:cNvPr>
            <p:cNvSpPr>
              <a:spLocks noChangeArrowheads="1"/>
            </p:cNvSpPr>
            <p:nvPr userDrawn="1"/>
          </p:nvSpPr>
          <p:spPr bwMode="auto">
            <a:xfrm>
              <a:off x="2690813" y="3625850"/>
              <a:ext cx="79375" cy="77788"/>
            </a:xfrm>
            <a:custGeom>
              <a:avLst/>
              <a:gdLst>
                <a:gd name="T0" fmla="*/ 0 w 221"/>
                <a:gd name="T1" fmla="*/ 105 h 215"/>
                <a:gd name="T2" fmla="*/ 0 w 221"/>
                <a:gd name="T3" fmla="*/ 105 h 215"/>
                <a:gd name="T4" fmla="*/ 34 w 221"/>
                <a:gd name="T5" fmla="*/ 28 h 215"/>
                <a:gd name="T6" fmla="*/ 111 w 221"/>
                <a:gd name="T7" fmla="*/ 0 h 215"/>
                <a:gd name="T8" fmla="*/ 186 w 221"/>
                <a:gd name="T9" fmla="*/ 28 h 215"/>
                <a:gd name="T10" fmla="*/ 220 w 221"/>
                <a:gd name="T11" fmla="*/ 105 h 215"/>
                <a:gd name="T12" fmla="*/ 186 w 221"/>
                <a:gd name="T13" fmla="*/ 186 h 215"/>
                <a:gd name="T14" fmla="*/ 111 w 221"/>
                <a:gd name="T15" fmla="*/ 214 h 215"/>
                <a:gd name="T16" fmla="*/ 34 w 221"/>
                <a:gd name="T17" fmla="*/ 186 h 215"/>
                <a:gd name="T18" fmla="*/ 0 w 221"/>
                <a:gd name="T19" fmla="*/ 10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215">
                  <a:moveTo>
                    <a:pt x="0" y="105"/>
                  </a:moveTo>
                  <a:lnTo>
                    <a:pt x="0" y="105"/>
                  </a:lnTo>
                  <a:cubicBezTo>
                    <a:pt x="0" y="69"/>
                    <a:pt x="11" y="44"/>
                    <a:pt x="34" y="28"/>
                  </a:cubicBezTo>
                  <a:cubicBezTo>
                    <a:pt x="59" y="8"/>
                    <a:pt x="84" y="0"/>
                    <a:pt x="111" y="0"/>
                  </a:cubicBezTo>
                  <a:cubicBezTo>
                    <a:pt x="136" y="0"/>
                    <a:pt x="161" y="8"/>
                    <a:pt x="186" y="28"/>
                  </a:cubicBezTo>
                  <a:cubicBezTo>
                    <a:pt x="209" y="44"/>
                    <a:pt x="220" y="69"/>
                    <a:pt x="220" y="105"/>
                  </a:cubicBezTo>
                  <a:cubicBezTo>
                    <a:pt x="220" y="141"/>
                    <a:pt x="209" y="169"/>
                    <a:pt x="186" y="186"/>
                  </a:cubicBezTo>
                  <a:cubicBezTo>
                    <a:pt x="161" y="202"/>
                    <a:pt x="136" y="214"/>
                    <a:pt x="111" y="214"/>
                  </a:cubicBezTo>
                  <a:cubicBezTo>
                    <a:pt x="84" y="214"/>
                    <a:pt x="59" y="202"/>
                    <a:pt x="34" y="186"/>
                  </a:cubicBezTo>
                  <a:cubicBezTo>
                    <a:pt x="11" y="169"/>
                    <a:pt x="0" y="141"/>
                    <a:pt x="0" y="105"/>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
        <p:nvSpPr>
          <p:cNvPr id="71" name="Text Placeholder 19">
            <a:extLst>
              <a:ext uri="{FF2B5EF4-FFF2-40B4-BE49-F238E27FC236}">
                <a16:creationId xmlns:a16="http://schemas.microsoft.com/office/drawing/2014/main" id="{9CE7F073-4B4F-DE4A-B3A0-AF386249A910}"/>
              </a:ext>
            </a:extLst>
          </p:cNvPr>
          <p:cNvSpPr>
            <a:spLocks noGrp="1"/>
          </p:cNvSpPr>
          <p:nvPr userDrawn="1">
            <p:ph type="body" sz="quarter" idx="10" hasCustomPrompt="1"/>
          </p:nvPr>
        </p:nvSpPr>
        <p:spPr>
          <a:xfrm>
            <a:off x="1" y="2696007"/>
            <a:ext cx="3455988" cy="455087"/>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grpSp>
        <p:nvGrpSpPr>
          <p:cNvPr id="72" name="Group 71">
            <a:extLst>
              <a:ext uri="{FF2B5EF4-FFF2-40B4-BE49-F238E27FC236}">
                <a16:creationId xmlns:a16="http://schemas.microsoft.com/office/drawing/2014/main" id="{3560E46D-BA4C-E840-B0F8-C5DB8CA0AAC7}"/>
              </a:ext>
            </a:extLst>
          </p:cNvPr>
          <p:cNvGrpSpPr/>
          <p:nvPr userDrawn="1"/>
        </p:nvGrpSpPr>
        <p:grpSpPr>
          <a:xfrm>
            <a:off x="4651520" y="428195"/>
            <a:ext cx="3757031" cy="5211006"/>
            <a:chOff x="4597400" y="-2041897"/>
            <a:chExt cx="5735638" cy="7955335"/>
          </a:xfrm>
        </p:grpSpPr>
        <p:sp>
          <p:nvSpPr>
            <p:cNvPr id="73" name="Freeform 1">
              <a:extLst>
                <a:ext uri="{FF2B5EF4-FFF2-40B4-BE49-F238E27FC236}">
                  <a16:creationId xmlns:a16="http://schemas.microsoft.com/office/drawing/2014/main" id="{B1C26064-59F4-E340-86DF-DD50C71FDAD0}"/>
                </a:ext>
              </a:extLst>
            </p:cNvPr>
            <p:cNvSpPr>
              <a:spLocks noChangeArrowheads="1"/>
            </p:cNvSpPr>
            <p:nvPr/>
          </p:nvSpPr>
          <p:spPr bwMode="auto">
            <a:xfrm>
              <a:off x="5988050" y="-611188"/>
              <a:ext cx="2519363" cy="1636713"/>
            </a:xfrm>
            <a:custGeom>
              <a:avLst/>
              <a:gdLst>
                <a:gd name="T0" fmla="*/ 157 w 7000"/>
                <a:gd name="T1" fmla="*/ 4545 h 4546"/>
                <a:gd name="T2" fmla="*/ 157 w 7000"/>
                <a:gd name="T3" fmla="*/ 4545 h 4546"/>
                <a:gd name="T4" fmla="*/ 1593 w 7000"/>
                <a:gd name="T5" fmla="*/ 3056 h 4546"/>
                <a:gd name="T6" fmla="*/ 2247 w 7000"/>
                <a:gd name="T7" fmla="*/ 1933 h 4546"/>
                <a:gd name="T8" fmla="*/ 3448 w 7000"/>
                <a:gd name="T9" fmla="*/ 993 h 4546"/>
                <a:gd name="T10" fmla="*/ 5276 w 7000"/>
                <a:gd name="T11" fmla="*/ 1672 h 4546"/>
                <a:gd name="T12" fmla="*/ 6529 w 7000"/>
                <a:gd name="T13" fmla="*/ 3082 h 4546"/>
                <a:gd name="T14" fmla="*/ 6189 w 7000"/>
                <a:gd name="T15" fmla="*/ 4440 h 4546"/>
                <a:gd name="T16" fmla="*/ 157 w 7000"/>
                <a:gd name="T17" fmla="*/ 4545 h 4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0" h="4546">
                  <a:moveTo>
                    <a:pt x="157" y="4545"/>
                  </a:moveTo>
                  <a:lnTo>
                    <a:pt x="157" y="4545"/>
                  </a:lnTo>
                  <a:cubicBezTo>
                    <a:pt x="0" y="4049"/>
                    <a:pt x="549" y="2769"/>
                    <a:pt x="1593" y="3056"/>
                  </a:cubicBezTo>
                  <a:cubicBezTo>
                    <a:pt x="2429" y="3265"/>
                    <a:pt x="2586" y="2612"/>
                    <a:pt x="2247" y="1933"/>
                  </a:cubicBezTo>
                  <a:cubicBezTo>
                    <a:pt x="1907" y="1254"/>
                    <a:pt x="2534" y="0"/>
                    <a:pt x="3448" y="993"/>
                  </a:cubicBezTo>
                  <a:cubicBezTo>
                    <a:pt x="4361" y="1960"/>
                    <a:pt x="4518" y="2142"/>
                    <a:pt x="5276" y="1672"/>
                  </a:cubicBezTo>
                  <a:cubicBezTo>
                    <a:pt x="6033" y="1228"/>
                    <a:pt x="6999" y="2534"/>
                    <a:pt x="6529" y="3082"/>
                  </a:cubicBezTo>
                  <a:cubicBezTo>
                    <a:pt x="6033" y="3657"/>
                    <a:pt x="6189" y="4440"/>
                    <a:pt x="6189" y="4440"/>
                  </a:cubicBezTo>
                  <a:cubicBezTo>
                    <a:pt x="6189" y="4440"/>
                    <a:pt x="680" y="4545"/>
                    <a:pt x="157" y="4545"/>
                  </a:cubicBezTo>
                </a:path>
              </a:pathLst>
            </a:custGeom>
            <a:solidFill>
              <a:srgbClr val="EE3A6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4" name="Freeform 2">
              <a:extLst>
                <a:ext uri="{FF2B5EF4-FFF2-40B4-BE49-F238E27FC236}">
                  <a16:creationId xmlns:a16="http://schemas.microsoft.com/office/drawing/2014/main" id="{B2A125C1-178E-6E42-98B0-636833CCB2A9}"/>
                </a:ext>
              </a:extLst>
            </p:cNvPr>
            <p:cNvSpPr>
              <a:spLocks noChangeArrowheads="1"/>
            </p:cNvSpPr>
            <p:nvPr/>
          </p:nvSpPr>
          <p:spPr bwMode="auto">
            <a:xfrm>
              <a:off x="4597400" y="1258888"/>
              <a:ext cx="1035050" cy="555625"/>
            </a:xfrm>
            <a:custGeom>
              <a:avLst/>
              <a:gdLst>
                <a:gd name="T0" fmla="*/ 2795 w 2873"/>
                <a:gd name="T1" fmla="*/ 1385 h 1543"/>
                <a:gd name="T2" fmla="*/ 2795 w 2873"/>
                <a:gd name="T3" fmla="*/ 1385 h 1543"/>
                <a:gd name="T4" fmla="*/ 2455 w 2873"/>
                <a:gd name="T5" fmla="*/ 863 h 1543"/>
                <a:gd name="T6" fmla="*/ 1959 w 2873"/>
                <a:gd name="T7" fmla="*/ 341 h 1543"/>
                <a:gd name="T8" fmla="*/ 1280 w 2873"/>
                <a:gd name="T9" fmla="*/ 288 h 1543"/>
                <a:gd name="T10" fmla="*/ 705 w 2873"/>
                <a:gd name="T11" fmla="*/ 549 h 1543"/>
                <a:gd name="T12" fmla="*/ 235 w 2873"/>
                <a:gd name="T13" fmla="*/ 810 h 1543"/>
                <a:gd name="T14" fmla="*/ 366 w 2873"/>
                <a:gd name="T15" fmla="*/ 1359 h 1543"/>
                <a:gd name="T16" fmla="*/ 2795 w 2873"/>
                <a:gd name="T17" fmla="*/ 1385 h 1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73" h="1543">
                  <a:moveTo>
                    <a:pt x="2795" y="1385"/>
                  </a:moveTo>
                  <a:lnTo>
                    <a:pt x="2795" y="1385"/>
                  </a:lnTo>
                  <a:cubicBezTo>
                    <a:pt x="2872" y="1202"/>
                    <a:pt x="2821" y="810"/>
                    <a:pt x="2455" y="863"/>
                  </a:cubicBezTo>
                  <a:cubicBezTo>
                    <a:pt x="1671" y="1046"/>
                    <a:pt x="2194" y="654"/>
                    <a:pt x="1959" y="341"/>
                  </a:cubicBezTo>
                  <a:cubicBezTo>
                    <a:pt x="1723" y="0"/>
                    <a:pt x="1593" y="392"/>
                    <a:pt x="1280" y="288"/>
                  </a:cubicBezTo>
                  <a:cubicBezTo>
                    <a:pt x="966" y="183"/>
                    <a:pt x="1019" y="733"/>
                    <a:pt x="705" y="549"/>
                  </a:cubicBezTo>
                  <a:cubicBezTo>
                    <a:pt x="418" y="392"/>
                    <a:pt x="26" y="575"/>
                    <a:pt x="235" y="810"/>
                  </a:cubicBezTo>
                  <a:cubicBezTo>
                    <a:pt x="418" y="1019"/>
                    <a:pt x="0" y="1150"/>
                    <a:pt x="366" y="1359"/>
                  </a:cubicBezTo>
                  <a:cubicBezTo>
                    <a:pt x="705" y="1542"/>
                    <a:pt x="2586" y="1385"/>
                    <a:pt x="2795" y="1385"/>
                  </a:cubicBezTo>
                </a:path>
              </a:pathLst>
            </a:custGeom>
            <a:solidFill>
              <a:srgbClr val="EE3A6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5" name="Freeform 3">
              <a:extLst>
                <a:ext uri="{FF2B5EF4-FFF2-40B4-BE49-F238E27FC236}">
                  <a16:creationId xmlns:a16="http://schemas.microsoft.com/office/drawing/2014/main" id="{9F507330-A319-5042-B5E4-3B084FB47D23}"/>
                </a:ext>
              </a:extLst>
            </p:cNvPr>
            <p:cNvSpPr>
              <a:spLocks noChangeArrowheads="1"/>
            </p:cNvSpPr>
            <p:nvPr/>
          </p:nvSpPr>
          <p:spPr bwMode="auto">
            <a:xfrm>
              <a:off x="4672013" y="2613025"/>
              <a:ext cx="3159125" cy="3290888"/>
            </a:xfrm>
            <a:custGeom>
              <a:avLst/>
              <a:gdLst>
                <a:gd name="T0" fmla="*/ 6921 w 8775"/>
                <a:gd name="T1" fmla="*/ 757 h 9142"/>
                <a:gd name="T2" fmla="*/ 6921 w 8775"/>
                <a:gd name="T3" fmla="*/ 757 h 9142"/>
                <a:gd name="T4" fmla="*/ 6816 w 8775"/>
                <a:gd name="T5" fmla="*/ 627 h 9142"/>
                <a:gd name="T6" fmla="*/ 5641 w 8775"/>
                <a:gd name="T7" fmla="*/ 340 h 9142"/>
                <a:gd name="T8" fmla="*/ 5354 w 8775"/>
                <a:gd name="T9" fmla="*/ 549 h 9142"/>
                <a:gd name="T10" fmla="*/ 5694 w 8775"/>
                <a:gd name="T11" fmla="*/ 914 h 9142"/>
                <a:gd name="T12" fmla="*/ 5615 w 8775"/>
                <a:gd name="T13" fmla="*/ 914 h 9142"/>
                <a:gd name="T14" fmla="*/ 5432 w 8775"/>
                <a:gd name="T15" fmla="*/ 1071 h 9142"/>
                <a:gd name="T16" fmla="*/ 6686 w 8775"/>
                <a:gd name="T17" fmla="*/ 1201 h 9142"/>
                <a:gd name="T18" fmla="*/ 4806 w 8775"/>
                <a:gd name="T19" fmla="*/ 2090 h 9142"/>
                <a:gd name="T20" fmla="*/ 4022 w 8775"/>
                <a:gd name="T21" fmla="*/ 2037 h 9142"/>
                <a:gd name="T22" fmla="*/ 3865 w 8775"/>
                <a:gd name="T23" fmla="*/ 1958 h 9142"/>
                <a:gd name="T24" fmla="*/ 3630 w 8775"/>
                <a:gd name="T25" fmla="*/ 1489 h 9142"/>
                <a:gd name="T26" fmla="*/ 3918 w 8775"/>
                <a:gd name="T27" fmla="*/ 1384 h 9142"/>
                <a:gd name="T28" fmla="*/ 3944 w 8775"/>
                <a:gd name="T29" fmla="*/ 1332 h 9142"/>
                <a:gd name="T30" fmla="*/ 3526 w 8775"/>
                <a:gd name="T31" fmla="*/ 391 h 9142"/>
                <a:gd name="T32" fmla="*/ 2873 w 8775"/>
                <a:gd name="T33" fmla="*/ 52 h 9142"/>
                <a:gd name="T34" fmla="*/ 2847 w 8775"/>
                <a:gd name="T35" fmla="*/ 1384 h 9142"/>
                <a:gd name="T36" fmla="*/ 3134 w 8775"/>
                <a:gd name="T37" fmla="*/ 2142 h 9142"/>
                <a:gd name="T38" fmla="*/ 3082 w 8775"/>
                <a:gd name="T39" fmla="*/ 2376 h 9142"/>
                <a:gd name="T40" fmla="*/ 1959 w 8775"/>
                <a:gd name="T41" fmla="*/ 3239 h 9142"/>
                <a:gd name="T42" fmla="*/ 1019 w 8775"/>
                <a:gd name="T43" fmla="*/ 4257 h 9142"/>
                <a:gd name="T44" fmla="*/ 0 w 8775"/>
                <a:gd name="T45" fmla="*/ 9141 h 9142"/>
                <a:gd name="T46" fmla="*/ 1097 w 8775"/>
                <a:gd name="T47" fmla="*/ 9141 h 9142"/>
                <a:gd name="T48" fmla="*/ 2142 w 8775"/>
                <a:gd name="T49" fmla="*/ 5302 h 9142"/>
                <a:gd name="T50" fmla="*/ 2742 w 8775"/>
                <a:gd name="T51" fmla="*/ 9141 h 9142"/>
                <a:gd name="T52" fmla="*/ 5772 w 8775"/>
                <a:gd name="T53" fmla="*/ 9141 h 9142"/>
                <a:gd name="T54" fmla="*/ 6242 w 8775"/>
                <a:gd name="T55" fmla="*/ 4101 h 9142"/>
                <a:gd name="T56" fmla="*/ 7104 w 8775"/>
                <a:gd name="T57" fmla="*/ 4152 h 9142"/>
                <a:gd name="T58" fmla="*/ 8591 w 8775"/>
                <a:gd name="T59" fmla="*/ 3343 h 9142"/>
                <a:gd name="T60" fmla="*/ 6921 w 8775"/>
                <a:gd name="T61" fmla="*/ 757 h 9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775" h="9142">
                  <a:moveTo>
                    <a:pt x="6921" y="757"/>
                  </a:moveTo>
                  <a:lnTo>
                    <a:pt x="6921" y="757"/>
                  </a:lnTo>
                  <a:cubicBezTo>
                    <a:pt x="6816" y="627"/>
                    <a:pt x="6816" y="627"/>
                    <a:pt x="6816" y="627"/>
                  </a:cubicBezTo>
                  <a:cubicBezTo>
                    <a:pt x="6530" y="391"/>
                    <a:pt x="5981" y="209"/>
                    <a:pt x="5641" y="340"/>
                  </a:cubicBezTo>
                  <a:cubicBezTo>
                    <a:pt x="5354" y="549"/>
                    <a:pt x="5354" y="549"/>
                    <a:pt x="5354" y="549"/>
                  </a:cubicBezTo>
                  <a:cubicBezTo>
                    <a:pt x="5694" y="914"/>
                    <a:pt x="5694" y="914"/>
                    <a:pt x="5694" y="914"/>
                  </a:cubicBezTo>
                  <a:cubicBezTo>
                    <a:pt x="5667" y="914"/>
                    <a:pt x="5641" y="914"/>
                    <a:pt x="5615" y="914"/>
                  </a:cubicBezTo>
                  <a:cubicBezTo>
                    <a:pt x="5432" y="941"/>
                    <a:pt x="5432" y="1071"/>
                    <a:pt x="5432" y="1071"/>
                  </a:cubicBezTo>
                  <a:cubicBezTo>
                    <a:pt x="6686" y="1201"/>
                    <a:pt x="6686" y="1201"/>
                    <a:pt x="6686" y="1201"/>
                  </a:cubicBezTo>
                  <a:cubicBezTo>
                    <a:pt x="8122" y="1358"/>
                    <a:pt x="8096" y="3683"/>
                    <a:pt x="4806" y="2090"/>
                  </a:cubicBezTo>
                  <a:cubicBezTo>
                    <a:pt x="4022" y="2037"/>
                    <a:pt x="4022" y="2037"/>
                    <a:pt x="4022" y="2037"/>
                  </a:cubicBezTo>
                  <a:cubicBezTo>
                    <a:pt x="3970" y="2037"/>
                    <a:pt x="3918" y="2011"/>
                    <a:pt x="3865" y="1958"/>
                  </a:cubicBezTo>
                  <a:cubicBezTo>
                    <a:pt x="3865" y="1958"/>
                    <a:pt x="3605" y="1489"/>
                    <a:pt x="3630" y="1489"/>
                  </a:cubicBezTo>
                  <a:cubicBezTo>
                    <a:pt x="3918" y="1384"/>
                    <a:pt x="3918" y="1384"/>
                    <a:pt x="3918" y="1384"/>
                  </a:cubicBezTo>
                  <a:cubicBezTo>
                    <a:pt x="3944" y="1384"/>
                    <a:pt x="3944" y="1358"/>
                    <a:pt x="3944" y="1332"/>
                  </a:cubicBezTo>
                  <a:cubicBezTo>
                    <a:pt x="3526" y="391"/>
                    <a:pt x="3526" y="391"/>
                    <a:pt x="3526" y="391"/>
                  </a:cubicBezTo>
                  <a:cubicBezTo>
                    <a:pt x="3422" y="131"/>
                    <a:pt x="3160" y="0"/>
                    <a:pt x="2873" y="52"/>
                  </a:cubicBezTo>
                  <a:cubicBezTo>
                    <a:pt x="2507" y="131"/>
                    <a:pt x="2455" y="523"/>
                    <a:pt x="2847" y="1384"/>
                  </a:cubicBezTo>
                  <a:cubicBezTo>
                    <a:pt x="3134" y="2142"/>
                    <a:pt x="3134" y="2142"/>
                    <a:pt x="3134" y="2142"/>
                  </a:cubicBezTo>
                  <a:cubicBezTo>
                    <a:pt x="3187" y="2220"/>
                    <a:pt x="3160" y="2325"/>
                    <a:pt x="3082" y="2376"/>
                  </a:cubicBezTo>
                  <a:cubicBezTo>
                    <a:pt x="1959" y="3239"/>
                    <a:pt x="1959" y="3239"/>
                    <a:pt x="1959" y="3239"/>
                  </a:cubicBezTo>
                  <a:cubicBezTo>
                    <a:pt x="1593" y="3552"/>
                    <a:pt x="1279" y="3892"/>
                    <a:pt x="1019" y="4257"/>
                  </a:cubicBezTo>
                  <a:cubicBezTo>
                    <a:pt x="78" y="5563"/>
                    <a:pt x="104" y="7444"/>
                    <a:pt x="0" y="9141"/>
                  </a:cubicBezTo>
                  <a:cubicBezTo>
                    <a:pt x="1097" y="9141"/>
                    <a:pt x="1097" y="9141"/>
                    <a:pt x="1097" y="9141"/>
                  </a:cubicBezTo>
                  <a:cubicBezTo>
                    <a:pt x="1254" y="7862"/>
                    <a:pt x="1332" y="6137"/>
                    <a:pt x="2142" y="5302"/>
                  </a:cubicBezTo>
                  <a:cubicBezTo>
                    <a:pt x="2742" y="9141"/>
                    <a:pt x="2742" y="9141"/>
                    <a:pt x="2742" y="9141"/>
                  </a:cubicBezTo>
                  <a:cubicBezTo>
                    <a:pt x="5772" y="9141"/>
                    <a:pt x="5772" y="9141"/>
                    <a:pt x="5772" y="9141"/>
                  </a:cubicBezTo>
                  <a:cubicBezTo>
                    <a:pt x="6242" y="4101"/>
                    <a:pt x="6242" y="4101"/>
                    <a:pt x="6242" y="4101"/>
                  </a:cubicBezTo>
                  <a:cubicBezTo>
                    <a:pt x="7104" y="4152"/>
                    <a:pt x="7104" y="4152"/>
                    <a:pt x="7104" y="4152"/>
                  </a:cubicBezTo>
                  <a:cubicBezTo>
                    <a:pt x="7626" y="4179"/>
                    <a:pt x="8591" y="3343"/>
                    <a:pt x="8591" y="3343"/>
                  </a:cubicBezTo>
                  <a:cubicBezTo>
                    <a:pt x="8670" y="2794"/>
                    <a:pt x="8774" y="1410"/>
                    <a:pt x="6921" y="757"/>
                  </a:cubicBez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6" name="Freeform 4">
              <a:extLst>
                <a:ext uri="{FF2B5EF4-FFF2-40B4-BE49-F238E27FC236}">
                  <a16:creationId xmlns:a16="http://schemas.microsoft.com/office/drawing/2014/main" id="{942710C0-DB6A-A245-851F-0C7D21F33471}"/>
                </a:ext>
              </a:extLst>
            </p:cNvPr>
            <p:cNvSpPr>
              <a:spLocks noChangeArrowheads="1"/>
            </p:cNvSpPr>
            <p:nvPr/>
          </p:nvSpPr>
          <p:spPr bwMode="auto">
            <a:xfrm>
              <a:off x="6723063" y="2716213"/>
              <a:ext cx="254000" cy="311150"/>
            </a:xfrm>
            <a:custGeom>
              <a:avLst/>
              <a:gdLst>
                <a:gd name="T0" fmla="*/ 26 w 706"/>
                <a:gd name="T1" fmla="*/ 627 h 863"/>
                <a:gd name="T2" fmla="*/ 26 w 706"/>
                <a:gd name="T3" fmla="*/ 627 h 863"/>
                <a:gd name="T4" fmla="*/ 496 w 706"/>
                <a:gd name="T5" fmla="*/ 366 h 863"/>
                <a:gd name="T6" fmla="*/ 0 w 706"/>
                <a:gd name="T7" fmla="*/ 575 h 863"/>
                <a:gd name="T8" fmla="*/ 26 w 706"/>
                <a:gd name="T9" fmla="*/ 627 h 863"/>
              </a:gdLst>
              <a:ahLst/>
              <a:cxnLst>
                <a:cxn ang="0">
                  <a:pos x="T0" y="T1"/>
                </a:cxn>
                <a:cxn ang="0">
                  <a:pos x="T2" y="T3"/>
                </a:cxn>
                <a:cxn ang="0">
                  <a:pos x="T4" y="T5"/>
                </a:cxn>
                <a:cxn ang="0">
                  <a:pos x="T6" y="T7"/>
                </a:cxn>
                <a:cxn ang="0">
                  <a:pos x="T8" y="T9"/>
                </a:cxn>
              </a:cxnLst>
              <a:rect l="0" t="0" r="r" b="b"/>
              <a:pathLst>
                <a:path w="706" h="863">
                  <a:moveTo>
                    <a:pt x="26" y="627"/>
                  </a:moveTo>
                  <a:lnTo>
                    <a:pt x="26" y="627"/>
                  </a:lnTo>
                  <a:cubicBezTo>
                    <a:pt x="391" y="862"/>
                    <a:pt x="705" y="731"/>
                    <a:pt x="496" y="366"/>
                  </a:cubicBezTo>
                  <a:cubicBezTo>
                    <a:pt x="261" y="0"/>
                    <a:pt x="0" y="575"/>
                    <a:pt x="0" y="575"/>
                  </a:cubicBezTo>
                  <a:lnTo>
                    <a:pt x="26" y="627"/>
                  </a:lnTo>
                </a:path>
              </a:pathLst>
            </a:custGeom>
            <a:solidFill>
              <a:srgbClr val="8D8D8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7" name="Freeform 5">
              <a:extLst>
                <a:ext uri="{FF2B5EF4-FFF2-40B4-BE49-F238E27FC236}">
                  <a16:creationId xmlns:a16="http://schemas.microsoft.com/office/drawing/2014/main" id="{82EDBCD5-8ECE-FA4C-8056-A722E584DA6F}"/>
                </a:ext>
              </a:extLst>
            </p:cNvPr>
            <p:cNvSpPr>
              <a:spLocks noChangeArrowheads="1"/>
            </p:cNvSpPr>
            <p:nvPr/>
          </p:nvSpPr>
          <p:spPr bwMode="auto">
            <a:xfrm>
              <a:off x="6346825" y="2593975"/>
              <a:ext cx="565150" cy="347663"/>
            </a:xfrm>
            <a:custGeom>
              <a:avLst/>
              <a:gdLst>
                <a:gd name="T0" fmla="*/ 0 w 1568"/>
                <a:gd name="T1" fmla="*/ 339 h 967"/>
                <a:gd name="T2" fmla="*/ 0 w 1568"/>
                <a:gd name="T3" fmla="*/ 339 h 967"/>
                <a:gd name="T4" fmla="*/ 1280 w 1568"/>
                <a:gd name="T5" fmla="*/ 966 h 967"/>
                <a:gd name="T6" fmla="*/ 1410 w 1568"/>
                <a:gd name="T7" fmla="*/ 914 h 967"/>
                <a:gd name="T8" fmla="*/ 1541 w 1568"/>
                <a:gd name="T9" fmla="*/ 705 h 967"/>
                <a:gd name="T10" fmla="*/ 1541 w 1568"/>
                <a:gd name="T11" fmla="*/ 522 h 967"/>
                <a:gd name="T12" fmla="*/ 1463 w 1568"/>
                <a:gd name="T13" fmla="*/ 470 h 967"/>
                <a:gd name="T14" fmla="*/ 470 w 1568"/>
                <a:gd name="T15" fmla="*/ 0 h 967"/>
                <a:gd name="T16" fmla="*/ 0 w 1568"/>
                <a:gd name="T17" fmla="*/ 339 h 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8" h="967">
                  <a:moveTo>
                    <a:pt x="0" y="339"/>
                  </a:moveTo>
                  <a:lnTo>
                    <a:pt x="0" y="339"/>
                  </a:lnTo>
                  <a:cubicBezTo>
                    <a:pt x="0" y="339"/>
                    <a:pt x="496" y="940"/>
                    <a:pt x="1280" y="966"/>
                  </a:cubicBezTo>
                  <a:cubicBezTo>
                    <a:pt x="1306" y="966"/>
                    <a:pt x="1358" y="966"/>
                    <a:pt x="1410" y="914"/>
                  </a:cubicBezTo>
                  <a:cubicBezTo>
                    <a:pt x="1489" y="835"/>
                    <a:pt x="1515" y="757"/>
                    <a:pt x="1541" y="705"/>
                  </a:cubicBezTo>
                  <a:cubicBezTo>
                    <a:pt x="1567" y="626"/>
                    <a:pt x="1567" y="575"/>
                    <a:pt x="1541" y="522"/>
                  </a:cubicBezTo>
                  <a:cubicBezTo>
                    <a:pt x="1541" y="496"/>
                    <a:pt x="1489" y="470"/>
                    <a:pt x="1463" y="470"/>
                  </a:cubicBezTo>
                  <a:cubicBezTo>
                    <a:pt x="1280" y="443"/>
                    <a:pt x="732" y="366"/>
                    <a:pt x="470" y="0"/>
                  </a:cubicBezTo>
                  <a:cubicBezTo>
                    <a:pt x="157" y="52"/>
                    <a:pt x="0" y="339"/>
                    <a:pt x="0" y="339"/>
                  </a:cubicBezTo>
                </a:path>
              </a:pathLst>
            </a:custGeom>
            <a:solidFill>
              <a:srgbClr val="149DC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8" name="Freeform 6">
              <a:extLst>
                <a:ext uri="{FF2B5EF4-FFF2-40B4-BE49-F238E27FC236}">
                  <a16:creationId xmlns:a16="http://schemas.microsoft.com/office/drawing/2014/main" id="{DD8C9F6D-E478-854F-B3F7-C793F0FE436B}"/>
                </a:ext>
              </a:extLst>
            </p:cNvPr>
            <p:cNvSpPr>
              <a:spLocks noChangeArrowheads="1"/>
            </p:cNvSpPr>
            <p:nvPr/>
          </p:nvSpPr>
          <p:spPr bwMode="auto">
            <a:xfrm>
              <a:off x="6684963" y="2744788"/>
              <a:ext cx="19050" cy="19050"/>
            </a:xfrm>
            <a:custGeom>
              <a:avLst/>
              <a:gdLst>
                <a:gd name="T0" fmla="*/ 25 w 52"/>
                <a:gd name="T1" fmla="*/ 53 h 54"/>
                <a:gd name="T2" fmla="*/ 51 w 52"/>
                <a:gd name="T3" fmla="*/ 0 h 54"/>
                <a:gd name="T4" fmla="*/ 0 w 52"/>
                <a:gd name="T5" fmla="*/ 26 h 54"/>
                <a:gd name="T6" fmla="*/ 25 w 52"/>
                <a:gd name="T7" fmla="*/ 53 h 54"/>
              </a:gdLst>
              <a:ahLst/>
              <a:cxnLst>
                <a:cxn ang="0">
                  <a:pos x="T0" y="T1"/>
                </a:cxn>
                <a:cxn ang="0">
                  <a:pos x="T2" y="T3"/>
                </a:cxn>
                <a:cxn ang="0">
                  <a:pos x="T4" y="T5"/>
                </a:cxn>
                <a:cxn ang="0">
                  <a:pos x="T6" y="T7"/>
                </a:cxn>
              </a:cxnLst>
              <a:rect l="0" t="0" r="r" b="b"/>
              <a:pathLst>
                <a:path w="52" h="54">
                  <a:moveTo>
                    <a:pt x="25" y="53"/>
                  </a:moveTo>
                  <a:lnTo>
                    <a:pt x="51" y="0"/>
                  </a:lnTo>
                  <a:lnTo>
                    <a:pt x="0" y="26"/>
                  </a:lnTo>
                  <a:lnTo>
                    <a:pt x="25" y="53"/>
                  </a:lnTo>
                </a:path>
              </a:pathLst>
            </a:custGeom>
            <a:solidFill>
              <a:srgbClr val="E7385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9" name="Freeform 7">
              <a:extLst>
                <a:ext uri="{FF2B5EF4-FFF2-40B4-BE49-F238E27FC236}">
                  <a16:creationId xmlns:a16="http://schemas.microsoft.com/office/drawing/2014/main" id="{9F2FF328-455A-7949-8C69-5E48D051D90E}"/>
                </a:ext>
              </a:extLst>
            </p:cNvPr>
            <p:cNvSpPr>
              <a:spLocks noChangeArrowheads="1"/>
            </p:cNvSpPr>
            <p:nvPr/>
          </p:nvSpPr>
          <p:spPr bwMode="auto">
            <a:xfrm>
              <a:off x="6524625" y="1325563"/>
              <a:ext cx="817563" cy="893762"/>
            </a:xfrm>
            <a:custGeom>
              <a:avLst/>
              <a:gdLst>
                <a:gd name="T0" fmla="*/ 496 w 2273"/>
                <a:gd name="T1" fmla="*/ 366 h 2482"/>
                <a:gd name="T2" fmla="*/ 496 w 2273"/>
                <a:gd name="T3" fmla="*/ 366 h 2482"/>
                <a:gd name="T4" fmla="*/ 784 w 2273"/>
                <a:gd name="T5" fmla="*/ 105 h 2482"/>
                <a:gd name="T6" fmla="*/ 1097 w 2273"/>
                <a:gd name="T7" fmla="*/ 27 h 2482"/>
                <a:gd name="T8" fmla="*/ 1437 w 2273"/>
                <a:gd name="T9" fmla="*/ 79 h 2482"/>
                <a:gd name="T10" fmla="*/ 1776 w 2273"/>
                <a:gd name="T11" fmla="*/ 262 h 2482"/>
                <a:gd name="T12" fmla="*/ 2063 w 2273"/>
                <a:gd name="T13" fmla="*/ 497 h 2482"/>
                <a:gd name="T14" fmla="*/ 2221 w 2273"/>
                <a:gd name="T15" fmla="*/ 784 h 2482"/>
                <a:gd name="T16" fmla="*/ 2272 w 2273"/>
                <a:gd name="T17" fmla="*/ 1045 h 2482"/>
                <a:gd name="T18" fmla="*/ 2221 w 2273"/>
                <a:gd name="T19" fmla="*/ 1333 h 2482"/>
                <a:gd name="T20" fmla="*/ 2011 w 2273"/>
                <a:gd name="T21" fmla="*/ 1594 h 2482"/>
                <a:gd name="T22" fmla="*/ 1803 w 2273"/>
                <a:gd name="T23" fmla="*/ 1699 h 2482"/>
                <a:gd name="T24" fmla="*/ 1541 w 2273"/>
                <a:gd name="T25" fmla="*/ 1699 h 2482"/>
                <a:gd name="T26" fmla="*/ 1306 w 2273"/>
                <a:gd name="T27" fmla="*/ 1699 h 2482"/>
                <a:gd name="T28" fmla="*/ 1097 w 2273"/>
                <a:gd name="T29" fmla="*/ 1725 h 2482"/>
                <a:gd name="T30" fmla="*/ 888 w 2273"/>
                <a:gd name="T31" fmla="*/ 1881 h 2482"/>
                <a:gd name="T32" fmla="*/ 445 w 2273"/>
                <a:gd name="T33" fmla="*/ 1542 h 2482"/>
                <a:gd name="T34" fmla="*/ 705 w 2273"/>
                <a:gd name="T35" fmla="*/ 1307 h 2482"/>
                <a:gd name="T36" fmla="*/ 940 w 2273"/>
                <a:gd name="T37" fmla="*/ 1202 h 2482"/>
                <a:gd name="T38" fmla="*/ 1176 w 2273"/>
                <a:gd name="T39" fmla="*/ 1202 h 2482"/>
                <a:gd name="T40" fmla="*/ 1358 w 2273"/>
                <a:gd name="T41" fmla="*/ 1228 h 2482"/>
                <a:gd name="T42" fmla="*/ 1541 w 2273"/>
                <a:gd name="T43" fmla="*/ 1202 h 2482"/>
                <a:gd name="T44" fmla="*/ 1646 w 2273"/>
                <a:gd name="T45" fmla="*/ 1072 h 2482"/>
                <a:gd name="T46" fmla="*/ 1671 w 2273"/>
                <a:gd name="T47" fmla="*/ 863 h 2482"/>
                <a:gd name="T48" fmla="*/ 1489 w 2273"/>
                <a:gd name="T49" fmla="*/ 654 h 2482"/>
                <a:gd name="T50" fmla="*/ 1202 w 2273"/>
                <a:gd name="T51" fmla="*/ 575 h 2482"/>
                <a:gd name="T52" fmla="*/ 967 w 2273"/>
                <a:gd name="T53" fmla="*/ 706 h 2482"/>
                <a:gd name="T54" fmla="*/ 496 w 2273"/>
                <a:gd name="T55" fmla="*/ 366 h 2482"/>
                <a:gd name="T56" fmla="*/ 78 w 2273"/>
                <a:gd name="T57" fmla="*/ 1934 h 2482"/>
                <a:gd name="T58" fmla="*/ 78 w 2273"/>
                <a:gd name="T59" fmla="*/ 1934 h 2482"/>
                <a:gd name="T60" fmla="*/ 236 w 2273"/>
                <a:gd name="T61" fmla="*/ 1803 h 2482"/>
                <a:gd name="T62" fmla="*/ 392 w 2273"/>
                <a:gd name="T63" fmla="*/ 1803 h 2482"/>
                <a:gd name="T64" fmla="*/ 549 w 2273"/>
                <a:gd name="T65" fmla="*/ 1855 h 2482"/>
                <a:gd name="T66" fmla="*/ 679 w 2273"/>
                <a:gd name="T67" fmla="*/ 1985 h 2482"/>
                <a:gd name="T68" fmla="*/ 705 w 2273"/>
                <a:gd name="T69" fmla="*/ 2168 h 2482"/>
                <a:gd name="T70" fmla="*/ 627 w 2273"/>
                <a:gd name="T71" fmla="*/ 2350 h 2482"/>
                <a:gd name="T72" fmla="*/ 470 w 2273"/>
                <a:gd name="T73" fmla="*/ 2455 h 2482"/>
                <a:gd name="T74" fmla="*/ 313 w 2273"/>
                <a:gd name="T75" fmla="*/ 2481 h 2482"/>
                <a:gd name="T76" fmla="*/ 157 w 2273"/>
                <a:gd name="T77" fmla="*/ 2402 h 2482"/>
                <a:gd name="T78" fmla="*/ 53 w 2273"/>
                <a:gd name="T79" fmla="*/ 2272 h 2482"/>
                <a:gd name="T80" fmla="*/ 0 w 2273"/>
                <a:gd name="T81" fmla="*/ 2117 h 2482"/>
                <a:gd name="T82" fmla="*/ 78 w 2273"/>
                <a:gd name="T83" fmla="*/ 1934 h 2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73" h="2482">
                  <a:moveTo>
                    <a:pt x="496" y="366"/>
                  </a:moveTo>
                  <a:lnTo>
                    <a:pt x="496" y="366"/>
                  </a:lnTo>
                  <a:cubicBezTo>
                    <a:pt x="575" y="236"/>
                    <a:pt x="679" y="158"/>
                    <a:pt x="784" y="105"/>
                  </a:cubicBezTo>
                  <a:cubicBezTo>
                    <a:pt x="862" y="53"/>
                    <a:pt x="993" y="27"/>
                    <a:pt x="1097" y="27"/>
                  </a:cubicBezTo>
                  <a:cubicBezTo>
                    <a:pt x="1202" y="0"/>
                    <a:pt x="1332" y="27"/>
                    <a:pt x="1437" y="79"/>
                  </a:cubicBezTo>
                  <a:cubicBezTo>
                    <a:pt x="1567" y="105"/>
                    <a:pt x="1671" y="183"/>
                    <a:pt x="1776" y="262"/>
                  </a:cubicBezTo>
                  <a:cubicBezTo>
                    <a:pt x="1880" y="340"/>
                    <a:pt x="1985" y="418"/>
                    <a:pt x="2063" y="497"/>
                  </a:cubicBezTo>
                  <a:cubicBezTo>
                    <a:pt x="2116" y="601"/>
                    <a:pt x="2194" y="680"/>
                    <a:pt x="2221" y="784"/>
                  </a:cubicBezTo>
                  <a:cubicBezTo>
                    <a:pt x="2246" y="863"/>
                    <a:pt x="2272" y="967"/>
                    <a:pt x="2272" y="1045"/>
                  </a:cubicBezTo>
                  <a:cubicBezTo>
                    <a:pt x="2272" y="1150"/>
                    <a:pt x="2246" y="1254"/>
                    <a:pt x="2221" y="1333"/>
                  </a:cubicBezTo>
                  <a:cubicBezTo>
                    <a:pt x="2142" y="1463"/>
                    <a:pt x="2089" y="1542"/>
                    <a:pt x="2011" y="1594"/>
                  </a:cubicBezTo>
                  <a:cubicBezTo>
                    <a:pt x="1933" y="1646"/>
                    <a:pt x="1880" y="1672"/>
                    <a:pt x="1803" y="1699"/>
                  </a:cubicBezTo>
                  <a:cubicBezTo>
                    <a:pt x="1724" y="1699"/>
                    <a:pt x="1646" y="1699"/>
                    <a:pt x="1541" y="1699"/>
                  </a:cubicBezTo>
                  <a:cubicBezTo>
                    <a:pt x="1462" y="1699"/>
                    <a:pt x="1385" y="1699"/>
                    <a:pt x="1306" y="1699"/>
                  </a:cubicBezTo>
                  <a:cubicBezTo>
                    <a:pt x="1228" y="1699"/>
                    <a:pt x="1149" y="1699"/>
                    <a:pt x="1097" y="1725"/>
                  </a:cubicBezTo>
                  <a:cubicBezTo>
                    <a:pt x="1019" y="1751"/>
                    <a:pt x="940" y="1803"/>
                    <a:pt x="888" y="1881"/>
                  </a:cubicBezTo>
                  <a:cubicBezTo>
                    <a:pt x="445" y="1542"/>
                    <a:pt x="445" y="1542"/>
                    <a:pt x="445" y="1542"/>
                  </a:cubicBezTo>
                  <a:cubicBezTo>
                    <a:pt x="522" y="1437"/>
                    <a:pt x="601" y="1359"/>
                    <a:pt x="705" y="1307"/>
                  </a:cubicBezTo>
                  <a:cubicBezTo>
                    <a:pt x="784" y="1254"/>
                    <a:pt x="862" y="1202"/>
                    <a:pt x="940" y="1202"/>
                  </a:cubicBezTo>
                  <a:cubicBezTo>
                    <a:pt x="1019" y="1176"/>
                    <a:pt x="1097" y="1176"/>
                    <a:pt x="1176" y="1202"/>
                  </a:cubicBezTo>
                  <a:cubicBezTo>
                    <a:pt x="1228" y="1202"/>
                    <a:pt x="1306" y="1202"/>
                    <a:pt x="1358" y="1228"/>
                  </a:cubicBezTo>
                  <a:cubicBezTo>
                    <a:pt x="1437" y="1228"/>
                    <a:pt x="1489" y="1228"/>
                    <a:pt x="1541" y="1202"/>
                  </a:cubicBezTo>
                  <a:cubicBezTo>
                    <a:pt x="1594" y="1176"/>
                    <a:pt x="1620" y="1150"/>
                    <a:pt x="1646" y="1072"/>
                  </a:cubicBezTo>
                  <a:cubicBezTo>
                    <a:pt x="1698" y="1019"/>
                    <a:pt x="1698" y="941"/>
                    <a:pt x="1671" y="863"/>
                  </a:cubicBezTo>
                  <a:cubicBezTo>
                    <a:pt x="1620" y="784"/>
                    <a:pt x="1567" y="732"/>
                    <a:pt x="1489" y="654"/>
                  </a:cubicBezTo>
                  <a:cubicBezTo>
                    <a:pt x="1385" y="601"/>
                    <a:pt x="1306" y="575"/>
                    <a:pt x="1202" y="575"/>
                  </a:cubicBezTo>
                  <a:cubicBezTo>
                    <a:pt x="1123" y="575"/>
                    <a:pt x="1019" y="627"/>
                    <a:pt x="967" y="706"/>
                  </a:cubicBezTo>
                  <a:lnTo>
                    <a:pt x="496" y="366"/>
                  </a:lnTo>
                  <a:close/>
                  <a:moveTo>
                    <a:pt x="78" y="1934"/>
                  </a:moveTo>
                  <a:lnTo>
                    <a:pt x="78" y="1934"/>
                  </a:lnTo>
                  <a:cubicBezTo>
                    <a:pt x="131" y="1881"/>
                    <a:pt x="183" y="1829"/>
                    <a:pt x="236" y="1803"/>
                  </a:cubicBezTo>
                  <a:cubicBezTo>
                    <a:pt x="287" y="1803"/>
                    <a:pt x="340" y="1776"/>
                    <a:pt x="392" y="1803"/>
                  </a:cubicBezTo>
                  <a:cubicBezTo>
                    <a:pt x="470" y="1803"/>
                    <a:pt x="522" y="1829"/>
                    <a:pt x="549" y="1855"/>
                  </a:cubicBezTo>
                  <a:cubicBezTo>
                    <a:pt x="601" y="1908"/>
                    <a:pt x="653" y="1934"/>
                    <a:pt x="679" y="1985"/>
                  </a:cubicBezTo>
                  <a:cubicBezTo>
                    <a:pt x="705" y="2038"/>
                    <a:pt x="705" y="2090"/>
                    <a:pt x="705" y="2168"/>
                  </a:cubicBezTo>
                  <a:cubicBezTo>
                    <a:pt x="705" y="2221"/>
                    <a:pt x="679" y="2272"/>
                    <a:pt x="627" y="2350"/>
                  </a:cubicBezTo>
                  <a:cubicBezTo>
                    <a:pt x="575" y="2402"/>
                    <a:pt x="549" y="2429"/>
                    <a:pt x="470" y="2455"/>
                  </a:cubicBezTo>
                  <a:cubicBezTo>
                    <a:pt x="418" y="2481"/>
                    <a:pt x="366" y="2481"/>
                    <a:pt x="313" y="2481"/>
                  </a:cubicBezTo>
                  <a:cubicBezTo>
                    <a:pt x="261" y="2455"/>
                    <a:pt x="209" y="2455"/>
                    <a:pt x="157" y="2402"/>
                  </a:cubicBezTo>
                  <a:cubicBezTo>
                    <a:pt x="104" y="2376"/>
                    <a:pt x="78" y="2325"/>
                    <a:pt x="53" y="2272"/>
                  </a:cubicBezTo>
                  <a:cubicBezTo>
                    <a:pt x="27" y="2221"/>
                    <a:pt x="0" y="2168"/>
                    <a:pt x="0" y="2117"/>
                  </a:cubicBezTo>
                  <a:cubicBezTo>
                    <a:pt x="27" y="2064"/>
                    <a:pt x="27" y="1985"/>
                    <a:pt x="78" y="1934"/>
                  </a:cubicBezTo>
                  <a:close/>
                </a:path>
              </a:pathLst>
            </a:custGeom>
            <a:solidFill>
              <a:srgbClr val="149DC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0" name="Freeform 8">
              <a:extLst>
                <a:ext uri="{FF2B5EF4-FFF2-40B4-BE49-F238E27FC236}">
                  <a16:creationId xmlns:a16="http://schemas.microsoft.com/office/drawing/2014/main" id="{DDDB068A-BD1E-1845-A30A-047D4A3CA4DE}"/>
                </a:ext>
              </a:extLst>
            </p:cNvPr>
            <p:cNvSpPr>
              <a:spLocks noChangeArrowheads="1"/>
            </p:cNvSpPr>
            <p:nvPr/>
          </p:nvSpPr>
          <p:spPr bwMode="auto">
            <a:xfrm>
              <a:off x="6119813" y="1833563"/>
              <a:ext cx="855662" cy="996950"/>
            </a:xfrm>
            <a:custGeom>
              <a:avLst/>
              <a:gdLst>
                <a:gd name="T0" fmla="*/ 1436 w 2378"/>
                <a:gd name="T1" fmla="*/ 861 h 2768"/>
                <a:gd name="T2" fmla="*/ 1436 w 2378"/>
                <a:gd name="T3" fmla="*/ 861 h 2768"/>
                <a:gd name="T4" fmla="*/ 758 w 2378"/>
                <a:gd name="T5" fmla="*/ 0 h 2768"/>
                <a:gd name="T6" fmla="*/ 758 w 2378"/>
                <a:gd name="T7" fmla="*/ 0 h 2768"/>
                <a:gd name="T8" fmla="*/ 418 w 2378"/>
                <a:gd name="T9" fmla="*/ 1123 h 2768"/>
                <a:gd name="T10" fmla="*/ 0 w 2378"/>
                <a:gd name="T11" fmla="*/ 2245 h 2768"/>
                <a:gd name="T12" fmla="*/ 601 w 2378"/>
                <a:gd name="T13" fmla="*/ 2767 h 2768"/>
                <a:gd name="T14" fmla="*/ 2377 w 2378"/>
                <a:gd name="T15" fmla="*/ 1331 h 2768"/>
                <a:gd name="T16" fmla="*/ 2377 w 2378"/>
                <a:gd name="T17" fmla="*/ 1331 h 2768"/>
                <a:gd name="T18" fmla="*/ 1436 w 2378"/>
                <a:gd name="T19" fmla="*/ 861 h 2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8" h="2768">
                  <a:moveTo>
                    <a:pt x="1436" y="861"/>
                  </a:moveTo>
                  <a:lnTo>
                    <a:pt x="1436" y="861"/>
                  </a:lnTo>
                  <a:cubicBezTo>
                    <a:pt x="1045" y="523"/>
                    <a:pt x="784" y="183"/>
                    <a:pt x="758" y="0"/>
                  </a:cubicBezTo>
                  <a:lnTo>
                    <a:pt x="758" y="0"/>
                  </a:lnTo>
                  <a:cubicBezTo>
                    <a:pt x="732" y="392"/>
                    <a:pt x="758" y="574"/>
                    <a:pt x="418" y="1123"/>
                  </a:cubicBezTo>
                  <a:cubicBezTo>
                    <a:pt x="26" y="1749"/>
                    <a:pt x="0" y="2245"/>
                    <a:pt x="0" y="2245"/>
                  </a:cubicBezTo>
                  <a:cubicBezTo>
                    <a:pt x="601" y="2767"/>
                    <a:pt x="601" y="2767"/>
                    <a:pt x="601" y="2767"/>
                  </a:cubicBezTo>
                  <a:cubicBezTo>
                    <a:pt x="601" y="2767"/>
                    <a:pt x="1541" y="1436"/>
                    <a:pt x="2377" y="1331"/>
                  </a:cubicBezTo>
                  <a:lnTo>
                    <a:pt x="2377" y="1331"/>
                  </a:lnTo>
                  <a:cubicBezTo>
                    <a:pt x="2194" y="1357"/>
                    <a:pt x="1802" y="1174"/>
                    <a:pt x="1436" y="861"/>
                  </a:cubicBezTo>
                </a:path>
              </a:pathLst>
            </a:custGeom>
            <a:solidFill>
              <a:srgbClr val="149DC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1" name="Freeform 9">
              <a:extLst>
                <a:ext uri="{FF2B5EF4-FFF2-40B4-BE49-F238E27FC236}">
                  <a16:creationId xmlns:a16="http://schemas.microsoft.com/office/drawing/2014/main" id="{AF8D78BA-1AFA-6E4F-A249-D305DAECD4A8}"/>
                </a:ext>
              </a:extLst>
            </p:cNvPr>
            <p:cNvSpPr>
              <a:spLocks noChangeArrowheads="1"/>
            </p:cNvSpPr>
            <p:nvPr/>
          </p:nvSpPr>
          <p:spPr bwMode="auto">
            <a:xfrm>
              <a:off x="6618288" y="2725738"/>
              <a:ext cx="339725" cy="225425"/>
            </a:xfrm>
            <a:custGeom>
              <a:avLst/>
              <a:gdLst>
                <a:gd name="T0" fmla="*/ 941 w 942"/>
                <a:gd name="T1" fmla="*/ 104 h 628"/>
                <a:gd name="T2" fmla="*/ 941 w 942"/>
                <a:gd name="T3" fmla="*/ 104 h 628"/>
                <a:gd name="T4" fmla="*/ 601 w 942"/>
                <a:gd name="T5" fmla="*/ 495 h 628"/>
                <a:gd name="T6" fmla="*/ 105 w 942"/>
                <a:gd name="T7" fmla="*/ 391 h 628"/>
                <a:gd name="T8" fmla="*/ 26 w 942"/>
                <a:gd name="T9" fmla="*/ 235 h 628"/>
                <a:gd name="T10" fmla="*/ 288 w 942"/>
                <a:gd name="T11" fmla="*/ 0 h 628"/>
                <a:gd name="T12" fmla="*/ 941 w 942"/>
                <a:gd name="T13" fmla="*/ 104 h 628"/>
              </a:gdLst>
              <a:ahLst/>
              <a:cxnLst>
                <a:cxn ang="0">
                  <a:pos x="T0" y="T1"/>
                </a:cxn>
                <a:cxn ang="0">
                  <a:pos x="T2" y="T3"/>
                </a:cxn>
                <a:cxn ang="0">
                  <a:pos x="T4" y="T5"/>
                </a:cxn>
                <a:cxn ang="0">
                  <a:pos x="T6" y="T7"/>
                </a:cxn>
                <a:cxn ang="0">
                  <a:pos x="T8" y="T9"/>
                </a:cxn>
                <a:cxn ang="0">
                  <a:pos x="T10" y="T11"/>
                </a:cxn>
                <a:cxn ang="0">
                  <a:pos x="T12" y="T13"/>
                </a:cxn>
              </a:cxnLst>
              <a:rect l="0" t="0" r="r" b="b"/>
              <a:pathLst>
                <a:path w="942" h="628">
                  <a:moveTo>
                    <a:pt x="941" y="104"/>
                  </a:moveTo>
                  <a:lnTo>
                    <a:pt x="941" y="104"/>
                  </a:lnTo>
                  <a:cubicBezTo>
                    <a:pt x="915" y="104"/>
                    <a:pt x="810" y="339"/>
                    <a:pt x="601" y="495"/>
                  </a:cubicBezTo>
                  <a:cubicBezTo>
                    <a:pt x="418" y="627"/>
                    <a:pt x="209" y="469"/>
                    <a:pt x="105" y="391"/>
                  </a:cubicBezTo>
                  <a:cubicBezTo>
                    <a:pt x="52" y="339"/>
                    <a:pt x="0" y="313"/>
                    <a:pt x="26" y="235"/>
                  </a:cubicBezTo>
                  <a:cubicBezTo>
                    <a:pt x="288" y="0"/>
                    <a:pt x="288" y="0"/>
                    <a:pt x="288" y="0"/>
                  </a:cubicBezTo>
                  <a:lnTo>
                    <a:pt x="941" y="10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2" name="Freeform 10">
              <a:extLst>
                <a:ext uri="{FF2B5EF4-FFF2-40B4-BE49-F238E27FC236}">
                  <a16:creationId xmlns:a16="http://schemas.microsoft.com/office/drawing/2014/main" id="{21102E1D-C599-964A-BCD0-910D51261409}"/>
                </a:ext>
              </a:extLst>
            </p:cNvPr>
            <p:cNvSpPr>
              <a:spLocks noChangeArrowheads="1"/>
            </p:cNvSpPr>
            <p:nvPr/>
          </p:nvSpPr>
          <p:spPr bwMode="auto">
            <a:xfrm>
              <a:off x="5518150" y="2349500"/>
              <a:ext cx="565150" cy="733425"/>
            </a:xfrm>
            <a:custGeom>
              <a:avLst/>
              <a:gdLst>
                <a:gd name="T0" fmla="*/ 496 w 1568"/>
                <a:gd name="T1" fmla="*/ 2037 h 2038"/>
                <a:gd name="T2" fmla="*/ 496 w 1568"/>
                <a:gd name="T3" fmla="*/ 2037 h 2038"/>
                <a:gd name="T4" fmla="*/ 261 w 1568"/>
                <a:gd name="T5" fmla="*/ 1880 h 2038"/>
                <a:gd name="T6" fmla="*/ 52 w 1568"/>
                <a:gd name="T7" fmla="*/ 1201 h 2038"/>
                <a:gd name="T8" fmla="*/ 52 w 1568"/>
                <a:gd name="T9" fmla="*/ 1201 h 2038"/>
                <a:gd name="T10" fmla="*/ 130 w 1568"/>
                <a:gd name="T11" fmla="*/ 992 h 2038"/>
                <a:gd name="T12" fmla="*/ 339 w 1568"/>
                <a:gd name="T13" fmla="*/ 679 h 2038"/>
                <a:gd name="T14" fmla="*/ 391 w 1568"/>
                <a:gd name="T15" fmla="*/ 522 h 2038"/>
                <a:gd name="T16" fmla="*/ 679 w 1568"/>
                <a:gd name="T17" fmla="*/ 26 h 2038"/>
                <a:gd name="T18" fmla="*/ 809 w 1568"/>
                <a:gd name="T19" fmla="*/ 78 h 2038"/>
                <a:gd name="T20" fmla="*/ 809 w 1568"/>
                <a:gd name="T21" fmla="*/ 78 h 2038"/>
                <a:gd name="T22" fmla="*/ 913 w 1568"/>
                <a:gd name="T23" fmla="*/ 130 h 2038"/>
                <a:gd name="T24" fmla="*/ 940 w 1568"/>
                <a:gd name="T25" fmla="*/ 130 h 2038"/>
                <a:gd name="T26" fmla="*/ 1175 w 1568"/>
                <a:gd name="T27" fmla="*/ 182 h 2038"/>
                <a:gd name="T28" fmla="*/ 1175 w 1568"/>
                <a:gd name="T29" fmla="*/ 235 h 2038"/>
                <a:gd name="T30" fmla="*/ 1358 w 1568"/>
                <a:gd name="T31" fmla="*/ 261 h 2038"/>
                <a:gd name="T32" fmla="*/ 1462 w 1568"/>
                <a:gd name="T33" fmla="*/ 182 h 2038"/>
                <a:gd name="T34" fmla="*/ 1567 w 1568"/>
                <a:gd name="T35" fmla="*/ 235 h 2038"/>
                <a:gd name="T36" fmla="*/ 1384 w 1568"/>
                <a:gd name="T37" fmla="*/ 653 h 2038"/>
                <a:gd name="T38" fmla="*/ 627 w 1568"/>
                <a:gd name="T39" fmla="*/ 1149 h 2038"/>
                <a:gd name="T40" fmla="*/ 679 w 1568"/>
                <a:gd name="T41" fmla="*/ 1802 h 2038"/>
                <a:gd name="T42" fmla="*/ 496 w 1568"/>
                <a:gd name="T43" fmla="*/ 1697 h 2038"/>
                <a:gd name="T44" fmla="*/ 496 w 1568"/>
                <a:gd name="T45" fmla="*/ 2037 h 2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68" h="2038">
                  <a:moveTo>
                    <a:pt x="496" y="2037"/>
                  </a:moveTo>
                  <a:lnTo>
                    <a:pt x="496" y="2037"/>
                  </a:lnTo>
                  <a:cubicBezTo>
                    <a:pt x="261" y="1880"/>
                    <a:pt x="261" y="1880"/>
                    <a:pt x="261" y="1880"/>
                  </a:cubicBezTo>
                  <a:cubicBezTo>
                    <a:pt x="78" y="1697"/>
                    <a:pt x="0" y="1436"/>
                    <a:pt x="52" y="1201"/>
                  </a:cubicBezTo>
                  <a:lnTo>
                    <a:pt x="52" y="1201"/>
                  </a:lnTo>
                  <a:cubicBezTo>
                    <a:pt x="78" y="1122"/>
                    <a:pt x="104" y="1071"/>
                    <a:pt x="130" y="992"/>
                  </a:cubicBezTo>
                  <a:cubicBezTo>
                    <a:pt x="339" y="679"/>
                    <a:pt x="339" y="679"/>
                    <a:pt x="339" y="679"/>
                  </a:cubicBezTo>
                  <a:cubicBezTo>
                    <a:pt x="365" y="653"/>
                    <a:pt x="391" y="522"/>
                    <a:pt x="391" y="522"/>
                  </a:cubicBezTo>
                  <a:cubicBezTo>
                    <a:pt x="444" y="182"/>
                    <a:pt x="496" y="156"/>
                    <a:pt x="679" y="26"/>
                  </a:cubicBezTo>
                  <a:cubicBezTo>
                    <a:pt x="731" y="0"/>
                    <a:pt x="783" y="26"/>
                    <a:pt x="809" y="78"/>
                  </a:cubicBezTo>
                  <a:lnTo>
                    <a:pt x="809" y="78"/>
                  </a:lnTo>
                  <a:cubicBezTo>
                    <a:pt x="809" y="156"/>
                    <a:pt x="862" y="182"/>
                    <a:pt x="913" y="130"/>
                  </a:cubicBezTo>
                  <a:cubicBezTo>
                    <a:pt x="940" y="130"/>
                    <a:pt x="940" y="130"/>
                    <a:pt x="940" y="130"/>
                  </a:cubicBezTo>
                  <a:cubicBezTo>
                    <a:pt x="992" y="52"/>
                    <a:pt x="1122" y="78"/>
                    <a:pt x="1175" y="182"/>
                  </a:cubicBezTo>
                  <a:cubicBezTo>
                    <a:pt x="1175" y="235"/>
                    <a:pt x="1175" y="235"/>
                    <a:pt x="1175" y="235"/>
                  </a:cubicBezTo>
                  <a:cubicBezTo>
                    <a:pt x="1201" y="313"/>
                    <a:pt x="1305" y="313"/>
                    <a:pt x="1358" y="261"/>
                  </a:cubicBezTo>
                  <a:cubicBezTo>
                    <a:pt x="1462" y="182"/>
                    <a:pt x="1462" y="182"/>
                    <a:pt x="1462" y="182"/>
                  </a:cubicBezTo>
                  <a:cubicBezTo>
                    <a:pt x="1488" y="156"/>
                    <a:pt x="1567" y="182"/>
                    <a:pt x="1567" y="235"/>
                  </a:cubicBezTo>
                  <a:cubicBezTo>
                    <a:pt x="1567" y="365"/>
                    <a:pt x="1488" y="496"/>
                    <a:pt x="1384" y="653"/>
                  </a:cubicBezTo>
                  <a:cubicBezTo>
                    <a:pt x="1279" y="809"/>
                    <a:pt x="731" y="1071"/>
                    <a:pt x="627" y="1149"/>
                  </a:cubicBezTo>
                  <a:cubicBezTo>
                    <a:pt x="470" y="1254"/>
                    <a:pt x="704" y="1776"/>
                    <a:pt x="679" y="1802"/>
                  </a:cubicBezTo>
                  <a:cubicBezTo>
                    <a:pt x="653" y="1802"/>
                    <a:pt x="627" y="1802"/>
                    <a:pt x="496" y="1697"/>
                  </a:cubicBezTo>
                  <a:cubicBezTo>
                    <a:pt x="287" y="1540"/>
                    <a:pt x="522" y="1906"/>
                    <a:pt x="496" y="2037"/>
                  </a:cubicBezTo>
                </a:path>
              </a:pathLst>
            </a:custGeom>
            <a:solidFill>
              <a:srgbClr val="EE3A6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3" name="Freeform 11">
              <a:extLst>
                <a:ext uri="{FF2B5EF4-FFF2-40B4-BE49-F238E27FC236}">
                  <a16:creationId xmlns:a16="http://schemas.microsoft.com/office/drawing/2014/main" id="{7AF17C05-81DD-3E46-9CED-59326A572651}"/>
                </a:ext>
              </a:extLst>
            </p:cNvPr>
            <p:cNvSpPr>
              <a:spLocks noChangeArrowheads="1"/>
            </p:cNvSpPr>
            <p:nvPr/>
          </p:nvSpPr>
          <p:spPr bwMode="auto">
            <a:xfrm>
              <a:off x="5630863" y="2933700"/>
              <a:ext cx="150812" cy="150813"/>
            </a:xfrm>
            <a:custGeom>
              <a:avLst/>
              <a:gdLst>
                <a:gd name="T0" fmla="*/ 419 w 420"/>
                <a:gd name="T1" fmla="*/ 392 h 419"/>
                <a:gd name="T2" fmla="*/ 419 w 420"/>
                <a:gd name="T3" fmla="*/ 392 h 419"/>
                <a:gd name="T4" fmla="*/ 288 w 420"/>
                <a:gd name="T5" fmla="*/ 104 h 419"/>
                <a:gd name="T6" fmla="*/ 158 w 420"/>
                <a:gd name="T7" fmla="*/ 0 h 419"/>
                <a:gd name="T8" fmla="*/ 79 w 420"/>
                <a:gd name="T9" fmla="*/ 0 h 419"/>
                <a:gd name="T10" fmla="*/ 79 w 420"/>
                <a:gd name="T11" fmla="*/ 235 h 419"/>
                <a:gd name="T12" fmla="*/ 419 w 420"/>
                <a:gd name="T13" fmla="*/ 392 h 419"/>
              </a:gdLst>
              <a:ahLst/>
              <a:cxnLst>
                <a:cxn ang="0">
                  <a:pos x="T0" y="T1"/>
                </a:cxn>
                <a:cxn ang="0">
                  <a:pos x="T2" y="T3"/>
                </a:cxn>
                <a:cxn ang="0">
                  <a:pos x="T4" y="T5"/>
                </a:cxn>
                <a:cxn ang="0">
                  <a:pos x="T6" y="T7"/>
                </a:cxn>
                <a:cxn ang="0">
                  <a:pos x="T8" y="T9"/>
                </a:cxn>
                <a:cxn ang="0">
                  <a:pos x="T10" y="T11"/>
                </a:cxn>
                <a:cxn ang="0">
                  <a:pos x="T12" y="T13"/>
                </a:cxn>
              </a:cxnLst>
              <a:rect l="0" t="0" r="r" b="b"/>
              <a:pathLst>
                <a:path w="420" h="419">
                  <a:moveTo>
                    <a:pt x="419" y="392"/>
                  </a:moveTo>
                  <a:lnTo>
                    <a:pt x="419" y="392"/>
                  </a:lnTo>
                  <a:cubicBezTo>
                    <a:pt x="419" y="392"/>
                    <a:pt x="341" y="209"/>
                    <a:pt x="288" y="104"/>
                  </a:cubicBezTo>
                  <a:cubicBezTo>
                    <a:pt x="262" y="53"/>
                    <a:pt x="210" y="26"/>
                    <a:pt x="158" y="0"/>
                  </a:cubicBezTo>
                  <a:cubicBezTo>
                    <a:pt x="106" y="0"/>
                    <a:pt x="106" y="0"/>
                    <a:pt x="79" y="0"/>
                  </a:cubicBezTo>
                  <a:cubicBezTo>
                    <a:pt x="0" y="53"/>
                    <a:pt x="27" y="183"/>
                    <a:pt x="79" y="235"/>
                  </a:cubicBezTo>
                  <a:cubicBezTo>
                    <a:pt x="236" y="366"/>
                    <a:pt x="262" y="418"/>
                    <a:pt x="419" y="392"/>
                  </a:cubicBez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4" name="Freeform 12">
              <a:extLst>
                <a:ext uri="{FF2B5EF4-FFF2-40B4-BE49-F238E27FC236}">
                  <a16:creationId xmlns:a16="http://schemas.microsoft.com/office/drawing/2014/main" id="{0F3248D7-5FED-3741-9E8C-AD1511EDD22F}"/>
                </a:ext>
              </a:extLst>
            </p:cNvPr>
            <p:cNvSpPr>
              <a:spLocks noChangeArrowheads="1"/>
            </p:cNvSpPr>
            <p:nvPr/>
          </p:nvSpPr>
          <p:spPr bwMode="auto">
            <a:xfrm>
              <a:off x="5838825" y="3121025"/>
              <a:ext cx="160338" cy="95250"/>
            </a:xfrm>
            <a:custGeom>
              <a:avLst/>
              <a:gdLst>
                <a:gd name="T0" fmla="*/ 392 w 445"/>
                <a:gd name="T1" fmla="*/ 79 h 263"/>
                <a:gd name="T2" fmla="*/ 392 w 445"/>
                <a:gd name="T3" fmla="*/ 79 h 263"/>
                <a:gd name="T4" fmla="*/ 209 w 445"/>
                <a:gd name="T5" fmla="*/ 105 h 263"/>
                <a:gd name="T6" fmla="*/ 131 w 445"/>
                <a:gd name="T7" fmla="*/ 79 h 263"/>
                <a:gd name="T8" fmla="*/ 53 w 445"/>
                <a:gd name="T9" fmla="*/ 0 h 263"/>
                <a:gd name="T10" fmla="*/ 26 w 445"/>
                <a:gd name="T11" fmla="*/ 26 h 263"/>
                <a:gd name="T12" fmla="*/ 79 w 445"/>
                <a:gd name="T13" fmla="*/ 105 h 263"/>
                <a:gd name="T14" fmla="*/ 235 w 445"/>
                <a:gd name="T15" fmla="*/ 235 h 263"/>
                <a:gd name="T16" fmla="*/ 392 w 445"/>
                <a:gd name="T17" fmla="*/ 262 h 263"/>
                <a:gd name="T18" fmla="*/ 392 w 445"/>
                <a:gd name="T19" fmla="*/ 262 h 263"/>
                <a:gd name="T20" fmla="*/ 444 w 445"/>
                <a:gd name="T21" fmla="*/ 183 h 263"/>
                <a:gd name="T22" fmla="*/ 392 w 445"/>
                <a:gd name="T23" fmla="*/ 79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5" h="263">
                  <a:moveTo>
                    <a:pt x="392" y="79"/>
                  </a:moveTo>
                  <a:lnTo>
                    <a:pt x="392" y="79"/>
                  </a:lnTo>
                  <a:cubicBezTo>
                    <a:pt x="209" y="105"/>
                    <a:pt x="209" y="105"/>
                    <a:pt x="209" y="105"/>
                  </a:cubicBezTo>
                  <a:cubicBezTo>
                    <a:pt x="184" y="105"/>
                    <a:pt x="158" y="105"/>
                    <a:pt x="131" y="79"/>
                  </a:cubicBezTo>
                  <a:cubicBezTo>
                    <a:pt x="53" y="0"/>
                    <a:pt x="53" y="0"/>
                    <a:pt x="53" y="0"/>
                  </a:cubicBezTo>
                  <a:cubicBezTo>
                    <a:pt x="26" y="0"/>
                    <a:pt x="0" y="26"/>
                    <a:pt x="26" y="26"/>
                  </a:cubicBezTo>
                  <a:cubicBezTo>
                    <a:pt x="79" y="105"/>
                    <a:pt x="79" y="105"/>
                    <a:pt x="79" y="105"/>
                  </a:cubicBezTo>
                  <a:cubicBezTo>
                    <a:pt x="131" y="183"/>
                    <a:pt x="184" y="209"/>
                    <a:pt x="235" y="235"/>
                  </a:cubicBezTo>
                  <a:cubicBezTo>
                    <a:pt x="288" y="235"/>
                    <a:pt x="340" y="262"/>
                    <a:pt x="392" y="262"/>
                  </a:cubicBezTo>
                  <a:lnTo>
                    <a:pt x="392" y="262"/>
                  </a:lnTo>
                  <a:cubicBezTo>
                    <a:pt x="418" y="262"/>
                    <a:pt x="444" y="209"/>
                    <a:pt x="444" y="183"/>
                  </a:cubicBezTo>
                  <a:lnTo>
                    <a:pt x="392" y="79"/>
                  </a:lnTo>
                </a:path>
              </a:pathLst>
            </a:custGeom>
            <a:solidFill>
              <a:srgbClr val="8D8D8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5" name="Freeform 13">
              <a:extLst>
                <a:ext uri="{FF2B5EF4-FFF2-40B4-BE49-F238E27FC236}">
                  <a16:creationId xmlns:a16="http://schemas.microsoft.com/office/drawing/2014/main" id="{B638A2A4-6983-2449-99E4-E2DCF8778CA9}"/>
                </a:ext>
              </a:extLst>
            </p:cNvPr>
            <p:cNvSpPr>
              <a:spLocks noChangeArrowheads="1"/>
            </p:cNvSpPr>
            <p:nvPr/>
          </p:nvSpPr>
          <p:spPr bwMode="auto">
            <a:xfrm>
              <a:off x="5688013" y="2970213"/>
              <a:ext cx="47625" cy="47625"/>
            </a:xfrm>
            <a:custGeom>
              <a:avLst/>
              <a:gdLst>
                <a:gd name="T0" fmla="*/ 78 w 131"/>
                <a:gd name="T1" fmla="*/ 131 h 132"/>
                <a:gd name="T2" fmla="*/ 78 w 131"/>
                <a:gd name="T3" fmla="*/ 131 h 132"/>
                <a:gd name="T4" fmla="*/ 78 w 131"/>
                <a:gd name="T5" fmla="*/ 131 h 132"/>
                <a:gd name="T6" fmla="*/ 0 w 131"/>
                <a:gd name="T7" fmla="*/ 53 h 132"/>
                <a:gd name="T8" fmla="*/ 0 w 131"/>
                <a:gd name="T9" fmla="*/ 26 h 132"/>
                <a:gd name="T10" fmla="*/ 26 w 131"/>
                <a:gd name="T11" fmla="*/ 0 h 132"/>
                <a:gd name="T12" fmla="*/ 52 w 131"/>
                <a:gd name="T13" fmla="*/ 26 h 132"/>
                <a:gd name="T14" fmla="*/ 52 w 131"/>
                <a:gd name="T15" fmla="*/ 53 h 132"/>
                <a:gd name="T16" fmla="*/ 104 w 131"/>
                <a:gd name="T17" fmla="*/ 79 h 132"/>
                <a:gd name="T18" fmla="*/ 104 w 131"/>
                <a:gd name="T19" fmla="*/ 105 h 132"/>
                <a:gd name="T20" fmla="*/ 78 w 131"/>
                <a:gd name="T21" fmla="*/ 13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132">
                  <a:moveTo>
                    <a:pt x="78" y="131"/>
                  </a:moveTo>
                  <a:lnTo>
                    <a:pt x="78" y="131"/>
                  </a:lnTo>
                  <a:lnTo>
                    <a:pt x="78" y="131"/>
                  </a:lnTo>
                  <a:cubicBezTo>
                    <a:pt x="52" y="131"/>
                    <a:pt x="0" y="105"/>
                    <a:pt x="0" y="53"/>
                  </a:cubicBezTo>
                  <a:cubicBezTo>
                    <a:pt x="0" y="26"/>
                    <a:pt x="0" y="26"/>
                    <a:pt x="0" y="26"/>
                  </a:cubicBezTo>
                  <a:lnTo>
                    <a:pt x="26" y="0"/>
                  </a:lnTo>
                  <a:cubicBezTo>
                    <a:pt x="52" y="0"/>
                    <a:pt x="52" y="26"/>
                    <a:pt x="52" y="26"/>
                  </a:cubicBezTo>
                  <a:cubicBezTo>
                    <a:pt x="52" y="53"/>
                    <a:pt x="52" y="53"/>
                    <a:pt x="52" y="53"/>
                  </a:cubicBezTo>
                  <a:cubicBezTo>
                    <a:pt x="52" y="53"/>
                    <a:pt x="78" y="79"/>
                    <a:pt x="104" y="79"/>
                  </a:cubicBezTo>
                  <a:cubicBezTo>
                    <a:pt x="104" y="79"/>
                    <a:pt x="130" y="105"/>
                    <a:pt x="104" y="105"/>
                  </a:cubicBezTo>
                  <a:cubicBezTo>
                    <a:pt x="104" y="131"/>
                    <a:pt x="104" y="131"/>
                    <a:pt x="78" y="131"/>
                  </a:cubicBezTo>
                </a:path>
              </a:pathLst>
            </a:custGeom>
            <a:solidFill>
              <a:srgbClr val="EE3A6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6" name="Freeform 14">
              <a:extLst>
                <a:ext uri="{FF2B5EF4-FFF2-40B4-BE49-F238E27FC236}">
                  <a16:creationId xmlns:a16="http://schemas.microsoft.com/office/drawing/2014/main" id="{6B4F6C01-2E4D-2E4F-8D68-40EC357CA18E}"/>
                </a:ext>
              </a:extLst>
            </p:cNvPr>
            <p:cNvSpPr>
              <a:spLocks noChangeArrowheads="1"/>
            </p:cNvSpPr>
            <p:nvPr/>
          </p:nvSpPr>
          <p:spPr bwMode="auto">
            <a:xfrm>
              <a:off x="5857875" y="2847975"/>
              <a:ext cx="47625" cy="57150"/>
            </a:xfrm>
            <a:custGeom>
              <a:avLst/>
              <a:gdLst>
                <a:gd name="T0" fmla="*/ 0 w 132"/>
                <a:gd name="T1" fmla="*/ 79 h 157"/>
                <a:gd name="T2" fmla="*/ 0 w 132"/>
                <a:gd name="T3" fmla="*/ 79 h 157"/>
                <a:gd name="T4" fmla="*/ 105 w 132"/>
                <a:gd name="T5" fmla="*/ 130 h 157"/>
                <a:gd name="T6" fmla="*/ 131 w 132"/>
                <a:gd name="T7" fmla="*/ 52 h 157"/>
                <a:gd name="T8" fmla="*/ 105 w 132"/>
                <a:gd name="T9" fmla="*/ 0 h 157"/>
                <a:gd name="T10" fmla="*/ 0 w 132"/>
                <a:gd name="T11" fmla="*/ 79 h 157"/>
              </a:gdLst>
              <a:ahLst/>
              <a:cxnLst>
                <a:cxn ang="0">
                  <a:pos x="T0" y="T1"/>
                </a:cxn>
                <a:cxn ang="0">
                  <a:pos x="T2" y="T3"/>
                </a:cxn>
                <a:cxn ang="0">
                  <a:pos x="T4" y="T5"/>
                </a:cxn>
                <a:cxn ang="0">
                  <a:pos x="T6" y="T7"/>
                </a:cxn>
                <a:cxn ang="0">
                  <a:pos x="T8" y="T9"/>
                </a:cxn>
                <a:cxn ang="0">
                  <a:pos x="T10" y="T11"/>
                </a:cxn>
              </a:cxnLst>
              <a:rect l="0" t="0" r="r" b="b"/>
              <a:pathLst>
                <a:path w="132" h="157">
                  <a:moveTo>
                    <a:pt x="0" y="79"/>
                  </a:moveTo>
                  <a:lnTo>
                    <a:pt x="0" y="79"/>
                  </a:lnTo>
                  <a:cubicBezTo>
                    <a:pt x="26" y="104"/>
                    <a:pt x="78" y="156"/>
                    <a:pt x="105" y="130"/>
                  </a:cubicBezTo>
                  <a:cubicBezTo>
                    <a:pt x="131" y="130"/>
                    <a:pt x="131" y="104"/>
                    <a:pt x="131" y="52"/>
                  </a:cubicBezTo>
                  <a:cubicBezTo>
                    <a:pt x="105" y="26"/>
                    <a:pt x="105" y="26"/>
                    <a:pt x="105" y="0"/>
                  </a:cubicBezTo>
                  <a:lnTo>
                    <a:pt x="0" y="79"/>
                  </a:lnTo>
                </a:path>
              </a:pathLst>
            </a:custGeom>
            <a:solidFill>
              <a:srgbClr val="149DC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7" name="Freeform 15">
              <a:extLst>
                <a:ext uri="{FF2B5EF4-FFF2-40B4-BE49-F238E27FC236}">
                  <a16:creationId xmlns:a16="http://schemas.microsoft.com/office/drawing/2014/main" id="{DA713128-96BE-6644-9686-AD69794E5ABD}"/>
                </a:ext>
              </a:extLst>
            </p:cNvPr>
            <p:cNvSpPr>
              <a:spLocks noChangeArrowheads="1"/>
            </p:cNvSpPr>
            <p:nvPr/>
          </p:nvSpPr>
          <p:spPr bwMode="auto">
            <a:xfrm>
              <a:off x="5951538" y="2828925"/>
              <a:ext cx="76200" cy="141288"/>
            </a:xfrm>
            <a:custGeom>
              <a:avLst/>
              <a:gdLst>
                <a:gd name="T0" fmla="*/ 104 w 210"/>
                <a:gd name="T1" fmla="*/ 392 h 393"/>
                <a:gd name="T2" fmla="*/ 104 w 210"/>
                <a:gd name="T3" fmla="*/ 392 h 393"/>
                <a:gd name="T4" fmla="*/ 78 w 210"/>
                <a:gd name="T5" fmla="*/ 366 h 393"/>
                <a:gd name="T6" fmla="*/ 104 w 210"/>
                <a:gd name="T7" fmla="*/ 341 h 393"/>
                <a:gd name="T8" fmla="*/ 157 w 210"/>
                <a:gd name="T9" fmla="*/ 314 h 393"/>
                <a:gd name="T10" fmla="*/ 0 w 210"/>
                <a:gd name="T11" fmla="*/ 27 h 393"/>
                <a:gd name="T12" fmla="*/ 0 w 210"/>
                <a:gd name="T13" fmla="*/ 0 h 393"/>
                <a:gd name="T14" fmla="*/ 53 w 210"/>
                <a:gd name="T15" fmla="*/ 0 h 393"/>
                <a:gd name="T16" fmla="*/ 209 w 210"/>
                <a:gd name="T17" fmla="*/ 314 h 393"/>
                <a:gd name="T18" fmla="*/ 130 w 210"/>
                <a:gd name="T19" fmla="*/ 392 h 393"/>
                <a:gd name="T20" fmla="*/ 104 w 210"/>
                <a:gd name="T21" fmla="*/ 392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0" h="393">
                  <a:moveTo>
                    <a:pt x="104" y="392"/>
                  </a:moveTo>
                  <a:lnTo>
                    <a:pt x="104" y="392"/>
                  </a:lnTo>
                  <a:cubicBezTo>
                    <a:pt x="104" y="392"/>
                    <a:pt x="104" y="392"/>
                    <a:pt x="78" y="366"/>
                  </a:cubicBezTo>
                  <a:cubicBezTo>
                    <a:pt x="78" y="366"/>
                    <a:pt x="78" y="341"/>
                    <a:pt x="104" y="341"/>
                  </a:cubicBezTo>
                  <a:cubicBezTo>
                    <a:pt x="157" y="314"/>
                    <a:pt x="157" y="314"/>
                    <a:pt x="157" y="314"/>
                  </a:cubicBezTo>
                  <a:cubicBezTo>
                    <a:pt x="0" y="27"/>
                    <a:pt x="0" y="27"/>
                    <a:pt x="0" y="27"/>
                  </a:cubicBezTo>
                  <a:lnTo>
                    <a:pt x="0" y="0"/>
                  </a:lnTo>
                  <a:cubicBezTo>
                    <a:pt x="26" y="0"/>
                    <a:pt x="53" y="0"/>
                    <a:pt x="53" y="0"/>
                  </a:cubicBezTo>
                  <a:cubicBezTo>
                    <a:pt x="209" y="314"/>
                    <a:pt x="209" y="314"/>
                    <a:pt x="209" y="314"/>
                  </a:cubicBezTo>
                  <a:cubicBezTo>
                    <a:pt x="130" y="392"/>
                    <a:pt x="130" y="392"/>
                    <a:pt x="130" y="392"/>
                  </a:cubicBezTo>
                  <a:cubicBezTo>
                    <a:pt x="130" y="392"/>
                    <a:pt x="130" y="392"/>
                    <a:pt x="104" y="392"/>
                  </a:cubicBezTo>
                </a:path>
              </a:pathLst>
            </a:custGeom>
            <a:solidFill>
              <a:srgbClr val="8D8D8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8" name="Freeform 16">
              <a:extLst>
                <a:ext uri="{FF2B5EF4-FFF2-40B4-BE49-F238E27FC236}">
                  <a16:creationId xmlns:a16="http://schemas.microsoft.com/office/drawing/2014/main" id="{5B3312C0-3B1A-0D4B-9A27-97A98D507643}"/>
                </a:ext>
              </a:extLst>
            </p:cNvPr>
            <p:cNvSpPr>
              <a:spLocks noChangeArrowheads="1"/>
            </p:cNvSpPr>
            <p:nvPr/>
          </p:nvSpPr>
          <p:spPr bwMode="auto">
            <a:xfrm>
              <a:off x="5922963" y="2998788"/>
              <a:ext cx="112712" cy="47625"/>
            </a:xfrm>
            <a:custGeom>
              <a:avLst/>
              <a:gdLst>
                <a:gd name="T0" fmla="*/ 157 w 315"/>
                <a:gd name="T1" fmla="*/ 130 h 131"/>
                <a:gd name="T2" fmla="*/ 157 w 315"/>
                <a:gd name="T3" fmla="*/ 130 h 131"/>
                <a:gd name="T4" fmla="*/ 27 w 315"/>
                <a:gd name="T5" fmla="*/ 52 h 131"/>
                <a:gd name="T6" fmla="*/ 27 w 315"/>
                <a:gd name="T7" fmla="*/ 26 h 131"/>
                <a:gd name="T8" fmla="*/ 53 w 315"/>
                <a:gd name="T9" fmla="*/ 26 h 131"/>
                <a:gd name="T10" fmla="*/ 236 w 315"/>
                <a:gd name="T11" fmla="*/ 52 h 131"/>
                <a:gd name="T12" fmla="*/ 262 w 315"/>
                <a:gd name="T13" fmla="*/ 52 h 131"/>
                <a:gd name="T14" fmla="*/ 288 w 315"/>
                <a:gd name="T15" fmla="*/ 52 h 131"/>
                <a:gd name="T16" fmla="*/ 288 w 315"/>
                <a:gd name="T17" fmla="*/ 104 h 131"/>
                <a:gd name="T18" fmla="*/ 262 w 315"/>
                <a:gd name="T19" fmla="*/ 104 h 131"/>
                <a:gd name="T20" fmla="*/ 157 w 315"/>
                <a:gd name="T21" fmla="*/ 1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5" h="131">
                  <a:moveTo>
                    <a:pt x="157" y="130"/>
                  </a:moveTo>
                  <a:lnTo>
                    <a:pt x="157" y="130"/>
                  </a:lnTo>
                  <a:cubicBezTo>
                    <a:pt x="105" y="130"/>
                    <a:pt x="53" y="104"/>
                    <a:pt x="27" y="52"/>
                  </a:cubicBezTo>
                  <a:cubicBezTo>
                    <a:pt x="0" y="52"/>
                    <a:pt x="0" y="26"/>
                    <a:pt x="27" y="26"/>
                  </a:cubicBezTo>
                  <a:cubicBezTo>
                    <a:pt x="27" y="0"/>
                    <a:pt x="53" y="0"/>
                    <a:pt x="53" y="26"/>
                  </a:cubicBezTo>
                  <a:cubicBezTo>
                    <a:pt x="105" y="78"/>
                    <a:pt x="183" y="104"/>
                    <a:pt x="236" y="52"/>
                  </a:cubicBezTo>
                  <a:cubicBezTo>
                    <a:pt x="262" y="52"/>
                    <a:pt x="262" y="52"/>
                    <a:pt x="262" y="52"/>
                  </a:cubicBezTo>
                  <a:cubicBezTo>
                    <a:pt x="262" y="26"/>
                    <a:pt x="288" y="52"/>
                    <a:pt x="288" y="52"/>
                  </a:cubicBezTo>
                  <a:cubicBezTo>
                    <a:pt x="314" y="78"/>
                    <a:pt x="314" y="78"/>
                    <a:pt x="288" y="104"/>
                  </a:cubicBezTo>
                  <a:cubicBezTo>
                    <a:pt x="262" y="104"/>
                    <a:pt x="262" y="104"/>
                    <a:pt x="262" y="104"/>
                  </a:cubicBezTo>
                  <a:cubicBezTo>
                    <a:pt x="236" y="130"/>
                    <a:pt x="209" y="130"/>
                    <a:pt x="157" y="130"/>
                  </a:cubicBezTo>
                </a:path>
              </a:pathLst>
            </a:custGeom>
            <a:solidFill>
              <a:srgbClr val="EE3A6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9" name="Freeform 17">
              <a:extLst>
                <a:ext uri="{FF2B5EF4-FFF2-40B4-BE49-F238E27FC236}">
                  <a16:creationId xmlns:a16="http://schemas.microsoft.com/office/drawing/2014/main" id="{9162F3B3-7CDB-274D-96B0-C5E15C1726F8}"/>
                </a:ext>
              </a:extLst>
            </p:cNvPr>
            <p:cNvSpPr>
              <a:spLocks noChangeArrowheads="1"/>
            </p:cNvSpPr>
            <p:nvPr/>
          </p:nvSpPr>
          <p:spPr bwMode="auto">
            <a:xfrm>
              <a:off x="5829300" y="2819400"/>
              <a:ext cx="76200" cy="85725"/>
            </a:xfrm>
            <a:custGeom>
              <a:avLst/>
              <a:gdLst>
                <a:gd name="T0" fmla="*/ 25 w 210"/>
                <a:gd name="T1" fmla="*/ 235 h 236"/>
                <a:gd name="T2" fmla="*/ 25 w 210"/>
                <a:gd name="T3" fmla="*/ 235 h 236"/>
                <a:gd name="T4" fmla="*/ 25 w 210"/>
                <a:gd name="T5" fmla="*/ 209 h 236"/>
                <a:gd name="T6" fmla="*/ 25 w 210"/>
                <a:gd name="T7" fmla="*/ 183 h 236"/>
                <a:gd name="T8" fmla="*/ 156 w 210"/>
                <a:gd name="T9" fmla="*/ 0 h 236"/>
                <a:gd name="T10" fmla="*/ 209 w 210"/>
                <a:gd name="T11" fmla="*/ 0 h 236"/>
                <a:gd name="T12" fmla="*/ 209 w 210"/>
                <a:gd name="T13" fmla="*/ 53 h 236"/>
                <a:gd name="T14" fmla="*/ 51 w 210"/>
                <a:gd name="T15" fmla="*/ 209 h 236"/>
                <a:gd name="T16" fmla="*/ 25 w 210"/>
                <a:gd name="T17" fmla="*/ 2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0" h="236">
                  <a:moveTo>
                    <a:pt x="25" y="235"/>
                  </a:moveTo>
                  <a:lnTo>
                    <a:pt x="25" y="235"/>
                  </a:lnTo>
                  <a:lnTo>
                    <a:pt x="25" y="209"/>
                  </a:lnTo>
                  <a:cubicBezTo>
                    <a:pt x="0" y="209"/>
                    <a:pt x="0" y="183"/>
                    <a:pt x="25" y="183"/>
                  </a:cubicBezTo>
                  <a:cubicBezTo>
                    <a:pt x="156" y="0"/>
                    <a:pt x="156" y="0"/>
                    <a:pt x="156" y="0"/>
                  </a:cubicBezTo>
                  <a:cubicBezTo>
                    <a:pt x="183" y="0"/>
                    <a:pt x="183" y="0"/>
                    <a:pt x="209" y="0"/>
                  </a:cubicBezTo>
                  <a:cubicBezTo>
                    <a:pt x="209" y="26"/>
                    <a:pt x="209" y="26"/>
                    <a:pt x="209" y="53"/>
                  </a:cubicBezTo>
                  <a:cubicBezTo>
                    <a:pt x="51" y="209"/>
                    <a:pt x="51" y="209"/>
                    <a:pt x="51" y="209"/>
                  </a:cubicBezTo>
                  <a:cubicBezTo>
                    <a:pt x="51" y="209"/>
                    <a:pt x="51" y="235"/>
                    <a:pt x="25" y="235"/>
                  </a:cubicBezTo>
                </a:path>
              </a:pathLst>
            </a:custGeom>
            <a:solidFill>
              <a:srgbClr val="8D8D8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0" name="Freeform 18">
              <a:extLst>
                <a:ext uri="{FF2B5EF4-FFF2-40B4-BE49-F238E27FC236}">
                  <a16:creationId xmlns:a16="http://schemas.microsoft.com/office/drawing/2014/main" id="{FA0FBBE3-14E7-B848-8F7E-1308CFC64A90}"/>
                </a:ext>
              </a:extLst>
            </p:cNvPr>
            <p:cNvSpPr>
              <a:spLocks noChangeArrowheads="1"/>
            </p:cNvSpPr>
            <p:nvPr/>
          </p:nvSpPr>
          <p:spPr bwMode="auto">
            <a:xfrm>
              <a:off x="5810250" y="2754313"/>
              <a:ext cx="66675" cy="66675"/>
            </a:xfrm>
            <a:custGeom>
              <a:avLst/>
              <a:gdLst>
                <a:gd name="T0" fmla="*/ 27 w 184"/>
                <a:gd name="T1" fmla="*/ 183 h 184"/>
                <a:gd name="T2" fmla="*/ 27 w 184"/>
                <a:gd name="T3" fmla="*/ 183 h 184"/>
                <a:gd name="T4" fmla="*/ 27 w 184"/>
                <a:gd name="T5" fmla="*/ 183 h 184"/>
                <a:gd name="T6" fmla="*/ 0 w 184"/>
                <a:gd name="T7" fmla="*/ 158 h 184"/>
                <a:gd name="T8" fmla="*/ 78 w 184"/>
                <a:gd name="T9" fmla="*/ 27 h 184"/>
                <a:gd name="T10" fmla="*/ 131 w 184"/>
                <a:gd name="T11" fmla="*/ 0 h 184"/>
                <a:gd name="T12" fmla="*/ 183 w 184"/>
                <a:gd name="T13" fmla="*/ 0 h 184"/>
                <a:gd name="T14" fmla="*/ 157 w 184"/>
                <a:gd name="T15" fmla="*/ 53 h 184"/>
                <a:gd name="T16" fmla="*/ 104 w 184"/>
                <a:gd name="T17" fmla="*/ 79 h 184"/>
                <a:gd name="T18" fmla="*/ 78 w 184"/>
                <a:gd name="T19" fmla="*/ 158 h 184"/>
                <a:gd name="T20" fmla="*/ 27 w 184"/>
                <a:gd name="T21" fmla="*/ 18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184">
                  <a:moveTo>
                    <a:pt x="27" y="183"/>
                  </a:moveTo>
                  <a:lnTo>
                    <a:pt x="27" y="183"/>
                  </a:lnTo>
                  <a:lnTo>
                    <a:pt x="27" y="183"/>
                  </a:lnTo>
                  <a:lnTo>
                    <a:pt x="0" y="158"/>
                  </a:lnTo>
                  <a:cubicBezTo>
                    <a:pt x="27" y="53"/>
                    <a:pt x="53" y="53"/>
                    <a:pt x="78" y="27"/>
                  </a:cubicBezTo>
                  <a:cubicBezTo>
                    <a:pt x="104" y="27"/>
                    <a:pt x="104" y="27"/>
                    <a:pt x="131" y="0"/>
                  </a:cubicBezTo>
                  <a:cubicBezTo>
                    <a:pt x="157" y="0"/>
                    <a:pt x="157" y="0"/>
                    <a:pt x="183" y="0"/>
                  </a:cubicBezTo>
                  <a:cubicBezTo>
                    <a:pt x="183" y="27"/>
                    <a:pt x="183" y="53"/>
                    <a:pt x="157" y="53"/>
                  </a:cubicBezTo>
                  <a:cubicBezTo>
                    <a:pt x="157" y="53"/>
                    <a:pt x="131" y="79"/>
                    <a:pt x="104" y="79"/>
                  </a:cubicBezTo>
                  <a:cubicBezTo>
                    <a:pt x="104" y="79"/>
                    <a:pt x="78" y="79"/>
                    <a:pt x="78" y="158"/>
                  </a:cubicBezTo>
                  <a:cubicBezTo>
                    <a:pt x="53" y="183"/>
                    <a:pt x="53" y="183"/>
                    <a:pt x="27" y="183"/>
                  </a:cubicBezTo>
                </a:path>
              </a:pathLst>
            </a:custGeom>
            <a:solidFill>
              <a:srgbClr val="8D8D8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1" name="Freeform 19">
              <a:extLst>
                <a:ext uri="{FF2B5EF4-FFF2-40B4-BE49-F238E27FC236}">
                  <a16:creationId xmlns:a16="http://schemas.microsoft.com/office/drawing/2014/main" id="{757A0E4D-B000-6045-AA83-D3EE9AFBDF5A}"/>
                </a:ext>
              </a:extLst>
            </p:cNvPr>
            <p:cNvSpPr>
              <a:spLocks noChangeArrowheads="1"/>
            </p:cNvSpPr>
            <p:nvPr/>
          </p:nvSpPr>
          <p:spPr bwMode="auto">
            <a:xfrm>
              <a:off x="5903913" y="2979738"/>
              <a:ext cx="141287" cy="76200"/>
            </a:xfrm>
            <a:custGeom>
              <a:avLst/>
              <a:gdLst>
                <a:gd name="T0" fmla="*/ 78 w 392"/>
                <a:gd name="T1" fmla="*/ 79 h 210"/>
                <a:gd name="T2" fmla="*/ 78 w 392"/>
                <a:gd name="T3" fmla="*/ 79 h 210"/>
                <a:gd name="T4" fmla="*/ 339 w 392"/>
                <a:gd name="T5" fmla="*/ 105 h 210"/>
                <a:gd name="T6" fmla="*/ 78 w 392"/>
                <a:gd name="T7" fmla="*/ 79 h 210"/>
              </a:gdLst>
              <a:ahLst/>
              <a:cxnLst>
                <a:cxn ang="0">
                  <a:pos x="T0" y="T1"/>
                </a:cxn>
                <a:cxn ang="0">
                  <a:pos x="T2" y="T3"/>
                </a:cxn>
                <a:cxn ang="0">
                  <a:pos x="T4" y="T5"/>
                </a:cxn>
                <a:cxn ang="0">
                  <a:pos x="T6" y="T7"/>
                </a:cxn>
              </a:cxnLst>
              <a:rect l="0" t="0" r="r" b="b"/>
              <a:pathLst>
                <a:path w="392" h="210">
                  <a:moveTo>
                    <a:pt x="78" y="79"/>
                  </a:moveTo>
                  <a:lnTo>
                    <a:pt x="78" y="79"/>
                  </a:lnTo>
                  <a:cubicBezTo>
                    <a:pt x="156" y="27"/>
                    <a:pt x="313" y="0"/>
                    <a:pt x="339" y="105"/>
                  </a:cubicBezTo>
                  <a:cubicBezTo>
                    <a:pt x="391" y="209"/>
                    <a:pt x="0" y="131"/>
                    <a:pt x="78" y="79"/>
                  </a:cubicBezTo>
                </a:path>
              </a:pathLst>
            </a:custGeom>
            <a:solidFill>
              <a:srgbClr val="EE3A6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2" name="Freeform 20">
              <a:extLst>
                <a:ext uri="{FF2B5EF4-FFF2-40B4-BE49-F238E27FC236}">
                  <a16:creationId xmlns:a16="http://schemas.microsoft.com/office/drawing/2014/main" id="{71DD712C-C320-3B42-8E7F-5D9D04AF8783}"/>
                </a:ext>
              </a:extLst>
            </p:cNvPr>
            <p:cNvSpPr>
              <a:spLocks noChangeArrowheads="1"/>
            </p:cNvSpPr>
            <p:nvPr/>
          </p:nvSpPr>
          <p:spPr bwMode="auto">
            <a:xfrm>
              <a:off x="6110288" y="2622550"/>
              <a:ext cx="234950" cy="301625"/>
            </a:xfrm>
            <a:custGeom>
              <a:avLst/>
              <a:gdLst>
                <a:gd name="T0" fmla="*/ 261 w 654"/>
                <a:gd name="T1" fmla="*/ 627 h 837"/>
                <a:gd name="T2" fmla="*/ 261 w 654"/>
                <a:gd name="T3" fmla="*/ 627 h 837"/>
                <a:gd name="T4" fmla="*/ 653 w 654"/>
                <a:gd name="T5" fmla="*/ 497 h 837"/>
                <a:gd name="T6" fmla="*/ 52 w 654"/>
                <a:gd name="T7" fmla="*/ 0 h 837"/>
                <a:gd name="T8" fmla="*/ 261 w 654"/>
                <a:gd name="T9" fmla="*/ 627 h 837"/>
              </a:gdLst>
              <a:ahLst/>
              <a:cxnLst>
                <a:cxn ang="0">
                  <a:pos x="T0" y="T1"/>
                </a:cxn>
                <a:cxn ang="0">
                  <a:pos x="T2" y="T3"/>
                </a:cxn>
                <a:cxn ang="0">
                  <a:pos x="T4" y="T5"/>
                </a:cxn>
                <a:cxn ang="0">
                  <a:pos x="T6" y="T7"/>
                </a:cxn>
                <a:cxn ang="0">
                  <a:pos x="T8" y="T9"/>
                </a:cxn>
              </a:cxnLst>
              <a:rect l="0" t="0" r="r" b="b"/>
              <a:pathLst>
                <a:path w="654" h="837">
                  <a:moveTo>
                    <a:pt x="261" y="627"/>
                  </a:moveTo>
                  <a:lnTo>
                    <a:pt x="261" y="627"/>
                  </a:lnTo>
                  <a:cubicBezTo>
                    <a:pt x="522" y="836"/>
                    <a:pt x="653" y="497"/>
                    <a:pt x="653" y="497"/>
                  </a:cubicBezTo>
                  <a:cubicBezTo>
                    <a:pt x="52" y="0"/>
                    <a:pt x="52" y="0"/>
                    <a:pt x="52" y="0"/>
                  </a:cubicBezTo>
                  <a:cubicBezTo>
                    <a:pt x="52" y="0"/>
                    <a:pt x="0" y="392"/>
                    <a:pt x="261" y="627"/>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3" name="Freeform 21">
              <a:extLst>
                <a:ext uri="{FF2B5EF4-FFF2-40B4-BE49-F238E27FC236}">
                  <a16:creationId xmlns:a16="http://schemas.microsoft.com/office/drawing/2014/main" id="{3BFBFB44-1CED-0049-84BA-EA44E28A1C18}"/>
                </a:ext>
              </a:extLst>
            </p:cNvPr>
            <p:cNvSpPr>
              <a:spLocks noChangeArrowheads="1"/>
            </p:cNvSpPr>
            <p:nvPr/>
          </p:nvSpPr>
          <p:spPr bwMode="auto">
            <a:xfrm>
              <a:off x="6364288" y="1757363"/>
              <a:ext cx="677862" cy="592137"/>
            </a:xfrm>
            <a:custGeom>
              <a:avLst/>
              <a:gdLst>
                <a:gd name="T0" fmla="*/ 757 w 1882"/>
                <a:gd name="T1" fmla="*/ 1070 h 1646"/>
                <a:gd name="T2" fmla="*/ 757 w 1882"/>
                <a:gd name="T3" fmla="*/ 1070 h 1646"/>
                <a:gd name="T4" fmla="*/ 1776 w 1882"/>
                <a:gd name="T5" fmla="*/ 1514 h 1646"/>
                <a:gd name="T6" fmla="*/ 1149 w 1882"/>
                <a:gd name="T7" fmla="*/ 574 h 1646"/>
                <a:gd name="T8" fmla="*/ 105 w 1882"/>
                <a:gd name="T9" fmla="*/ 131 h 1646"/>
                <a:gd name="T10" fmla="*/ 757 w 1882"/>
                <a:gd name="T11" fmla="*/ 1070 h 1646"/>
              </a:gdLst>
              <a:ahLst/>
              <a:cxnLst>
                <a:cxn ang="0">
                  <a:pos x="T0" y="T1"/>
                </a:cxn>
                <a:cxn ang="0">
                  <a:pos x="T2" y="T3"/>
                </a:cxn>
                <a:cxn ang="0">
                  <a:pos x="T4" y="T5"/>
                </a:cxn>
                <a:cxn ang="0">
                  <a:pos x="T6" y="T7"/>
                </a:cxn>
                <a:cxn ang="0">
                  <a:pos x="T8" y="T9"/>
                </a:cxn>
                <a:cxn ang="0">
                  <a:pos x="T10" y="T11"/>
                </a:cxn>
              </a:cxnLst>
              <a:rect l="0" t="0" r="r" b="b"/>
              <a:pathLst>
                <a:path w="1882" h="1646">
                  <a:moveTo>
                    <a:pt x="757" y="1070"/>
                  </a:moveTo>
                  <a:lnTo>
                    <a:pt x="757" y="1070"/>
                  </a:lnTo>
                  <a:cubicBezTo>
                    <a:pt x="1202" y="1436"/>
                    <a:pt x="1672" y="1645"/>
                    <a:pt x="1776" y="1514"/>
                  </a:cubicBezTo>
                  <a:cubicBezTo>
                    <a:pt x="1881" y="1383"/>
                    <a:pt x="1593" y="966"/>
                    <a:pt x="1149" y="574"/>
                  </a:cubicBezTo>
                  <a:cubicBezTo>
                    <a:pt x="680" y="209"/>
                    <a:pt x="209" y="0"/>
                    <a:pt x="105" y="131"/>
                  </a:cubicBezTo>
                  <a:cubicBezTo>
                    <a:pt x="0" y="261"/>
                    <a:pt x="288" y="679"/>
                    <a:pt x="757" y="107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4" name="Freeform 22">
              <a:extLst>
                <a:ext uri="{FF2B5EF4-FFF2-40B4-BE49-F238E27FC236}">
                  <a16:creationId xmlns:a16="http://schemas.microsoft.com/office/drawing/2014/main" id="{B0B4F716-9C81-EF43-A1E6-3385401A3B23}"/>
                </a:ext>
              </a:extLst>
            </p:cNvPr>
            <p:cNvSpPr>
              <a:spLocks noChangeArrowheads="1"/>
            </p:cNvSpPr>
            <p:nvPr/>
          </p:nvSpPr>
          <p:spPr bwMode="auto">
            <a:xfrm>
              <a:off x="4662488" y="3365500"/>
              <a:ext cx="3252787" cy="2547938"/>
            </a:xfrm>
            <a:custGeom>
              <a:avLst/>
              <a:gdLst>
                <a:gd name="T0" fmla="*/ 6294 w 9036"/>
                <a:gd name="T1" fmla="*/ 391 h 7078"/>
                <a:gd name="T2" fmla="*/ 6294 w 9036"/>
                <a:gd name="T3" fmla="*/ 391 h 7078"/>
                <a:gd name="T4" fmla="*/ 4832 w 9036"/>
                <a:gd name="T5" fmla="*/ 0 h 7078"/>
                <a:gd name="T6" fmla="*/ 2481 w 9036"/>
                <a:gd name="T7" fmla="*/ 783 h 7078"/>
                <a:gd name="T8" fmla="*/ 1985 w 9036"/>
                <a:gd name="T9" fmla="*/ 1149 h 7078"/>
                <a:gd name="T10" fmla="*/ 1045 w 9036"/>
                <a:gd name="T11" fmla="*/ 2167 h 7078"/>
                <a:gd name="T12" fmla="*/ 0 w 9036"/>
                <a:gd name="T13" fmla="*/ 5798 h 7078"/>
                <a:gd name="T14" fmla="*/ 1305 w 9036"/>
                <a:gd name="T15" fmla="*/ 5798 h 7078"/>
                <a:gd name="T16" fmla="*/ 2168 w 9036"/>
                <a:gd name="T17" fmla="*/ 3212 h 7078"/>
                <a:gd name="T18" fmla="*/ 2768 w 9036"/>
                <a:gd name="T19" fmla="*/ 7077 h 7078"/>
                <a:gd name="T20" fmla="*/ 5798 w 9036"/>
                <a:gd name="T21" fmla="*/ 7077 h 7078"/>
                <a:gd name="T22" fmla="*/ 6268 w 9036"/>
                <a:gd name="T23" fmla="*/ 2011 h 7078"/>
                <a:gd name="T24" fmla="*/ 7130 w 9036"/>
                <a:gd name="T25" fmla="*/ 2062 h 7078"/>
                <a:gd name="T26" fmla="*/ 7365 w 9036"/>
                <a:gd name="T27" fmla="*/ 391 h 7078"/>
                <a:gd name="T28" fmla="*/ 6294 w 9036"/>
                <a:gd name="T29" fmla="*/ 391 h 7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36" h="7078">
                  <a:moveTo>
                    <a:pt x="6294" y="391"/>
                  </a:moveTo>
                  <a:lnTo>
                    <a:pt x="6294" y="391"/>
                  </a:lnTo>
                  <a:cubicBezTo>
                    <a:pt x="4832" y="0"/>
                    <a:pt x="4832" y="0"/>
                    <a:pt x="4832" y="0"/>
                  </a:cubicBezTo>
                  <a:cubicBezTo>
                    <a:pt x="4910" y="1358"/>
                    <a:pt x="3343" y="1749"/>
                    <a:pt x="2481" y="783"/>
                  </a:cubicBezTo>
                  <a:cubicBezTo>
                    <a:pt x="1985" y="1149"/>
                    <a:pt x="1985" y="1149"/>
                    <a:pt x="1985" y="1149"/>
                  </a:cubicBezTo>
                  <a:cubicBezTo>
                    <a:pt x="1619" y="1462"/>
                    <a:pt x="1305" y="1802"/>
                    <a:pt x="1045" y="2167"/>
                  </a:cubicBezTo>
                  <a:cubicBezTo>
                    <a:pt x="104" y="3473"/>
                    <a:pt x="26" y="4100"/>
                    <a:pt x="0" y="5798"/>
                  </a:cubicBezTo>
                  <a:cubicBezTo>
                    <a:pt x="1305" y="5798"/>
                    <a:pt x="1305" y="5798"/>
                    <a:pt x="1305" y="5798"/>
                  </a:cubicBezTo>
                  <a:cubicBezTo>
                    <a:pt x="1567" y="4205"/>
                    <a:pt x="1723" y="3734"/>
                    <a:pt x="2168" y="3212"/>
                  </a:cubicBezTo>
                  <a:cubicBezTo>
                    <a:pt x="2768" y="7077"/>
                    <a:pt x="2768" y="7077"/>
                    <a:pt x="2768" y="7077"/>
                  </a:cubicBezTo>
                  <a:cubicBezTo>
                    <a:pt x="5798" y="7077"/>
                    <a:pt x="5798" y="7077"/>
                    <a:pt x="5798" y="7077"/>
                  </a:cubicBezTo>
                  <a:cubicBezTo>
                    <a:pt x="6268" y="2011"/>
                    <a:pt x="6268" y="2011"/>
                    <a:pt x="6268" y="2011"/>
                  </a:cubicBezTo>
                  <a:cubicBezTo>
                    <a:pt x="7130" y="2062"/>
                    <a:pt x="7130" y="2062"/>
                    <a:pt x="7130" y="2062"/>
                  </a:cubicBezTo>
                  <a:cubicBezTo>
                    <a:pt x="9035" y="2271"/>
                    <a:pt x="7365" y="391"/>
                    <a:pt x="7365" y="391"/>
                  </a:cubicBezTo>
                  <a:cubicBezTo>
                    <a:pt x="7365" y="391"/>
                    <a:pt x="7078" y="600"/>
                    <a:pt x="6294" y="391"/>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5" name="Freeform 23">
              <a:extLst>
                <a:ext uri="{FF2B5EF4-FFF2-40B4-BE49-F238E27FC236}">
                  <a16:creationId xmlns:a16="http://schemas.microsoft.com/office/drawing/2014/main" id="{DD1831F2-552F-8344-8858-FD4FDC8A0898}"/>
                </a:ext>
              </a:extLst>
            </p:cNvPr>
            <p:cNvSpPr>
              <a:spLocks noChangeArrowheads="1"/>
            </p:cNvSpPr>
            <p:nvPr/>
          </p:nvSpPr>
          <p:spPr bwMode="auto">
            <a:xfrm>
              <a:off x="7962900" y="-2041897"/>
              <a:ext cx="2370138" cy="6966354"/>
            </a:xfrm>
            <a:custGeom>
              <a:avLst/>
              <a:gdLst>
                <a:gd name="T0" fmla="*/ 4805 w 6582"/>
                <a:gd name="T1" fmla="*/ 2638 h 21025"/>
                <a:gd name="T2" fmla="*/ 4805 w 6582"/>
                <a:gd name="T3" fmla="*/ 2638 h 21025"/>
                <a:gd name="T4" fmla="*/ 4805 w 6582"/>
                <a:gd name="T5" fmla="*/ 2194 h 21025"/>
                <a:gd name="T6" fmla="*/ 5693 w 6582"/>
                <a:gd name="T7" fmla="*/ 2194 h 21025"/>
                <a:gd name="T8" fmla="*/ 5170 w 6582"/>
                <a:gd name="T9" fmla="*/ 1332 h 21025"/>
                <a:gd name="T10" fmla="*/ 3499 w 6582"/>
                <a:gd name="T11" fmla="*/ 1541 h 21025"/>
                <a:gd name="T12" fmla="*/ 3891 w 6582"/>
                <a:gd name="T13" fmla="*/ 2194 h 21025"/>
                <a:gd name="T14" fmla="*/ 4387 w 6582"/>
                <a:gd name="T15" fmla="*/ 2194 h 21025"/>
                <a:gd name="T16" fmla="*/ 4387 w 6582"/>
                <a:gd name="T17" fmla="*/ 2612 h 21025"/>
                <a:gd name="T18" fmla="*/ 3603 w 6582"/>
                <a:gd name="T19" fmla="*/ 2586 h 21025"/>
                <a:gd name="T20" fmla="*/ 3603 w 6582"/>
                <a:gd name="T21" fmla="*/ 2455 h 21025"/>
                <a:gd name="T22" fmla="*/ 2376 w 6582"/>
                <a:gd name="T23" fmla="*/ 2376 h 21025"/>
                <a:gd name="T24" fmla="*/ 2376 w 6582"/>
                <a:gd name="T25" fmla="*/ 1515 h 21025"/>
                <a:gd name="T26" fmla="*/ 2533 w 6582"/>
                <a:gd name="T27" fmla="*/ 1123 h 21025"/>
                <a:gd name="T28" fmla="*/ 2350 w 6582"/>
                <a:gd name="T29" fmla="*/ 52 h 21025"/>
                <a:gd name="T30" fmla="*/ 1697 w 6582"/>
                <a:gd name="T31" fmla="*/ 915 h 21025"/>
                <a:gd name="T32" fmla="*/ 1880 w 6582"/>
                <a:gd name="T33" fmla="*/ 1985 h 21025"/>
                <a:gd name="T34" fmla="*/ 2219 w 6582"/>
                <a:gd name="T35" fmla="*/ 1776 h 21025"/>
                <a:gd name="T36" fmla="*/ 2219 w 6582"/>
                <a:gd name="T37" fmla="*/ 2376 h 21025"/>
                <a:gd name="T38" fmla="*/ 1175 w 6582"/>
                <a:gd name="T39" fmla="*/ 2325 h 21025"/>
                <a:gd name="T40" fmla="*/ 1175 w 6582"/>
                <a:gd name="T41" fmla="*/ 2533 h 21025"/>
                <a:gd name="T42" fmla="*/ 0 w 6582"/>
                <a:gd name="T43" fmla="*/ 2508 h 21025"/>
                <a:gd name="T44" fmla="*/ 0 w 6582"/>
                <a:gd name="T45" fmla="*/ 21024 h 21025"/>
                <a:gd name="T46" fmla="*/ 6581 w 6582"/>
                <a:gd name="T47" fmla="*/ 21024 h 21025"/>
                <a:gd name="T48" fmla="*/ 6581 w 6582"/>
                <a:gd name="T49" fmla="*/ 2768 h 21025"/>
                <a:gd name="T50" fmla="*/ 4805 w 6582"/>
                <a:gd name="T51" fmla="*/ 2638 h 2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82" h="21025">
                  <a:moveTo>
                    <a:pt x="4805" y="2638"/>
                  </a:moveTo>
                  <a:lnTo>
                    <a:pt x="4805" y="2638"/>
                  </a:lnTo>
                  <a:cubicBezTo>
                    <a:pt x="4805" y="2194"/>
                    <a:pt x="4805" y="2194"/>
                    <a:pt x="4805" y="2194"/>
                  </a:cubicBezTo>
                  <a:cubicBezTo>
                    <a:pt x="5693" y="2194"/>
                    <a:pt x="5693" y="2194"/>
                    <a:pt x="5693" y="2194"/>
                  </a:cubicBezTo>
                  <a:cubicBezTo>
                    <a:pt x="5170" y="1332"/>
                    <a:pt x="5170" y="1332"/>
                    <a:pt x="5170" y="1332"/>
                  </a:cubicBezTo>
                  <a:cubicBezTo>
                    <a:pt x="3499" y="1541"/>
                    <a:pt x="3499" y="1541"/>
                    <a:pt x="3499" y="1541"/>
                  </a:cubicBezTo>
                  <a:cubicBezTo>
                    <a:pt x="3891" y="2194"/>
                    <a:pt x="3891" y="2194"/>
                    <a:pt x="3891" y="2194"/>
                  </a:cubicBezTo>
                  <a:cubicBezTo>
                    <a:pt x="4387" y="2194"/>
                    <a:pt x="4387" y="2194"/>
                    <a:pt x="4387" y="2194"/>
                  </a:cubicBezTo>
                  <a:cubicBezTo>
                    <a:pt x="4387" y="2612"/>
                    <a:pt x="4387" y="2612"/>
                    <a:pt x="4387" y="2612"/>
                  </a:cubicBezTo>
                  <a:cubicBezTo>
                    <a:pt x="4126" y="2612"/>
                    <a:pt x="3865" y="2586"/>
                    <a:pt x="3603" y="2586"/>
                  </a:cubicBezTo>
                  <a:cubicBezTo>
                    <a:pt x="3603" y="2455"/>
                    <a:pt x="3603" y="2455"/>
                    <a:pt x="3603" y="2455"/>
                  </a:cubicBezTo>
                  <a:cubicBezTo>
                    <a:pt x="2376" y="2376"/>
                    <a:pt x="2376" y="2376"/>
                    <a:pt x="2376" y="2376"/>
                  </a:cubicBezTo>
                  <a:cubicBezTo>
                    <a:pt x="2376" y="1515"/>
                    <a:pt x="2376" y="1515"/>
                    <a:pt x="2376" y="1515"/>
                  </a:cubicBezTo>
                  <a:cubicBezTo>
                    <a:pt x="2428" y="1410"/>
                    <a:pt x="2480" y="1254"/>
                    <a:pt x="2533" y="1123"/>
                  </a:cubicBezTo>
                  <a:cubicBezTo>
                    <a:pt x="2663" y="601"/>
                    <a:pt x="2559" y="105"/>
                    <a:pt x="2350" y="52"/>
                  </a:cubicBezTo>
                  <a:cubicBezTo>
                    <a:pt x="2115" y="0"/>
                    <a:pt x="1827" y="392"/>
                    <a:pt x="1697" y="915"/>
                  </a:cubicBezTo>
                  <a:cubicBezTo>
                    <a:pt x="1567" y="1437"/>
                    <a:pt x="1644" y="1907"/>
                    <a:pt x="1880" y="1985"/>
                  </a:cubicBezTo>
                  <a:cubicBezTo>
                    <a:pt x="1984" y="2011"/>
                    <a:pt x="2115" y="1933"/>
                    <a:pt x="2219" y="1776"/>
                  </a:cubicBezTo>
                  <a:cubicBezTo>
                    <a:pt x="2219" y="2376"/>
                    <a:pt x="2219" y="2376"/>
                    <a:pt x="2219" y="2376"/>
                  </a:cubicBezTo>
                  <a:cubicBezTo>
                    <a:pt x="1175" y="2325"/>
                    <a:pt x="1175" y="2325"/>
                    <a:pt x="1175" y="2325"/>
                  </a:cubicBezTo>
                  <a:cubicBezTo>
                    <a:pt x="1175" y="2533"/>
                    <a:pt x="1175" y="2533"/>
                    <a:pt x="1175" y="2533"/>
                  </a:cubicBezTo>
                  <a:cubicBezTo>
                    <a:pt x="783" y="2508"/>
                    <a:pt x="391" y="2508"/>
                    <a:pt x="0" y="2508"/>
                  </a:cubicBezTo>
                  <a:cubicBezTo>
                    <a:pt x="0" y="21024"/>
                    <a:pt x="0" y="21024"/>
                    <a:pt x="0" y="21024"/>
                  </a:cubicBezTo>
                  <a:cubicBezTo>
                    <a:pt x="6581" y="21024"/>
                    <a:pt x="6581" y="21024"/>
                    <a:pt x="6581" y="21024"/>
                  </a:cubicBezTo>
                  <a:cubicBezTo>
                    <a:pt x="6581" y="2768"/>
                    <a:pt x="6581" y="2768"/>
                    <a:pt x="6581" y="2768"/>
                  </a:cubicBezTo>
                  <a:cubicBezTo>
                    <a:pt x="6581" y="2768"/>
                    <a:pt x="5928" y="2716"/>
                    <a:pt x="4805" y="2638"/>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6" name="Freeform 24">
              <a:extLst>
                <a:ext uri="{FF2B5EF4-FFF2-40B4-BE49-F238E27FC236}">
                  <a16:creationId xmlns:a16="http://schemas.microsoft.com/office/drawing/2014/main" id="{B6137098-2DFF-FA41-9996-825538379DC1}"/>
                </a:ext>
              </a:extLst>
            </p:cNvPr>
            <p:cNvSpPr>
              <a:spLocks noChangeArrowheads="1"/>
            </p:cNvSpPr>
            <p:nvPr/>
          </p:nvSpPr>
          <p:spPr bwMode="auto">
            <a:xfrm>
              <a:off x="8197850" y="-395288"/>
              <a:ext cx="188913" cy="1420813"/>
            </a:xfrm>
            <a:custGeom>
              <a:avLst/>
              <a:gdLst>
                <a:gd name="T0" fmla="*/ 523 w 524"/>
                <a:gd name="T1" fmla="*/ 3944 h 3945"/>
                <a:gd name="T2" fmla="*/ 0 w 524"/>
                <a:gd name="T3" fmla="*/ 3944 h 3945"/>
                <a:gd name="T4" fmla="*/ 0 w 524"/>
                <a:gd name="T5" fmla="*/ 0 h 3945"/>
                <a:gd name="T6" fmla="*/ 523 w 524"/>
                <a:gd name="T7" fmla="*/ 0 h 3945"/>
                <a:gd name="T8" fmla="*/ 523 w 524"/>
                <a:gd name="T9" fmla="*/ 3944 h 3945"/>
              </a:gdLst>
              <a:ahLst/>
              <a:cxnLst>
                <a:cxn ang="0">
                  <a:pos x="T0" y="T1"/>
                </a:cxn>
                <a:cxn ang="0">
                  <a:pos x="T2" y="T3"/>
                </a:cxn>
                <a:cxn ang="0">
                  <a:pos x="T4" y="T5"/>
                </a:cxn>
                <a:cxn ang="0">
                  <a:pos x="T6" y="T7"/>
                </a:cxn>
                <a:cxn ang="0">
                  <a:pos x="T8" y="T9"/>
                </a:cxn>
              </a:cxnLst>
              <a:rect l="0" t="0" r="r" b="b"/>
              <a:pathLst>
                <a:path w="524" h="3945">
                  <a:moveTo>
                    <a:pt x="523" y="3944"/>
                  </a:moveTo>
                  <a:lnTo>
                    <a:pt x="0" y="3944"/>
                  </a:lnTo>
                  <a:lnTo>
                    <a:pt x="0" y="0"/>
                  </a:lnTo>
                  <a:lnTo>
                    <a:pt x="523" y="0"/>
                  </a:lnTo>
                  <a:lnTo>
                    <a:pt x="523" y="3944"/>
                  </a:lnTo>
                </a:path>
              </a:pathLst>
            </a:custGeom>
            <a:solidFill>
              <a:srgbClr val="EE3A6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7" name="Freeform 25">
              <a:extLst>
                <a:ext uri="{FF2B5EF4-FFF2-40B4-BE49-F238E27FC236}">
                  <a16:creationId xmlns:a16="http://schemas.microsoft.com/office/drawing/2014/main" id="{89FB2548-9F04-B448-9A08-78281A55C907}"/>
                </a:ext>
              </a:extLst>
            </p:cNvPr>
            <p:cNvSpPr>
              <a:spLocks noChangeArrowheads="1"/>
            </p:cNvSpPr>
            <p:nvPr/>
          </p:nvSpPr>
          <p:spPr bwMode="auto">
            <a:xfrm>
              <a:off x="8197850" y="1296988"/>
              <a:ext cx="188913" cy="1419225"/>
            </a:xfrm>
            <a:custGeom>
              <a:avLst/>
              <a:gdLst>
                <a:gd name="T0" fmla="*/ 523 w 524"/>
                <a:gd name="T1" fmla="*/ 3942 h 3943"/>
                <a:gd name="T2" fmla="*/ 0 w 524"/>
                <a:gd name="T3" fmla="*/ 3942 h 3943"/>
                <a:gd name="T4" fmla="*/ 0 w 524"/>
                <a:gd name="T5" fmla="*/ 0 h 3943"/>
                <a:gd name="T6" fmla="*/ 523 w 524"/>
                <a:gd name="T7" fmla="*/ 0 h 3943"/>
                <a:gd name="T8" fmla="*/ 523 w 524"/>
                <a:gd name="T9" fmla="*/ 3942 h 3943"/>
              </a:gdLst>
              <a:ahLst/>
              <a:cxnLst>
                <a:cxn ang="0">
                  <a:pos x="T0" y="T1"/>
                </a:cxn>
                <a:cxn ang="0">
                  <a:pos x="T2" y="T3"/>
                </a:cxn>
                <a:cxn ang="0">
                  <a:pos x="T4" y="T5"/>
                </a:cxn>
                <a:cxn ang="0">
                  <a:pos x="T6" y="T7"/>
                </a:cxn>
                <a:cxn ang="0">
                  <a:pos x="T8" y="T9"/>
                </a:cxn>
              </a:cxnLst>
              <a:rect l="0" t="0" r="r" b="b"/>
              <a:pathLst>
                <a:path w="524" h="3943">
                  <a:moveTo>
                    <a:pt x="523" y="3942"/>
                  </a:moveTo>
                  <a:lnTo>
                    <a:pt x="0" y="3942"/>
                  </a:lnTo>
                  <a:lnTo>
                    <a:pt x="0" y="0"/>
                  </a:lnTo>
                  <a:lnTo>
                    <a:pt x="523" y="0"/>
                  </a:lnTo>
                  <a:lnTo>
                    <a:pt x="523" y="3942"/>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8" name="Freeform 26">
              <a:extLst>
                <a:ext uri="{FF2B5EF4-FFF2-40B4-BE49-F238E27FC236}">
                  <a16:creationId xmlns:a16="http://schemas.microsoft.com/office/drawing/2014/main" id="{F93111AF-EA2C-494F-8184-A0A9991DCB7C}"/>
                </a:ext>
              </a:extLst>
            </p:cNvPr>
            <p:cNvSpPr>
              <a:spLocks noChangeArrowheads="1"/>
            </p:cNvSpPr>
            <p:nvPr/>
          </p:nvSpPr>
          <p:spPr bwMode="auto">
            <a:xfrm>
              <a:off x="8197850" y="2989263"/>
              <a:ext cx="188913" cy="1419225"/>
            </a:xfrm>
            <a:custGeom>
              <a:avLst/>
              <a:gdLst>
                <a:gd name="T0" fmla="*/ 523 w 524"/>
                <a:gd name="T1" fmla="*/ 3943 h 3944"/>
                <a:gd name="T2" fmla="*/ 0 w 524"/>
                <a:gd name="T3" fmla="*/ 3943 h 3944"/>
                <a:gd name="T4" fmla="*/ 0 w 524"/>
                <a:gd name="T5" fmla="*/ 0 h 3944"/>
                <a:gd name="T6" fmla="*/ 523 w 524"/>
                <a:gd name="T7" fmla="*/ 0 h 3944"/>
                <a:gd name="T8" fmla="*/ 523 w 524"/>
                <a:gd name="T9" fmla="*/ 3943 h 3944"/>
              </a:gdLst>
              <a:ahLst/>
              <a:cxnLst>
                <a:cxn ang="0">
                  <a:pos x="T0" y="T1"/>
                </a:cxn>
                <a:cxn ang="0">
                  <a:pos x="T2" y="T3"/>
                </a:cxn>
                <a:cxn ang="0">
                  <a:pos x="T4" y="T5"/>
                </a:cxn>
                <a:cxn ang="0">
                  <a:pos x="T6" y="T7"/>
                </a:cxn>
                <a:cxn ang="0">
                  <a:pos x="T8" y="T9"/>
                </a:cxn>
              </a:cxnLst>
              <a:rect l="0" t="0" r="r" b="b"/>
              <a:pathLst>
                <a:path w="524" h="3944">
                  <a:moveTo>
                    <a:pt x="523" y="3943"/>
                  </a:moveTo>
                  <a:lnTo>
                    <a:pt x="0" y="3943"/>
                  </a:lnTo>
                  <a:lnTo>
                    <a:pt x="0" y="0"/>
                  </a:lnTo>
                  <a:lnTo>
                    <a:pt x="523" y="0"/>
                  </a:lnTo>
                  <a:lnTo>
                    <a:pt x="523" y="3943"/>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9" name="Freeform 27">
              <a:extLst>
                <a:ext uri="{FF2B5EF4-FFF2-40B4-BE49-F238E27FC236}">
                  <a16:creationId xmlns:a16="http://schemas.microsoft.com/office/drawing/2014/main" id="{B72DA66F-081B-D349-B018-D550887E3FBC}"/>
                </a:ext>
              </a:extLst>
            </p:cNvPr>
            <p:cNvSpPr>
              <a:spLocks noChangeArrowheads="1"/>
            </p:cNvSpPr>
            <p:nvPr/>
          </p:nvSpPr>
          <p:spPr bwMode="auto">
            <a:xfrm>
              <a:off x="8583613" y="-395288"/>
              <a:ext cx="179387" cy="1420813"/>
            </a:xfrm>
            <a:custGeom>
              <a:avLst/>
              <a:gdLst>
                <a:gd name="T0" fmla="*/ 496 w 497"/>
                <a:gd name="T1" fmla="*/ 3944 h 3945"/>
                <a:gd name="T2" fmla="*/ 0 w 497"/>
                <a:gd name="T3" fmla="*/ 3944 h 3945"/>
                <a:gd name="T4" fmla="*/ 0 w 497"/>
                <a:gd name="T5" fmla="*/ 0 h 3945"/>
                <a:gd name="T6" fmla="*/ 496 w 497"/>
                <a:gd name="T7" fmla="*/ 0 h 3945"/>
                <a:gd name="T8" fmla="*/ 496 w 497"/>
                <a:gd name="T9" fmla="*/ 3944 h 3945"/>
              </a:gdLst>
              <a:ahLst/>
              <a:cxnLst>
                <a:cxn ang="0">
                  <a:pos x="T0" y="T1"/>
                </a:cxn>
                <a:cxn ang="0">
                  <a:pos x="T2" y="T3"/>
                </a:cxn>
                <a:cxn ang="0">
                  <a:pos x="T4" y="T5"/>
                </a:cxn>
                <a:cxn ang="0">
                  <a:pos x="T6" y="T7"/>
                </a:cxn>
                <a:cxn ang="0">
                  <a:pos x="T8" y="T9"/>
                </a:cxn>
              </a:cxnLst>
              <a:rect l="0" t="0" r="r" b="b"/>
              <a:pathLst>
                <a:path w="497" h="3945">
                  <a:moveTo>
                    <a:pt x="496" y="3944"/>
                  </a:moveTo>
                  <a:lnTo>
                    <a:pt x="0" y="3944"/>
                  </a:lnTo>
                  <a:lnTo>
                    <a:pt x="0" y="0"/>
                  </a:lnTo>
                  <a:lnTo>
                    <a:pt x="496" y="0"/>
                  </a:lnTo>
                  <a:lnTo>
                    <a:pt x="496" y="3944"/>
                  </a:lnTo>
                </a:path>
              </a:pathLst>
            </a:custGeom>
            <a:solidFill>
              <a:srgbClr val="EE3A6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0" name="Freeform 28">
              <a:extLst>
                <a:ext uri="{FF2B5EF4-FFF2-40B4-BE49-F238E27FC236}">
                  <a16:creationId xmlns:a16="http://schemas.microsoft.com/office/drawing/2014/main" id="{9FF03357-E3F8-A645-9ED5-630B7E6509AD}"/>
                </a:ext>
              </a:extLst>
            </p:cNvPr>
            <p:cNvSpPr>
              <a:spLocks noChangeArrowheads="1"/>
            </p:cNvSpPr>
            <p:nvPr/>
          </p:nvSpPr>
          <p:spPr bwMode="auto">
            <a:xfrm>
              <a:off x="8583613" y="1296988"/>
              <a:ext cx="179387" cy="1419225"/>
            </a:xfrm>
            <a:custGeom>
              <a:avLst/>
              <a:gdLst>
                <a:gd name="T0" fmla="*/ 496 w 497"/>
                <a:gd name="T1" fmla="*/ 3942 h 3943"/>
                <a:gd name="T2" fmla="*/ 0 w 497"/>
                <a:gd name="T3" fmla="*/ 3942 h 3943"/>
                <a:gd name="T4" fmla="*/ 0 w 497"/>
                <a:gd name="T5" fmla="*/ 0 h 3943"/>
                <a:gd name="T6" fmla="*/ 496 w 497"/>
                <a:gd name="T7" fmla="*/ 0 h 3943"/>
                <a:gd name="T8" fmla="*/ 496 w 497"/>
                <a:gd name="T9" fmla="*/ 3942 h 3943"/>
              </a:gdLst>
              <a:ahLst/>
              <a:cxnLst>
                <a:cxn ang="0">
                  <a:pos x="T0" y="T1"/>
                </a:cxn>
                <a:cxn ang="0">
                  <a:pos x="T2" y="T3"/>
                </a:cxn>
                <a:cxn ang="0">
                  <a:pos x="T4" y="T5"/>
                </a:cxn>
                <a:cxn ang="0">
                  <a:pos x="T6" y="T7"/>
                </a:cxn>
                <a:cxn ang="0">
                  <a:pos x="T8" y="T9"/>
                </a:cxn>
              </a:cxnLst>
              <a:rect l="0" t="0" r="r" b="b"/>
              <a:pathLst>
                <a:path w="497" h="3943">
                  <a:moveTo>
                    <a:pt x="496" y="3942"/>
                  </a:moveTo>
                  <a:lnTo>
                    <a:pt x="0" y="3942"/>
                  </a:lnTo>
                  <a:lnTo>
                    <a:pt x="0" y="0"/>
                  </a:lnTo>
                  <a:lnTo>
                    <a:pt x="496" y="0"/>
                  </a:lnTo>
                  <a:lnTo>
                    <a:pt x="496" y="3942"/>
                  </a:lnTo>
                </a:path>
              </a:pathLst>
            </a:custGeom>
            <a:solidFill>
              <a:srgbClr val="EE3A6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1" name="Freeform 29">
              <a:extLst>
                <a:ext uri="{FF2B5EF4-FFF2-40B4-BE49-F238E27FC236}">
                  <a16:creationId xmlns:a16="http://schemas.microsoft.com/office/drawing/2014/main" id="{2DB0FE16-CD40-F54C-9C41-B68F923C7071}"/>
                </a:ext>
              </a:extLst>
            </p:cNvPr>
            <p:cNvSpPr>
              <a:spLocks noChangeArrowheads="1"/>
            </p:cNvSpPr>
            <p:nvPr/>
          </p:nvSpPr>
          <p:spPr bwMode="auto">
            <a:xfrm>
              <a:off x="8583613" y="2989263"/>
              <a:ext cx="179387" cy="1419225"/>
            </a:xfrm>
            <a:custGeom>
              <a:avLst/>
              <a:gdLst>
                <a:gd name="T0" fmla="*/ 496 w 497"/>
                <a:gd name="T1" fmla="*/ 3943 h 3944"/>
                <a:gd name="T2" fmla="*/ 0 w 497"/>
                <a:gd name="T3" fmla="*/ 3943 h 3944"/>
                <a:gd name="T4" fmla="*/ 0 w 497"/>
                <a:gd name="T5" fmla="*/ 0 h 3944"/>
                <a:gd name="T6" fmla="*/ 496 w 497"/>
                <a:gd name="T7" fmla="*/ 0 h 3944"/>
                <a:gd name="T8" fmla="*/ 496 w 497"/>
                <a:gd name="T9" fmla="*/ 3943 h 3944"/>
              </a:gdLst>
              <a:ahLst/>
              <a:cxnLst>
                <a:cxn ang="0">
                  <a:pos x="T0" y="T1"/>
                </a:cxn>
                <a:cxn ang="0">
                  <a:pos x="T2" y="T3"/>
                </a:cxn>
                <a:cxn ang="0">
                  <a:pos x="T4" y="T5"/>
                </a:cxn>
                <a:cxn ang="0">
                  <a:pos x="T6" y="T7"/>
                </a:cxn>
                <a:cxn ang="0">
                  <a:pos x="T8" y="T9"/>
                </a:cxn>
              </a:cxnLst>
              <a:rect l="0" t="0" r="r" b="b"/>
              <a:pathLst>
                <a:path w="497" h="3944">
                  <a:moveTo>
                    <a:pt x="496" y="3943"/>
                  </a:moveTo>
                  <a:lnTo>
                    <a:pt x="0" y="3943"/>
                  </a:lnTo>
                  <a:lnTo>
                    <a:pt x="0" y="0"/>
                  </a:lnTo>
                  <a:lnTo>
                    <a:pt x="496" y="0"/>
                  </a:lnTo>
                  <a:lnTo>
                    <a:pt x="496" y="3943"/>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2" name="Freeform 30">
              <a:extLst>
                <a:ext uri="{FF2B5EF4-FFF2-40B4-BE49-F238E27FC236}">
                  <a16:creationId xmlns:a16="http://schemas.microsoft.com/office/drawing/2014/main" id="{25349B74-5BFA-8D48-B4CD-63B58099928B}"/>
                </a:ext>
              </a:extLst>
            </p:cNvPr>
            <p:cNvSpPr>
              <a:spLocks noChangeArrowheads="1"/>
            </p:cNvSpPr>
            <p:nvPr/>
          </p:nvSpPr>
          <p:spPr bwMode="auto">
            <a:xfrm>
              <a:off x="8959850" y="-395288"/>
              <a:ext cx="188913" cy="1420813"/>
            </a:xfrm>
            <a:custGeom>
              <a:avLst/>
              <a:gdLst>
                <a:gd name="T0" fmla="*/ 522 w 523"/>
                <a:gd name="T1" fmla="*/ 3944 h 3945"/>
                <a:gd name="T2" fmla="*/ 0 w 523"/>
                <a:gd name="T3" fmla="*/ 3944 h 3945"/>
                <a:gd name="T4" fmla="*/ 0 w 523"/>
                <a:gd name="T5" fmla="*/ 0 h 3945"/>
                <a:gd name="T6" fmla="*/ 522 w 523"/>
                <a:gd name="T7" fmla="*/ 0 h 3945"/>
                <a:gd name="T8" fmla="*/ 522 w 523"/>
                <a:gd name="T9" fmla="*/ 3944 h 3945"/>
              </a:gdLst>
              <a:ahLst/>
              <a:cxnLst>
                <a:cxn ang="0">
                  <a:pos x="T0" y="T1"/>
                </a:cxn>
                <a:cxn ang="0">
                  <a:pos x="T2" y="T3"/>
                </a:cxn>
                <a:cxn ang="0">
                  <a:pos x="T4" y="T5"/>
                </a:cxn>
                <a:cxn ang="0">
                  <a:pos x="T6" y="T7"/>
                </a:cxn>
                <a:cxn ang="0">
                  <a:pos x="T8" y="T9"/>
                </a:cxn>
              </a:cxnLst>
              <a:rect l="0" t="0" r="r" b="b"/>
              <a:pathLst>
                <a:path w="523" h="3945">
                  <a:moveTo>
                    <a:pt x="522" y="3944"/>
                  </a:moveTo>
                  <a:lnTo>
                    <a:pt x="0" y="3944"/>
                  </a:lnTo>
                  <a:lnTo>
                    <a:pt x="0" y="0"/>
                  </a:lnTo>
                  <a:lnTo>
                    <a:pt x="522" y="0"/>
                  </a:lnTo>
                  <a:lnTo>
                    <a:pt x="522" y="394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3" name="Freeform 31">
              <a:extLst>
                <a:ext uri="{FF2B5EF4-FFF2-40B4-BE49-F238E27FC236}">
                  <a16:creationId xmlns:a16="http://schemas.microsoft.com/office/drawing/2014/main" id="{0344B83C-F262-8B41-BEFE-F65AB23D3001}"/>
                </a:ext>
              </a:extLst>
            </p:cNvPr>
            <p:cNvSpPr>
              <a:spLocks noChangeArrowheads="1"/>
            </p:cNvSpPr>
            <p:nvPr/>
          </p:nvSpPr>
          <p:spPr bwMode="auto">
            <a:xfrm>
              <a:off x="8959850" y="1296988"/>
              <a:ext cx="188913" cy="1419225"/>
            </a:xfrm>
            <a:custGeom>
              <a:avLst/>
              <a:gdLst>
                <a:gd name="T0" fmla="*/ 522 w 523"/>
                <a:gd name="T1" fmla="*/ 3942 h 3943"/>
                <a:gd name="T2" fmla="*/ 0 w 523"/>
                <a:gd name="T3" fmla="*/ 3942 h 3943"/>
                <a:gd name="T4" fmla="*/ 0 w 523"/>
                <a:gd name="T5" fmla="*/ 0 h 3943"/>
                <a:gd name="T6" fmla="*/ 522 w 523"/>
                <a:gd name="T7" fmla="*/ 0 h 3943"/>
                <a:gd name="T8" fmla="*/ 522 w 523"/>
                <a:gd name="T9" fmla="*/ 3942 h 3943"/>
              </a:gdLst>
              <a:ahLst/>
              <a:cxnLst>
                <a:cxn ang="0">
                  <a:pos x="T0" y="T1"/>
                </a:cxn>
                <a:cxn ang="0">
                  <a:pos x="T2" y="T3"/>
                </a:cxn>
                <a:cxn ang="0">
                  <a:pos x="T4" y="T5"/>
                </a:cxn>
                <a:cxn ang="0">
                  <a:pos x="T6" y="T7"/>
                </a:cxn>
                <a:cxn ang="0">
                  <a:pos x="T8" y="T9"/>
                </a:cxn>
              </a:cxnLst>
              <a:rect l="0" t="0" r="r" b="b"/>
              <a:pathLst>
                <a:path w="523" h="3943">
                  <a:moveTo>
                    <a:pt x="522" y="3942"/>
                  </a:moveTo>
                  <a:lnTo>
                    <a:pt x="0" y="3942"/>
                  </a:lnTo>
                  <a:lnTo>
                    <a:pt x="0" y="0"/>
                  </a:lnTo>
                  <a:lnTo>
                    <a:pt x="522" y="0"/>
                  </a:lnTo>
                  <a:lnTo>
                    <a:pt x="522" y="3942"/>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4" name="Freeform 32">
              <a:extLst>
                <a:ext uri="{FF2B5EF4-FFF2-40B4-BE49-F238E27FC236}">
                  <a16:creationId xmlns:a16="http://schemas.microsoft.com/office/drawing/2014/main" id="{249FDCF9-54C0-3148-BF07-2029578A9C95}"/>
                </a:ext>
              </a:extLst>
            </p:cNvPr>
            <p:cNvSpPr>
              <a:spLocks noChangeArrowheads="1"/>
            </p:cNvSpPr>
            <p:nvPr/>
          </p:nvSpPr>
          <p:spPr bwMode="auto">
            <a:xfrm>
              <a:off x="8959850" y="2989263"/>
              <a:ext cx="188913" cy="1419225"/>
            </a:xfrm>
            <a:custGeom>
              <a:avLst/>
              <a:gdLst>
                <a:gd name="T0" fmla="*/ 522 w 523"/>
                <a:gd name="T1" fmla="*/ 3943 h 3944"/>
                <a:gd name="T2" fmla="*/ 0 w 523"/>
                <a:gd name="T3" fmla="*/ 3943 h 3944"/>
                <a:gd name="T4" fmla="*/ 0 w 523"/>
                <a:gd name="T5" fmla="*/ 0 h 3944"/>
                <a:gd name="T6" fmla="*/ 522 w 523"/>
                <a:gd name="T7" fmla="*/ 0 h 3944"/>
                <a:gd name="T8" fmla="*/ 522 w 523"/>
                <a:gd name="T9" fmla="*/ 3943 h 3944"/>
              </a:gdLst>
              <a:ahLst/>
              <a:cxnLst>
                <a:cxn ang="0">
                  <a:pos x="T0" y="T1"/>
                </a:cxn>
                <a:cxn ang="0">
                  <a:pos x="T2" y="T3"/>
                </a:cxn>
                <a:cxn ang="0">
                  <a:pos x="T4" y="T5"/>
                </a:cxn>
                <a:cxn ang="0">
                  <a:pos x="T6" y="T7"/>
                </a:cxn>
                <a:cxn ang="0">
                  <a:pos x="T8" y="T9"/>
                </a:cxn>
              </a:cxnLst>
              <a:rect l="0" t="0" r="r" b="b"/>
              <a:pathLst>
                <a:path w="523" h="3944">
                  <a:moveTo>
                    <a:pt x="522" y="3943"/>
                  </a:moveTo>
                  <a:lnTo>
                    <a:pt x="0" y="3943"/>
                  </a:lnTo>
                  <a:lnTo>
                    <a:pt x="0" y="0"/>
                  </a:lnTo>
                  <a:lnTo>
                    <a:pt x="522" y="0"/>
                  </a:lnTo>
                  <a:lnTo>
                    <a:pt x="522" y="3943"/>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5" name="Freeform 33">
              <a:extLst>
                <a:ext uri="{FF2B5EF4-FFF2-40B4-BE49-F238E27FC236}">
                  <a16:creationId xmlns:a16="http://schemas.microsoft.com/office/drawing/2014/main" id="{DC7864DE-85CF-4240-A75A-6232992FAA1A}"/>
                </a:ext>
              </a:extLst>
            </p:cNvPr>
            <p:cNvSpPr>
              <a:spLocks noChangeArrowheads="1"/>
            </p:cNvSpPr>
            <p:nvPr/>
          </p:nvSpPr>
          <p:spPr bwMode="auto">
            <a:xfrm>
              <a:off x="9345613" y="-395288"/>
              <a:ext cx="188912" cy="1420813"/>
            </a:xfrm>
            <a:custGeom>
              <a:avLst/>
              <a:gdLst>
                <a:gd name="T0" fmla="*/ 523 w 524"/>
                <a:gd name="T1" fmla="*/ 3944 h 3945"/>
                <a:gd name="T2" fmla="*/ 0 w 524"/>
                <a:gd name="T3" fmla="*/ 3944 h 3945"/>
                <a:gd name="T4" fmla="*/ 0 w 524"/>
                <a:gd name="T5" fmla="*/ 0 h 3945"/>
                <a:gd name="T6" fmla="*/ 523 w 524"/>
                <a:gd name="T7" fmla="*/ 0 h 3945"/>
                <a:gd name="T8" fmla="*/ 523 w 524"/>
                <a:gd name="T9" fmla="*/ 3944 h 3945"/>
              </a:gdLst>
              <a:ahLst/>
              <a:cxnLst>
                <a:cxn ang="0">
                  <a:pos x="T0" y="T1"/>
                </a:cxn>
                <a:cxn ang="0">
                  <a:pos x="T2" y="T3"/>
                </a:cxn>
                <a:cxn ang="0">
                  <a:pos x="T4" y="T5"/>
                </a:cxn>
                <a:cxn ang="0">
                  <a:pos x="T6" y="T7"/>
                </a:cxn>
                <a:cxn ang="0">
                  <a:pos x="T8" y="T9"/>
                </a:cxn>
              </a:cxnLst>
              <a:rect l="0" t="0" r="r" b="b"/>
              <a:pathLst>
                <a:path w="524" h="3945">
                  <a:moveTo>
                    <a:pt x="523" y="3944"/>
                  </a:moveTo>
                  <a:lnTo>
                    <a:pt x="0" y="3944"/>
                  </a:lnTo>
                  <a:lnTo>
                    <a:pt x="0" y="0"/>
                  </a:lnTo>
                  <a:lnTo>
                    <a:pt x="523" y="0"/>
                  </a:lnTo>
                  <a:lnTo>
                    <a:pt x="523" y="394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6" name="Freeform 34">
              <a:extLst>
                <a:ext uri="{FF2B5EF4-FFF2-40B4-BE49-F238E27FC236}">
                  <a16:creationId xmlns:a16="http://schemas.microsoft.com/office/drawing/2014/main" id="{E0869E75-FDC6-E742-8EC5-AB1C204B8B4B}"/>
                </a:ext>
              </a:extLst>
            </p:cNvPr>
            <p:cNvSpPr>
              <a:spLocks noChangeArrowheads="1"/>
            </p:cNvSpPr>
            <p:nvPr/>
          </p:nvSpPr>
          <p:spPr bwMode="auto">
            <a:xfrm>
              <a:off x="9345613" y="1296988"/>
              <a:ext cx="188912" cy="1419225"/>
            </a:xfrm>
            <a:custGeom>
              <a:avLst/>
              <a:gdLst>
                <a:gd name="T0" fmla="*/ 523 w 524"/>
                <a:gd name="T1" fmla="*/ 3942 h 3943"/>
                <a:gd name="T2" fmla="*/ 0 w 524"/>
                <a:gd name="T3" fmla="*/ 3942 h 3943"/>
                <a:gd name="T4" fmla="*/ 0 w 524"/>
                <a:gd name="T5" fmla="*/ 0 h 3943"/>
                <a:gd name="T6" fmla="*/ 523 w 524"/>
                <a:gd name="T7" fmla="*/ 0 h 3943"/>
                <a:gd name="T8" fmla="*/ 523 w 524"/>
                <a:gd name="T9" fmla="*/ 3942 h 3943"/>
              </a:gdLst>
              <a:ahLst/>
              <a:cxnLst>
                <a:cxn ang="0">
                  <a:pos x="T0" y="T1"/>
                </a:cxn>
                <a:cxn ang="0">
                  <a:pos x="T2" y="T3"/>
                </a:cxn>
                <a:cxn ang="0">
                  <a:pos x="T4" y="T5"/>
                </a:cxn>
                <a:cxn ang="0">
                  <a:pos x="T6" y="T7"/>
                </a:cxn>
                <a:cxn ang="0">
                  <a:pos x="T8" y="T9"/>
                </a:cxn>
              </a:cxnLst>
              <a:rect l="0" t="0" r="r" b="b"/>
              <a:pathLst>
                <a:path w="524" h="3943">
                  <a:moveTo>
                    <a:pt x="523" y="3942"/>
                  </a:moveTo>
                  <a:lnTo>
                    <a:pt x="0" y="3942"/>
                  </a:lnTo>
                  <a:lnTo>
                    <a:pt x="0" y="0"/>
                  </a:lnTo>
                  <a:lnTo>
                    <a:pt x="523" y="0"/>
                  </a:lnTo>
                  <a:lnTo>
                    <a:pt x="523" y="3942"/>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7" name="Freeform 35">
              <a:extLst>
                <a:ext uri="{FF2B5EF4-FFF2-40B4-BE49-F238E27FC236}">
                  <a16:creationId xmlns:a16="http://schemas.microsoft.com/office/drawing/2014/main" id="{1F448A15-E74F-7B42-9DB2-F73228DB677C}"/>
                </a:ext>
              </a:extLst>
            </p:cNvPr>
            <p:cNvSpPr>
              <a:spLocks noChangeArrowheads="1"/>
            </p:cNvSpPr>
            <p:nvPr/>
          </p:nvSpPr>
          <p:spPr bwMode="auto">
            <a:xfrm>
              <a:off x="9345613" y="2979738"/>
              <a:ext cx="188912" cy="1420812"/>
            </a:xfrm>
            <a:custGeom>
              <a:avLst/>
              <a:gdLst>
                <a:gd name="T0" fmla="*/ 523 w 524"/>
                <a:gd name="T1" fmla="*/ 3944 h 3945"/>
                <a:gd name="T2" fmla="*/ 0 w 524"/>
                <a:gd name="T3" fmla="*/ 3944 h 3945"/>
                <a:gd name="T4" fmla="*/ 0 w 524"/>
                <a:gd name="T5" fmla="*/ 0 h 3945"/>
                <a:gd name="T6" fmla="*/ 523 w 524"/>
                <a:gd name="T7" fmla="*/ 0 h 3945"/>
                <a:gd name="T8" fmla="*/ 523 w 524"/>
                <a:gd name="T9" fmla="*/ 3944 h 3945"/>
              </a:gdLst>
              <a:ahLst/>
              <a:cxnLst>
                <a:cxn ang="0">
                  <a:pos x="T0" y="T1"/>
                </a:cxn>
                <a:cxn ang="0">
                  <a:pos x="T2" y="T3"/>
                </a:cxn>
                <a:cxn ang="0">
                  <a:pos x="T4" y="T5"/>
                </a:cxn>
                <a:cxn ang="0">
                  <a:pos x="T6" y="T7"/>
                </a:cxn>
                <a:cxn ang="0">
                  <a:pos x="T8" y="T9"/>
                </a:cxn>
              </a:cxnLst>
              <a:rect l="0" t="0" r="r" b="b"/>
              <a:pathLst>
                <a:path w="524" h="3945">
                  <a:moveTo>
                    <a:pt x="523" y="3944"/>
                  </a:moveTo>
                  <a:lnTo>
                    <a:pt x="0" y="3944"/>
                  </a:lnTo>
                  <a:lnTo>
                    <a:pt x="0" y="0"/>
                  </a:lnTo>
                  <a:lnTo>
                    <a:pt x="523" y="0"/>
                  </a:lnTo>
                  <a:lnTo>
                    <a:pt x="523" y="394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8" name="Freeform 36">
              <a:extLst>
                <a:ext uri="{FF2B5EF4-FFF2-40B4-BE49-F238E27FC236}">
                  <a16:creationId xmlns:a16="http://schemas.microsoft.com/office/drawing/2014/main" id="{38D38C84-04F4-714B-908D-DBE848B0A97C}"/>
                </a:ext>
              </a:extLst>
            </p:cNvPr>
            <p:cNvSpPr>
              <a:spLocks noChangeArrowheads="1"/>
            </p:cNvSpPr>
            <p:nvPr/>
          </p:nvSpPr>
          <p:spPr bwMode="auto">
            <a:xfrm>
              <a:off x="9731375" y="-395288"/>
              <a:ext cx="177800" cy="1420813"/>
            </a:xfrm>
            <a:custGeom>
              <a:avLst/>
              <a:gdLst>
                <a:gd name="T0" fmla="*/ 495 w 496"/>
                <a:gd name="T1" fmla="*/ 3944 h 3945"/>
                <a:gd name="T2" fmla="*/ 0 w 496"/>
                <a:gd name="T3" fmla="*/ 3944 h 3945"/>
                <a:gd name="T4" fmla="*/ 0 w 496"/>
                <a:gd name="T5" fmla="*/ 0 h 3945"/>
                <a:gd name="T6" fmla="*/ 495 w 496"/>
                <a:gd name="T7" fmla="*/ 0 h 3945"/>
                <a:gd name="T8" fmla="*/ 495 w 496"/>
                <a:gd name="T9" fmla="*/ 3944 h 3945"/>
              </a:gdLst>
              <a:ahLst/>
              <a:cxnLst>
                <a:cxn ang="0">
                  <a:pos x="T0" y="T1"/>
                </a:cxn>
                <a:cxn ang="0">
                  <a:pos x="T2" y="T3"/>
                </a:cxn>
                <a:cxn ang="0">
                  <a:pos x="T4" y="T5"/>
                </a:cxn>
                <a:cxn ang="0">
                  <a:pos x="T6" y="T7"/>
                </a:cxn>
                <a:cxn ang="0">
                  <a:pos x="T8" y="T9"/>
                </a:cxn>
              </a:cxnLst>
              <a:rect l="0" t="0" r="r" b="b"/>
              <a:pathLst>
                <a:path w="496" h="3945">
                  <a:moveTo>
                    <a:pt x="495" y="3944"/>
                  </a:moveTo>
                  <a:lnTo>
                    <a:pt x="0" y="3944"/>
                  </a:lnTo>
                  <a:lnTo>
                    <a:pt x="0" y="0"/>
                  </a:lnTo>
                  <a:lnTo>
                    <a:pt x="495" y="0"/>
                  </a:lnTo>
                  <a:lnTo>
                    <a:pt x="495" y="394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9" name="Freeform 37">
              <a:extLst>
                <a:ext uri="{FF2B5EF4-FFF2-40B4-BE49-F238E27FC236}">
                  <a16:creationId xmlns:a16="http://schemas.microsoft.com/office/drawing/2014/main" id="{545AB8DF-0AD0-234C-A194-58E028C9396D}"/>
                </a:ext>
              </a:extLst>
            </p:cNvPr>
            <p:cNvSpPr>
              <a:spLocks noChangeArrowheads="1"/>
            </p:cNvSpPr>
            <p:nvPr/>
          </p:nvSpPr>
          <p:spPr bwMode="auto">
            <a:xfrm>
              <a:off x="9731375" y="1296988"/>
              <a:ext cx="177800" cy="1419225"/>
            </a:xfrm>
            <a:custGeom>
              <a:avLst/>
              <a:gdLst>
                <a:gd name="T0" fmla="*/ 495 w 496"/>
                <a:gd name="T1" fmla="*/ 3942 h 3943"/>
                <a:gd name="T2" fmla="*/ 0 w 496"/>
                <a:gd name="T3" fmla="*/ 3942 h 3943"/>
                <a:gd name="T4" fmla="*/ 0 w 496"/>
                <a:gd name="T5" fmla="*/ 0 h 3943"/>
                <a:gd name="T6" fmla="*/ 495 w 496"/>
                <a:gd name="T7" fmla="*/ 0 h 3943"/>
                <a:gd name="T8" fmla="*/ 495 w 496"/>
                <a:gd name="T9" fmla="*/ 3942 h 3943"/>
              </a:gdLst>
              <a:ahLst/>
              <a:cxnLst>
                <a:cxn ang="0">
                  <a:pos x="T0" y="T1"/>
                </a:cxn>
                <a:cxn ang="0">
                  <a:pos x="T2" y="T3"/>
                </a:cxn>
                <a:cxn ang="0">
                  <a:pos x="T4" y="T5"/>
                </a:cxn>
                <a:cxn ang="0">
                  <a:pos x="T6" y="T7"/>
                </a:cxn>
                <a:cxn ang="0">
                  <a:pos x="T8" y="T9"/>
                </a:cxn>
              </a:cxnLst>
              <a:rect l="0" t="0" r="r" b="b"/>
              <a:pathLst>
                <a:path w="496" h="3943">
                  <a:moveTo>
                    <a:pt x="495" y="3942"/>
                  </a:moveTo>
                  <a:lnTo>
                    <a:pt x="0" y="3942"/>
                  </a:lnTo>
                  <a:lnTo>
                    <a:pt x="0" y="0"/>
                  </a:lnTo>
                  <a:lnTo>
                    <a:pt x="495" y="0"/>
                  </a:lnTo>
                  <a:lnTo>
                    <a:pt x="495" y="3942"/>
                  </a:lnTo>
                </a:path>
              </a:pathLst>
            </a:custGeom>
            <a:solidFill>
              <a:srgbClr val="EE3A6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10" name="Freeform 38">
              <a:extLst>
                <a:ext uri="{FF2B5EF4-FFF2-40B4-BE49-F238E27FC236}">
                  <a16:creationId xmlns:a16="http://schemas.microsoft.com/office/drawing/2014/main" id="{F44CA969-7A82-CA44-9AFE-3A713C38286F}"/>
                </a:ext>
              </a:extLst>
            </p:cNvPr>
            <p:cNvSpPr>
              <a:spLocks noChangeArrowheads="1"/>
            </p:cNvSpPr>
            <p:nvPr/>
          </p:nvSpPr>
          <p:spPr bwMode="auto">
            <a:xfrm>
              <a:off x="9731375" y="2989263"/>
              <a:ext cx="177800" cy="1419225"/>
            </a:xfrm>
            <a:custGeom>
              <a:avLst/>
              <a:gdLst>
                <a:gd name="T0" fmla="*/ 495 w 496"/>
                <a:gd name="T1" fmla="*/ 3943 h 3944"/>
                <a:gd name="T2" fmla="*/ 0 w 496"/>
                <a:gd name="T3" fmla="*/ 3943 h 3944"/>
                <a:gd name="T4" fmla="*/ 0 w 496"/>
                <a:gd name="T5" fmla="*/ 0 h 3944"/>
                <a:gd name="T6" fmla="*/ 495 w 496"/>
                <a:gd name="T7" fmla="*/ 0 h 3944"/>
                <a:gd name="T8" fmla="*/ 495 w 496"/>
                <a:gd name="T9" fmla="*/ 3943 h 3944"/>
              </a:gdLst>
              <a:ahLst/>
              <a:cxnLst>
                <a:cxn ang="0">
                  <a:pos x="T0" y="T1"/>
                </a:cxn>
                <a:cxn ang="0">
                  <a:pos x="T2" y="T3"/>
                </a:cxn>
                <a:cxn ang="0">
                  <a:pos x="T4" y="T5"/>
                </a:cxn>
                <a:cxn ang="0">
                  <a:pos x="T6" y="T7"/>
                </a:cxn>
                <a:cxn ang="0">
                  <a:pos x="T8" y="T9"/>
                </a:cxn>
              </a:cxnLst>
              <a:rect l="0" t="0" r="r" b="b"/>
              <a:pathLst>
                <a:path w="496" h="3944">
                  <a:moveTo>
                    <a:pt x="495" y="3943"/>
                  </a:moveTo>
                  <a:lnTo>
                    <a:pt x="0" y="3943"/>
                  </a:lnTo>
                  <a:lnTo>
                    <a:pt x="0" y="0"/>
                  </a:lnTo>
                  <a:lnTo>
                    <a:pt x="495" y="0"/>
                  </a:lnTo>
                  <a:lnTo>
                    <a:pt x="495" y="3943"/>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
        <p:nvSpPr>
          <p:cNvPr id="114" name="Freeform 2">
            <a:extLst>
              <a:ext uri="{FF2B5EF4-FFF2-40B4-BE49-F238E27FC236}">
                <a16:creationId xmlns:a16="http://schemas.microsoft.com/office/drawing/2014/main" id="{5C924674-24D3-9848-8092-696B2C5C1D64}"/>
              </a:ext>
            </a:extLst>
          </p:cNvPr>
          <p:cNvSpPr>
            <a:spLocks noChangeArrowheads="1"/>
          </p:cNvSpPr>
          <p:nvPr userDrawn="1"/>
        </p:nvSpPr>
        <p:spPr bwMode="auto">
          <a:xfrm>
            <a:off x="3397136" y="1013043"/>
            <a:ext cx="5367399" cy="5255074"/>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Tree>
    <p:extLst>
      <p:ext uri="{BB962C8B-B14F-4D97-AF65-F5344CB8AC3E}">
        <p14:creationId xmlns:p14="http://schemas.microsoft.com/office/powerpoint/2010/main" val="76733761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digo-Cover_Ogo-illustration-white">
    <p:bg>
      <p:bgRef idx="1001">
        <a:schemeClr val="bg1"/>
      </p:bgRef>
    </p:bg>
    <p:spTree>
      <p:nvGrpSpPr>
        <p:cNvPr id="1" name=""/>
        <p:cNvGrpSpPr/>
        <p:nvPr/>
      </p:nvGrpSpPr>
      <p:grpSpPr>
        <a:xfrm>
          <a:off x="0" y="0"/>
          <a:ext cx="0" cy="0"/>
          <a:chOff x="0" y="0"/>
          <a:chExt cx="0" cy="0"/>
        </a:xfrm>
      </p:grpSpPr>
      <p:sp>
        <p:nvSpPr>
          <p:cNvPr id="22" name="Freeform 1">
            <a:extLst>
              <a:ext uri="{FF2B5EF4-FFF2-40B4-BE49-F238E27FC236}">
                <a16:creationId xmlns:a16="http://schemas.microsoft.com/office/drawing/2014/main" id="{012B1637-88AD-2745-83B2-27BC58FFD203}"/>
              </a:ext>
            </a:extLst>
          </p:cNvPr>
          <p:cNvSpPr>
            <a:spLocks noChangeArrowheads="1"/>
          </p:cNvSpPr>
          <p:nvPr userDrawn="1"/>
        </p:nvSpPr>
        <p:spPr bwMode="auto">
          <a:xfrm>
            <a:off x="6800654" y="0"/>
            <a:ext cx="2747903" cy="2612855"/>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4" name="Title 1">
            <a:extLst>
              <a:ext uri="{FF2B5EF4-FFF2-40B4-BE49-F238E27FC236}">
                <a16:creationId xmlns:a16="http://schemas.microsoft.com/office/drawing/2014/main" id="{FCFEA4AF-DDE1-3B4C-85B8-C1A1D78F60B0}"/>
              </a:ext>
            </a:extLst>
          </p:cNvPr>
          <p:cNvSpPr>
            <a:spLocks noGrp="1"/>
          </p:cNvSpPr>
          <p:nvPr userDrawn="1">
            <p:ph type="title" hasCustomPrompt="1"/>
          </p:nvPr>
        </p:nvSpPr>
        <p:spPr>
          <a:xfrm>
            <a:off x="1" y="1508558"/>
            <a:ext cx="3455988" cy="1187449"/>
          </a:xfrm>
          <a:prstGeom prst="rect">
            <a:avLst/>
          </a:prstGeom>
        </p:spPr>
        <p:txBody>
          <a:bodyPr lIns="432000" tIns="180000" rIns="72000" bIns="0"/>
          <a:lstStyle>
            <a:lvl1pPr>
              <a:defRPr lang="pl-PL" dirty="0"/>
            </a:lvl1pPr>
          </a:lstStyle>
          <a:p>
            <a:pPr lvl="0"/>
            <a:r>
              <a:rPr lang="en-US" noProof="0"/>
              <a:t>Presentation title</a:t>
            </a:r>
          </a:p>
        </p:txBody>
      </p:sp>
      <p:grpSp>
        <p:nvGrpSpPr>
          <p:cNvPr id="25" name="Group 24">
            <a:extLst>
              <a:ext uri="{FF2B5EF4-FFF2-40B4-BE49-F238E27FC236}">
                <a16:creationId xmlns:a16="http://schemas.microsoft.com/office/drawing/2014/main" id="{2FBD87C8-6045-0D47-9EBA-9EFCD740A2A0}"/>
              </a:ext>
            </a:extLst>
          </p:cNvPr>
          <p:cNvGrpSpPr/>
          <p:nvPr userDrawn="1"/>
        </p:nvGrpSpPr>
        <p:grpSpPr>
          <a:xfrm>
            <a:off x="431799" y="407248"/>
            <a:ext cx="1336166" cy="539307"/>
            <a:chOff x="2286000" y="2193925"/>
            <a:chExt cx="6835775" cy="2759075"/>
          </a:xfrm>
        </p:grpSpPr>
        <p:sp>
          <p:nvSpPr>
            <p:cNvPr id="26" name="Freeform 1">
              <a:extLst>
                <a:ext uri="{FF2B5EF4-FFF2-40B4-BE49-F238E27FC236}">
                  <a16:creationId xmlns:a16="http://schemas.microsoft.com/office/drawing/2014/main" id="{C3B29DF1-FA04-F34B-BF4C-56B3967A2EA2}"/>
                </a:ext>
              </a:extLst>
            </p:cNvPr>
            <p:cNvSpPr>
              <a:spLocks noChangeArrowheads="1"/>
            </p:cNvSpPr>
            <p:nvPr/>
          </p:nvSpPr>
          <p:spPr bwMode="auto">
            <a:xfrm>
              <a:off x="8378825" y="2471738"/>
              <a:ext cx="742950" cy="706437"/>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7" name="Freeform 2">
              <a:extLst>
                <a:ext uri="{FF2B5EF4-FFF2-40B4-BE49-F238E27FC236}">
                  <a16:creationId xmlns:a16="http://schemas.microsoft.com/office/drawing/2014/main" id="{8FD16FF3-416F-8040-8694-1A05511B1A32}"/>
                </a:ext>
              </a:extLst>
            </p:cNvPr>
            <p:cNvSpPr>
              <a:spLocks noChangeArrowheads="1"/>
            </p:cNvSpPr>
            <p:nvPr/>
          </p:nvSpPr>
          <p:spPr bwMode="auto">
            <a:xfrm>
              <a:off x="5299075" y="2781300"/>
              <a:ext cx="333375" cy="1349375"/>
            </a:xfrm>
            <a:custGeom>
              <a:avLst/>
              <a:gdLst>
                <a:gd name="T0" fmla="*/ 0 w 927"/>
                <a:gd name="T1" fmla="*/ 3749 h 3750"/>
                <a:gd name="T2" fmla="*/ 926 w 927"/>
                <a:gd name="T3" fmla="*/ 3749 h 3750"/>
                <a:gd name="T4" fmla="*/ 926 w 927"/>
                <a:gd name="T5" fmla="*/ 0 h 3750"/>
                <a:gd name="T6" fmla="*/ 0 w 927"/>
                <a:gd name="T7" fmla="*/ 0 h 3750"/>
                <a:gd name="T8" fmla="*/ 0 w 927"/>
                <a:gd name="T9" fmla="*/ 3749 h 3750"/>
              </a:gdLst>
              <a:ahLst/>
              <a:cxnLst>
                <a:cxn ang="0">
                  <a:pos x="T0" y="T1"/>
                </a:cxn>
                <a:cxn ang="0">
                  <a:pos x="T2" y="T3"/>
                </a:cxn>
                <a:cxn ang="0">
                  <a:pos x="T4" y="T5"/>
                </a:cxn>
                <a:cxn ang="0">
                  <a:pos x="T6" y="T7"/>
                </a:cxn>
                <a:cxn ang="0">
                  <a:pos x="T8" y="T9"/>
                </a:cxn>
              </a:cxnLst>
              <a:rect l="0" t="0" r="r" b="b"/>
              <a:pathLst>
                <a:path w="927" h="3750">
                  <a:moveTo>
                    <a:pt x="0" y="3749"/>
                  </a:moveTo>
                  <a:lnTo>
                    <a:pt x="926" y="3749"/>
                  </a:lnTo>
                  <a:lnTo>
                    <a:pt x="926" y="0"/>
                  </a:lnTo>
                  <a:lnTo>
                    <a:pt x="0" y="0"/>
                  </a:lnTo>
                  <a:lnTo>
                    <a:pt x="0" y="3749"/>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8" name="Freeform 3">
              <a:extLst>
                <a:ext uri="{FF2B5EF4-FFF2-40B4-BE49-F238E27FC236}">
                  <a16:creationId xmlns:a16="http://schemas.microsoft.com/office/drawing/2014/main" id="{50FA5CEE-F71C-524F-9F01-6BC30F520AA7}"/>
                </a:ext>
              </a:extLst>
            </p:cNvPr>
            <p:cNvSpPr>
              <a:spLocks noChangeArrowheads="1"/>
            </p:cNvSpPr>
            <p:nvPr/>
          </p:nvSpPr>
          <p:spPr bwMode="auto">
            <a:xfrm>
              <a:off x="3781425" y="2193925"/>
              <a:ext cx="1206500" cy="1973263"/>
            </a:xfrm>
            <a:custGeom>
              <a:avLst/>
              <a:gdLst>
                <a:gd name="T0" fmla="*/ 2426 w 3353"/>
                <a:gd name="T1" fmla="*/ 1631 h 5480"/>
                <a:gd name="T2" fmla="*/ 2426 w 3353"/>
                <a:gd name="T3" fmla="*/ 1631 h 5480"/>
                <a:gd name="T4" fmla="*/ 2459 w 3353"/>
                <a:gd name="T5" fmla="*/ 1940 h 5480"/>
                <a:gd name="T6" fmla="*/ 1290 w 3353"/>
                <a:gd name="T7" fmla="*/ 1532 h 5480"/>
                <a:gd name="T8" fmla="*/ 0 w 3353"/>
                <a:gd name="T9" fmla="*/ 1995 h 5480"/>
                <a:gd name="T10" fmla="*/ 463 w 3353"/>
                <a:gd name="T11" fmla="*/ 2833 h 5480"/>
                <a:gd name="T12" fmla="*/ 1323 w 3353"/>
                <a:gd name="T13" fmla="*/ 2403 h 5480"/>
                <a:gd name="T14" fmla="*/ 2393 w 3353"/>
                <a:gd name="T15" fmla="*/ 3506 h 5480"/>
                <a:gd name="T16" fmla="*/ 1323 w 3353"/>
                <a:gd name="T17" fmla="*/ 4619 h 5480"/>
                <a:gd name="T18" fmla="*/ 485 w 3353"/>
                <a:gd name="T19" fmla="*/ 4178 h 5480"/>
                <a:gd name="T20" fmla="*/ 0 w 3353"/>
                <a:gd name="T21" fmla="*/ 5049 h 5480"/>
                <a:gd name="T22" fmla="*/ 1290 w 3353"/>
                <a:gd name="T23" fmla="*/ 5479 h 5480"/>
                <a:gd name="T24" fmla="*/ 2459 w 3353"/>
                <a:gd name="T25" fmla="*/ 5071 h 5480"/>
                <a:gd name="T26" fmla="*/ 2492 w 3353"/>
                <a:gd name="T27" fmla="*/ 5380 h 5480"/>
                <a:gd name="T28" fmla="*/ 3352 w 3353"/>
                <a:gd name="T29" fmla="*/ 5380 h 5480"/>
                <a:gd name="T30" fmla="*/ 3352 w 3353"/>
                <a:gd name="T31" fmla="*/ 0 h 5480"/>
                <a:gd name="T32" fmla="*/ 2426 w 3353"/>
                <a:gd name="T33" fmla="*/ 0 h 5480"/>
                <a:gd name="T34" fmla="*/ 2426 w 3353"/>
                <a:gd name="T35" fmla="*/ 1631 h 5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53" h="5480">
                  <a:moveTo>
                    <a:pt x="2426" y="1631"/>
                  </a:moveTo>
                  <a:lnTo>
                    <a:pt x="2426" y="1631"/>
                  </a:lnTo>
                  <a:cubicBezTo>
                    <a:pt x="2426" y="1819"/>
                    <a:pt x="2459" y="1940"/>
                    <a:pt x="2459" y="1940"/>
                  </a:cubicBezTo>
                  <a:cubicBezTo>
                    <a:pt x="2150" y="1720"/>
                    <a:pt x="1786" y="1532"/>
                    <a:pt x="1290" y="1532"/>
                  </a:cubicBezTo>
                  <a:cubicBezTo>
                    <a:pt x="794" y="1532"/>
                    <a:pt x="364" y="1720"/>
                    <a:pt x="0" y="1995"/>
                  </a:cubicBezTo>
                  <a:cubicBezTo>
                    <a:pt x="210" y="2249"/>
                    <a:pt x="364" y="2524"/>
                    <a:pt x="463" y="2833"/>
                  </a:cubicBezTo>
                  <a:cubicBezTo>
                    <a:pt x="673" y="2557"/>
                    <a:pt x="948" y="2403"/>
                    <a:pt x="1323" y="2403"/>
                  </a:cubicBezTo>
                  <a:cubicBezTo>
                    <a:pt x="1963" y="2403"/>
                    <a:pt x="2393" y="2833"/>
                    <a:pt x="2393" y="3506"/>
                  </a:cubicBezTo>
                  <a:cubicBezTo>
                    <a:pt x="2393" y="4211"/>
                    <a:pt x="1941" y="4619"/>
                    <a:pt x="1323" y="4619"/>
                  </a:cubicBezTo>
                  <a:cubicBezTo>
                    <a:pt x="982" y="4619"/>
                    <a:pt x="673" y="4465"/>
                    <a:pt x="485" y="4178"/>
                  </a:cubicBezTo>
                  <a:cubicBezTo>
                    <a:pt x="397" y="4520"/>
                    <a:pt x="210" y="4795"/>
                    <a:pt x="0" y="5049"/>
                  </a:cubicBezTo>
                  <a:cubicBezTo>
                    <a:pt x="364" y="5325"/>
                    <a:pt x="794" y="5479"/>
                    <a:pt x="1290" y="5479"/>
                  </a:cubicBezTo>
                  <a:cubicBezTo>
                    <a:pt x="1753" y="5479"/>
                    <a:pt x="2183" y="5292"/>
                    <a:pt x="2459" y="5071"/>
                  </a:cubicBezTo>
                  <a:cubicBezTo>
                    <a:pt x="2492" y="5380"/>
                    <a:pt x="2492" y="5380"/>
                    <a:pt x="2492" y="5380"/>
                  </a:cubicBezTo>
                  <a:cubicBezTo>
                    <a:pt x="3352" y="5380"/>
                    <a:pt x="3352" y="5380"/>
                    <a:pt x="3352" y="5380"/>
                  </a:cubicBezTo>
                  <a:cubicBezTo>
                    <a:pt x="3352" y="0"/>
                    <a:pt x="3352" y="0"/>
                    <a:pt x="3352" y="0"/>
                  </a:cubicBezTo>
                  <a:cubicBezTo>
                    <a:pt x="2426" y="0"/>
                    <a:pt x="2426" y="0"/>
                    <a:pt x="2426" y="0"/>
                  </a:cubicBezTo>
                  <a:lnTo>
                    <a:pt x="2426" y="1631"/>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9" name="Freeform 4">
              <a:extLst>
                <a:ext uri="{FF2B5EF4-FFF2-40B4-BE49-F238E27FC236}">
                  <a16:creationId xmlns:a16="http://schemas.microsoft.com/office/drawing/2014/main" id="{1843977D-768B-CE49-9799-E3974D3C4002}"/>
                </a:ext>
              </a:extLst>
            </p:cNvPr>
            <p:cNvSpPr>
              <a:spLocks noChangeArrowheads="1"/>
            </p:cNvSpPr>
            <p:nvPr/>
          </p:nvSpPr>
          <p:spPr bwMode="auto">
            <a:xfrm>
              <a:off x="2286000" y="2746375"/>
              <a:ext cx="1441450" cy="1420813"/>
            </a:xfrm>
            <a:custGeom>
              <a:avLst/>
              <a:gdLst>
                <a:gd name="T0" fmla="*/ 1995 w 4003"/>
                <a:gd name="T1" fmla="*/ 0 h 3948"/>
                <a:gd name="T2" fmla="*/ 1995 w 4003"/>
                <a:gd name="T3" fmla="*/ 0 h 3948"/>
                <a:gd name="T4" fmla="*/ 0 w 4003"/>
                <a:gd name="T5" fmla="*/ 1974 h 3948"/>
                <a:gd name="T6" fmla="*/ 1995 w 4003"/>
                <a:gd name="T7" fmla="*/ 3947 h 3948"/>
                <a:gd name="T8" fmla="*/ 4002 w 4003"/>
                <a:gd name="T9" fmla="*/ 1974 h 3948"/>
                <a:gd name="T10" fmla="*/ 1995 w 4003"/>
                <a:gd name="T11" fmla="*/ 0 h 3948"/>
                <a:gd name="T12" fmla="*/ 1995 w 4003"/>
                <a:gd name="T13" fmla="*/ 3087 h 3948"/>
                <a:gd name="T14" fmla="*/ 1995 w 4003"/>
                <a:gd name="T15" fmla="*/ 3087 h 3948"/>
                <a:gd name="T16" fmla="*/ 926 w 4003"/>
                <a:gd name="T17" fmla="*/ 1974 h 3948"/>
                <a:gd name="T18" fmla="*/ 1995 w 4003"/>
                <a:gd name="T19" fmla="*/ 871 h 3948"/>
                <a:gd name="T20" fmla="*/ 3076 w 4003"/>
                <a:gd name="T21" fmla="*/ 1974 h 3948"/>
                <a:gd name="T22" fmla="*/ 1995 w 4003"/>
                <a:gd name="T23" fmla="*/ 3087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3" h="3948">
                  <a:moveTo>
                    <a:pt x="1995" y="0"/>
                  </a:moveTo>
                  <a:lnTo>
                    <a:pt x="1995" y="0"/>
                  </a:lnTo>
                  <a:cubicBezTo>
                    <a:pt x="860" y="0"/>
                    <a:pt x="0" y="893"/>
                    <a:pt x="0" y="1974"/>
                  </a:cubicBezTo>
                  <a:cubicBezTo>
                    <a:pt x="0" y="3109"/>
                    <a:pt x="860" y="3947"/>
                    <a:pt x="1995" y="3947"/>
                  </a:cubicBezTo>
                  <a:cubicBezTo>
                    <a:pt x="3142" y="3947"/>
                    <a:pt x="4002" y="3109"/>
                    <a:pt x="4002" y="1974"/>
                  </a:cubicBezTo>
                  <a:cubicBezTo>
                    <a:pt x="4002" y="893"/>
                    <a:pt x="3142" y="0"/>
                    <a:pt x="1995" y="0"/>
                  </a:cubicBezTo>
                  <a:close/>
                  <a:moveTo>
                    <a:pt x="1995" y="3087"/>
                  </a:moveTo>
                  <a:lnTo>
                    <a:pt x="1995" y="3087"/>
                  </a:lnTo>
                  <a:cubicBezTo>
                    <a:pt x="1389" y="3087"/>
                    <a:pt x="926" y="2624"/>
                    <a:pt x="926" y="1974"/>
                  </a:cubicBezTo>
                  <a:cubicBezTo>
                    <a:pt x="926" y="1356"/>
                    <a:pt x="1356" y="871"/>
                    <a:pt x="1995" y="871"/>
                  </a:cubicBezTo>
                  <a:cubicBezTo>
                    <a:pt x="2646" y="871"/>
                    <a:pt x="3076" y="1356"/>
                    <a:pt x="3076" y="1974"/>
                  </a:cubicBezTo>
                  <a:cubicBezTo>
                    <a:pt x="3076" y="2624"/>
                    <a:pt x="2613" y="3087"/>
                    <a:pt x="1995" y="3087"/>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0" name="Freeform 5">
              <a:extLst>
                <a:ext uri="{FF2B5EF4-FFF2-40B4-BE49-F238E27FC236}">
                  <a16:creationId xmlns:a16="http://schemas.microsoft.com/office/drawing/2014/main" id="{D3C33316-F0B6-7847-932F-F67B9F07C687}"/>
                </a:ext>
              </a:extLst>
            </p:cNvPr>
            <p:cNvSpPr>
              <a:spLocks noChangeArrowheads="1"/>
            </p:cNvSpPr>
            <p:nvPr/>
          </p:nvSpPr>
          <p:spPr bwMode="auto">
            <a:xfrm>
              <a:off x="5862638" y="2627313"/>
              <a:ext cx="1420812" cy="2325687"/>
            </a:xfrm>
            <a:custGeom>
              <a:avLst/>
              <a:gdLst>
                <a:gd name="T0" fmla="*/ 3914 w 3948"/>
                <a:gd name="T1" fmla="*/ 2216 h 6462"/>
                <a:gd name="T2" fmla="*/ 3914 w 3948"/>
                <a:gd name="T3" fmla="*/ 2216 h 6462"/>
                <a:gd name="T4" fmla="*/ 3517 w 3948"/>
                <a:gd name="T5" fmla="*/ 1048 h 6462"/>
                <a:gd name="T6" fmla="*/ 3947 w 3948"/>
                <a:gd name="T7" fmla="*/ 519 h 6462"/>
                <a:gd name="T8" fmla="*/ 3263 w 3948"/>
                <a:gd name="T9" fmla="*/ 0 h 6462"/>
                <a:gd name="T10" fmla="*/ 2800 w 3948"/>
                <a:gd name="T11" fmla="*/ 519 h 6462"/>
                <a:gd name="T12" fmla="*/ 1940 w 3948"/>
                <a:gd name="T13" fmla="*/ 331 h 6462"/>
                <a:gd name="T14" fmla="*/ 0 w 3948"/>
                <a:gd name="T15" fmla="*/ 2305 h 6462"/>
                <a:gd name="T16" fmla="*/ 1510 w 3948"/>
                <a:gd name="T17" fmla="*/ 4057 h 6462"/>
                <a:gd name="T18" fmla="*/ 2954 w 3948"/>
                <a:gd name="T19" fmla="*/ 4895 h 6462"/>
                <a:gd name="T20" fmla="*/ 2061 w 3948"/>
                <a:gd name="T21" fmla="*/ 5568 h 6462"/>
                <a:gd name="T22" fmla="*/ 1080 w 3948"/>
                <a:gd name="T23" fmla="*/ 4829 h 6462"/>
                <a:gd name="T24" fmla="*/ 1080 w 3948"/>
                <a:gd name="T25" fmla="*/ 4741 h 6462"/>
                <a:gd name="T26" fmla="*/ 132 w 3948"/>
                <a:gd name="T27" fmla="*/ 4741 h 6462"/>
                <a:gd name="T28" fmla="*/ 132 w 3948"/>
                <a:gd name="T29" fmla="*/ 4829 h 6462"/>
                <a:gd name="T30" fmla="*/ 2039 w 3948"/>
                <a:gd name="T31" fmla="*/ 6461 h 6462"/>
                <a:gd name="T32" fmla="*/ 3914 w 3948"/>
                <a:gd name="T33" fmla="*/ 4951 h 6462"/>
                <a:gd name="T34" fmla="*/ 3021 w 3948"/>
                <a:gd name="T35" fmla="*/ 3694 h 6462"/>
                <a:gd name="T36" fmla="*/ 3914 w 3948"/>
                <a:gd name="T37" fmla="*/ 2216 h 6462"/>
                <a:gd name="T38" fmla="*/ 1940 w 3948"/>
                <a:gd name="T39" fmla="*/ 3286 h 6462"/>
                <a:gd name="T40" fmla="*/ 1940 w 3948"/>
                <a:gd name="T41" fmla="*/ 3286 h 6462"/>
                <a:gd name="T42" fmla="*/ 959 w 3948"/>
                <a:gd name="T43" fmla="*/ 2238 h 6462"/>
                <a:gd name="T44" fmla="*/ 1940 w 3948"/>
                <a:gd name="T45" fmla="*/ 1202 h 6462"/>
                <a:gd name="T46" fmla="*/ 2954 w 3948"/>
                <a:gd name="T47" fmla="*/ 2238 h 6462"/>
                <a:gd name="T48" fmla="*/ 1940 w 3948"/>
                <a:gd name="T49" fmla="*/ 3286 h 6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8" h="6462">
                  <a:moveTo>
                    <a:pt x="3914" y="2216"/>
                  </a:moveTo>
                  <a:lnTo>
                    <a:pt x="3914" y="2216"/>
                  </a:lnTo>
                  <a:cubicBezTo>
                    <a:pt x="3914" y="1786"/>
                    <a:pt x="3759" y="1356"/>
                    <a:pt x="3517" y="1048"/>
                  </a:cubicBezTo>
                  <a:cubicBezTo>
                    <a:pt x="3947" y="519"/>
                    <a:pt x="3947" y="519"/>
                    <a:pt x="3947" y="519"/>
                  </a:cubicBezTo>
                  <a:cubicBezTo>
                    <a:pt x="3263" y="0"/>
                    <a:pt x="3263" y="0"/>
                    <a:pt x="3263" y="0"/>
                  </a:cubicBezTo>
                  <a:cubicBezTo>
                    <a:pt x="2800" y="519"/>
                    <a:pt x="2800" y="519"/>
                    <a:pt x="2800" y="519"/>
                  </a:cubicBezTo>
                  <a:cubicBezTo>
                    <a:pt x="2558" y="397"/>
                    <a:pt x="2282" y="331"/>
                    <a:pt x="1940" y="331"/>
                  </a:cubicBezTo>
                  <a:cubicBezTo>
                    <a:pt x="805" y="331"/>
                    <a:pt x="0" y="1202"/>
                    <a:pt x="0" y="2305"/>
                  </a:cubicBezTo>
                  <a:cubicBezTo>
                    <a:pt x="0" y="3286"/>
                    <a:pt x="595" y="3903"/>
                    <a:pt x="1510" y="4057"/>
                  </a:cubicBezTo>
                  <a:cubicBezTo>
                    <a:pt x="2128" y="4179"/>
                    <a:pt x="2954" y="4157"/>
                    <a:pt x="2954" y="4895"/>
                  </a:cubicBezTo>
                  <a:cubicBezTo>
                    <a:pt x="2954" y="5292"/>
                    <a:pt x="2679" y="5568"/>
                    <a:pt x="2061" y="5568"/>
                  </a:cubicBezTo>
                  <a:cubicBezTo>
                    <a:pt x="1422" y="5568"/>
                    <a:pt x="1080" y="5193"/>
                    <a:pt x="1080" y="4829"/>
                  </a:cubicBezTo>
                  <a:cubicBezTo>
                    <a:pt x="1080" y="4796"/>
                    <a:pt x="1080" y="4763"/>
                    <a:pt x="1080" y="4741"/>
                  </a:cubicBezTo>
                  <a:cubicBezTo>
                    <a:pt x="132" y="4741"/>
                    <a:pt x="132" y="4741"/>
                    <a:pt x="132" y="4741"/>
                  </a:cubicBezTo>
                  <a:cubicBezTo>
                    <a:pt x="132" y="4763"/>
                    <a:pt x="132" y="4796"/>
                    <a:pt x="132" y="4829"/>
                  </a:cubicBezTo>
                  <a:cubicBezTo>
                    <a:pt x="132" y="5689"/>
                    <a:pt x="871" y="6461"/>
                    <a:pt x="2039" y="6461"/>
                  </a:cubicBezTo>
                  <a:cubicBezTo>
                    <a:pt x="3329" y="6461"/>
                    <a:pt x="3914" y="5689"/>
                    <a:pt x="3914" y="4951"/>
                  </a:cubicBezTo>
                  <a:cubicBezTo>
                    <a:pt x="3914" y="4245"/>
                    <a:pt x="3539" y="3870"/>
                    <a:pt x="3021" y="3694"/>
                  </a:cubicBezTo>
                  <a:cubicBezTo>
                    <a:pt x="3539" y="3440"/>
                    <a:pt x="3914" y="2889"/>
                    <a:pt x="3914" y="2216"/>
                  </a:cubicBezTo>
                  <a:close/>
                  <a:moveTo>
                    <a:pt x="1940" y="3286"/>
                  </a:moveTo>
                  <a:lnTo>
                    <a:pt x="1940" y="3286"/>
                  </a:lnTo>
                  <a:cubicBezTo>
                    <a:pt x="1356" y="3286"/>
                    <a:pt x="959" y="2889"/>
                    <a:pt x="959" y="2238"/>
                  </a:cubicBezTo>
                  <a:cubicBezTo>
                    <a:pt x="959" y="1632"/>
                    <a:pt x="1334" y="1202"/>
                    <a:pt x="1940" y="1202"/>
                  </a:cubicBezTo>
                  <a:cubicBezTo>
                    <a:pt x="2591" y="1202"/>
                    <a:pt x="2954" y="1632"/>
                    <a:pt x="2954" y="2238"/>
                  </a:cubicBezTo>
                  <a:cubicBezTo>
                    <a:pt x="2954" y="2889"/>
                    <a:pt x="2624" y="3286"/>
                    <a:pt x="1940" y="3286"/>
                  </a:cubicBezTo>
                  <a:close/>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1" name="Freeform 6">
              <a:extLst>
                <a:ext uri="{FF2B5EF4-FFF2-40B4-BE49-F238E27FC236}">
                  <a16:creationId xmlns:a16="http://schemas.microsoft.com/office/drawing/2014/main" id="{0B7E5FCE-40AB-6242-8B57-E5960B64EB87}"/>
                </a:ext>
              </a:extLst>
            </p:cNvPr>
            <p:cNvSpPr>
              <a:spLocks noChangeArrowheads="1"/>
            </p:cNvSpPr>
            <p:nvPr/>
          </p:nvSpPr>
          <p:spPr bwMode="auto">
            <a:xfrm>
              <a:off x="5299075" y="2193925"/>
              <a:ext cx="333375" cy="322263"/>
            </a:xfrm>
            <a:custGeom>
              <a:avLst/>
              <a:gdLst>
                <a:gd name="T0" fmla="*/ 0 w 927"/>
                <a:gd name="T1" fmla="*/ 893 h 894"/>
                <a:gd name="T2" fmla="*/ 926 w 927"/>
                <a:gd name="T3" fmla="*/ 893 h 894"/>
                <a:gd name="T4" fmla="*/ 926 w 927"/>
                <a:gd name="T5" fmla="*/ 0 h 894"/>
                <a:gd name="T6" fmla="*/ 0 w 927"/>
                <a:gd name="T7" fmla="*/ 0 h 894"/>
                <a:gd name="T8" fmla="*/ 0 w 927"/>
                <a:gd name="T9" fmla="*/ 893 h 894"/>
              </a:gdLst>
              <a:ahLst/>
              <a:cxnLst>
                <a:cxn ang="0">
                  <a:pos x="T0" y="T1"/>
                </a:cxn>
                <a:cxn ang="0">
                  <a:pos x="T2" y="T3"/>
                </a:cxn>
                <a:cxn ang="0">
                  <a:pos x="T4" y="T5"/>
                </a:cxn>
                <a:cxn ang="0">
                  <a:pos x="T6" y="T7"/>
                </a:cxn>
                <a:cxn ang="0">
                  <a:pos x="T8" y="T9"/>
                </a:cxn>
              </a:cxnLst>
              <a:rect l="0" t="0" r="r" b="b"/>
              <a:pathLst>
                <a:path w="927" h="894">
                  <a:moveTo>
                    <a:pt x="0" y="893"/>
                  </a:moveTo>
                  <a:lnTo>
                    <a:pt x="926" y="893"/>
                  </a:lnTo>
                  <a:lnTo>
                    <a:pt x="926" y="0"/>
                  </a:lnTo>
                  <a:lnTo>
                    <a:pt x="0" y="0"/>
                  </a:lnTo>
                  <a:lnTo>
                    <a:pt x="0" y="893"/>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2" name="Freeform 7">
              <a:extLst>
                <a:ext uri="{FF2B5EF4-FFF2-40B4-BE49-F238E27FC236}">
                  <a16:creationId xmlns:a16="http://schemas.microsoft.com/office/drawing/2014/main" id="{7C5AAB3B-78AE-2D42-BAA2-4F84F9672947}"/>
                </a:ext>
              </a:extLst>
            </p:cNvPr>
            <p:cNvSpPr>
              <a:spLocks noChangeArrowheads="1"/>
            </p:cNvSpPr>
            <p:nvPr/>
          </p:nvSpPr>
          <p:spPr bwMode="auto">
            <a:xfrm>
              <a:off x="7458075" y="2746375"/>
              <a:ext cx="1452563" cy="1420813"/>
            </a:xfrm>
            <a:custGeom>
              <a:avLst/>
              <a:gdLst>
                <a:gd name="T0" fmla="*/ 3076 w 4036"/>
                <a:gd name="T1" fmla="*/ 1764 h 3948"/>
                <a:gd name="T2" fmla="*/ 3076 w 4036"/>
                <a:gd name="T3" fmla="*/ 1764 h 3948"/>
                <a:gd name="T4" fmla="*/ 3076 w 4036"/>
                <a:gd name="T5" fmla="*/ 1974 h 3948"/>
                <a:gd name="T6" fmla="*/ 2007 w 4036"/>
                <a:gd name="T7" fmla="*/ 3087 h 3948"/>
                <a:gd name="T8" fmla="*/ 959 w 4036"/>
                <a:gd name="T9" fmla="*/ 1974 h 3948"/>
                <a:gd name="T10" fmla="*/ 2007 w 4036"/>
                <a:gd name="T11" fmla="*/ 871 h 3948"/>
                <a:gd name="T12" fmla="*/ 2062 w 4036"/>
                <a:gd name="T13" fmla="*/ 871 h 3948"/>
                <a:gd name="T14" fmla="*/ 2062 w 4036"/>
                <a:gd name="T15" fmla="*/ 0 h 3948"/>
                <a:gd name="T16" fmla="*/ 2007 w 4036"/>
                <a:gd name="T17" fmla="*/ 0 h 3948"/>
                <a:gd name="T18" fmla="*/ 0 w 4036"/>
                <a:gd name="T19" fmla="*/ 1974 h 3948"/>
                <a:gd name="T20" fmla="*/ 2007 w 4036"/>
                <a:gd name="T21" fmla="*/ 3947 h 3948"/>
                <a:gd name="T22" fmla="*/ 4035 w 4036"/>
                <a:gd name="T23" fmla="*/ 1974 h 3948"/>
                <a:gd name="T24" fmla="*/ 4002 w 4036"/>
                <a:gd name="T25" fmla="*/ 1764 h 3948"/>
                <a:gd name="T26" fmla="*/ 3076 w 4036"/>
                <a:gd name="T27" fmla="*/ 1764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6" h="3948">
                  <a:moveTo>
                    <a:pt x="3076" y="1764"/>
                  </a:moveTo>
                  <a:lnTo>
                    <a:pt x="3076" y="1764"/>
                  </a:lnTo>
                  <a:cubicBezTo>
                    <a:pt x="3076" y="1852"/>
                    <a:pt x="3076" y="1907"/>
                    <a:pt x="3076" y="1974"/>
                  </a:cubicBezTo>
                  <a:cubicBezTo>
                    <a:pt x="3076" y="2624"/>
                    <a:pt x="2624" y="3087"/>
                    <a:pt x="2007" y="3087"/>
                  </a:cubicBezTo>
                  <a:cubicBezTo>
                    <a:pt x="1422" y="3087"/>
                    <a:pt x="959" y="2624"/>
                    <a:pt x="959" y="1974"/>
                  </a:cubicBezTo>
                  <a:cubicBezTo>
                    <a:pt x="959" y="1356"/>
                    <a:pt x="1389" y="871"/>
                    <a:pt x="2007" y="871"/>
                  </a:cubicBezTo>
                  <a:cubicBezTo>
                    <a:pt x="2040" y="871"/>
                    <a:pt x="2040" y="871"/>
                    <a:pt x="2062" y="871"/>
                  </a:cubicBezTo>
                  <a:cubicBezTo>
                    <a:pt x="2062" y="0"/>
                    <a:pt x="2062" y="0"/>
                    <a:pt x="2062" y="0"/>
                  </a:cubicBezTo>
                  <a:cubicBezTo>
                    <a:pt x="2040" y="0"/>
                    <a:pt x="2040" y="0"/>
                    <a:pt x="2007" y="0"/>
                  </a:cubicBezTo>
                  <a:cubicBezTo>
                    <a:pt x="871" y="0"/>
                    <a:pt x="0" y="893"/>
                    <a:pt x="0" y="1974"/>
                  </a:cubicBezTo>
                  <a:cubicBezTo>
                    <a:pt x="0" y="3109"/>
                    <a:pt x="871" y="3947"/>
                    <a:pt x="2007" y="3947"/>
                  </a:cubicBezTo>
                  <a:cubicBezTo>
                    <a:pt x="3175" y="3947"/>
                    <a:pt x="4035" y="3109"/>
                    <a:pt x="4035" y="1974"/>
                  </a:cubicBezTo>
                  <a:cubicBezTo>
                    <a:pt x="4035" y="1907"/>
                    <a:pt x="4035" y="1852"/>
                    <a:pt x="4002" y="1764"/>
                  </a:cubicBezTo>
                  <a:lnTo>
                    <a:pt x="3076" y="176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grpSp>
        <p:nvGrpSpPr>
          <p:cNvPr id="33" name="Group 32">
            <a:extLst>
              <a:ext uri="{FF2B5EF4-FFF2-40B4-BE49-F238E27FC236}">
                <a16:creationId xmlns:a16="http://schemas.microsoft.com/office/drawing/2014/main" id="{4B2B9ED4-4DFA-EB49-939D-3F245C247D48}"/>
              </a:ext>
            </a:extLst>
          </p:cNvPr>
          <p:cNvGrpSpPr/>
          <p:nvPr userDrawn="1"/>
        </p:nvGrpSpPr>
        <p:grpSpPr>
          <a:xfrm>
            <a:off x="434640" y="4447762"/>
            <a:ext cx="1692983" cy="279387"/>
            <a:chOff x="1828800" y="3017838"/>
            <a:chExt cx="6291263" cy="1038225"/>
          </a:xfrm>
        </p:grpSpPr>
        <p:sp>
          <p:nvSpPr>
            <p:cNvPr id="34" name="Freeform 1">
              <a:extLst>
                <a:ext uri="{FF2B5EF4-FFF2-40B4-BE49-F238E27FC236}">
                  <a16:creationId xmlns:a16="http://schemas.microsoft.com/office/drawing/2014/main" id="{668DE3C6-9435-F84B-8EE5-06AB30A25176}"/>
                </a:ext>
              </a:extLst>
            </p:cNvPr>
            <p:cNvSpPr>
              <a:spLocks noChangeArrowheads="1"/>
            </p:cNvSpPr>
            <p:nvPr userDrawn="1"/>
          </p:nvSpPr>
          <p:spPr bwMode="auto">
            <a:xfrm>
              <a:off x="1831975" y="3017838"/>
              <a:ext cx="388938" cy="438150"/>
            </a:xfrm>
            <a:custGeom>
              <a:avLst/>
              <a:gdLst>
                <a:gd name="T0" fmla="*/ 1081 w 1082"/>
                <a:gd name="T1" fmla="*/ 1042 h 1215"/>
                <a:gd name="T2" fmla="*/ 1081 w 1082"/>
                <a:gd name="T3" fmla="*/ 1042 h 1215"/>
                <a:gd name="T4" fmla="*/ 873 w 1082"/>
                <a:gd name="T5" fmla="*/ 1172 h 1215"/>
                <a:gd name="T6" fmla="*/ 631 w 1082"/>
                <a:gd name="T7" fmla="*/ 1214 h 1215"/>
                <a:gd name="T8" fmla="*/ 350 w 1082"/>
                <a:gd name="T9" fmla="*/ 1164 h 1215"/>
                <a:gd name="T10" fmla="*/ 153 w 1082"/>
                <a:gd name="T11" fmla="*/ 1028 h 1215"/>
                <a:gd name="T12" fmla="*/ 39 w 1082"/>
                <a:gd name="T13" fmla="*/ 836 h 1215"/>
                <a:gd name="T14" fmla="*/ 0 w 1082"/>
                <a:gd name="T15" fmla="*/ 614 h 1215"/>
                <a:gd name="T16" fmla="*/ 39 w 1082"/>
                <a:gd name="T17" fmla="*/ 389 h 1215"/>
                <a:gd name="T18" fmla="*/ 156 w 1082"/>
                <a:gd name="T19" fmla="*/ 192 h 1215"/>
                <a:gd name="T20" fmla="*/ 353 w 1082"/>
                <a:gd name="T21" fmla="*/ 53 h 1215"/>
                <a:gd name="T22" fmla="*/ 631 w 1082"/>
                <a:gd name="T23" fmla="*/ 0 h 1215"/>
                <a:gd name="T24" fmla="*/ 864 w 1082"/>
                <a:gd name="T25" fmla="*/ 44 h 1215"/>
                <a:gd name="T26" fmla="*/ 1070 w 1082"/>
                <a:gd name="T27" fmla="*/ 178 h 1215"/>
                <a:gd name="T28" fmla="*/ 942 w 1082"/>
                <a:gd name="T29" fmla="*/ 297 h 1215"/>
                <a:gd name="T30" fmla="*/ 795 w 1082"/>
                <a:gd name="T31" fmla="*/ 206 h 1215"/>
                <a:gd name="T32" fmla="*/ 631 w 1082"/>
                <a:gd name="T33" fmla="*/ 178 h 1215"/>
                <a:gd name="T34" fmla="*/ 434 w 1082"/>
                <a:gd name="T35" fmla="*/ 214 h 1215"/>
                <a:gd name="T36" fmla="*/ 298 w 1082"/>
                <a:gd name="T37" fmla="*/ 314 h 1215"/>
                <a:gd name="T38" fmla="*/ 217 w 1082"/>
                <a:gd name="T39" fmla="*/ 453 h 1215"/>
                <a:gd name="T40" fmla="*/ 192 w 1082"/>
                <a:gd name="T41" fmla="*/ 614 h 1215"/>
                <a:gd name="T42" fmla="*/ 217 w 1082"/>
                <a:gd name="T43" fmla="*/ 769 h 1215"/>
                <a:gd name="T44" fmla="*/ 295 w 1082"/>
                <a:gd name="T45" fmla="*/ 906 h 1215"/>
                <a:gd name="T46" fmla="*/ 434 w 1082"/>
                <a:gd name="T47" fmla="*/ 1003 h 1215"/>
                <a:gd name="T48" fmla="*/ 631 w 1082"/>
                <a:gd name="T49" fmla="*/ 1039 h 1215"/>
                <a:gd name="T50" fmla="*/ 800 w 1082"/>
                <a:gd name="T51" fmla="*/ 1008 h 1215"/>
                <a:gd name="T52" fmla="*/ 950 w 1082"/>
                <a:gd name="T53" fmla="*/ 911 h 1215"/>
                <a:gd name="T54" fmla="*/ 1081 w 1082"/>
                <a:gd name="T55" fmla="*/ 1042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2" h="1215">
                  <a:moveTo>
                    <a:pt x="1081" y="1042"/>
                  </a:moveTo>
                  <a:lnTo>
                    <a:pt x="1081" y="1042"/>
                  </a:lnTo>
                  <a:cubicBezTo>
                    <a:pt x="1020" y="1100"/>
                    <a:pt x="950" y="1144"/>
                    <a:pt x="873" y="1172"/>
                  </a:cubicBezTo>
                  <a:cubicBezTo>
                    <a:pt x="798" y="1200"/>
                    <a:pt x="717" y="1214"/>
                    <a:pt x="631" y="1214"/>
                  </a:cubicBezTo>
                  <a:cubicBezTo>
                    <a:pt x="523" y="1214"/>
                    <a:pt x="431" y="1197"/>
                    <a:pt x="350" y="1164"/>
                  </a:cubicBezTo>
                  <a:cubicBezTo>
                    <a:pt x="273" y="1130"/>
                    <a:pt x="206" y="1086"/>
                    <a:pt x="153" y="1028"/>
                  </a:cubicBezTo>
                  <a:cubicBezTo>
                    <a:pt x="103" y="972"/>
                    <a:pt x="64" y="908"/>
                    <a:pt x="39" y="836"/>
                  </a:cubicBezTo>
                  <a:cubicBezTo>
                    <a:pt x="14" y="764"/>
                    <a:pt x="0" y="692"/>
                    <a:pt x="0" y="614"/>
                  </a:cubicBezTo>
                  <a:cubicBezTo>
                    <a:pt x="0" y="536"/>
                    <a:pt x="14" y="461"/>
                    <a:pt x="39" y="389"/>
                  </a:cubicBezTo>
                  <a:cubicBezTo>
                    <a:pt x="67" y="314"/>
                    <a:pt x="103" y="250"/>
                    <a:pt x="156" y="192"/>
                  </a:cubicBezTo>
                  <a:cubicBezTo>
                    <a:pt x="209" y="133"/>
                    <a:pt x="273" y="89"/>
                    <a:pt x="353" y="53"/>
                  </a:cubicBezTo>
                  <a:cubicBezTo>
                    <a:pt x="431" y="17"/>
                    <a:pt x="525" y="0"/>
                    <a:pt x="631" y="0"/>
                  </a:cubicBezTo>
                  <a:cubicBezTo>
                    <a:pt x="711" y="0"/>
                    <a:pt x="789" y="14"/>
                    <a:pt x="864" y="44"/>
                  </a:cubicBezTo>
                  <a:cubicBezTo>
                    <a:pt x="939" y="72"/>
                    <a:pt x="1009" y="117"/>
                    <a:pt x="1070" y="178"/>
                  </a:cubicBezTo>
                  <a:cubicBezTo>
                    <a:pt x="942" y="297"/>
                    <a:pt x="942" y="297"/>
                    <a:pt x="942" y="297"/>
                  </a:cubicBezTo>
                  <a:cubicBezTo>
                    <a:pt x="898" y="256"/>
                    <a:pt x="850" y="225"/>
                    <a:pt x="795" y="206"/>
                  </a:cubicBezTo>
                  <a:cubicBezTo>
                    <a:pt x="742" y="186"/>
                    <a:pt x="686" y="178"/>
                    <a:pt x="631" y="178"/>
                  </a:cubicBezTo>
                  <a:cubicBezTo>
                    <a:pt x="556" y="178"/>
                    <a:pt x="489" y="189"/>
                    <a:pt x="434" y="214"/>
                  </a:cubicBezTo>
                  <a:cubicBezTo>
                    <a:pt x="378" y="239"/>
                    <a:pt x="334" y="272"/>
                    <a:pt x="298" y="314"/>
                  </a:cubicBezTo>
                  <a:cubicBezTo>
                    <a:pt x="261" y="356"/>
                    <a:pt x="234" y="400"/>
                    <a:pt x="217" y="453"/>
                  </a:cubicBezTo>
                  <a:cubicBezTo>
                    <a:pt x="200" y="506"/>
                    <a:pt x="192" y="558"/>
                    <a:pt x="192" y="614"/>
                  </a:cubicBezTo>
                  <a:cubicBezTo>
                    <a:pt x="192" y="667"/>
                    <a:pt x="200" y="719"/>
                    <a:pt x="217" y="769"/>
                  </a:cubicBezTo>
                  <a:cubicBezTo>
                    <a:pt x="234" y="822"/>
                    <a:pt x="261" y="867"/>
                    <a:pt x="295" y="906"/>
                  </a:cubicBezTo>
                  <a:cubicBezTo>
                    <a:pt x="331" y="947"/>
                    <a:pt x="378" y="978"/>
                    <a:pt x="434" y="1003"/>
                  </a:cubicBezTo>
                  <a:cubicBezTo>
                    <a:pt x="489" y="1028"/>
                    <a:pt x="553" y="1039"/>
                    <a:pt x="631" y="1039"/>
                  </a:cubicBezTo>
                  <a:cubicBezTo>
                    <a:pt x="686" y="1039"/>
                    <a:pt x="745" y="1028"/>
                    <a:pt x="800" y="1008"/>
                  </a:cubicBezTo>
                  <a:cubicBezTo>
                    <a:pt x="859" y="986"/>
                    <a:pt x="906" y="953"/>
                    <a:pt x="950" y="911"/>
                  </a:cubicBezTo>
                  <a:lnTo>
                    <a:pt x="1081" y="104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5" name="Freeform 2">
              <a:extLst>
                <a:ext uri="{FF2B5EF4-FFF2-40B4-BE49-F238E27FC236}">
                  <a16:creationId xmlns:a16="http://schemas.microsoft.com/office/drawing/2014/main" id="{C493F1EF-D6F4-6D4E-A1FD-6E3D9CD1D6D4}"/>
                </a:ext>
              </a:extLst>
            </p:cNvPr>
            <p:cNvSpPr>
              <a:spLocks noChangeArrowheads="1"/>
            </p:cNvSpPr>
            <p:nvPr userDrawn="1"/>
          </p:nvSpPr>
          <p:spPr bwMode="auto">
            <a:xfrm>
              <a:off x="2268538" y="3149600"/>
              <a:ext cx="293687" cy="301625"/>
            </a:xfrm>
            <a:custGeom>
              <a:avLst/>
              <a:gdLst>
                <a:gd name="T0" fmla="*/ 175 w 815"/>
                <a:gd name="T1" fmla="*/ 0 h 837"/>
                <a:gd name="T2" fmla="*/ 175 w 815"/>
                <a:gd name="T3" fmla="*/ 0 h 837"/>
                <a:gd name="T4" fmla="*/ 175 w 815"/>
                <a:gd name="T5" fmla="*/ 439 h 837"/>
                <a:gd name="T6" fmla="*/ 233 w 815"/>
                <a:gd name="T7" fmla="*/ 611 h 837"/>
                <a:gd name="T8" fmla="*/ 406 w 815"/>
                <a:gd name="T9" fmla="*/ 675 h 837"/>
                <a:gd name="T10" fmla="*/ 500 w 815"/>
                <a:gd name="T11" fmla="*/ 658 h 837"/>
                <a:gd name="T12" fmla="*/ 572 w 815"/>
                <a:gd name="T13" fmla="*/ 602 h 837"/>
                <a:gd name="T14" fmla="*/ 622 w 815"/>
                <a:gd name="T15" fmla="*/ 525 h 837"/>
                <a:gd name="T16" fmla="*/ 639 w 815"/>
                <a:gd name="T17" fmla="*/ 427 h 837"/>
                <a:gd name="T18" fmla="*/ 639 w 815"/>
                <a:gd name="T19" fmla="*/ 0 h 837"/>
                <a:gd name="T20" fmla="*/ 814 w 815"/>
                <a:gd name="T21" fmla="*/ 0 h 837"/>
                <a:gd name="T22" fmla="*/ 814 w 815"/>
                <a:gd name="T23" fmla="*/ 825 h 837"/>
                <a:gd name="T24" fmla="*/ 656 w 815"/>
                <a:gd name="T25" fmla="*/ 825 h 837"/>
                <a:gd name="T26" fmla="*/ 645 w 815"/>
                <a:gd name="T27" fmla="*/ 702 h 837"/>
                <a:gd name="T28" fmla="*/ 514 w 815"/>
                <a:gd name="T29" fmla="*/ 805 h 837"/>
                <a:gd name="T30" fmla="*/ 356 w 815"/>
                <a:gd name="T31" fmla="*/ 836 h 837"/>
                <a:gd name="T32" fmla="*/ 211 w 815"/>
                <a:gd name="T33" fmla="*/ 811 h 837"/>
                <a:gd name="T34" fmla="*/ 100 w 815"/>
                <a:gd name="T35" fmla="*/ 733 h 837"/>
                <a:gd name="T36" fmla="*/ 25 w 815"/>
                <a:gd name="T37" fmla="*/ 608 h 837"/>
                <a:gd name="T38" fmla="*/ 0 w 815"/>
                <a:gd name="T39" fmla="*/ 441 h 837"/>
                <a:gd name="T40" fmla="*/ 0 w 815"/>
                <a:gd name="T41" fmla="*/ 0 h 837"/>
                <a:gd name="T42" fmla="*/ 175 w 815"/>
                <a:gd name="T43" fmla="*/ 0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5" h="837">
                  <a:moveTo>
                    <a:pt x="175" y="0"/>
                  </a:moveTo>
                  <a:lnTo>
                    <a:pt x="175" y="0"/>
                  </a:lnTo>
                  <a:cubicBezTo>
                    <a:pt x="175" y="439"/>
                    <a:pt x="175" y="439"/>
                    <a:pt x="175" y="439"/>
                  </a:cubicBezTo>
                  <a:cubicBezTo>
                    <a:pt x="175" y="508"/>
                    <a:pt x="195" y="566"/>
                    <a:pt x="233" y="611"/>
                  </a:cubicBezTo>
                  <a:cubicBezTo>
                    <a:pt x="275" y="655"/>
                    <a:pt x="331" y="675"/>
                    <a:pt x="406" y="675"/>
                  </a:cubicBezTo>
                  <a:cubicBezTo>
                    <a:pt x="439" y="675"/>
                    <a:pt x="470" y="669"/>
                    <a:pt x="500" y="658"/>
                  </a:cubicBezTo>
                  <a:cubicBezTo>
                    <a:pt x="528" y="644"/>
                    <a:pt x="553" y="627"/>
                    <a:pt x="572" y="602"/>
                  </a:cubicBezTo>
                  <a:cubicBezTo>
                    <a:pt x="595" y="580"/>
                    <a:pt x="611" y="555"/>
                    <a:pt x="622" y="525"/>
                  </a:cubicBezTo>
                  <a:cubicBezTo>
                    <a:pt x="633" y="494"/>
                    <a:pt x="639" y="461"/>
                    <a:pt x="639" y="427"/>
                  </a:cubicBezTo>
                  <a:cubicBezTo>
                    <a:pt x="639" y="0"/>
                    <a:pt x="639" y="0"/>
                    <a:pt x="639" y="0"/>
                  </a:cubicBezTo>
                  <a:cubicBezTo>
                    <a:pt x="814" y="0"/>
                    <a:pt x="814" y="0"/>
                    <a:pt x="814" y="0"/>
                  </a:cubicBezTo>
                  <a:cubicBezTo>
                    <a:pt x="814" y="825"/>
                    <a:pt x="814" y="825"/>
                    <a:pt x="814" y="825"/>
                  </a:cubicBezTo>
                  <a:cubicBezTo>
                    <a:pt x="656" y="825"/>
                    <a:pt x="656" y="825"/>
                    <a:pt x="656" y="825"/>
                  </a:cubicBezTo>
                  <a:cubicBezTo>
                    <a:pt x="645" y="702"/>
                    <a:pt x="645" y="702"/>
                    <a:pt x="645" y="702"/>
                  </a:cubicBezTo>
                  <a:cubicBezTo>
                    <a:pt x="603" y="750"/>
                    <a:pt x="561" y="783"/>
                    <a:pt x="514" y="805"/>
                  </a:cubicBezTo>
                  <a:cubicBezTo>
                    <a:pt x="467" y="825"/>
                    <a:pt x="414" y="836"/>
                    <a:pt x="356" y="836"/>
                  </a:cubicBezTo>
                  <a:cubicBezTo>
                    <a:pt x="303" y="836"/>
                    <a:pt x="256" y="827"/>
                    <a:pt x="211" y="811"/>
                  </a:cubicBezTo>
                  <a:cubicBezTo>
                    <a:pt x="170" y="791"/>
                    <a:pt x="131" y="766"/>
                    <a:pt x="100" y="733"/>
                  </a:cubicBezTo>
                  <a:cubicBezTo>
                    <a:pt x="70" y="700"/>
                    <a:pt x="45" y="658"/>
                    <a:pt x="25" y="608"/>
                  </a:cubicBezTo>
                  <a:cubicBezTo>
                    <a:pt x="8" y="561"/>
                    <a:pt x="0" y="505"/>
                    <a:pt x="0" y="441"/>
                  </a:cubicBezTo>
                  <a:cubicBezTo>
                    <a:pt x="0" y="0"/>
                    <a:pt x="0" y="0"/>
                    <a:pt x="0" y="0"/>
                  </a:cubicBezTo>
                  <a:lnTo>
                    <a:pt x="175"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6" name="Freeform 3">
              <a:extLst>
                <a:ext uri="{FF2B5EF4-FFF2-40B4-BE49-F238E27FC236}">
                  <a16:creationId xmlns:a16="http://schemas.microsoft.com/office/drawing/2014/main" id="{C9C84F0E-3548-014E-A8C1-5C7A30B4D79E}"/>
                </a:ext>
              </a:extLst>
            </p:cNvPr>
            <p:cNvSpPr>
              <a:spLocks noChangeArrowheads="1"/>
            </p:cNvSpPr>
            <p:nvPr userDrawn="1"/>
          </p:nvSpPr>
          <p:spPr bwMode="auto">
            <a:xfrm>
              <a:off x="2624138" y="3141663"/>
              <a:ext cx="268287" cy="314325"/>
            </a:xfrm>
            <a:custGeom>
              <a:avLst/>
              <a:gdLst>
                <a:gd name="T0" fmla="*/ 606 w 746"/>
                <a:gd name="T1" fmla="*/ 225 h 871"/>
                <a:gd name="T2" fmla="*/ 606 w 746"/>
                <a:gd name="T3" fmla="*/ 225 h 871"/>
                <a:gd name="T4" fmla="*/ 500 w 746"/>
                <a:gd name="T5" fmla="*/ 164 h 871"/>
                <a:gd name="T6" fmla="*/ 383 w 746"/>
                <a:gd name="T7" fmla="*/ 148 h 871"/>
                <a:gd name="T8" fmla="*/ 253 w 746"/>
                <a:gd name="T9" fmla="*/ 173 h 871"/>
                <a:gd name="T10" fmla="*/ 203 w 746"/>
                <a:gd name="T11" fmla="*/ 245 h 871"/>
                <a:gd name="T12" fmla="*/ 256 w 746"/>
                <a:gd name="T13" fmla="*/ 320 h 871"/>
                <a:gd name="T14" fmla="*/ 386 w 746"/>
                <a:gd name="T15" fmla="*/ 350 h 871"/>
                <a:gd name="T16" fmla="*/ 508 w 746"/>
                <a:gd name="T17" fmla="*/ 367 h 871"/>
                <a:gd name="T18" fmla="*/ 625 w 746"/>
                <a:gd name="T19" fmla="*/ 406 h 871"/>
                <a:gd name="T20" fmla="*/ 711 w 746"/>
                <a:gd name="T21" fmla="*/ 481 h 871"/>
                <a:gd name="T22" fmla="*/ 745 w 746"/>
                <a:gd name="T23" fmla="*/ 611 h 871"/>
                <a:gd name="T24" fmla="*/ 717 w 746"/>
                <a:gd name="T25" fmla="*/ 717 h 871"/>
                <a:gd name="T26" fmla="*/ 645 w 746"/>
                <a:gd name="T27" fmla="*/ 798 h 871"/>
                <a:gd name="T28" fmla="*/ 533 w 746"/>
                <a:gd name="T29" fmla="*/ 853 h 871"/>
                <a:gd name="T30" fmla="*/ 383 w 746"/>
                <a:gd name="T31" fmla="*/ 870 h 871"/>
                <a:gd name="T32" fmla="*/ 183 w 746"/>
                <a:gd name="T33" fmla="*/ 842 h 871"/>
                <a:gd name="T34" fmla="*/ 0 w 746"/>
                <a:gd name="T35" fmla="*/ 720 h 871"/>
                <a:gd name="T36" fmla="*/ 92 w 746"/>
                <a:gd name="T37" fmla="*/ 598 h 871"/>
                <a:gd name="T38" fmla="*/ 233 w 746"/>
                <a:gd name="T39" fmla="*/ 689 h 871"/>
                <a:gd name="T40" fmla="*/ 389 w 746"/>
                <a:gd name="T41" fmla="*/ 720 h 871"/>
                <a:gd name="T42" fmla="*/ 450 w 746"/>
                <a:gd name="T43" fmla="*/ 714 h 871"/>
                <a:gd name="T44" fmla="*/ 508 w 746"/>
                <a:gd name="T45" fmla="*/ 698 h 871"/>
                <a:gd name="T46" fmla="*/ 550 w 746"/>
                <a:gd name="T47" fmla="*/ 662 h 871"/>
                <a:gd name="T48" fmla="*/ 567 w 746"/>
                <a:gd name="T49" fmla="*/ 614 h 871"/>
                <a:gd name="T50" fmla="*/ 517 w 746"/>
                <a:gd name="T51" fmla="*/ 531 h 871"/>
                <a:gd name="T52" fmla="*/ 372 w 746"/>
                <a:gd name="T53" fmla="*/ 498 h 871"/>
                <a:gd name="T54" fmla="*/ 253 w 746"/>
                <a:gd name="T55" fmla="*/ 478 h 871"/>
                <a:gd name="T56" fmla="*/ 142 w 746"/>
                <a:gd name="T57" fmla="*/ 436 h 871"/>
                <a:gd name="T58" fmla="*/ 61 w 746"/>
                <a:gd name="T59" fmla="*/ 364 h 871"/>
                <a:gd name="T60" fmla="*/ 31 w 746"/>
                <a:gd name="T61" fmla="*/ 250 h 871"/>
                <a:gd name="T62" fmla="*/ 61 w 746"/>
                <a:gd name="T63" fmla="*/ 134 h 871"/>
                <a:gd name="T64" fmla="*/ 145 w 746"/>
                <a:gd name="T65" fmla="*/ 56 h 871"/>
                <a:gd name="T66" fmla="*/ 259 w 746"/>
                <a:gd name="T67" fmla="*/ 14 h 871"/>
                <a:gd name="T68" fmla="*/ 381 w 746"/>
                <a:gd name="T69" fmla="*/ 0 h 871"/>
                <a:gd name="T70" fmla="*/ 556 w 746"/>
                <a:gd name="T71" fmla="*/ 25 h 871"/>
                <a:gd name="T72" fmla="*/ 703 w 746"/>
                <a:gd name="T73" fmla="*/ 112 h 871"/>
                <a:gd name="T74" fmla="*/ 606 w 746"/>
                <a:gd name="T75" fmla="*/ 225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6" h="871">
                  <a:moveTo>
                    <a:pt x="606" y="225"/>
                  </a:moveTo>
                  <a:lnTo>
                    <a:pt x="606" y="225"/>
                  </a:lnTo>
                  <a:cubicBezTo>
                    <a:pt x="572" y="195"/>
                    <a:pt x="536" y="173"/>
                    <a:pt x="500" y="164"/>
                  </a:cubicBezTo>
                  <a:cubicBezTo>
                    <a:pt x="464" y="153"/>
                    <a:pt x="425" y="148"/>
                    <a:pt x="383" y="148"/>
                  </a:cubicBezTo>
                  <a:cubicBezTo>
                    <a:pt x="328" y="148"/>
                    <a:pt x="286" y="153"/>
                    <a:pt x="253" y="173"/>
                  </a:cubicBezTo>
                  <a:cubicBezTo>
                    <a:pt x="220" y="189"/>
                    <a:pt x="203" y="214"/>
                    <a:pt x="203" y="245"/>
                  </a:cubicBezTo>
                  <a:cubicBezTo>
                    <a:pt x="206" y="281"/>
                    <a:pt x="222" y="306"/>
                    <a:pt x="256" y="320"/>
                  </a:cubicBezTo>
                  <a:cubicBezTo>
                    <a:pt x="289" y="336"/>
                    <a:pt x="331" y="345"/>
                    <a:pt x="386" y="350"/>
                  </a:cubicBezTo>
                  <a:cubicBezTo>
                    <a:pt x="425" y="356"/>
                    <a:pt x="467" y="359"/>
                    <a:pt x="508" y="367"/>
                  </a:cubicBezTo>
                  <a:cubicBezTo>
                    <a:pt x="550" y="375"/>
                    <a:pt x="589" y="387"/>
                    <a:pt x="625" y="406"/>
                  </a:cubicBezTo>
                  <a:cubicBezTo>
                    <a:pt x="658" y="425"/>
                    <a:pt x="689" y="450"/>
                    <a:pt x="711" y="481"/>
                  </a:cubicBezTo>
                  <a:cubicBezTo>
                    <a:pt x="733" y="514"/>
                    <a:pt x="745" y="556"/>
                    <a:pt x="745" y="611"/>
                  </a:cubicBezTo>
                  <a:cubicBezTo>
                    <a:pt x="745" y="650"/>
                    <a:pt x="736" y="684"/>
                    <a:pt x="717" y="717"/>
                  </a:cubicBezTo>
                  <a:cubicBezTo>
                    <a:pt x="700" y="748"/>
                    <a:pt x="675" y="775"/>
                    <a:pt x="645" y="798"/>
                  </a:cubicBezTo>
                  <a:cubicBezTo>
                    <a:pt x="614" y="823"/>
                    <a:pt x="575" y="839"/>
                    <a:pt x="533" y="853"/>
                  </a:cubicBezTo>
                  <a:cubicBezTo>
                    <a:pt x="489" y="864"/>
                    <a:pt x="439" y="870"/>
                    <a:pt x="383" y="870"/>
                  </a:cubicBezTo>
                  <a:cubicBezTo>
                    <a:pt x="317" y="870"/>
                    <a:pt x="250" y="862"/>
                    <a:pt x="183" y="842"/>
                  </a:cubicBezTo>
                  <a:cubicBezTo>
                    <a:pt x="117" y="820"/>
                    <a:pt x="56" y="781"/>
                    <a:pt x="0" y="720"/>
                  </a:cubicBezTo>
                  <a:cubicBezTo>
                    <a:pt x="92" y="598"/>
                    <a:pt x="92" y="598"/>
                    <a:pt x="92" y="598"/>
                  </a:cubicBezTo>
                  <a:cubicBezTo>
                    <a:pt x="133" y="639"/>
                    <a:pt x="181" y="673"/>
                    <a:pt x="233" y="689"/>
                  </a:cubicBezTo>
                  <a:cubicBezTo>
                    <a:pt x="286" y="709"/>
                    <a:pt x="339" y="720"/>
                    <a:pt x="389" y="720"/>
                  </a:cubicBezTo>
                  <a:cubicBezTo>
                    <a:pt x="408" y="720"/>
                    <a:pt x="431" y="720"/>
                    <a:pt x="450" y="714"/>
                  </a:cubicBezTo>
                  <a:cubicBezTo>
                    <a:pt x="472" y="711"/>
                    <a:pt x="492" y="706"/>
                    <a:pt x="508" y="698"/>
                  </a:cubicBezTo>
                  <a:cubicBezTo>
                    <a:pt x="525" y="686"/>
                    <a:pt x="539" y="675"/>
                    <a:pt x="550" y="662"/>
                  </a:cubicBezTo>
                  <a:cubicBezTo>
                    <a:pt x="561" y="648"/>
                    <a:pt x="567" y="631"/>
                    <a:pt x="567" y="614"/>
                  </a:cubicBezTo>
                  <a:cubicBezTo>
                    <a:pt x="570" y="575"/>
                    <a:pt x="553" y="548"/>
                    <a:pt x="517" y="531"/>
                  </a:cubicBezTo>
                  <a:cubicBezTo>
                    <a:pt x="483" y="514"/>
                    <a:pt x="436" y="503"/>
                    <a:pt x="372" y="498"/>
                  </a:cubicBezTo>
                  <a:cubicBezTo>
                    <a:pt x="333" y="495"/>
                    <a:pt x="292" y="489"/>
                    <a:pt x="253" y="478"/>
                  </a:cubicBezTo>
                  <a:cubicBezTo>
                    <a:pt x="211" y="470"/>
                    <a:pt x="175" y="456"/>
                    <a:pt x="142" y="436"/>
                  </a:cubicBezTo>
                  <a:cubicBezTo>
                    <a:pt x="108" y="420"/>
                    <a:pt x="84" y="395"/>
                    <a:pt x="61" y="364"/>
                  </a:cubicBezTo>
                  <a:cubicBezTo>
                    <a:pt x="39" y="334"/>
                    <a:pt x="31" y="298"/>
                    <a:pt x="31" y="250"/>
                  </a:cubicBezTo>
                  <a:cubicBezTo>
                    <a:pt x="31" y="206"/>
                    <a:pt x="42" y="167"/>
                    <a:pt x="61" y="134"/>
                  </a:cubicBezTo>
                  <a:cubicBezTo>
                    <a:pt x="84" y="103"/>
                    <a:pt x="111" y="78"/>
                    <a:pt x="145" y="56"/>
                  </a:cubicBezTo>
                  <a:cubicBezTo>
                    <a:pt x="181" y="37"/>
                    <a:pt x="217" y="23"/>
                    <a:pt x="259" y="14"/>
                  </a:cubicBezTo>
                  <a:cubicBezTo>
                    <a:pt x="300" y="6"/>
                    <a:pt x="339" y="0"/>
                    <a:pt x="381" y="0"/>
                  </a:cubicBezTo>
                  <a:cubicBezTo>
                    <a:pt x="445" y="0"/>
                    <a:pt x="503" y="9"/>
                    <a:pt x="556" y="25"/>
                  </a:cubicBezTo>
                  <a:cubicBezTo>
                    <a:pt x="606" y="42"/>
                    <a:pt x="656" y="70"/>
                    <a:pt x="703" y="112"/>
                  </a:cubicBezTo>
                  <a:lnTo>
                    <a:pt x="606" y="2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7" name="Freeform 4">
              <a:extLst>
                <a:ext uri="{FF2B5EF4-FFF2-40B4-BE49-F238E27FC236}">
                  <a16:creationId xmlns:a16="http://schemas.microsoft.com/office/drawing/2014/main" id="{BFDBDE14-7DDA-BC4B-8B26-0D40258509DE}"/>
                </a:ext>
              </a:extLst>
            </p:cNvPr>
            <p:cNvSpPr>
              <a:spLocks noChangeArrowheads="1"/>
            </p:cNvSpPr>
            <p:nvPr userDrawn="1"/>
          </p:nvSpPr>
          <p:spPr bwMode="auto">
            <a:xfrm>
              <a:off x="2928938" y="3063875"/>
              <a:ext cx="223837" cy="387350"/>
            </a:xfrm>
            <a:custGeom>
              <a:avLst/>
              <a:gdLst>
                <a:gd name="T0" fmla="*/ 342 w 621"/>
                <a:gd name="T1" fmla="*/ 0 h 1076"/>
                <a:gd name="T2" fmla="*/ 342 w 621"/>
                <a:gd name="T3" fmla="*/ 0 h 1076"/>
                <a:gd name="T4" fmla="*/ 342 w 621"/>
                <a:gd name="T5" fmla="*/ 239 h 1076"/>
                <a:gd name="T6" fmla="*/ 586 w 621"/>
                <a:gd name="T7" fmla="*/ 239 h 1076"/>
                <a:gd name="T8" fmla="*/ 586 w 621"/>
                <a:gd name="T9" fmla="*/ 391 h 1076"/>
                <a:gd name="T10" fmla="*/ 339 w 621"/>
                <a:gd name="T11" fmla="*/ 391 h 1076"/>
                <a:gd name="T12" fmla="*/ 339 w 621"/>
                <a:gd name="T13" fmla="*/ 780 h 1076"/>
                <a:gd name="T14" fmla="*/ 369 w 621"/>
                <a:gd name="T15" fmla="*/ 880 h 1076"/>
                <a:gd name="T16" fmla="*/ 461 w 621"/>
                <a:gd name="T17" fmla="*/ 916 h 1076"/>
                <a:gd name="T18" fmla="*/ 514 w 621"/>
                <a:gd name="T19" fmla="*/ 908 h 1076"/>
                <a:gd name="T20" fmla="*/ 567 w 621"/>
                <a:gd name="T21" fmla="*/ 889 h 1076"/>
                <a:gd name="T22" fmla="*/ 620 w 621"/>
                <a:gd name="T23" fmla="*/ 1036 h 1076"/>
                <a:gd name="T24" fmla="*/ 533 w 621"/>
                <a:gd name="T25" fmla="*/ 1064 h 1076"/>
                <a:gd name="T26" fmla="*/ 450 w 621"/>
                <a:gd name="T27" fmla="*/ 1072 h 1076"/>
                <a:gd name="T28" fmla="*/ 236 w 621"/>
                <a:gd name="T29" fmla="*/ 1002 h 1076"/>
                <a:gd name="T30" fmla="*/ 164 w 621"/>
                <a:gd name="T31" fmla="*/ 783 h 1076"/>
                <a:gd name="T32" fmla="*/ 164 w 621"/>
                <a:gd name="T33" fmla="*/ 391 h 1076"/>
                <a:gd name="T34" fmla="*/ 0 w 621"/>
                <a:gd name="T35" fmla="*/ 391 h 1076"/>
                <a:gd name="T36" fmla="*/ 0 w 621"/>
                <a:gd name="T37" fmla="*/ 239 h 1076"/>
                <a:gd name="T38" fmla="*/ 164 w 621"/>
                <a:gd name="T39" fmla="*/ 239 h 1076"/>
                <a:gd name="T40" fmla="*/ 164 w 621"/>
                <a:gd name="T41" fmla="*/ 19 h 1076"/>
                <a:gd name="T42" fmla="*/ 342 w 621"/>
                <a:gd name="T43" fmla="*/ 0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1" h="1076">
                  <a:moveTo>
                    <a:pt x="342" y="0"/>
                  </a:moveTo>
                  <a:lnTo>
                    <a:pt x="342" y="0"/>
                  </a:lnTo>
                  <a:cubicBezTo>
                    <a:pt x="342" y="239"/>
                    <a:pt x="342" y="239"/>
                    <a:pt x="342" y="239"/>
                  </a:cubicBezTo>
                  <a:cubicBezTo>
                    <a:pt x="586" y="239"/>
                    <a:pt x="586" y="239"/>
                    <a:pt x="586" y="239"/>
                  </a:cubicBezTo>
                  <a:cubicBezTo>
                    <a:pt x="586" y="391"/>
                    <a:pt x="586" y="391"/>
                    <a:pt x="586" y="391"/>
                  </a:cubicBezTo>
                  <a:cubicBezTo>
                    <a:pt x="339" y="391"/>
                    <a:pt x="339" y="391"/>
                    <a:pt x="339" y="391"/>
                  </a:cubicBezTo>
                  <a:cubicBezTo>
                    <a:pt x="339" y="780"/>
                    <a:pt x="339" y="780"/>
                    <a:pt x="339" y="780"/>
                  </a:cubicBezTo>
                  <a:cubicBezTo>
                    <a:pt x="339" y="825"/>
                    <a:pt x="350" y="858"/>
                    <a:pt x="369" y="880"/>
                  </a:cubicBezTo>
                  <a:cubicBezTo>
                    <a:pt x="389" y="905"/>
                    <a:pt x="420" y="916"/>
                    <a:pt x="461" y="916"/>
                  </a:cubicBezTo>
                  <a:cubicBezTo>
                    <a:pt x="478" y="916"/>
                    <a:pt x="494" y="914"/>
                    <a:pt x="514" y="908"/>
                  </a:cubicBezTo>
                  <a:cubicBezTo>
                    <a:pt x="533" y="905"/>
                    <a:pt x="550" y="897"/>
                    <a:pt x="567" y="889"/>
                  </a:cubicBezTo>
                  <a:cubicBezTo>
                    <a:pt x="620" y="1036"/>
                    <a:pt x="620" y="1036"/>
                    <a:pt x="620" y="1036"/>
                  </a:cubicBezTo>
                  <a:cubicBezTo>
                    <a:pt x="589" y="1047"/>
                    <a:pt x="561" y="1058"/>
                    <a:pt x="533" y="1064"/>
                  </a:cubicBezTo>
                  <a:cubicBezTo>
                    <a:pt x="508" y="1069"/>
                    <a:pt x="481" y="1072"/>
                    <a:pt x="450" y="1072"/>
                  </a:cubicBezTo>
                  <a:cubicBezTo>
                    <a:pt x="358" y="1075"/>
                    <a:pt x="286" y="1050"/>
                    <a:pt x="236" y="1002"/>
                  </a:cubicBezTo>
                  <a:cubicBezTo>
                    <a:pt x="189" y="952"/>
                    <a:pt x="164" y="880"/>
                    <a:pt x="164" y="783"/>
                  </a:cubicBezTo>
                  <a:cubicBezTo>
                    <a:pt x="164" y="391"/>
                    <a:pt x="164" y="391"/>
                    <a:pt x="164" y="391"/>
                  </a:cubicBezTo>
                  <a:cubicBezTo>
                    <a:pt x="0" y="391"/>
                    <a:pt x="0" y="391"/>
                    <a:pt x="0" y="391"/>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8" name="Freeform 5">
              <a:extLst>
                <a:ext uri="{FF2B5EF4-FFF2-40B4-BE49-F238E27FC236}">
                  <a16:creationId xmlns:a16="http://schemas.microsoft.com/office/drawing/2014/main" id="{4F4686AA-F632-E543-BF95-BA90F74EB178}"/>
                </a:ext>
              </a:extLst>
            </p:cNvPr>
            <p:cNvSpPr>
              <a:spLocks noChangeArrowheads="1"/>
            </p:cNvSpPr>
            <p:nvPr userDrawn="1"/>
          </p:nvSpPr>
          <p:spPr bwMode="auto">
            <a:xfrm>
              <a:off x="3186113" y="3143250"/>
              <a:ext cx="314325" cy="307975"/>
            </a:xfrm>
            <a:custGeom>
              <a:avLst/>
              <a:gdLst>
                <a:gd name="T0" fmla="*/ 433 w 873"/>
                <a:gd name="T1" fmla="*/ 0 h 857"/>
                <a:gd name="T2" fmla="*/ 433 w 873"/>
                <a:gd name="T3" fmla="*/ 0 h 857"/>
                <a:gd name="T4" fmla="*/ 611 w 873"/>
                <a:gd name="T5" fmla="*/ 33 h 857"/>
                <a:gd name="T6" fmla="*/ 750 w 873"/>
                <a:gd name="T7" fmla="*/ 125 h 857"/>
                <a:gd name="T8" fmla="*/ 839 w 873"/>
                <a:gd name="T9" fmla="*/ 261 h 857"/>
                <a:gd name="T10" fmla="*/ 872 w 873"/>
                <a:gd name="T11" fmla="*/ 428 h 857"/>
                <a:gd name="T12" fmla="*/ 839 w 873"/>
                <a:gd name="T13" fmla="*/ 597 h 857"/>
                <a:gd name="T14" fmla="*/ 753 w 873"/>
                <a:gd name="T15" fmla="*/ 733 h 857"/>
                <a:gd name="T16" fmla="*/ 614 w 873"/>
                <a:gd name="T17" fmla="*/ 825 h 857"/>
                <a:gd name="T18" fmla="*/ 433 w 873"/>
                <a:gd name="T19" fmla="*/ 856 h 857"/>
                <a:gd name="T20" fmla="*/ 256 w 873"/>
                <a:gd name="T21" fmla="*/ 825 h 857"/>
                <a:gd name="T22" fmla="*/ 117 w 873"/>
                <a:gd name="T23" fmla="*/ 733 h 857"/>
                <a:gd name="T24" fmla="*/ 31 w 873"/>
                <a:gd name="T25" fmla="*/ 597 h 857"/>
                <a:gd name="T26" fmla="*/ 0 w 873"/>
                <a:gd name="T27" fmla="*/ 428 h 857"/>
                <a:gd name="T28" fmla="*/ 31 w 873"/>
                <a:gd name="T29" fmla="*/ 261 h 857"/>
                <a:gd name="T30" fmla="*/ 120 w 873"/>
                <a:gd name="T31" fmla="*/ 125 h 857"/>
                <a:gd name="T32" fmla="*/ 256 w 873"/>
                <a:gd name="T33" fmla="*/ 33 h 857"/>
                <a:gd name="T34" fmla="*/ 433 w 873"/>
                <a:gd name="T35" fmla="*/ 0 h 857"/>
                <a:gd name="T36" fmla="*/ 433 w 873"/>
                <a:gd name="T37" fmla="*/ 161 h 857"/>
                <a:gd name="T38" fmla="*/ 433 w 873"/>
                <a:gd name="T39" fmla="*/ 161 h 857"/>
                <a:gd name="T40" fmla="*/ 325 w 873"/>
                <a:gd name="T41" fmla="*/ 181 h 857"/>
                <a:gd name="T42" fmla="*/ 245 w 873"/>
                <a:gd name="T43" fmla="*/ 242 h 857"/>
                <a:gd name="T44" fmla="*/ 195 w 873"/>
                <a:gd name="T45" fmla="*/ 328 h 857"/>
                <a:gd name="T46" fmla="*/ 175 w 873"/>
                <a:gd name="T47" fmla="*/ 430 h 857"/>
                <a:gd name="T48" fmla="*/ 195 w 873"/>
                <a:gd name="T49" fmla="*/ 533 h 857"/>
                <a:gd name="T50" fmla="*/ 245 w 873"/>
                <a:gd name="T51" fmla="*/ 617 h 857"/>
                <a:gd name="T52" fmla="*/ 325 w 873"/>
                <a:gd name="T53" fmla="*/ 675 h 857"/>
                <a:gd name="T54" fmla="*/ 433 w 873"/>
                <a:gd name="T55" fmla="*/ 697 h 857"/>
                <a:gd name="T56" fmla="*/ 542 w 873"/>
                <a:gd name="T57" fmla="*/ 675 h 857"/>
                <a:gd name="T58" fmla="*/ 625 w 873"/>
                <a:gd name="T59" fmla="*/ 617 h 857"/>
                <a:gd name="T60" fmla="*/ 675 w 873"/>
                <a:gd name="T61" fmla="*/ 533 h 857"/>
                <a:gd name="T62" fmla="*/ 694 w 873"/>
                <a:gd name="T63" fmla="*/ 430 h 857"/>
                <a:gd name="T64" fmla="*/ 675 w 873"/>
                <a:gd name="T65" fmla="*/ 328 h 857"/>
                <a:gd name="T66" fmla="*/ 622 w 873"/>
                <a:gd name="T67" fmla="*/ 242 h 857"/>
                <a:gd name="T68" fmla="*/ 539 w 873"/>
                <a:gd name="T69" fmla="*/ 181 h 857"/>
                <a:gd name="T70" fmla="*/ 433 w 873"/>
                <a:gd name="T71" fmla="*/ 161 h 857"/>
                <a:gd name="T72" fmla="*/ 433 w 873"/>
                <a:gd name="T73"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57">
                  <a:moveTo>
                    <a:pt x="433" y="0"/>
                  </a:moveTo>
                  <a:lnTo>
                    <a:pt x="433" y="0"/>
                  </a:lnTo>
                  <a:cubicBezTo>
                    <a:pt x="500" y="0"/>
                    <a:pt x="558" y="11"/>
                    <a:pt x="611" y="33"/>
                  </a:cubicBezTo>
                  <a:cubicBezTo>
                    <a:pt x="664" y="56"/>
                    <a:pt x="711" y="86"/>
                    <a:pt x="750" y="125"/>
                  </a:cubicBezTo>
                  <a:cubicBezTo>
                    <a:pt x="789" y="161"/>
                    <a:pt x="820" y="208"/>
                    <a:pt x="839" y="261"/>
                  </a:cubicBezTo>
                  <a:cubicBezTo>
                    <a:pt x="861" y="314"/>
                    <a:pt x="872" y="369"/>
                    <a:pt x="872" y="428"/>
                  </a:cubicBezTo>
                  <a:cubicBezTo>
                    <a:pt x="872" y="489"/>
                    <a:pt x="861" y="547"/>
                    <a:pt x="839" y="597"/>
                  </a:cubicBezTo>
                  <a:cubicBezTo>
                    <a:pt x="820" y="650"/>
                    <a:pt x="792" y="694"/>
                    <a:pt x="753" y="733"/>
                  </a:cubicBezTo>
                  <a:cubicBezTo>
                    <a:pt x="714" y="772"/>
                    <a:pt x="667" y="803"/>
                    <a:pt x="614" y="825"/>
                  </a:cubicBezTo>
                  <a:cubicBezTo>
                    <a:pt x="561" y="847"/>
                    <a:pt x="500" y="856"/>
                    <a:pt x="433" y="856"/>
                  </a:cubicBezTo>
                  <a:cubicBezTo>
                    <a:pt x="367" y="856"/>
                    <a:pt x="308" y="847"/>
                    <a:pt x="256" y="825"/>
                  </a:cubicBezTo>
                  <a:cubicBezTo>
                    <a:pt x="200" y="803"/>
                    <a:pt x="156" y="772"/>
                    <a:pt x="117" y="733"/>
                  </a:cubicBezTo>
                  <a:cubicBezTo>
                    <a:pt x="81" y="694"/>
                    <a:pt x="50" y="650"/>
                    <a:pt x="31" y="597"/>
                  </a:cubicBezTo>
                  <a:cubicBezTo>
                    <a:pt x="11" y="547"/>
                    <a:pt x="0" y="489"/>
                    <a:pt x="0" y="428"/>
                  </a:cubicBezTo>
                  <a:cubicBezTo>
                    <a:pt x="0" y="369"/>
                    <a:pt x="11" y="314"/>
                    <a:pt x="31" y="261"/>
                  </a:cubicBezTo>
                  <a:cubicBezTo>
                    <a:pt x="50" y="208"/>
                    <a:pt x="81" y="161"/>
                    <a:pt x="120" y="125"/>
                  </a:cubicBezTo>
                  <a:cubicBezTo>
                    <a:pt x="156" y="86"/>
                    <a:pt x="203" y="56"/>
                    <a:pt x="256" y="33"/>
                  </a:cubicBezTo>
                  <a:cubicBezTo>
                    <a:pt x="308" y="11"/>
                    <a:pt x="370" y="0"/>
                    <a:pt x="433" y="0"/>
                  </a:cubicBezTo>
                  <a:lnTo>
                    <a:pt x="433" y="161"/>
                  </a:lnTo>
                  <a:lnTo>
                    <a:pt x="433" y="161"/>
                  </a:lnTo>
                  <a:cubicBezTo>
                    <a:pt x="394" y="161"/>
                    <a:pt x="358" y="167"/>
                    <a:pt x="325" y="181"/>
                  </a:cubicBezTo>
                  <a:cubicBezTo>
                    <a:pt x="295" y="197"/>
                    <a:pt x="267" y="217"/>
                    <a:pt x="245" y="242"/>
                  </a:cubicBezTo>
                  <a:cubicBezTo>
                    <a:pt x="222" y="267"/>
                    <a:pt x="206" y="294"/>
                    <a:pt x="195" y="328"/>
                  </a:cubicBezTo>
                  <a:cubicBezTo>
                    <a:pt x="181" y="358"/>
                    <a:pt x="175" y="394"/>
                    <a:pt x="175" y="430"/>
                  </a:cubicBezTo>
                  <a:cubicBezTo>
                    <a:pt x="175" y="467"/>
                    <a:pt x="181" y="500"/>
                    <a:pt x="195" y="533"/>
                  </a:cubicBezTo>
                  <a:cubicBezTo>
                    <a:pt x="206" y="567"/>
                    <a:pt x="222" y="594"/>
                    <a:pt x="245" y="617"/>
                  </a:cubicBezTo>
                  <a:cubicBezTo>
                    <a:pt x="267" y="642"/>
                    <a:pt x="295" y="661"/>
                    <a:pt x="325" y="675"/>
                  </a:cubicBezTo>
                  <a:cubicBezTo>
                    <a:pt x="358" y="689"/>
                    <a:pt x="394" y="697"/>
                    <a:pt x="433" y="697"/>
                  </a:cubicBezTo>
                  <a:cubicBezTo>
                    <a:pt x="475" y="697"/>
                    <a:pt x="511" y="689"/>
                    <a:pt x="542" y="675"/>
                  </a:cubicBezTo>
                  <a:cubicBezTo>
                    <a:pt x="575" y="661"/>
                    <a:pt x="603" y="642"/>
                    <a:pt x="625" y="617"/>
                  </a:cubicBezTo>
                  <a:cubicBezTo>
                    <a:pt x="647" y="594"/>
                    <a:pt x="664" y="567"/>
                    <a:pt x="675" y="533"/>
                  </a:cubicBezTo>
                  <a:cubicBezTo>
                    <a:pt x="686" y="500"/>
                    <a:pt x="694" y="467"/>
                    <a:pt x="694" y="430"/>
                  </a:cubicBezTo>
                  <a:cubicBezTo>
                    <a:pt x="694" y="394"/>
                    <a:pt x="686" y="358"/>
                    <a:pt x="675" y="328"/>
                  </a:cubicBezTo>
                  <a:cubicBezTo>
                    <a:pt x="661" y="294"/>
                    <a:pt x="645" y="267"/>
                    <a:pt x="622" y="242"/>
                  </a:cubicBezTo>
                  <a:cubicBezTo>
                    <a:pt x="600" y="217"/>
                    <a:pt x="572" y="197"/>
                    <a:pt x="539" y="181"/>
                  </a:cubicBezTo>
                  <a:cubicBezTo>
                    <a:pt x="508" y="167"/>
                    <a:pt x="472" y="161"/>
                    <a:pt x="433" y="161"/>
                  </a:cubicBezTo>
                  <a:lnTo>
                    <a:pt x="433"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9" name="Freeform 6">
              <a:extLst>
                <a:ext uri="{FF2B5EF4-FFF2-40B4-BE49-F238E27FC236}">
                  <a16:creationId xmlns:a16="http://schemas.microsoft.com/office/drawing/2014/main" id="{1AFF59FE-12B4-6D4D-B799-C1D0C79BBC9D}"/>
                </a:ext>
              </a:extLst>
            </p:cNvPr>
            <p:cNvSpPr>
              <a:spLocks noChangeArrowheads="1"/>
            </p:cNvSpPr>
            <p:nvPr userDrawn="1"/>
          </p:nvSpPr>
          <p:spPr bwMode="auto">
            <a:xfrm>
              <a:off x="3567113" y="3143250"/>
              <a:ext cx="476250" cy="301625"/>
            </a:xfrm>
            <a:custGeom>
              <a:avLst/>
              <a:gdLst>
                <a:gd name="T0" fmla="*/ 575 w 1321"/>
                <a:gd name="T1" fmla="*/ 839 h 840"/>
                <a:gd name="T2" fmla="*/ 575 w 1321"/>
                <a:gd name="T3" fmla="*/ 839 h 840"/>
                <a:gd name="T4" fmla="*/ 575 w 1321"/>
                <a:gd name="T5" fmla="*/ 386 h 840"/>
                <a:gd name="T6" fmla="*/ 561 w 1321"/>
                <a:gd name="T7" fmla="*/ 300 h 840"/>
                <a:gd name="T8" fmla="*/ 523 w 1321"/>
                <a:gd name="T9" fmla="*/ 228 h 840"/>
                <a:gd name="T10" fmla="*/ 461 w 1321"/>
                <a:gd name="T11" fmla="*/ 181 h 840"/>
                <a:gd name="T12" fmla="*/ 378 w 1321"/>
                <a:gd name="T13" fmla="*/ 161 h 840"/>
                <a:gd name="T14" fmla="*/ 295 w 1321"/>
                <a:gd name="T15" fmla="*/ 181 h 840"/>
                <a:gd name="T16" fmla="*/ 231 w 1321"/>
                <a:gd name="T17" fmla="*/ 228 h 840"/>
                <a:gd name="T18" fmla="*/ 189 w 1321"/>
                <a:gd name="T19" fmla="*/ 300 h 840"/>
                <a:gd name="T20" fmla="*/ 175 w 1321"/>
                <a:gd name="T21" fmla="*/ 386 h 840"/>
                <a:gd name="T22" fmla="*/ 175 w 1321"/>
                <a:gd name="T23" fmla="*/ 839 h 840"/>
                <a:gd name="T24" fmla="*/ 0 w 1321"/>
                <a:gd name="T25" fmla="*/ 839 h 840"/>
                <a:gd name="T26" fmla="*/ 0 w 1321"/>
                <a:gd name="T27" fmla="*/ 14 h 840"/>
                <a:gd name="T28" fmla="*/ 164 w 1321"/>
                <a:gd name="T29" fmla="*/ 14 h 840"/>
                <a:gd name="T30" fmla="*/ 175 w 1321"/>
                <a:gd name="T31" fmla="*/ 125 h 840"/>
                <a:gd name="T32" fmla="*/ 278 w 1321"/>
                <a:gd name="T33" fmla="*/ 28 h 840"/>
                <a:gd name="T34" fmla="*/ 411 w 1321"/>
                <a:gd name="T35" fmla="*/ 0 h 840"/>
                <a:gd name="T36" fmla="*/ 492 w 1321"/>
                <a:gd name="T37" fmla="*/ 8 h 840"/>
                <a:gd name="T38" fmla="*/ 564 w 1321"/>
                <a:gd name="T39" fmla="*/ 39 h 840"/>
                <a:gd name="T40" fmla="*/ 628 w 1321"/>
                <a:gd name="T41" fmla="*/ 89 h 840"/>
                <a:gd name="T42" fmla="*/ 675 w 1321"/>
                <a:gd name="T43" fmla="*/ 167 h 840"/>
                <a:gd name="T44" fmla="*/ 800 w 1321"/>
                <a:gd name="T45" fmla="*/ 39 h 840"/>
                <a:gd name="T46" fmla="*/ 964 w 1321"/>
                <a:gd name="T47" fmla="*/ 3 h 840"/>
                <a:gd name="T48" fmla="*/ 1231 w 1321"/>
                <a:gd name="T49" fmla="*/ 103 h 840"/>
                <a:gd name="T50" fmla="*/ 1320 w 1321"/>
                <a:gd name="T51" fmla="*/ 383 h 840"/>
                <a:gd name="T52" fmla="*/ 1320 w 1321"/>
                <a:gd name="T53" fmla="*/ 839 h 840"/>
                <a:gd name="T54" fmla="*/ 1142 w 1321"/>
                <a:gd name="T55" fmla="*/ 839 h 840"/>
                <a:gd name="T56" fmla="*/ 1142 w 1321"/>
                <a:gd name="T57" fmla="*/ 383 h 840"/>
                <a:gd name="T58" fmla="*/ 1131 w 1321"/>
                <a:gd name="T59" fmla="*/ 297 h 840"/>
                <a:gd name="T60" fmla="*/ 1095 w 1321"/>
                <a:gd name="T61" fmla="*/ 228 h 840"/>
                <a:gd name="T62" fmla="*/ 1039 w 1321"/>
                <a:gd name="T63" fmla="*/ 181 h 840"/>
                <a:gd name="T64" fmla="*/ 956 w 1321"/>
                <a:gd name="T65" fmla="*/ 164 h 840"/>
                <a:gd name="T66" fmla="*/ 873 w 1321"/>
                <a:gd name="T67" fmla="*/ 181 h 840"/>
                <a:gd name="T68" fmla="*/ 809 w 1321"/>
                <a:gd name="T69" fmla="*/ 228 h 840"/>
                <a:gd name="T70" fmla="*/ 767 w 1321"/>
                <a:gd name="T71" fmla="*/ 300 h 840"/>
                <a:gd name="T72" fmla="*/ 753 w 1321"/>
                <a:gd name="T73" fmla="*/ 386 h 840"/>
                <a:gd name="T74" fmla="*/ 753 w 1321"/>
                <a:gd name="T75" fmla="*/ 839 h 840"/>
                <a:gd name="T76" fmla="*/ 575 w 1321"/>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1" h="840">
                  <a:moveTo>
                    <a:pt x="575" y="839"/>
                  </a:moveTo>
                  <a:lnTo>
                    <a:pt x="575" y="839"/>
                  </a:lnTo>
                  <a:cubicBezTo>
                    <a:pt x="575" y="386"/>
                    <a:pt x="575" y="386"/>
                    <a:pt x="575" y="386"/>
                  </a:cubicBezTo>
                  <a:cubicBezTo>
                    <a:pt x="575" y="356"/>
                    <a:pt x="570" y="328"/>
                    <a:pt x="561" y="300"/>
                  </a:cubicBezTo>
                  <a:cubicBezTo>
                    <a:pt x="553" y="272"/>
                    <a:pt x="539" y="247"/>
                    <a:pt x="523" y="228"/>
                  </a:cubicBezTo>
                  <a:cubicBezTo>
                    <a:pt x="506" y="208"/>
                    <a:pt x="486" y="192"/>
                    <a:pt x="461" y="181"/>
                  </a:cubicBezTo>
                  <a:cubicBezTo>
                    <a:pt x="436" y="167"/>
                    <a:pt x="409" y="161"/>
                    <a:pt x="378" y="161"/>
                  </a:cubicBezTo>
                  <a:cubicBezTo>
                    <a:pt x="348" y="161"/>
                    <a:pt x="320" y="167"/>
                    <a:pt x="295" y="181"/>
                  </a:cubicBezTo>
                  <a:cubicBezTo>
                    <a:pt x="270" y="192"/>
                    <a:pt x="248" y="208"/>
                    <a:pt x="231" y="228"/>
                  </a:cubicBezTo>
                  <a:cubicBezTo>
                    <a:pt x="211" y="247"/>
                    <a:pt x="200" y="272"/>
                    <a:pt x="189" y="300"/>
                  </a:cubicBezTo>
                  <a:cubicBezTo>
                    <a:pt x="181" y="328"/>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198" y="78"/>
                    <a:pt x="234" y="47"/>
                    <a:pt x="278" y="28"/>
                  </a:cubicBezTo>
                  <a:cubicBezTo>
                    <a:pt x="323" y="11"/>
                    <a:pt x="367" y="0"/>
                    <a:pt x="411" y="0"/>
                  </a:cubicBezTo>
                  <a:cubicBezTo>
                    <a:pt x="439" y="0"/>
                    <a:pt x="464" y="3"/>
                    <a:pt x="492" y="8"/>
                  </a:cubicBezTo>
                  <a:cubicBezTo>
                    <a:pt x="517" y="14"/>
                    <a:pt x="542" y="25"/>
                    <a:pt x="564" y="39"/>
                  </a:cubicBezTo>
                  <a:cubicBezTo>
                    <a:pt x="589" y="50"/>
                    <a:pt x="609" y="69"/>
                    <a:pt x="628" y="89"/>
                  </a:cubicBezTo>
                  <a:cubicBezTo>
                    <a:pt x="647" y="111"/>
                    <a:pt x="661" y="136"/>
                    <a:pt x="675" y="167"/>
                  </a:cubicBezTo>
                  <a:cubicBezTo>
                    <a:pt x="709" y="106"/>
                    <a:pt x="750" y="64"/>
                    <a:pt x="800" y="39"/>
                  </a:cubicBezTo>
                  <a:cubicBezTo>
                    <a:pt x="850" y="14"/>
                    <a:pt x="906" y="3"/>
                    <a:pt x="964" y="3"/>
                  </a:cubicBezTo>
                  <a:cubicBezTo>
                    <a:pt x="1081" y="3"/>
                    <a:pt x="1170" y="36"/>
                    <a:pt x="1231" y="103"/>
                  </a:cubicBezTo>
                  <a:cubicBezTo>
                    <a:pt x="1289" y="172"/>
                    <a:pt x="1320" y="264"/>
                    <a:pt x="1320" y="383"/>
                  </a:cubicBezTo>
                  <a:cubicBezTo>
                    <a:pt x="1320" y="839"/>
                    <a:pt x="1320" y="839"/>
                    <a:pt x="1320" y="839"/>
                  </a:cubicBezTo>
                  <a:cubicBezTo>
                    <a:pt x="1142" y="839"/>
                    <a:pt x="1142" y="839"/>
                    <a:pt x="1142" y="839"/>
                  </a:cubicBezTo>
                  <a:cubicBezTo>
                    <a:pt x="1142" y="383"/>
                    <a:pt x="1142" y="383"/>
                    <a:pt x="1142" y="383"/>
                  </a:cubicBezTo>
                  <a:cubicBezTo>
                    <a:pt x="1142" y="353"/>
                    <a:pt x="1139" y="325"/>
                    <a:pt x="1131" y="297"/>
                  </a:cubicBezTo>
                  <a:cubicBezTo>
                    <a:pt x="1122" y="269"/>
                    <a:pt x="1111" y="247"/>
                    <a:pt x="1095" y="228"/>
                  </a:cubicBezTo>
                  <a:cubicBezTo>
                    <a:pt x="1081" y="206"/>
                    <a:pt x="1061" y="192"/>
                    <a:pt x="1039" y="181"/>
                  </a:cubicBezTo>
                  <a:cubicBezTo>
                    <a:pt x="1014" y="169"/>
                    <a:pt x="986" y="164"/>
                    <a:pt x="956" y="164"/>
                  </a:cubicBezTo>
                  <a:cubicBezTo>
                    <a:pt x="925" y="164"/>
                    <a:pt x="897" y="169"/>
                    <a:pt x="873" y="181"/>
                  </a:cubicBezTo>
                  <a:cubicBezTo>
                    <a:pt x="847" y="192"/>
                    <a:pt x="825" y="208"/>
                    <a:pt x="809" y="228"/>
                  </a:cubicBezTo>
                  <a:cubicBezTo>
                    <a:pt x="789" y="250"/>
                    <a:pt x="775" y="272"/>
                    <a:pt x="767" y="300"/>
                  </a:cubicBezTo>
                  <a:cubicBezTo>
                    <a:pt x="756" y="328"/>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0" name="Freeform 7">
              <a:extLst>
                <a:ext uri="{FF2B5EF4-FFF2-40B4-BE49-F238E27FC236}">
                  <a16:creationId xmlns:a16="http://schemas.microsoft.com/office/drawing/2014/main" id="{F46638B0-F40C-B24A-93C9-6E1B70739452}"/>
                </a:ext>
              </a:extLst>
            </p:cNvPr>
            <p:cNvSpPr>
              <a:spLocks noChangeArrowheads="1"/>
            </p:cNvSpPr>
            <p:nvPr userDrawn="1"/>
          </p:nvSpPr>
          <p:spPr bwMode="auto">
            <a:xfrm>
              <a:off x="4105275" y="3141663"/>
              <a:ext cx="314325" cy="312737"/>
            </a:xfrm>
            <a:custGeom>
              <a:avLst/>
              <a:gdLst>
                <a:gd name="T0" fmla="*/ 864 w 874"/>
                <a:gd name="T1" fmla="*/ 498 h 868"/>
                <a:gd name="T2" fmla="*/ 864 w 874"/>
                <a:gd name="T3" fmla="*/ 498 h 868"/>
                <a:gd name="T4" fmla="*/ 181 w 874"/>
                <a:gd name="T5" fmla="*/ 498 h 868"/>
                <a:gd name="T6" fmla="*/ 267 w 874"/>
                <a:gd name="T7" fmla="*/ 650 h 868"/>
                <a:gd name="T8" fmla="*/ 456 w 874"/>
                <a:gd name="T9" fmla="*/ 706 h 868"/>
                <a:gd name="T10" fmla="*/ 592 w 874"/>
                <a:gd name="T11" fmla="*/ 684 h 868"/>
                <a:gd name="T12" fmla="*/ 700 w 874"/>
                <a:gd name="T13" fmla="*/ 617 h 868"/>
                <a:gd name="T14" fmla="*/ 814 w 874"/>
                <a:gd name="T15" fmla="*/ 725 h 868"/>
                <a:gd name="T16" fmla="*/ 739 w 874"/>
                <a:gd name="T17" fmla="*/ 786 h 868"/>
                <a:gd name="T18" fmla="*/ 650 w 874"/>
                <a:gd name="T19" fmla="*/ 831 h 868"/>
                <a:gd name="T20" fmla="*/ 553 w 874"/>
                <a:gd name="T21" fmla="*/ 859 h 868"/>
                <a:gd name="T22" fmla="*/ 453 w 874"/>
                <a:gd name="T23" fmla="*/ 867 h 868"/>
                <a:gd name="T24" fmla="*/ 267 w 874"/>
                <a:gd name="T25" fmla="*/ 836 h 868"/>
                <a:gd name="T26" fmla="*/ 123 w 874"/>
                <a:gd name="T27" fmla="*/ 748 h 868"/>
                <a:gd name="T28" fmla="*/ 31 w 874"/>
                <a:gd name="T29" fmla="*/ 609 h 868"/>
                <a:gd name="T30" fmla="*/ 0 w 874"/>
                <a:gd name="T31" fmla="*/ 431 h 868"/>
                <a:gd name="T32" fmla="*/ 31 w 874"/>
                <a:gd name="T33" fmla="*/ 256 h 868"/>
                <a:gd name="T34" fmla="*/ 123 w 874"/>
                <a:gd name="T35" fmla="*/ 120 h 868"/>
                <a:gd name="T36" fmla="*/ 261 w 874"/>
                <a:gd name="T37" fmla="*/ 31 h 868"/>
                <a:gd name="T38" fmla="*/ 442 w 874"/>
                <a:gd name="T39" fmla="*/ 0 h 868"/>
                <a:gd name="T40" fmla="*/ 628 w 874"/>
                <a:gd name="T41" fmla="*/ 31 h 868"/>
                <a:gd name="T42" fmla="*/ 767 w 874"/>
                <a:gd name="T43" fmla="*/ 125 h 868"/>
                <a:gd name="T44" fmla="*/ 850 w 874"/>
                <a:gd name="T45" fmla="*/ 278 h 868"/>
                <a:gd name="T46" fmla="*/ 864 w 874"/>
                <a:gd name="T47" fmla="*/ 498 h 868"/>
                <a:gd name="T48" fmla="*/ 187 w 874"/>
                <a:gd name="T49" fmla="*/ 353 h 868"/>
                <a:gd name="T50" fmla="*/ 187 w 874"/>
                <a:gd name="T51" fmla="*/ 353 h 868"/>
                <a:gd name="T52" fmla="*/ 695 w 874"/>
                <a:gd name="T53" fmla="*/ 353 h 868"/>
                <a:gd name="T54" fmla="*/ 620 w 874"/>
                <a:gd name="T55" fmla="*/ 203 h 868"/>
                <a:gd name="T56" fmla="*/ 448 w 874"/>
                <a:gd name="T57" fmla="*/ 153 h 868"/>
                <a:gd name="T58" fmla="*/ 278 w 874"/>
                <a:gd name="T59" fmla="*/ 203 h 868"/>
                <a:gd name="T60" fmla="*/ 187 w 874"/>
                <a:gd name="T61" fmla="*/ 353 h 868"/>
                <a:gd name="T62" fmla="*/ 864 w 874"/>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4" h="868">
                  <a:moveTo>
                    <a:pt x="864" y="498"/>
                  </a:moveTo>
                  <a:lnTo>
                    <a:pt x="864" y="498"/>
                  </a:lnTo>
                  <a:cubicBezTo>
                    <a:pt x="181" y="498"/>
                    <a:pt x="181" y="498"/>
                    <a:pt x="181" y="498"/>
                  </a:cubicBezTo>
                  <a:cubicBezTo>
                    <a:pt x="189" y="562"/>
                    <a:pt x="217" y="611"/>
                    <a:pt x="267" y="650"/>
                  </a:cubicBezTo>
                  <a:cubicBezTo>
                    <a:pt x="317" y="686"/>
                    <a:pt x="378" y="706"/>
                    <a:pt x="456" y="706"/>
                  </a:cubicBezTo>
                  <a:cubicBezTo>
                    <a:pt x="500" y="706"/>
                    <a:pt x="545" y="698"/>
                    <a:pt x="592" y="684"/>
                  </a:cubicBezTo>
                  <a:cubicBezTo>
                    <a:pt x="639" y="667"/>
                    <a:pt x="675" y="645"/>
                    <a:pt x="700" y="617"/>
                  </a:cubicBezTo>
                  <a:cubicBezTo>
                    <a:pt x="814" y="725"/>
                    <a:pt x="814" y="725"/>
                    <a:pt x="814" y="725"/>
                  </a:cubicBezTo>
                  <a:cubicBezTo>
                    <a:pt x="795" y="750"/>
                    <a:pt x="770" y="770"/>
                    <a:pt x="739" y="786"/>
                  </a:cubicBezTo>
                  <a:cubicBezTo>
                    <a:pt x="711" y="806"/>
                    <a:pt x="681" y="820"/>
                    <a:pt x="650" y="831"/>
                  </a:cubicBezTo>
                  <a:cubicBezTo>
                    <a:pt x="620" y="845"/>
                    <a:pt x="587" y="853"/>
                    <a:pt x="553" y="859"/>
                  </a:cubicBezTo>
                  <a:cubicBezTo>
                    <a:pt x="517" y="864"/>
                    <a:pt x="487" y="867"/>
                    <a:pt x="453" y="867"/>
                  </a:cubicBezTo>
                  <a:cubicBezTo>
                    <a:pt x="384" y="867"/>
                    <a:pt x="323" y="856"/>
                    <a:pt x="267" y="836"/>
                  </a:cubicBezTo>
                  <a:cubicBezTo>
                    <a:pt x="209" y="814"/>
                    <a:pt x="161" y="786"/>
                    <a:pt x="123" y="748"/>
                  </a:cubicBezTo>
                  <a:cubicBezTo>
                    <a:pt x="84" y="709"/>
                    <a:pt x="53" y="664"/>
                    <a:pt x="31" y="609"/>
                  </a:cubicBezTo>
                  <a:cubicBezTo>
                    <a:pt x="12" y="556"/>
                    <a:pt x="0" y="495"/>
                    <a:pt x="0" y="431"/>
                  </a:cubicBezTo>
                  <a:cubicBezTo>
                    <a:pt x="0" y="367"/>
                    <a:pt x="12" y="309"/>
                    <a:pt x="31" y="256"/>
                  </a:cubicBezTo>
                  <a:cubicBezTo>
                    <a:pt x="53" y="203"/>
                    <a:pt x="84" y="159"/>
                    <a:pt x="123" y="120"/>
                  </a:cubicBezTo>
                  <a:cubicBezTo>
                    <a:pt x="161" y="84"/>
                    <a:pt x="209" y="53"/>
                    <a:pt x="261" y="31"/>
                  </a:cubicBezTo>
                  <a:cubicBezTo>
                    <a:pt x="314" y="12"/>
                    <a:pt x="375" y="0"/>
                    <a:pt x="442" y="0"/>
                  </a:cubicBezTo>
                  <a:cubicBezTo>
                    <a:pt x="509" y="0"/>
                    <a:pt x="573" y="12"/>
                    <a:pt x="628" y="31"/>
                  </a:cubicBezTo>
                  <a:cubicBezTo>
                    <a:pt x="681" y="53"/>
                    <a:pt x="728" y="84"/>
                    <a:pt x="767" y="125"/>
                  </a:cubicBezTo>
                  <a:cubicBezTo>
                    <a:pt x="806" y="164"/>
                    <a:pt x="834" y="217"/>
                    <a:pt x="850" y="278"/>
                  </a:cubicBezTo>
                  <a:cubicBezTo>
                    <a:pt x="867" y="342"/>
                    <a:pt x="873" y="414"/>
                    <a:pt x="864" y="498"/>
                  </a:cubicBezTo>
                  <a:lnTo>
                    <a:pt x="187" y="353"/>
                  </a:lnTo>
                  <a:lnTo>
                    <a:pt x="187" y="353"/>
                  </a:lnTo>
                  <a:cubicBezTo>
                    <a:pt x="695" y="353"/>
                    <a:pt x="695" y="353"/>
                    <a:pt x="695" y="353"/>
                  </a:cubicBezTo>
                  <a:cubicBezTo>
                    <a:pt x="689" y="287"/>
                    <a:pt x="664" y="236"/>
                    <a:pt x="620" y="203"/>
                  </a:cubicBezTo>
                  <a:cubicBezTo>
                    <a:pt x="575" y="170"/>
                    <a:pt x="517" y="153"/>
                    <a:pt x="448" y="153"/>
                  </a:cubicBezTo>
                  <a:cubicBezTo>
                    <a:pt x="381" y="153"/>
                    <a:pt x="325" y="170"/>
                    <a:pt x="278" y="203"/>
                  </a:cubicBezTo>
                  <a:cubicBezTo>
                    <a:pt x="231" y="236"/>
                    <a:pt x="200" y="287"/>
                    <a:pt x="187"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1" name="Freeform 8">
              <a:extLst>
                <a:ext uri="{FF2B5EF4-FFF2-40B4-BE49-F238E27FC236}">
                  <a16:creationId xmlns:a16="http://schemas.microsoft.com/office/drawing/2014/main" id="{6730F715-DAA9-4C4F-9015-64A34444B963}"/>
                </a:ext>
              </a:extLst>
            </p:cNvPr>
            <p:cNvSpPr>
              <a:spLocks noChangeArrowheads="1"/>
            </p:cNvSpPr>
            <p:nvPr userDrawn="1"/>
          </p:nvSpPr>
          <p:spPr bwMode="auto">
            <a:xfrm>
              <a:off x="4481513" y="3141663"/>
              <a:ext cx="227012" cy="303212"/>
            </a:xfrm>
            <a:custGeom>
              <a:avLst/>
              <a:gdLst>
                <a:gd name="T0" fmla="*/ 164 w 631"/>
                <a:gd name="T1" fmla="*/ 20 h 843"/>
                <a:gd name="T2" fmla="*/ 164 w 631"/>
                <a:gd name="T3" fmla="*/ 20 h 843"/>
                <a:gd name="T4" fmla="*/ 175 w 631"/>
                <a:gd name="T5" fmla="*/ 128 h 843"/>
                <a:gd name="T6" fmla="*/ 289 w 631"/>
                <a:gd name="T7" fmla="*/ 25 h 843"/>
                <a:gd name="T8" fmla="*/ 422 w 631"/>
                <a:gd name="T9" fmla="*/ 0 h 843"/>
                <a:gd name="T10" fmla="*/ 539 w 631"/>
                <a:gd name="T11" fmla="*/ 20 h 843"/>
                <a:gd name="T12" fmla="*/ 630 w 631"/>
                <a:gd name="T13" fmla="*/ 70 h 843"/>
                <a:gd name="T14" fmla="*/ 550 w 631"/>
                <a:gd name="T15" fmla="*/ 222 h 843"/>
                <a:gd name="T16" fmla="*/ 486 w 631"/>
                <a:gd name="T17" fmla="*/ 184 h 843"/>
                <a:gd name="T18" fmla="*/ 402 w 631"/>
                <a:gd name="T19" fmla="*/ 172 h 843"/>
                <a:gd name="T20" fmla="*/ 316 w 631"/>
                <a:gd name="T21" fmla="*/ 186 h 843"/>
                <a:gd name="T22" fmla="*/ 244 w 631"/>
                <a:gd name="T23" fmla="*/ 228 h 843"/>
                <a:gd name="T24" fmla="*/ 194 w 631"/>
                <a:gd name="T25" fmla="*/ 297 h 843"/>
                <a:gd name="T26" fmla="*/ 175 w 631"/>
                <a:gd name="T27" fmla="*/ 397 h 843"/>
                <a:gd name="T28" fmla="*/ 175 w 631"/>
                <a:gd name="T29" fmla="*/ 842 h 843"/>
                <a:gd name="T30" fmla="*/ 0 w 631"/>
                <a:gd name="T31" fmla="*/ 842 h 843"/>
                <a:gd name="T32" fmla="*/ 0 w 631"/>
                <a:gd name="T33" fmla="*/ 20 h 843"/>
                <a:gd name="T34" fmla="*/ 164 w 631"/>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1" h="843">
                  <a:moveTo>
                    <a:pt x="164" y="20"/>
                  </a:moveTo>
                  <a:lnTo>
                    <a:pt x="164" y="20"/>
                  </a:lnTo>
                  <a:cubicBezTo>
                    <a:pt x="175" y="128"/>
                    <a:pt x="175" y="128"/>
                    <a:pt x="175" y="128"/>
                  </a:cubicBezTo>
                  <a:cubicBezTo>
                    <a:pt x="205" y="75"/>
                    <a:pt x="244" y="42"/>
                    <a:pt x="289" y="25"/>
                  </a:cubicBezTo>
                  <a:cubicBezTo>
                    <a:pt x="333" y="9"/>
                    <a:pt x="378" y="0"/>
                    <a:pt x="422" y="0"/>
                  </a:cubicBezTo>
                  <a:cubicBezTo>
                    <a:pt x="464" y="0"/>
                    <a:pt x="502" y="9"/>
                    <a:pt x="539" y="20"/>
                  </a:cubicBezTo>
                  <a:cubicBezTo>
                    <a:pt x="577" y="34"/>
                    <a:pt x="608" y="50"/>
                    <a:pt x="630" y="70"/>
                  </a:cubicBezTo>
                  <a:cubicBezTo>
                    <a:pt x="550" y="222"/>
                    <a:pt x="550" y="222"/>
                    <a:pt x="550" y="222"/>
                  </a:cubicBezTo>
                  <a:cubicBezTo>
                    <a:pt x="530" y="206"/>
                    <a:pt x="508" y="192"/>
                    <a:pt x="486" y="184"/>
                  </a:cubicBezTo>
                  <a:cubicBezTo>
                    <a:pt x="464" y="175"/>
                    <a:pt x="436" y="172"/>
                    <a:pt x="402" y="172"/>
                  </a:cubicBezTo>
                  <a:cubicBezTo>
                    <a:pt x="372" y="172"/>
                    <a:pt x="341" y="175"/>
                    <a:pt x="316" y="186"/>
                  </a:cubicBezTo>
                  <a:cubicBezTo>
                    <a:pt x="289" y="195"/>
                    <a:pt x="264" y="209"/>
                    <a:pt x="244" y="228"/>
                  </a:cubicBezTo>
                  <a:cubicBezTo>
                    <a:pt x="222" y="245"/>
                    <a:pt x="205" y="270"/>
                    <a:pt x="194" y="297"/>
                  </a:cubicBezTo>
                  <a:cubicBezTo>
                    <a:pt x="180" y="325"/>
                    <a:pt x="175" y="359"/>
                    <a:pt x="175" y="397"/>
                  </a:cubicBezTo>
                  <a:cubicBezTo>
                    <a:pt x="175" y="842"/>
                    <a:pt x="175" y="842"/>
                    <a:pt x="175"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2" name="Freeform 9">
              <a:extLst>
                <a:ext uri="{FF2B5EF4-FFF2-40B4-BE49-F238E27FC236}">
                  <a16:creationId xmlns:a16="http://schemas.microsoft.com/office/drawing/2014/main" id="{597932D4-682B-CC44-977C-859F9F960C77}"/>
                </a:ext>
              </a:extLst>
            </p:cNvPr>
            <p:cNvSpPr>
              <a:spLocks noChangeArrowheads="1"/>
            </p:cNvSpPr>
            <p:nvPr userDrawn="1"/>
          </p:nvSpPr>
          <p:spPr bwMode="auto">
            <a:xfrm>
              <a:off x="4872038" y="3141663"/>
              <a:ext cx="314325" cy="312737"/>
            </a:xfrm>
            <a:custGeom>
              <a:avLst/>
              <a:gdLst>
                <a:gd name="T0" fmla="*/ 863 w 872"/>
                <a:gd name="T1" fmla="*/ 498 h 868"/>
                <a:gd name="T2" fmla="*/ 863 w 872"/>
                <a:gd name="T3" fmla="*/ 498 h 868"/>
                <a:gd name="T4" fmla="*/ 183 w 872"/>
                <a:gd name="T5" fmla="*/ 498 h 868"/>
                <a:gd name="T6" fmla="*/ 266 w 872"/>
                <a:gd name="T7" fmla="*/ 650 h 868"/>
                <a:gd name="T8" fmla="*/ 458 w 872"/>
                <a:gd name="T9" fmla="*/ 706 h 868"/>
                <a:gd name="T10" fmla="*/ 590 w 872"/>
                <a:gd name="T11" fmla="*/ 684 h 868"/>
                <a:gd name="T12" fmla="*/ 699 w 872"/>
                <a:gd name="T13" fmla="*/ 617 h 868"/>
                <a:gd name="T14" fmla="*/ 815 w 872"/>
                <a:gd name="T15" fmla="*/ 725 h 868"/>
                <a:gd name="T16" fmla="*/ 740 w 872"/>
                <a:gd name="T17" fmla="*/ 786 h 868"/>
                <a:gd name="T18" fmla="*/ 649 w 872"/>
                <a:gd name="T19" fmla="*/ 831 h 868"/>
                <a:gd name="T20" fmla="*/ 551 w 872"/>
                <a:gd name="T21" fmla="*/ 859 h 868"/>
                <a:gd name="T22" fmla="*/ 452 w 872"/>
                <a:gd name="T23" fmla="*/ 867 h 868"/>
                <a:gd name="T24" fmla="*/ 266 w 872"/>
                <a:gd name="T25" fmla="*/ 836 h 868"/>
                <a:gd name="T26" fmla="*/ 122 w 872"/>
                <a:gd name="T27" fmla="*/ 748 h 868"/>
                <a:gd name="T28" fmla="*/ 30 w 872"/>
                <a:gd name="T29" fmla="*/ 609 h 868"/>
                <a:gd name="T30" fmla="*/ 0 w 872"/>
                <a:gd name="T31" fmla="*/ 431 h 868"/>
                <a:gd name="T32" fmla="*/ 30 w 872"/>
                <a:gd name="T33" fmla="*/ 256 h 868"/>
                <a:gd name="T34" fmla="*/ 122 w 872"/>
                <a:gd name="T35" fmla="*/ 120 h 868"/>
                <a:gd name="T36" fmla="*/ 261 w 872"/>
                <a:gd name="T37" fmla="*/ 31 h 868"/>
                <a:gd name="T38" fmla="*/ 441 w 872"/>
                <a:gd name="T39" fmla="*/ 0 h 868"/>
                <a:gd name="T40" fmla="*/ 626 w 872"/>
                <a:gd name="T41" fmla="*/ 31 h 868"/>
                <a:gd name="T42" fmla="*/ 765 w 872"/>
                <a:gd name="T43" fmla="*/ 125 h 868"/>
                <a:gd name="T44" fmla="*/ 849 w 872"/>
                <a:gd name="T45" fmla="*/ 278 h 868"/>
                <a:gd name="T46" fmla="*/ 863 w 872"/>
                <a:gd name="T47" fmla="*/ 498 h 868"/>
                <a:gd name="T48" fmla="*/ 186 w 872"/>
                <a:gd name="T49" fmla="*/ 353 h 868"/>
                <a:gd name="T50" fmla="*/ 186 w 872"/>
                <a:gd name="T51" fmla="*/ 353 h 868"/>
                <a:gd name="T52" fmla="*/ 696 w 872"/>
                <a:gd name="T53" fmla="*/ 353 h 868"/>
                <a:gd name="T54" fmla="*/ 621 w 872"/>
                <a:gd name="T55" fmla="*/ 203 h 868"/>
                <a:gd name="T56" fmla="*/ 447 w 872"/>
                <a:gd name="T57" fmla="*/ 153 h 868"/>
                <a:gd name="T58" fmla="*/ 278 w 872"/>
                <a:gd name="T59" fmla="*/ 203 h 868"/>
                <a:gd name="T60" fmla="*/ 186 w 872"/>
                <a:gd name="T61" fmla="*/ 353 h 868"/>
                <a:gd name="T62" fmla="*/ 863 w 872"/>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2" h="868">
                  <a:moveTo>
                    <a:pt x="863" y="498"/>
                  </a:moveTo>
                  <a:lnTo>
                    <a:pt x="863" y="498"/>
                  </a:lnTo>
                  <a:cubicBezTo>
                    <a:pt x="183" y="498"/>
                    <a:pt x="183" y="498"/>
                    <a:pt x="183" y="498"/>
                  </a:cubicBezTo>
                  <a:cubicBezTo>
                    <a:pt x="189" y="562"/>
                    <a:pt x="219" y="611"/>
                    <a:pt x="266" y="650"/>
                  </a:cubicBezTo>
                  <a:cubicBezTo>
                    <a:pt x="316" y="686"/>
                    <a:pt x="380" y="706"/>
                    <a:pt x="458" y="706"/>
                  </a:cubicBezTo>
                  <a:cubicBezTo>
                    <a:pt x="499" y="706"/>
                    <a:pt x="543" y="698"/>
                    <a:pt x="590" y="684"/>
                  </a:cubicBezTo>
                  <a:cubicBezTo>
                    <a:pt x="638" y="667"/>
                    <a:pt x="674" y="645"/>
                    <a:pt x="699" y="617"/>
                  </a:cubicBezTo>
                  <a:cubicBezTo>
                    <a:pt x="815" y="725"/>
                    <a:pt x="815" y="725"/>
                    <a:pt x="815" y="725"/>
                  </a:cubicBezTo>
                  <a:cubicBezTo>
                    <a:pt x="793" y="750"/>
                    <a:pt x="768" y="770"/>
                    <a:pt x="740" y="786"/>
                  </a:cubicBezTo>
                  <a:cubicBezTo>
                    <a:pt x="710" y="806"/>
                    <a:pt x="682" y="820"/>
                    <a:pt x="649" y="831"/>
                  </a:cubicBezTo>
                  <a:cubicBezTo>
                    <a:pt x="618" y="845"/>
                    <a:pt x="585" y="853"/>
                    <a:pt x="551" y="859"/>
                  </a:cubicBezTo>
                  <a:cubicBezTo>
                    <a:pt x="518" y="864"/>
                    <a:pt x="485" y="867"/>
                    <a:pt x="452" y="867"/>
                  </a:cubicBezTo>
                  <a:cubicBezTo>
                    <a:pt x="383" y="867"/>
                    <a:pt x="322" y="856"/>
                    <a:pt x="266" y="836"/>
                  </a:cubicBezTo>
                  <a:cubicBezTo>
                    <a:pt x="211" y="814"/>
                    <a:pt x="161" y="786"/>
                    <a:pt x="122" y="748"/>
                  </a:cubicBezTo>
                  <a:cubicBezTo>
                    <a:pt x="83" y="709"/>
                    <a:pt x="53" y="664"/>
                    <a:pt x="30" y="609"/>
                  </a:cubicBezTo>
                  <a:cubicBezTo>
                    <a:pt x="11" y="556"/>
                    <a:pt x="0" y="495"/>
                    <a:pt x="0" y="431"/>
                  </a:cubicBezTo>
                  <a:cubicBezTo>
                    <a:pt x="0" y="367"/>
                    <a:pt x="11" y="309"/>
                    <a:pt x="30" y="256"/>
                  </a:cubicBezTo>
                  <a:cubicBezTo>
                    <a:pt x="53" y="203"/>
                    <a:pt x="83" y="159"/>
                    <a:pt x="122" y="120"/>
                  </a:cubicBezTo>
                  <a:cubicBezTo>
                    <a:pt x="161" y="84"/>
                    <a:pt x="208" y="53"/>
                    <a:pt x="261" y="31"/>
                  </a:cubicBezTo>
                  <a:cubicBezTo>
                    <a:pt x="316" y="12"/>
                    <a:pt x="375" y="0"/>
                    <a:pt x="441" y="0"/>
                  </a:cubicBezTo>
                  <a:cubicBezTo>
                    <a:pt x="510" y="0"/>
                    <a:pt x="571" y="12"/>
                    <a:pt x="626" y="31"/>
                  </a:cubicBezTo>
                  <a:cubicBezTo>
                    <a:pt x="682" y="53"/>
                    <a:pt x="726" y="84"/>
                    <a:pt x="765" y="125"/>
                  </a:cubicBezTo>
                  <a:cubicBezTo>
                    <a:pt x="804" y="164"/>
                    <a:pt x="832" y="217"/>
                    <a:pt x="849" y="278"/>
                  </a:cubicBezTo>
                  <a:cubicBezTo>
                    <a:pt x="868" y="342"/>
                    <a:pt x="871" y="414"/>
                    <a:pt x="863" y="498"/>
                  </a:cubicBezTo>
                  <a:lnTo>
                    <a:pt x="186" y="353"/>
                  </a:lnTo>
                  <a:lnTo>
                    <a:pt x="186" y="353"/>
                  </a:lnTo>
                  <a:cubicBezTo>
                    <a:pt x="696" y="353"/>
                    <a:pt x="696" y="353"/>
                    <a:pt x="696" y="353"/>
                  </a:cubicBezTo>
                  <a:cubicBezTo>
                    <a:pt x="690" y="287"/>
                    <a:pt x="663" y="236"/>
                    <a:pt x="621" y="203"/>
                  </a:cubicBezTo>
                  <a:cubicBezTo>
                    <a:pt x="577" y="170"/>
                    <a:pt x="518" y="153"/>
                    <a:pt x="447" y="153"/>
                  </a:cubicBezTo>
                  <a:cubicBezTo>
                    <a:pt x="380" y="153"/>
                    <a:pt x="325" y="170"/>
                    <a:pt x="278" y="203"/>
                  </a:cubicBezTo>
                  <a:cubicBezTo>
                    <a:pt x="230" y="236"/>
                    <a:pt x="200" y="287"/>
                    <a:pt x="186" y="353"/>
                  </a:cubicBezTo>
                  <a:lnTo>
                    <a:pt x="863"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3" name="Freeform 10">
              <a:extLst>
                <a:ext uri="{FF2B5EF4-FFF2-40B4-BE49-F238E27FC236}">
                  <a16:creationId xmlns:a16="http://schemas.microsoft.com/office/drawing/2014/main" id="{96065675-A273-F046-BBBD-BF5AD455AD2C}"/>
                </a:ext>
              </a:extLst>
            </p:cNvPr>
            <p:cNvSpPr>
              <a:spLocks noChangeArrowheads="1"/>
            </p:cNvSpPr>
            <p:nvPr userDrawn="1"/>
          </p:nvSpPr>
          <p:spPr bwMode="auto">
            <a:xfrm>
              <a:off x="5205413" y="3149600"/>
              <a:ext cx="301625" cy="296863"/>
            </a:xfrm>
            <a:custGeom>
              <a:avLst/>
              <a:gdLst>
                <a:gd name="T0" fmla="*/ 606 w 837"/>
                <a:gd name="T1" fmla="*/ 0 h 823"/>
                <a:gd name="T2" fmla="*/ 820 w 837"/>
                <a:gd name="T3" fmla="*/ 0 h 823"/>
                <a:gd name="T4" fmla="*/ 820 w 837"/>
                <a:gd name="T5" fmla="*/ 5 h 823"/>
                <a:gd name="T6" fmla="*/ 536 w 837"/>
                <a:gd name="T7" fmla="*/ 402 h 823"/>
                <a:gd name="T8" fmla="*/ 836 w 837"/>
                <a:gd name="T9" fmla="*/ 819 h 823"/>
                <a:gd name="T10" fmla="*/ 836 w 837"/>
                <a:gd name="T11" fmla="*/ 822 h 823"/>
                <a:gd name="T12" fmla="*/ 625 w 837"/>
                <a:gd name="T13" fmla="*/ 822 h 823"/>
                <a:gd name="T14" fmla="*/ 420 w 837"/>
                <a:gd name="T15" fmla="*/ 525 h 823"/>
                <a:gd name="T16" fmla="*/ 212 w 837"/>
                <a:gd name="T17" fmla="*/ 822 h 823"/>
                <a:gd name="T18" fmla="*/ 0 w 837"/>
                <a:gd name="T19" fmla="*/ 822 h 823"/>
                <a:gd name="T20" fmla="*/ 0 w 837"/>
                <a:gd name="T21" fmla="*/ 819 h 823"/>
                <a:gd name="T22" fmla="*/ 303 w 837"/>
                <a:gd name="T23" fmla="*/ 402 h 823"/>
                <a:gd name="T24" fmla="*/ 20 w 837"/>
                <a:gd name="T25" fmla="*/ 5 h 823"/>
                <a:gd name="T26" fmla="*/ 20 w 837"/>
                <a:gd name="T27" fmla="*/ 0 h 823"/>
                <a:gd name="T28" fmla="*/ 231 w 837"/>
                <a:gd name="T29" fmla="*/ 0 h 823"/>
                <a:gd name="T30" fmla="*/ 420 w 837"/>
                <a:gd name="T31" fmla="*/ 294 h 823"/>
                <a:gd name="T32" fmla="*/ 606 w 837"/>
                <a:gd name="T33"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7" h="823">
                  <a:moveTo>
                    <a:pt x="606" y="0"/>
                  </a:moveTo>
                  <a:lnTo>
                    <a:pt x="820" y="0"/>
                  </a:lnTo>
                  <a:lnTo>
                    <a:pt x="820" y="5"/>
                  </a:lnTo>
                  <a:lnTo>
                    <a:pt x="536" y="402"/>
                  </a:lnTo>
                  <a:lnTo>
                    <a:pt x="836" y="819"/>
                  </a:lnTo>
                  <a:lnTo>
                    <a:pt x="836" y="822"/>
                  </a:lnTo>
                  <a:lnTo>
                    <a:pt x="625" y="822"/>
                  </a:lnTo>
                  <a:lnTo>
                    <a:pt x="420" y="525"/>
                  </a:lnTo>
                  <a:lnTo>
                    <a:pt x="212" y="822"/>
                  </a:lnTo>
                  <a:lnTo>
                    <a:pt x="0" y="822"/>
                  </a:lnTo>
                  <a:lnTo>
                    <a:pt x="0" y="819"/>
                  </a:lnTo>
                  <a:lnTo>
                    <a:pt x="303" y="402"/>
                  </a:lnTo>
                  <a:lnTo>
                    <a:pt x="20" y="5"/>
                  </a:lnTo>
                  <a:lnTo>
                    <a:pt x="20" y="0"/>
                  </a:lnTo>
                  <a:lnTo>
                    <a:pt x="231" y="0"/>
                  </a:lnTo>
                  <a:lnTo>
                    <a:pt x="420" y="294"/>
                  </a:lnTo>
                  <a:lnTo>
                    <a:pt x="60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4" name="Freeform 11">
              <a:extLst>
                <a:ext uri="{FF2B5EF4-FFF2-40B4-BE49-F238E27FC236}">
                  <a16:creationId xmlns:a16="http://schemas.microsoft.com/office/drawing/2014/main" id="{CFBF11F7-13DF-164C-9B41-A5A9A575E6B7}"/>
                </a:ext>
              </a:extLst>
            </p:cNvPr>
            <p:cNvSpPr>
              <a:spLocks noChangeArrowheads="1"/>
            </p:cNvSpPr>
            <p:nvPr userDrawn="1"/>
          </p:nvSpPr>
          <p:spPr bwMode="auto">
            <a:xfrm>
              <a:off x="5557838" y="3143250"/>
              <a:ext cx="323850" cy="439738"/>
            </a:xfrm>
            <a:custGeom>
              <a:avLst/>
              <a:gdLst>
                <a:gd name="T0" fmla="*/ 0 w 898"/>
                <a:gd name="T1" fmla="*/ 1221 h 1222"/>
                <a:gd name="T2" fmla="*/ 0 w 898"/>
                <a:gd name="T3" fmla="*/ 1221 h 1222"/>
                <a:gd name="T4" fmla="*/ 0 w 898"/>
                <a:gd name="T5" fmla="*/ 17 h 1222"/>
                <a:gd name="T6" fmla="*/ 164 w 898"/>
                <a:gd name="T7" fmla="*/ 17 h 1222"/>
                <a:gd name="T8" fmla="*/ 175 w 898"/>
                <a:gd name="T9" fmla="*/ 150 h 1222"/>
                <a:gd name="T10" fmla="*/ 306 w 898"/>
                <a:gd name="T11" fmla="*/ 36 h 1222"/>
                <a:gd name="T12" fmla="*/ 472 w 898"/>
                <a:gd name="T13" fmla="*/ 0 h 1222"/>
                <a:gd name="T14" fmla="*/ 645 w 898"/>
                <a:gd name="T15" fmla="*/ 33 h 1222"/>
                <a:gd name="T16" fmla="*/ 781 w 898"/>
                <a:gd name="T17" fmla="*/ 122 h 1222"/>
                <a:gd name="T18" fmla="*/ 867 w 898"/>
                <a:gd name="T19" fmla="*/ 256 h 1222"/>
                <a:gd name="T20" fmla="*/ 897 w 898"/>
                <a:gd name="T21" fmla="*/ 428 h 1222"/>
                <a:gd name="T22" fmla="*/ 867 w 898"/>
                <a:gd name="T23" fmla="*/ 600 h 1222"/>
                <a:gd name="T24" fmla="*/ 783 w 898"/>
                <a:gd name="T25" fmla="*/ 736 h 1222"/>
                <a:gd name="T26" fmla="*/ 650 w 898"/>
                <a:gd name="T27" fmla="*/ 828 h 1222"/>
                <a:gd name="T28" fmla="*/ 472 w 898"/>
                <a:gd name="T29" fmla="*/ 858 h 1222"/>
                <a:gd name="T30" fmla="*/ 392 w 898"/>
                <a:gd name="T31" fmla="*/ 850 h 1222"/>
                <a:gd name="T32" fmla="*/ 308 w 898"/>
                <a:gd name="T33" fmla="*/ 828 h 1222"/>
                <a:gd name="T34" fmla="*/ 233 w 898"/>
                <a:gd name="T35" fmla="*/ 786 h 1222"/>
                <a:gd name="T36" fmla="*/ 175 w 898"/>
                <a:gd name="T37" fmla="*/ 719 h 1222"/>
                <a:gd name="T38" fmla="*/ 175 w 898"/>
                <a:gd name="T39" fmla="*/ 1221 h 1222"/>
                <a:gd name="T40" fmla="*/ 0 w 898"/>
                <a:gd name="T41" fmla="*/ 1221 h 1222"/>
                <a:gd name="T42" fmla="*/ 456 w 898"/>
                <a:gd name="T43" fmla="*/ 692 h 1222"/>
                <a:gd name="T44" fmla="*/ 456 w 898"/>
                <a:gd name="T45" fmla="*/ 692 h 1222"/>
                <a:gd name="T46" fmla="*/ 561 w 898"/>
                <a:gd name="T47" fmla="*/ 672 h 1222"/>
                <a:gd name="T48" fmla="*/ 647 w 898"/>
                <a:gd name="T49" fmla="*/ 617 h 1222"/>
                <a:gd name="T50" fmla="*/ 703 w 898"/>
                <a:gd name="T51" fmla="*/ 536 h 1222"/>
                <a:gd name="T52" fmla="*/ 722 w 898"/>
                <a:gd name="T53" fmla="*/ 428 h 1222"/>
                <a:gd name="T54" fmla="*/ 650 w 898"/>
                <a:gd name="T55" fmla="*/ 239 h 1222"/>
                <a:gd name="T56" fmla="*/ 456 w 898"/>
                <a:gd name="T57" fmla="*/ 167 h 1222"/>
                <a:gd name="T58" fmla="*/ 345 w 898"/>
                <a:gd name="T59" fmla="*/ 186 h 1222"/>
                <a:gd name="T60" fmla="*/ 261 w 898"/>
                <a:gd name="T61" fmla="*/ 242 h 1222"/>
                <a:gd name="T62" fmla="*/ 208 w 898"/>
                <a:gd name="T63" fmla="*/ 325 h 1222"/>
                <a:gd name="T64" fmla="*/ 192 w 898"/>
                <a:gd name="T65" fmla="*/ 428 h 1222"/>
                <a:gd name="T66" fmla="*/ 211 w 898"/>
                <a:gd name="T67" fmla="*/ 530 h 1222"/>
                <a:gd name="T68" fmla="*/ 264 w 898"/>
                <a:gd name="T69" fmla="*/ 617 h 1222"/>
                <a:gd name="T70" fmla="*/ 347 w 898"/>
                <a:gd name="T71" fmla="*/ 672 h 1222"/>
                <a:gd name="T72" fmla="*/ 456 w 898"/>
                <a:gd name="T73" fmla="*/ 69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8" h="1222">
                  <a:moveTo>
                    <a:pt x="0" y="1221"/>
                  </a:moveTo>
                  <a:lnTo>
                    <a:pt x="0" y="1221"/>
                  </a:lnTo>
                  <a:cubicBezTo>
                    <a:pt x="0" y="17"/>
                    <a:pt x="0" y="17"/>
                    <a:pt x="0" y="17"/>
                  </a:cubicBezTo>
                  <a:cubicBezTo>
                    <a:pt x="164" y="17"/>
                    <a:pt x="164" y="17"/>
                    <a:pt x="164" y="17"/>
                  </a:cubicBezTo>
                  <a:cubicBezTo>
                    <a:pt x="175" y="150"/>
                    <a:pt x="175" y="150"/>
                    <a:pt x="175" y="150"/>
                  </a:cubicBezTo>
                  <a:cubicBezTo>
                    <a:pt x="208" y="100"/>
                    <a:pt x="253" y="61"/>
                    <a:pt x="306" y="36"/>
                  </a:cubicBezTo>
                  <a:cubicBezTo>
                    <a:pt x="361" y="11"/>
                    <a:pt x="417" y="0"/>
                    <a:pt x="472" y="0"/>
                  </a:cubicBezTo>
                  <a:cubicBezTo>
                    <a:pt x="536" y="0"/>
                    <a:pt x="592" y="11"/>
                    <a:pt x="645" y="33"/>
                  </a:cubicBezTo>
                  <a:cubicBezTo>
                    <a:pt x="697" y="53"/>
                    <a:pt x="742" y="83"/>
                    <a:pt x="781" y="122"/>
                  </a:cubicBezTo>
                  <a:cubicBezTo>
                    <a:pt x="817" y="158"/>
                    <a:pt x="847" y="206"/>
                    <a:pt x="867" y="256"/>
                  </a:cubicBezTo>
                  <a:cubicBezTo>
                    <a:pt x="886" y="308"/>
                    <a:pt x="897" y="367"/>
                    <a:pt x="897" y="428"/>
                  </a:cubicBezTo>
                  <a:cubicBezTo>
                    <a:pt x="897" y="492"/>
                    <a:pt x="886" y="550"/>
                    <a:pt x="867" y="600"/>
                  </a:cubicBezTo>
                  <a:cubicBezTo>
                    <a:pt x="847" y="653"/>
                    <a:pt x="820" y="700"/>
                    <a:pt x="783" y="736"/>
                  </a:cubicBezTo>
                  <a:cubicBezTo>
                    <a:pt x="747" y="775"/>
                    <a:pt x="703" y="805"/>
                    <a:pt x="650" y="828"/>
                  </a:cubicBezTo>
                  <a:cubicBezTo>
                    <a:pt x="597" y="847"/>
                    <a:pt x="536" y="858"/>
                    <a:pt x="472" y="858"/>
                  </a:cubicBezTo>
                  <a:cubicBezTo>
                    <a:pt x="447" y="858"/>
                    <a:pt x="420" y="856"/>
                    <a:pt x="392" y="850"/>
                  </a:cubicBezTo>
                  <a:cubicBezTo>
                    <a:pt x="364" y="847"/>
                    <a:pt x="336" y="839"/>
                    <a:pt x="308" y="828"/>
                  </a:cubicBezTo>
                  <a:cubicBezTo>
                    <a:pt x="283" y="817"/>
                    <a:pt x="258" y="803"/>
                    <a:pt x="233" y="786"/>
                  </a:cubicBezTo>
                  <a:cubicBezTo>
                    <a:pt x="211" y="767"/>
                    <a:pt x="192" y="744"/>
                    <a:pt x="175" y="719"/>
                  </a:cubicBezTo>
                  <a:cubicBezTo>
                    <a:pt x="175" y="1221"/>
                    <a:pt x="175" y="1221"/>
                    <a:pt x="175" y="1221"/>
                  </a:cubicBezTo>
                  <a:lnTo>
                    <a:pt x="0" y="1221"/>
                  </a:lnTo>
                  <a:close/>
                  <a:moveTo>
                    <a:pt x="456" y="692"/>
                  </a:moveTo>
                  <a:lnTo>
                    <a:pt x="456" y="692"/>
                  </a:lnTo>
                  <a:cubicBezTo>
                    <a:pt x="495" y="692"/>
                    <a:pt x="531" y="686"/>
                    <a:pt x="561" y="672"/>
                  </a:cubicBezTo>
                  <a:cubicBezTo>
                    <a:pt x="595" y="658"/>
                    <a:pt x="622" y="642"/>
                    <a:pt x="647" y="617"/>
                  </a:cubicBezTo>
                  <a:cubicBezTo>
                    <a:pt x="669" y="594"/>
                    <a:pt x="689" y="567"/>
                    <a:pt x="703" y="536"/>
                  </a:cubicBezTo>
                  <a:cubicBezTo>
                    <a:pt x="714" y="503"/>
                    <a:pt x="722" y="467"/>
                    <a:pt x="722" y="428"/>
                  </a:cubicBezTo>
                  <a:cubicBezTo>
                    <a:pt x="722" y="350"/>
                    <a:pt x="697" y="289"/>
                    <a:pt x="650" y="239"/>
                  </a:cubicBezTo>
                  <a:cubicBezTo>
                    <a:pt x="600" y="192"/>
                    <a:pt x="536" y="167"/>
                    <a:pt x="456" y="167"/>
                  </a:cubicBezTo>
                  <a:cubicBezTo>
                    <a:pt x="414" y="167"/>
                    <a:pt x="378" y="172"/>
                    <a:pt x="345" y="186"/>
                  </a:cubicBezTo>
                  <a:cubicBezTo>
                    <a:pt x="314" y="200"/>
                    <a:pt x="286" y="219"/>
                    <a:pt x="261" y="242"/>
                  </a:cubicBezTo>
                  <a:cubicBezTo>
                    <a:pt x="239" y="267"/>
                    <a:pt x="222" y="294"/>
                    <a:pt x="208" y="325"/>
                  </a:cubicBezTo>
                  <a:cubicBezTo>
                    <a:pt x="197" y="358"/>
                    <a:pt x="192" y="392"/>
                    <a:pt x="192" y="428"/>
                  </a:cubicBezTo>
                  <a:cubicBezTo>
                    <a:pt x="192" y="467"/>
                    <a:pt x="197" y="500"/>
                    <a:pt x="211" y="530"/>
                  </a:cubicBezTo>
                  <a:cubicBezTo>
                    <a:pt x="222" y="564"/>
                    <a:pt x="242" y="592"/>
                    <a:pt x="264" y="617"/>
                  </a:cubicBezTo>
                  <a:cubicBezTo>
                    <a:pt x="289" y="639"/>
                    <a:pt x="317" y="658"/>
                    <a:pt x="347" y="672"/>
                  </a:cubicBezTo>
                  <a:cubicBezTo>
                    <a:pt x="381" y="683"/>
                    <a:pt x="417" y="692"/>
                    <a:pt x="456" y="692"/>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5" name="Freeform 12">
              <a:extLst>
                <a:ext uri="{FF2B5EF4-FFF2-40B4-BE49-F238E27FC236}">
                  <a16:creationId xmlns:a16="http://schemas.microsoft.com/office/drawing/2014/main" id="{F56C2BA7-15B0-DA44-BEC3-24CC829F81BF}"/>
                </a:ext>
              </a:extLst>
            </p:cNvPr>
            <p:cNvSpPr>
              <a:spLocks noChangeArrowheads="1"/>
            </p:cNvSpPr>
            <p:nvPr userDrawn="1"/>
          </p:nvSpPr>
          <p:spPr bwMode="auto">
            <a:xfrm>
              <a:off x="5929313" y="3141663"/>
              <a:ext cx="315912" cy="312737"/>
            </a:xfrm>
            <a:custGeom>
              <a:avLst/>
              <a:gdLst>
                <a:gd name="T0" fmla="*/ 867 w 876"/>
                <a:gd name="T1" fmla="*/ 498 h 868"/>
                <a:gd name="T2" fmla="*/ 867 w 876"/>
                <a:gd name="T3" fmla="*/ 498 h 868"/>
                <a:gd name="T4" fmla="*/ 184 w 876"/>
                <a:gd name="T5" fmla="*/ 498 h 868"/>
                <a:gd name="T6" fmla="*/ 270 w 876"/>
                <a:gd name="T7" fmla="*/ 650 h 868"/>
                <a:gd name="T8" fmla="*/ 459 w 876"/>
                <a:gd name="T9" fmla="*/ 706 h 868"/>
                <a:gd name="T10" fmla="*/ 595 w 876"/>
                <a:gd name="T11" fmla="*/ 684 h 868"/>
                <a:gd name="T12" fmla="*/ 703 w 876"/>
                <a:gd name="T13" fmla="*/ 617 h 868"/>
                <a:gd name="T14" fmla="*/ 817 w 876"/>
                <a:gd name="T15" fmla="*/ 725 h 868"/>
                <a:gd name="T16" fmla="*/ 742 w 876"/>
                <a:gd name="T17" fmla="*/ 786 h 868"/>
                <a:gd name="T18" fmla="*/ 653 w 876"/>
                <a:gd name="T19" fmla="*/ 831 h 868"/>
                <a:gd name="T20" fmla="*/ 553 w 876"/>
                <a:gd name="T21" fmla="*/ 859 h 868"/>
                <a:gd name="T22" fmla="*/ 456 w 876"/>
                <a:gd name="T23" fmla="*/ 867 h 868"/>
                <a:gd name="T24" fmla="*/ 267 w 876"/>
                <a:gd name="T25" fmla="*/ 836 h 868"/>
                <a:gd name="T26" fmla="*/ 125 w 876"/>
                <a:gd name="T27" fmla="*/ 748 h 868"/>
                <a:gd name="T28" fmla="*/ 34 w 876"/>
                <a:gd name="T29" fmla="*/ 609 h 868"/>
                <a:gd name="T30" fmla="*/ 0 w 876"/>
                <a:gd name="T31" fmla="*/ 431 h 868"/>
                <a:gd name="T32" fmla="*/ 34 w 876"/>
                <a:gd name="T33" fmla="*/ 256 h 868"/>
                <a:gd name="T34" fmla="*/ 125 w 876"/>
                <a:gd name="T35" fmla="*/ 120 h 868"/>
                <a:gd name="T36" fmla="*/ 264 w 876"/>
                <a:gd name="T37" fmla="*/ 31 h 868"/>
                <a:gd name="T38" fmla="*/ 442 w 876"/>
                <a:gd name="T39" fmla="*/ 0 h 868"/>
                <a:gd name="T40" fmla="*/ 628 w 876"/>
                <a:gd name="T41" fmla="*/ 31 h 868"/>
                <a:gd name="T42" fmla="*/ 770 w 876"/>
                <a:gd name="T43" fmla="*/ 125 h 868"/>
                <a:gd name="T44" fmla="*/ 853 w 876"/>
                <a:gd name="T45" fmla="*/ 278 h 868"/>
                <a:gd name="T46" fmla="*/ 867 w 876"/>
                <a:gd name="T47" fmla="*/ 498 h 868"/>
                <a:gd name="T48" fmla="*/ 186 w 876"/>
                <a:gd name="T49" fmla="*/ 353 h 868"/>
                <a:gd name="T50" fmla="*/ 186 w 876"/>
                <a:gd name="T51" fmla="*/ 353 h 868"/>
                <a:gd name="T52" fmla="*/ 698 w 876"/>
                <a:gd name="T53" fmla="*/ 353 h 868"/>
                <a:gd name="T54" fmla="*/ 623 w 876"/>
                <a:gd name="T55" fmla="*/ 203 h 868"/>
                <a:gd name="T56" fmla="*/ 448 w 876"/>
                <a:gd name="T57" fmla="*/ 153 h 868"/>
                <a:gd name="T58" fmla="*/ 278 w 876"/>
                <a:gd name="T59" fmla="*/ 203 h 868"/>
                <a:gd name="T60" fmla="*/ 186 w 876"/>
                <a:gd name="T61" fmla="*/ 353 h 868"/>
                <a:gd name="T62" fmla="*/ 867 w 876"/>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8">
                  <a:moveTo>
                    <a:pt x="867" y="498"/>
                  </a:moveTo>
                  <a:lnTo>
                    <a:pt x="867" y="498"/>
                  </a:lnTo>
                  <a:cubicBezTo>
                    <a:pt x="184" y="498"/>
                    <a:pt x="184" y="498"/>
                    <a:pt x="184" y="498"/>
                  </a:cubicBezTo>
                  <a:cubicBezTo>
                    <a:pt x="192" y="562"/>
                    <a:pt x="220" y="611"/>
                    <a:pt x="270" y="650"/>
                  </a:cubicBezTo>
                  <a:cubicBezTo>
                    <a:pt x="317" y="686"/>
                    <a:pt x="381" y="706"/>
                    <a:pt x="459" y="706"/>
                  </a:cubicBezTo>
                  <a:cubicBezTo>
                    <a:pt x="503" y="706"/>
                    <a:pt x="547" y="698"/>
                    <a:pt x="595" y="684"/>
                  </a:cubicBezTo>
                  <a:cubicBezTo>
                    <a:pt x="639" y="667"/>
                    <a:pt x="675" y="645"/>
                    <a:pt x="703" y="617"/>
                  </a:cubicBezTo>
                  <a:cubicBezTo>
                    <a:pt x="817" y="725"/>
                    <a:pt x="817" y="725"/>
                    <a:pt x="817" y="725"/>
                  </a:cubicBezTo>
                  <a:cubicBezTo>
                    <a:pt x="795" y="750"/>
                    <a:pt x="770" y="770"/>
                    <a:pt x="742" y="786"/>
                  </a:cubicBezTo>
                  <a:cubicBezTo>
                    <a:pt x="714" y="806"/>
                    <a:pt x="684" y="820"/>
                    <a:pt x="653" y="831"/>
                  </a:cubicBezTo>
                  <a:cubicBezTo>
                    <a:pt x="620" y="845"/>
                    <a:pt x="589" y="853"/>
                    <a:pt x="553" y="859"/>
                  </a:cubicBezTo>
                  <a:cubicBezTo>
                    <a:pt x="520" y="864"/>
                    <a:pt x="486" y="867"/>
                    <a:pt x="456" y="867"/>
                  </a:cubicBezTo>
                  <a:cubicBezTo>
                    <a:pt x="386" y="867"/>
                    <a:pt x="323" y="856"/>
                    <a:pt x="267" y="836"/>
                  </a:cubicBezTo>
                  <a:cubicBezTo>
                    <a:pt x="211" y="814"/>
                    <a:pt x="164" y="786"/>
                    <a:pt x="125" y="748"/>
                  </a:cubicBezTo>
                  <a:cubicBezTo>
                    <a:pt x="86" y="709"/>
                    <a:pt x="56" y="664"/>
                    <a:pt x="34" y="609"/>
                  </a:cubicBezTo>
                  <a:cubicBezTo>
                    <a:pt x="11" y="556"/>
                    <a:pt x="0" y="495"/>
                    <a:pt x="0" y="431"/>
                  </a:cubicBezTo>
                  <a:cubicBezTo>
                    <a:pt x="0" y="367"/>
                    <a:pt x="11" y="309"/>
                    <a:pt x="34" y="256"/>
                  </a:cubicBezTo>
                  <a:cubicBezTo>
                    <a:pt x="56" y="203"/>
                    <a:pt x="86" y="159"/>
                    <a:pt x="125" y="120"/>
                  </a:cubicBezTo>
                  <a:cubicBezTo>
                    <a:pt x="161" y="84"/>
                    <a:pt x="209" y="53"/>
                    <a:pt x="264" y="31"/>
                  </a:cubicBezTo>
                  <a:cubicBezTo>
                    <a:pt x="317" y="12"/>
                    <a:pt x="378" y="0"/>
                    <a:pt x="442" y="0"/>
                  </a:cubicBezTo>
                  <a:cubicBezTo>
                    <a:pt x="511" y="0"/>
                    <a:pt x="573" y="12"/>
                    <a:pt x="628" y="31"/>
                  </a:cubicBezTo>
                  <a:cubicBezTo>
                    <a:pt x="684" y="53"/>
                    <a:pt x="731" y="84"/>
                    <a:pt x="770" y="125"/>
                  </a:cubicBezTo>
                  <a:cubicBezTo>
                    <a:pt x="806" y="164"/>
                    <a:pt x="834" y="217"/>
                    <a:pt x="853" y="278"/>
                  </a:cubicBezTo>
                  <a:cubicBezTo>
                    <a:pt x="870" y="342"/>
                    <a:pt x="875" y="414"/>
                    <a:pt x="867" y="498"/>
                  </a:cubicBezTo>
                  <a:lnTo>
                    <a:pt x="186" y="353"/>
                  </a:lnTo>
                  <a:lnTo>
                    <a:pt x="186" y="353"/>
                  </a:lnTo>
                  <a:cubicBezTo>
                    <a:pt x="698" y="353"/>
                    <a:pt x="698" y="353"/>
                    <a:pt x="698" y="353"/>
                  </a:cubicBezTo>
                  <a:cubicBezTo>
                    <a:pt x="692" y="287"/>
                    <a:pt x="667" y="236"/>
                    <a:pt x="623" y="203"/>
                  </a:cubicBezTo>
                  <a:cubicBezTo>
                    <a:pt x="578" y="170"/>
                    <a:pt x="520" y="153"/>
                    <a:pt x="448" y="153"/>
                  </a:cubicBezTo>
                  <a:cubicBezTo>
                    <a:pt x="384" y="153"/>
                    <a:pt x="328" y="170"/>
                    <a:pt x="278" y="203"/>
                  </a:cubicBezTo>
                  <a:cubicBezTo>
                    <a:pt x="231" y="236"/>
                    <a:pt x="200" y="287"/>
                    <a:pt x="186" y="353"/>
                  </a:cubicBezTo>
                  <a:lnTo>
                    <a:pt x="867"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6" name="Freeform 13">
              <a:extLst>
                <a:ext uri="{FF2B5EF4-FFF2-40B4-BE49-F238E27FC236}">
                  <a16:creationId xmlns:a16="http://schemas.microsoft.com/office/drawing/2014/main" id="{B56F7B07-2A5C-5740-9E94-CE949459735B}"/>
                </a:ext>
              </a:extLst>
            </p:cNvPr>
            <p:cNvSpPr>
              <a:spLocks noChangeArrowheads="1"/>
            </p:cNvSpPr>
            <p:nvPr userDrawn="1"/>
          </p:nvSpPr>
          <p:spPr bwMode="auto">
            <a:xfrm>
              <a:off x="6305550" y="3141663"/>
              <a:ext cx="228600" cy="303212"/>
            </a:xfrm>
            <a:custGeom>
              <a:avLst/>
              <a:gdLst>
                <a:gd name="T0" fmla="*/ 164 w 634"/>
                <a:gd name="T1" fmla="*/ 20 h 843"/>
                <a:gd name="T2" fmla="*/ 164 w 634"/>
                <a:gd name="T3" fmla="*/ 20 h 843"/>
                <a:gd name="T4" fmla="*/ 177 w 634"/>
                <a:gd name="T5" fmla="*/ 128 h 843"/>
                <a:gd name="T6" fmla="*/ 289 w 634"/>
                <a:gd name="T7" fmla="*/ 25 h 843"/>
                <a:gd name="T8" fmla="*/ 425 w 634"/>
                <a:gd name="T9" fmla="*/ 0 h 843"/>
                <a:gd name="T10" fmla="*/ 541 w 634"/>
                <a:gd name="T11" fmla="*/ 20 h 843"/>
                <a:gd name="T12" fmla="*/ 633 w 634"/>
                <a:gd name="T13" fmla="*/ 70 h 843"/>
                <a:gd name="T14" fmla="*/ 552 w 634"/>
                <a:gd name="T15" fmla="*/ 222 h 843"/>
                <a:gd name="T16" fmla="*/ 486 w 634"/>
                <a:gd name="T17" fmla="*/ 184 h 843"/>
                <a:gd name="T18" fmla="*/ 405 w 634"/>
                <a:gd name="T19" fmla="*/ 172 h 843"/>
                <a:gd name="T20" fmla="*/ 316 w 634"/>
                <a:gd name="T21" fmla="*/ 186 h 843"/>
                <a:gd name="T22" fmla="*/ 244 w 634"/>
                <a:gd name="T23" fmla="*/ 228 h 843"/>
                <a:gd name="T24" fmla="*/ 197 w 634"/>
                <a:gd name="T25" fmla="*/ 297 h 843"/>
                <a:gd name="T26" fmla="*/ 177 w 634"/>
                <a:gd name="T27" fmla="*/ 397 h 843"/>
                <a:gd name="T28" fmla="*/ 177 w 634"/>
                <a:gd name="T29" fmla="*/ 842 h 843"/>
                <a:gd name="T30" fmla="*/ 0 w 634"/>
                <a:gd name="T31" fmla="*/ 842 h 843"/>
                <a:gd name="T32" fmla="*/ 0 w 634"/>
                <a:gd name="T33" fmla="*/ 20 h 843"/>
                <a:gd name="T34" fmla="*/ 164 w 634"/>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4" h="843">
                  <a:moveTo>
                    <a:pt x="164" y="20"/>
                  </a:moveTo>
                  <a:lnTo>
                    <a:pt x="164" y="20"/>
                  </a:lnTo>
                  <a:cubicBezTo>
                    <a:pt x="177" y="128"/>
                    <a:pt x="177" y="128"/>
                    <a:pt x="177" y="128"/>
                  </a:cubicBezTo>
                  <a:cubicBezTo>
                    <a:pt x="208" y="75"/>
                    <a:pt x="244" y="42"/>
                    <a:pt x="289" y="25"/>
                  </a:cubicBezTo>
                  <a:cubicBezTo>
                    <a:pt x="333" y="9"/>
                    <a:pt x="380" y="0"/>
                    <a:pt x="425" y="0"/>
                  </a:cubicBezTo>
                  <a:cubicBezTo>
                    <a:pt x="466" y="0"/>
                    <a:pt x="505" y="9"/>
                    <a:pt x="541" y="20"/>
                  </a:cubicBezTo>
                  <a:cubicBezTo>
                    <a:pt x="577" y="34"/>
                    <a:pt x="608" y="50"/>
                    <a:pt x="633" y="70"/>
                  </a:cubicBezTo>
                  <a:cubicBezTo>
                    <a:pt x="552" y="222"/>
                    <a:pt x="552" y="222"/>
                    <a:pt x="552" y="222"/>
                  </a:cubicBezTo>
                  <a:cubicBezTo>
                    <a:pt x="530" y="206"/>
                    <a:pt x="508" y="192"/>
                    <a:pt x="486" y="184"/>
                  </a:cubicBezTo>
                  <a:cubicBezTo>
                    <a:pt x="464" y="175"/>
                    <a:pt x="436" y="172"/>
                    <a:pt x="405" y="172"/>
                  </a:cubicBezTo>
                  <a:cubicBezTo>
                    <a:pt x="372" y="172"/>
                    <a:pt x="344" y="175"/>
                    <a:pt x="316" y="186"/>
                  </a:cubicBezTo>
                  <a:cubicBezTo>
                    <a:pt x="289" y="195"/>
                    <a:pt x="266" y="209"/>
                    <a:pt x="244" y="228"/>
                  </a:cubicBezTo>
                  <a:cubicBezTo>
                    <a:pt x="225" y="245"/>
                    <a:pt x="208" y="270"/>
                    <a:pt x="197" y="297"/>
                  </a:cubicBezTo>
                  <a:cubicBezTo>
                    <a:pt x="183" y="325"/>
                    <a:pt x="177" y="359"/>
                    <a:pt x="177" y="397"/>
                  </a:cubicBezTo>
                  <a:cubicBezTo>
                    <a:pt x="177" y="842"/>
                    <a:pt x="177" y="842"/>
                    <a:pt x="177" y="842"/>
                  </a:cubicBezTo>
                  <a:cubicBezTo>
                    <a:pt x="0" y="842"/>
                    <a:pt x="0" y="842"/>
                    <a:pt x="0" y="842"/>
                  </a:cubicBezTo>
                  <a:cubicBezTo>
                    <a:pt x="0" y="20"/>
                    <a:pt x="0" y="20"/>
                    <a:pt x="0" y="20"/>
                  </a:cubicBezTo>
                  <a:lnTo>
                    <a:pt x="164" y="2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7" name="Freeform 14">
              <a:extLst>
                <a:ext uri="{FF2B5EF4-FFF2-40B4-BE49-F238E27FC236}">
                  <a16:creationId xmlns:a16="http://schemas.microsoft.com/office/drawing/2014/main" id="{A106F4E9-EEB2-DC41-A93F-38BD6AC491A0}"/>
                </a:ext>
              </a:extLst>
            </p:cNvPr>
            <p:cNvSpPr>
              <a:spLocks noChangeArrowheads="1"/>
            </p:cNvSpPr>
            <p:nvPr userDrawn="1"/>
          </p:nvSpPr>
          <p:spPr bwMode="auto">
            <a:xfrm>
              <a:off x="6577013" y="3148013"/>
              <a:ext cx="63500" cy="296862"/>
            </a:xfrm>
            <a:custGeom>
              <a:avLst/>
              <a:gdLst>
                <a:gd name="T0" fmla="*/ 175 w 176"/>
                <a:gd name="T1" fmla="*/ 825 h 826"/>
                <a:gd name="T2" fmla="*/ 0 w 176"/>
                <a:gd name="T3" fmla="*/ 825 h 826"/>
                <a:gd name="T4" fmla="*/ 0 w 176"/>
                <a:gd name="T5" fmla="*/ 0 h 826"/>
                <a:gd name="T6" fmla="*/ 175 w 176"/>
                <a:gd name="T7" fmla="*/ 0 h 826"/>
                <a:gd name="T8" fmla="*/ 175 w 176"/>
                <a:gd name="T9" fmla="*/ 825 h 826"/>
              </a:gdLst>
              <a:ahLst/>
              <a:cxnLst>
                <a:cxn ang="0">
                  <a:pos x="T0" y="T1"/>
                </a:cxn>
                <a:cxn ang="0">
                  <a:pos x="T2" y="T3"/>
                </a:cxn>
                <a:cxn ang="0">
                  <a:pos x="T4" y="T5"/>
                </a:cxn>
                <a:cxn ang="0">
                  <a:pos x="T6" y="T7"/>
                </a:cxn>
                <a:cxn ang="0">
                  <a:pos x="T8" y="T9"/>
                </a:cxn>
              </a:cxnLst>
              <a:rect l="0" t="0" r="r" b="b"/>
              <a:pathLst>
                <a:path w="176" h="826">
                  <a:moveTo>
                    <a:pt x="175" y="825"/>
                  </a:moveTo>
                  <a:lnTo>
                    <a:pt x="0" y="825"/>
                  </a:lnTo>
                  <a:lnTo>
                    <a:pt x="0" y="0"/>
                  </a:lnTo>
                  <a:lnTo>
                    <a:pt x="175" y="0"/>
                  </a:lnTo>
                  <a:lnTo>
                    <a:pt x="175" y="825"/>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8" name="Freeform 15">
              <a:extLst>
                <a:ext uri="{FF2B5EF4-FFF2-40B4-BE49-F238E27FC236}">
                  <a16:creationId xmlns:a16="http://schemas.microsoft.com/office/drawing/2014/main" id="{7C174984-9E4C-8940-ACB5-80FD2A6E2308}"/>
                </a:ext>
              </a:extLst>
            </p:cNvPr>
            <p:cNvSpPr>
              <a:spLocks noChangeArrowheads="1"/>
            </p:cNvSpPr>
            <p:nvPr userDrawn="1"/>
          </p:nvSpPr>
          <p:spPr bwMode="auto">
            <a:xfrm>
              <a:off x="6707188" y="3141663"/>
              <a:ext cx="314325" cy="312737"/>
            </a:xfrm>
            <a:custGeom>
              <a:avLst/>
              <a:gdLst>
                <a:gd name="T0" fmla="*/ 864 w 873"/>
                <a:gd name="T1" fmla="*/ 498 h 868"/>
                <a:gd name="T2" fmla="*/ 864 w 873"/>
                <a:gd name="T3" fmla="*/ 498 h 868"/>
                <a:gd name="T4" fmla="*/ 184 w 873"/>
                <a:gd name="T5" fmla="*/ 498 h 868"/>
                <a:gd name="T6" fmla="*/ 267 w 873"/>
                <a:gd name="T7" fmla="*/ 650 h 868"/>
                <a:gd name="T8" fmla="*/ 459 w 873"/>
                <a:gd name="T9" fmla="*/ 706 h 868"/>
                <a:gd name="T10" fmla="*/ 592 w 873"/>
                <a:gd name="T11" fmla="*/ 684 h 868"/>
                <a:gd name="T12" fmla="*/ 700 w 873"/>
                <a:gd name="T13" fmla="*/ 617 h 868"/>
                <a:gd name="T14" fmla="*/ 817 w 873"/>
                <a:gd name="T15" fmla="*/ 725 h 868"/>
                <a:gd name="T16" fmla="*/ 742 w 873"/>
                <a:gd name="T17" fmla="*/ 786 h 868"/>
                <a:gd name="T18" fmla="*/ 650 w 873"/>
                <a:gd name="T19" fmla="*/ 831 h 868"/>
                <a:gd name="T20" fmla="*/ 553 w 873"/>
                <a:gd name="T21" fmla="*/ 859 h 868"/>
                <a:gd name="T22" fmla="*/ 453 w 873"/>
                <a:gd name="T23" fmla="*/ 867 h 868"/>
                <a:gd name="T24" fmla="*/ 267 w 873"/>
                <a:gd name="T25" fmla="*/ 836 h 868"/>
                <a:gd name="T26" fmla="*/ 123 w 873"/>
                <a:gd name="T27" fmla="*/ 748 h 868"/>
                <a:gd name="T28" fmla="*/ 34 w 873"/>
                <a:gd name="T29" fmla="*/ 609 h 868"/>
                <a:gd name="T30" fmla="*/ 0 w 873"/>
                <a:gd name="T31" fmla="*/ 431 h 868"/>
                <a:gd name="T32" fmla="*/ 34 w 873"/>
                <a:gd name="T33" fmla="*/ 256 h 868"/>
                <a:gd name="T34" fmla="*/ 123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7 w 873"/>
                <a:gd name="T53" fmla="*/ 353 h 868"/>
                <a:gd name="T54" fmla="*/ 622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4" y="498"/>
                    <a:pt x="184" y="498"/>
                    <a:pt x="184" y="498"/>
                  </a:cubicBezTo>
                  <a:cubicBezTo>
                    <a:pt x="189" y="562"/>
                    <a:pt x="220" y="611"/>
                    <a:pt x="267" y="650"/>
                  </a:cubicBezTo>
                  <a:cubicBezTo>
                    <a:pt x="317" y="686"/>
                    <a:pt x="381" y="706"/>
                    <a:pt x="459" y="706"/>
                  </a:cubicBezTo>
                  <a:cubicBezTo>
                    <a:pt x="500" y="706"/>
                    <a:pt x="545" y="698"/>
                    <a:pt x="592" y="684"/>
                  </a:cubicBezTo>
                  <a:cubicBezTo>
                    <a:pt x="639" y="667"/>
                    <a:pt x="675" y="645"/>
                    <a:pt x="700" y="617"/>
                  </a:cubicBezTo>
                  <a:cubicBezTo>
                    <a:pt x="817" y="725"/>
                    <a:pt x="817" y="725"/>
                    <a:pt x="817" y="725"/>
                  </a:cubicBezTo>
                  <a:cubicBezTo>
                    <a:pt x="795" y="750"/>
                    <a:pt x="770" y="770"/>
                    <a:pt x="742" y="786"/>
                  </a:cubicBezTo>
                  <a:cubicBezTo>
                    <a:pt x="711" y="806"/>
                    <a:pt x="684" y="820"/>
                    <a:pt x="650" y="831"/>
                  </a:cubicBezTo>
                  <a:cubicBezTo>
                    <a:pt x="620" y="845"/>
                    <a:pt x="586" y="853"/>
                    <a:pt x="553" y="859"/>
                  </a:cubicBezTo>
                  <a:cubicBezTo>
                    <a:pt x="520" y="864"/>
                    <a:pt x="486" y="867"/>
                    <a:pt x="453" y="867"/>
                  </a:cubicBezTo>
                  <a:cubicBezTo>
                    <a:pt x="384" y="867"/>
                    <a:pt x="322" y="856"/>
                    <a:pt x="267" y="836"/>
                  </a:cubicBezTo>
                  <a:cubicBezTo>
                    <a:pt x="211" y="814"/>
                    <a:pt x="164" y="786"/>
                    <a:pt x="123" y="748"/>
                  </a:cubicBezTo>
                  <a:cubicBezTo>
                    <a:pt x="84" y="709"/>
                    <a:pt x="53" y="664"/>
                    <a:pt x="34" y="609"/>
                  </a:cubicBezTo>
                  <a:cubicBezTo>
                    <a:pt x="11" y="556"/>
                    <a:pt x="0" y="495"/>
                    <a:pt x="0" y="431"/>
                  </a:cubicBezTo>
                  <a:cubicBezTo>
                    <a:pt x="0" y="367"/>
                    <a:pt x="11" y="309"/>
                    <a:pt x="34" y="256"/>
                  </a:cubicBezTo>
                  <a:cubicBezTo>
                    <a:pt x="53" y="203"/>
                    <a:pt x="84" y="159"/>
                    <a:pt x="123" y="120"/>
                  </a:cubicBezTo>
                  <a:cubicBezTo>
                    <a:pt x="161" y="84"/>
                    <a:pt x="209" y="53"/>
                    <a:pt x="261" y="31"/>
                  </a:cubicBezTo>
                  <a:cubicBezTo>
                    <a:pt x="317" y="12"/>
                    <a:pt x="375" y="0"/>
                    <a:pt x="442" y="0"/>
                  </a:cubicBezTo>
                  <a:cubicBezTo>
                    <a:pt x="511" y="0"/>
                    <a:pt x="572" y="12"/>
                    <a:pt x="628" y="31"/>
                  </a:cubicBezTo>
                  <a:cubicBezTo>
                    <a:pt x="684" y="53"/>
                    <a:pt x="728" y="84"/>
                    <a:pt x="767" y="125"/>
                  </a:cubicBezTo>
                  <a:cubicBezTo>
                    <a:pt x="806" y="164"/>
                    <a:pt x="834" y="217"/>
                    <a:pt x="850" y="278"/>
                  </a:cubicBezTo>
                  <a:cubicBezTo>
                    <a:pt x="870" y="342"/>
                    <a:pt x="872" y="414"/>
                    <a:pt x="864" y="498"/>
                  </a:cubicBezTo>
                  <a:lnTo>
                    <a:pt x="186" y="353"/>
                  </a:lnTo>
                  <a:lnTo>
                    <a:pt x="186" y="353"/>
                  </a:lnTo>
                  <a:cubicBezTo>
                    <a:pt x="697" y="353"/>
                    <a:pt x="697" y="353"/>
                    <a:pt x="697" y="353"/>
                  </a:cubicBezTo>
                  <a:cubicBezTo>
                    <a:pt x="692" y="287"/>
                    <a:pt x="667" y="236"/>
                    <a:pt x="622" y="203"/>
                  </a:cubicBezTo>
                  <a:cubicBezTo>
                    <a:pt x="578" y="170"/>
                    <a:pt x="520" y="153"/>
                    <a:pt x="447" y="153"/>
                  </a:cubicBezTo>
                  <a:cubicBezTo>
                    <a:pt x="384"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9" name="Freeform 16">
              <a:extLst>
                <a:ext uri="{FF2B5EF4-FFF2-40B4-BE49-F238E27FC236}">
                  <a16:creationId xmlns:a16="http://schemas.microsoft.com/office/drawing/2014/main" id="{11920894-A1A1-2741-ADAA-8275C1F38D3D}"/>
                </a:ext>
              </a:extLst>
            </p:cNvPr>
            <p:cNvSpPr>
              <a:spLocks noChangeArrowheads="1"/>
            </p:cNvSpPr>
            <p:nvPr userDrawn="1"/>
          </p:nvSpPr>
          <p:spPr bwMode="auto">
            <a:xfrm>
              <a:off x="7083425" y="3144838"/>
              <a:ext cx="293688" cy="301625"/>
            </a:xfrm>
            <a:custGeom>
              <a:avLst/>
              <a:gdLst>
                <a:gd name="T0" fmla="*/ 638 w 817"/>
                <a:gd name="T1" fmla="*/ 836 h 837"/>
                <a:gd name="T2" fmla="*/ 638 w 817"/>
                <a:gd name="T3" fmla="*/ 836 h 837"/>
                <a:gd name="T4" fmla="*/ 638 w 817"/>
                <a:gd name="T5" fmla="*/ 397 h 837"/>
                <a:gd name="T6" fmla="*/ 580 w 817"/>
                <a:gd name="T7" fmla="*/ 225 h 837"/>
                <a:gd name="T8" fmla="*/ 411 w 817"/>
                <a:gd name="T9" fmla="*/ 161 h 837"/>
                <a:gd name="T10" fmla="*/ 313 w 817"/>
                <a:gd name="T11" fmla="*/ 180 h 837"/>
                <a:gd name="T12" fmla="*/ 241 w 817"/>
                <a:gd name="T13" fmla="*/ 233 h 837"/>
                <a:gd name="T14" fmla="*/ 194 w 817"/>
                <a:gd name="T15" fmla="*/ 311 h 837"/>
                <a:gd name="T16" fmla="*/ 175 w 817"/>
                <a:gd name="T17" fmla="*/ 408 h 837"/>
                <a:gd name="T18" fmla="*/ 175 w 817"/>
                <a:gd name="T19" fmla="*/ 836 h 837"/>
                <a:gd name="T20" fmla="*/ 0 w 817"/>
                <a:gd name="T21" fmla="*/ 836 h 837"/>
                <a:gd name="T22" fmla="*/ 0 w 817"/>
                <a:gd name="T23" fmla="*/ 11 h 837"/>
                <a:gd name="T24" fmla="*/ 161 w 817"/>
                <a:gd name="T25" fmla="*/ 11 h 837"/>
                <a:gd name="T26" fmla="*/ 172 w 817"/>
                <a:gd name="T27" fmla="*/ 133 h 837"/>
                <a:gd name="T28" fmla="*/ 455 w 817"/>
                <a:gd name="T29" fmla="*/ 0 h 837"/>
                <a:gd name="T30" fmla="*/ 597 w 817"/>
                <a:gd name="T31" fmla="*/ 25 h 837"/>
                <a:gd name="T32" fmla="*/ 711 w 817"/>
                <a:gd name="T33" fmla="*/ 103 h 837"/>
                <a:gd name="T34" fmla="*/ 788 w 817"/>
                <a:gd name="T35" fmla="*/ 225 h 837"/>
                <a:gd name="T36" fmla="*/ 816 w 817"/>
                <a:gd name="T37" fmla="*/ 394 h 837"/>
                <a:gd name="T38" fmla="*/ 816 w 817"/>
                <a:gd name="T39" fmla="*/ 836 h 837"/>
                <a:gd name="T40" fmla="*/ 638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8" y="836"/>
                  </a:moveTo>
                  <a:lnTo>
                    <a:pt x="638" y="836"/>
                  </a:lnTo>
                  <a:cubicBezTo>
                    <a:pt x="638" y="397"/>
                    <a:pt x="638" y="397"/>
                    <a:pt x="638" y="397"/>
                  </a:cubicBezTo>
                  <a:cubicBezTo>
                    <a:pt x="638" y="325"/>
                    <a:pt x="619" y="269"/>
                    <a:pt x="580" y="225"/>
                  </a:cubicBezTo>
                  <a:cubicBezTo>
                    <a:pt x="541" y="183"/>
                    <a:pt x="483" y="161"/>
                    <a:pt x="411" y="161"/>
                  </a:cubicBezTo>
                  <a:cubicBezTo>
                    <a:pt x="375" y="161"/>
                    <a:pt x="344" y="166"/>
                    <a:pt x="313" y="180"/>
                  </a:cubicBezTo>
                  <a:cubicBezTo>
                    <a:pt x="286" y="191"/>
                    <a:pt x="261" y="211"/>
                    <a:pt x="241" y="233"/>
                  </a:cubicBezTo>
                  <a:cubicBezTo>
                    <a:pt x="219" y="255"/>
                    <a:pt x="205" y="283"/>
                    <a:pt x="194" y="311"/>
                  </a:cubicBezTo>
                  <a:cubicBezTo>
                    <a:pt x="180" y="341"/>
                    <a:pt x="175" y="375"/>
                    <a:pt x="175" y="408"/>
                  </a:cubicBezTo>
                  <a:cubicBezTo>
                    <a:pt x="175" y="836"/>
                    <a:pt x="175" y="836"/>
                    <a:pt x="175" y="836"/>
                  </a:cubicBezTo>
                  <a:cubicBezTo>
                    <a:pt x="0" y="836"/>
                    <a:pt x="0" y="836"/>
                    <a:pt x="0" y="836"/>
                  </a:cubicBezTo>
                  <a:cubicBezTo>
                    <a:pt x="0" y="11"/>
                    <a:pt x="0" y="11"/>
                    <a:pt x="0" y="11"/>
                  </a:cubicBezTo>
                  <a:cubicBezTo>
                    <a:pt x="161" y="11"/>
                    <a:pt x="161" y="11"/>
                    <a:pt x="161" y="11"/>
                  </a:cubicBezTo>
                  <a:cubicBezTo>
                    <a:pt x="172" y="133"/>
                    <a:pt x="172" y="133"/>
                    <a:pt x="172" y="133"/>
                  </a:cubicBezTo>
                  <a:cubicBezTo>
                    <a:pt x="250" y="44"/>
                    <a:pt x="344" y="0"/>
                    <a:pt x="455" y="0"/>
                  </a:cubicBezTo>
                  <a:cubicBezTo>
                    <a:pt x="505" y="0"/>
                    <a:pt x="552" y="8"/>
                    <a:pt x="597" y="25"/>
                  </a:cubicBezTo>
                  <a:cubicBezTo>
                    <a:pt x="641" y="44"/>
                    <a:pt x="677" y="69"/>
                    <a:pt x="711" y="103"/>
                  </a:cubicBezTo>
                  <a:cubicBezTo>
                    <a:pt x="744" y="136"/>
                    <a:pt x="769" y="178"/>
                    <a:pt x="788" y="225"/>
                  </a:cubicBezTo>
                  <a:cubicBezTo>
                    <a:pt x="808" y="275"/>
                    <a:pt x="816" y="330"/>
                    <a:pt x="816" y="394"/>
                  </a:cubicBezTo>
                  <a:cubicBezTo>
                    <a:pt x="816" y="836"/>
                    <a:pt x="816" y="836"/>
                    <a:pt x="816" y="836"/>
                  </a:cubicBezTo>
                  <a:lnTo>
                    <a:pt x="638"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0" name="Freeform 17">
              <a:extLst>
                <a:ext uri="{FF2B5EF4-FFF2-40B4-BE49-F238E27FC236}">
                  <a16:creationId xmlns:a16="http://schemas.microsoft.com/office/drawing/2014/main" id="{1C889C22-C97B-7F4B-838F-9C019CF80E6F}"/>
                </a:ext>
              </a:extLst>
            </p:cNvPr>
            <p:cNvSpPr>
              <a:spLocks noChangeArrowheads="1"/>
            </p:cNvSpPr>
            <p:nvPr userDrawn="1"/>
          </p:nvSpPr>
          <p:spPr bwMode="auto">
            <a:xfrm>
              <a:off x="7440613" y="3141663"/>
              <a:ext cx="274637" cy="311150"/>
            </a:xfrm>
            <a:custGeom>
              <a:avLst/>
              <a:gdLst>
                <a:gd name="T0" fmla="*/ 761 w 762"/>
                <a:gd name="T1" fmla="*/ 736 h 865"/>
                <a:gd name="T2" fmla="*/ 761 w 762"/>
                <a:gd name="T3" fmla="*/ 736 h 865"/>
                <a:gd name="T4" fmla="*/ 614 w 762"/>
                <a:gd name="T5" fmla="*/ 833 h 865"/>
                <a:gd name="T6" fmla="*/ 442 w 762"/>
                <a:gd name="T7" fmla="*/ 864 h 865"/>
                <a:gd name="T8" fmla="*/ 272 w 762"/>
                <a:gd name="T9" fmla="*/ 836 h 865"/>
                <a:gd name="T10" fmla="*/ 131 w 762"/>
                <a:gd name="T11" fmla="*/ 756 h 865"/>
                <a:gd name="T12" fmla="*/ 34 w 762"/>
                <a:gd name="T13" fmla="*/ 620 h 865"/>
                <a:gd name="T14" fmla="*/ 0 w 762"/>
                <a:gd name="T15" fmla="*/ 431 h 865"/>
                <a:gd name="T16" fmla="*/ 34 w 762"/>
                <a:gd name="T17" fmla="*/ 245 h 865"/>
                <a:gd name="T18" fmla="*/ 131 w 762"/>
                <a:gd name="T19" fmla="*/ 109 h 865"/>
                <a:gd name="T20" fmla="*/ 270 w 762"/>
                <a:gd name="T21" fmla="*/ 28 h 865"/>
                <a:gd name="T22" fmla="*/ 442 w 762"/>
                <a:gd name="T23" fmla="*/ 0 h 865"/>
                <a:gd name="T24" fmla="*/ 603 w 762"/>
                <a:gd name="T25" fmla="*/ 28 h 865"/>
                <a:gd name="T26" fmla="*/ 747 w 762"/>
                <a:gd name="T27" fmla="*/ 122 h 865"/>
                <a:gd name="T28" fmla="*/ 633 w 762"/>
                <a:gd name="T29" fmla="*/ 236 h 865"/>
                <a:gd name="T30" fmla="*/ 545 w 762"/>
                <a:gd name="T31" fmla="*/ 181 h 865"/>
                <a:gd name="T32" fmla="*/ 445 w 762"/>
                <a:gd name="T33" fmla="*/ 164 h 865"/>
                <a:gd name="T34" fmla="*/ 339 w 762"/>
                <a:gd name="T35" fmla="*/ 181 h 865"/>
                <a:gd name="T36" fmla="*/ 253 w 762"/>
                <a:gd name="T37" fmla="*/ 236 h 865"/>
                <a:gd name="T38" fmla="*/ 195 w 762"/>
                <a:gd name="T39" fmla="*/ 320 h 865"/>
                <a:gd name="T40" fmla="*/ 175 w 762"/>
                <a:gd name="T41" fmla="*/ 431 h 865"/>
                <a:gd name="T42" fmla="*/ 197 w 762"/>
                <a:gd name="T43" fmla="*/ 547 h 865"/>
                <a:gd name="T44" fmla="*/ 253 w 762"/>
                <a:gd name="T45" fmla="*/ 631 h 865"/>
                <a:gd name="T46" fmla="*/ 339 w 762"/>
                <a:gd name="T47" fmla="*/ 681 h 865"/>
                <a:gd name="T48" fmla="*/ 442 w 762"/>
                <a:gd name="T49" fmla="*/ 697 h 865"/>
                <a:gd name="T50" fmla="*/ 550 w 762"/>
                <a:gd name="T51" fmla="*/ 681 h 865"/>
                <a:gd name="T52" fmla="*/ 642 w 762"/>
                <a:gd name="T53" fmla="*/ 620 h 865"/>
                <a:gd name="T54" fmla="*/ 761 w 762"/>
                <a:gd name="T55" fmla="*/ 736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62" h="865">
                  <a:moveTo>
                    <a:pt x="761" y="736"/>
                  </a:moveTo>
                  <a:lnTo>
                    <a:pt x="761" y="736"/>
                  </a:lnTo>
                  <a:cubicBezTo>
                    <a:pt x="714" y="781"/>
                    <a:pt x="664" y="814"/>
                    <a:pt x="614" y="833"/>
                  </a:cubicBezTo>
                  <a:cubicBezTo>
                    <a:pt x="561" y="856"/>
                    <a:pt x="503" y="864"/>
                    <a:pt x="442" y="864"/>
                  </a:cubicBezTo>
                  <a:cubicBezTo>
                    <a:pt x="383" y="864"/>
                    <a:pt x="325" y="856"/>
                    <a:pt x="272" y="836"/>
                  </a:cubicBezTo>
                  <a:cubicBezTo>
                    <a:pt x="217" y="820"/>
                    <a:pt x="170" y="792"/>
                    <a:pt x="131" y="756"/>
                  </a:cubicBezTo>
                  <a:cubicBezTo>
                    <a:pt x="89" y="720"/>
                    <a:pt x="58" y="675"/>
                    <a:pt x="34" y="620"/>
                  </a:cubicBezTo>
                  <a:cubicBezTo>
                    <a:pt x="11" y="567"/>
                    <a:pt x="0" y="503"/>
                    <a:pt x="0" y="431"/>
                  </a:cubicBezTo>
                  <a:cubicBezTo>
                    <a:pt x="0" y="361"/>
                    <a:pt x="11" y="297"/>
                    <a:pt x="34" y="245"/>
                  </a:cubicBezTo>
                  <a:cubicBezTo>
                    <a:pt x="58" y="189"/>
                    <a:pt x="89" y="145"/>
                    <a:pt x="131" y="109"/>
                  </a:cubicBezTo>
                  <a:cubicBezTo>
                    <a:pt x="170" y="72"/>
                    <a:pt x="217" y="45"/>
                    <a:pt x="270" y="28"/>
                  </a:cubicBezTo>
                  <a:cubicBezTo>
                    <a:pt x="325" y="9"/>
                    <a:pt x="381" y="0"/>
                    <a:pt x="442" y="0"/>
                  </a:cubicBezTo>
                  <a:cubicBezTo>
                    <a:pt x="500" y="0"/>
                    <a:pt x="556" y="9"/>
                    <a:pt x="603" y="28"/>
                  </a:cubicBezTo>
                  <a:cubicBezTo>
                    <a:pt x="653" y="47"/>
                    <a:pt x="700" y="78"/>
                    <a:pt x="747" y="122"/>
                  </a:cubicBezTo>
                  <a:cubicBezTo>
                    <a:pt x="633" y="236"/>
                    <a:pt x="633" y="236"/>
                    <a:pt x="633" y="236"/>
                  </a:cubicBezTo>
                  <a:cubicBezTo>
                    <a:pt x="608" y="211"/>
                    <a:pt x="578" y="192"/>
                    <a:pt x="545" y="181"/>
                  </a:cubicBezTo>
                  <a:cubicBezTo>
                    <a:pt x="511" y="170"/>
                    <a:pt x="478" y="164"/>
                    <a:pt x="445" y="164"/>
                  </a:cubicBezTo>
                  <a:cubicBezTo>
                    <a:pt x="406" y="164"/>
                    <a:pt x="372" y="170"/>
                    <a:pt x="339" y="181"/>
                  </a:cubicBezTo>
                  <a:cubicBezTo>
                    <a:pt x="306" y="195"/>
                    <a:pt x="278" y="214"/>
                    <a:pt x="253" y="236"/>
                  </a:cubicBezTo>
                  <a:cubicBezTo>
                    <a:pt x="228" y="259"/>
                    <a:pt x="209" y="289"/>
                    <a:pt x="195" y="320"/>
                  </a:cubicBezTo>
                  <a:cubicBezTo>
                    <a:pt x="181" y="353"/>
                    <a:pt x="175" y="392"/>
                    <a:pt x="175" y="431"/>
                  </a:cubicBezTo>
                  <a:cubicBezTo>
                    <a:pt x="175" y="475"/>
                    <a:pt x="181" y="514"/>
                    <a:pt x="197" y="547"/>
                  </a:cubicBezTo>
                  <a:cubicBezTo>
                    <a:pt x="211" y="578"/>
                    <a:pt x="231" y="606"/>
                    <a:pt x="253" y="631"/>
                  </a:cubicBezTo>
                  <a:cubicBezTo>
                    <a:pt x="278" y="653"/>
                    <a:pt x="309" y="670"/>
                    <a:pt x="339" y="681"/>
                  </a:cubicBezTo>
                  <a:cubicBezTo>
                    <a:pt x="372" y="692"/>
                    <a:pt x="406" y="697"/>
                    <a:pt x="442" y="697"/>
                  </a:cubicBezTo>
                  <a:cubicBezTo>
                    <a:pt x="478" y="697"/>
                    <a:pt x="514" y="692"/>
                    <a:pt x="550" y="681"/>
                  </a:cubicBezTo>
                  <a:cubicBezTo>
                    <a:pt x="583" y="670"/>
                    <a:pt x="614" y="647"/>
                    <a:pt x="642" y="620"/>
                  </a:cubicBezTo>
                  <a:lnTo>
                    <a:pt x="761" y="7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1" name="Freeform 18">
              <a:extLst>
                <a:ext uri="{FF2B5EF4-FFF2-40B4-BE49-F238E27FC236}">
                  <a16:creationId xmlns:a16="http://schemas.microsoft.com/office/drawing/2014/main" id="{923E9F78-DC24-3F43-9DC2-655AF0EC2C2B}"/>
                </a:ext>
              </a:extLst>
            </p:cNvPr>
            <p:cNvSpPr>
              <a:spLocks noChangeArrowheads="1"/>
            </p:cNvSpPr>
            <p:nvPr userDrawn="1"/>
          </p:nvSpPr>
          <p:spPr bwMode="auto">
            <a:xfrm>
              <a:off x="7747000" y="3141663"/>
              <a:ext cx="314325" cy="312737"/>
            </a:xfrm>
            <a:custGeom>
              <a:avLst/>
              <a:gdLst>
                <a:gd name="T0" fmla="*/ 864 w 873"/>
                <a:gd name="T1" fmla="*/ 498 h 868"/>
                <a:gd name="T2" fmla="*/ 864 w 873"/>
                <a:gd name="T3" fmla="*/ 498 h 868"/>
                <a:gd name="T4" fmla="*/ 181 w 873"/>
                <a:gd name="T5" fmla="*/ 498 h 868"/>
                <a:gd name="T6" fmla="*/ 267 w 873"/>
                <a:gd name="T7" fmla="*/ 650 h 868"/>
                <a:gd name="T8" fmla="*/ 456 w 873"/>
                <a:gd name="T9" fmla="*/ 706 h 868"/>
                <a:gd name="T10" fmla="*/ 592 w 873"/>
                <a:gd name="T11" fmla="*/ 684 h 868"/>
                <a:gd name="T12" fmla="*/ 700 w 873"/>
                <a:gd name="T13" fmla="*/ 617 h 868"/>
                <a:gd name="T14" fmla="*/ 817 w 873"/>
                <a:gd name="T15" fmla="*/ 725 h 868"/>
                <a:gd name="T16" fmla="*/ 739 w 873"/>
                <a:gd name="T17" fmla="*/ 786 h 868"/>
                <a:gd name="T18" fmla="*/ 650 w 873"/>
                <a:gd name="T19" fmla="*/ 831 h 868"/>
                <a:gd name="T20" fmla="*/ 553 w 873"/>
                <a:gd name="T21" fmla="*/ 859 h 868"/>
                <a:gd name="T22" fmla="*/ 453 w 873"/>
                <a:gd name="T23" fmla="*/ 867 h 868"/>
                <a:gd name="T24" fmla="*/ 267 w 873"/>
                <a:gd name="T25" fmla="*/ 836 h 868"/>
                <a:gd name="T26" fmla="*/ 122 w 873"/>
                <a:gd name="T27" fmla="*/ 748 h 868"/>
                <a:gd name="T28" fmla="*/ 31 w 873"/>
                <a:gd name="T29" fmla="*/ 609 h 868"/>
                <a:gd name="T30" fmla="*/ 0 w 873"/>
                <a:gd name="T31" fmla="*/ 431 h 868"/>
                <a:gd name="T32" fmla="*/ 31 w 873"/>
                <a:gd name="T33" fmla="*/ 256 h 868"/>
                <a:gd name="T34" fmla="*/ 122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4 w 873"/>
                <a:gd name="T53" fmla="*/ 353 h 868"/>
                <a:gd name="T54" fmla="*/ 619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1" y="498"/>
                    <a:pt x="181" y="498"/>
                    <a:pt x="181" y="498"/>
                  </a:cubicBezTo>
                  <a:cubicBezTo>
                    <a:pt x="189" y="562"/>
                    <a:pt x="219" y="611"/>
                    <a:pt x="267" y="650"/>
                  </a:cubicBezTo>
                  <a:cubicBezTo>
                    <a:pt x="317" y="686"/>
                    <a:pt x="381" y="706"/>
                    <a:pt x="456" y="706"/>
                  </a:cubicBezTo>
                  <a:cubicBezTo>
                    <a:pt x="500" y="706"/>
                    <a:pt x="544" y="698"/>
                    <a:pt x="592" y="684"/>
                  </a:cubicBezTo>
                  <a:cubicBezTo>
                    <a:pt x="639" y="667"/>
                    <a:pt x="675" y="645"/>
                    <a:pt x="700" y="617"/>
                  </a:cubicBezTo>
                  <a:cubicBezTo>
                    <a:pt x="817" y="725"/>
                    <a:pt x="817" y="725"/>
                    <a:pt x="817" y="725"/>
                  </a:cubicBezTo>
                  <a:cubicBezTo>
                    <a:pt x="794" y="750"/>
                    <a:pt x="769" y="770"/>
                    <a:pt x="739" y="786"/>
                  </a:cubicBezTo>
                  <a:cubicBezTo>
                    <a:pt x="711" y="806"/>
                    <a:pt x="681" y="820"/>
                    <a:pt x="650" y="831"/>
                  </a:cubicBezTo>
                  <a:cubicBezTo>
                    <a:pt x="619" y="845"/>
                    <a:pt x="586" y="853"/>
                    <a:pt x="553" y="859"/>
                  </a:cubicBezTo>
                  <a:cubicBezTo>
                    <a:pt x="519" y="864"/>
                    <a:pt x="486" y="867"/>
                    <a:pt x="453" y="867"/>
                  </a:cubicBezTo>
                  <a:cubicBezTo>
                    <a:pt x="383" y="867"/>
                    <a:pt x="322" y="856"/>
                    <a:pt x="267" y="836"/>
                  </a:cubicBezTo>
                  <a:cubicBezTo>
                    <a:pt x="208" y="814"/>
                    <a:pt x="161" y="786"/>
                    <a:pt x="122" y="748"/>
                  </a:cubicBezTo>
                  <a:cubicBezTo>
                    <a:pt x="83" y="709"/>
                    <a:pt x="53" y="664"/>
                    <a:pt x="31" y="609"/>
                  </a:cubicBezTo>
                  <a:cubicBezTo>
                    <a:pt x="11" y="556"/>
                    <a:pt x="0" y="495"/>
                    <a:pt x="0" y="431"/>
                  </a:cubicBezTo>
                  <a:cubicBezTo>
                    <a:pt x="0" y="367"/>
                    <a:pt x="11" y="309"/>
                    <a:pt x="31" y="256"/>
                  </a:cubicBezTo>
                  <a:cubicBezTo>
                    <a:pt x="53" y="203"/>
                    <a:pt x="83" y="159"/>
                    <a:pt x="122" y="120"/>
                  </a:cubicBezTo>
                  <a:cubicBezTo>
                    <a:pt x="161" y="84"/>
                    <a:pt x="208" y="53"/>
                    <a:pt x="261" y="31"/>
                  </a:cubicBezTo>
                  <a:cubicBezTo>
                    <a:pt x="314" y="12"/>
                    <a:pt x="375" y="0"/>
                    <a:pt x="442" y="0"/>
                  </a:cubicBezTo>
                  <a:cubicBezTo>
                    <a:pt x="508" y="0"/>
                    <a:pt x="572" y="12"/>
                    <a:pt x="628" y="31"/>
                  </a:cubicBezTo>
                  <a:cubicBezTo>
                    <a:pt x="681" y="53"/>
                    <a:pt x="728" y="84"/>
                    <a:pt x="767" y="125"/>
                  </a:cubicBezTo>
                  <a:cubicBezTo>
                    <a:pt x="806" y="164"/>
                    <a:pt x="833" y="217"/>
                    <a:pt x="850" y="278"/>
                  </a:cubicBezTo>
                  <a:cubicBezTo>
                    <a:pt x="867" y="342"/>
                    <a:pt x="872" y="414"/>
                    <a:pt x="864" y="498"/>
                  </a:cubicBezTo>
                  <a:lnTo>
                    <a:pt x="186" y="353"/>
                  </a:lnTo>
                  <a:lnTo>
                    <a:pt x="186" y="353"/>
                  </a:lnTo>
                  <a:cubicBezTo>
                    <a:pt x="694" y="353"/>
                    <a:pt x="694" y="353"/>
                    <a:pt x="694" y="353"/>
                  </a:cubicBezTo>
                  <a:cubicBezTo>
                    <a:pt x="689" y="287"/>
                    <a:pt x="664" y="236"/>
                    <a:pt x="619" y="203"/>
                  </a:cubicBezTo>
                  <a:cubicBezTo>
                    <a:pt x="575" y="170"/>
                    <a:pt x="519" y="153"/>
                    <a:pt x="447" y="153"/>
                  </a:cubicBezTo>
                  <a:cubicBezTo>
                    <a:pt x="381" y="153"/>
                    <a:pt x="325" y="170"/>
                    <a:pt x="278" y="203"/>
                  </a:cubicBezTo>
                  <a:cubicBezTo>
                    <a:pt x="231" y="236"/>
                    <a:pt x="200" y="287"/>
                    <a:pt x="186" y="353"/>
                  </a:cubicBezTo>
                  <a:lnTo>
                    <a:pt x="864" y="49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2" name="Freeform 19">
              <a:extLst>
                <a:ext uri="{FF2B5EF4-FFF2-40B4-BE49-F238E27FC236}">
                  <a16:creationId xmlns:a16="http://schemas.microsoft.com/office/drawing/2014/main" id="{48AA1122-1D63-FD44-9DBD-CC8788004DA8}"/>
                </a:ext>
              </a:extLst>
            </p:cNvPr>
            <p:cNvSpPr>
              <a:spLocks noChangeArrowheads="1"/>
            </p:cNvSpPr>
            <p:nvPr userDrawn="1"/>
          </p:nvSpPr>
          <p:spPr bwMode="auto">
            <a:xfrm>
              <a:off x="1828800" y="3743325"/>
              <a:ext cx="323850" cy="311150"/>
            </a:xfrm>
            <a:custGeom>
              <a:avLst/>
              <a:gdLst>
                <a:gd name="T0" fmla="*/ 722 w 901"/>
                <a:gd name="T1" fmla="*/ 147 h 865"/>
                <a:gd name="T2" fmla="*/ 722 w 901"/>
                <a:gd name="T3" fmla="*/ 147 h 865"/>
                <a:gd name="T4" fmla="*/ 728 w 901"/>
                <a:gd name="T5" fmla="*/ 17 h 865"/>
                <a:gd name="T6" fmla="*/ 900 w 901"/>
                <a:gd name="T7" fmla="*/ 17 h 865"/>
                <a:gd name="T8" fmla="*/ 900 w 901"/>
                <a:gd name="T9" fmla="*/ 842 h 865"/>
                <a:gd name="T10" fmla="*/ 731 w 901"/>
                <a:gd name="T11" fmla="*/ 842 h 865"/>
                <a:gd name="T12" fmla="*/ 722 w 901"/>
                <a:gd name="T13" fmla="*/ 709 h 865"/>
                <a:gd name="T14" fmla="*/ 669 w 901"/>
                <a:gd name="T15" fmla="*/ 778 h 865"/>
                <a:gd name="T16" fmla="*/ 597 w 901"/>
                <a:gd name="T17" fmla="*/ 825 h 865"/>
                <a:gd name="T18" fmla="*/ 514 w 901"/>
                <a:gd name="T19" fmla="*/ 856 h 865"/>
                <a:gd name="T20" fmla="*/ 433 w 901"/>
                <a:gd name="T21" fmla="*/ 864 h 865"/>
                <a:gd name="T22" fmla="*/ 261 w 901"/>
                <a:gd name="T23" fmla="*/ 836 h 865"/>
                <a:gd name="T24" fmla="*/ 125 w 901"/>
                <a:gd name="T25" fmla="*/ 753 h 865"/>
                <a:gd name="T26" fmla="*/ 33 w 901"/>
                <a:gd name="T27" fmla="*/ 617 h 865"/>
                <a:gd name="T28" fmla="*/ 0 w 901"/>
                <a:gd name="T29" fmla="*/ 428 h 865"/>
                <a:gd name="T30" fmla="*/ 36 w 901"/>
                <a:gd name="T31" fmla="*/ 245 h 865"/>
                <a:gd name="T32" fmla="*/ 128 w 901"/>
                <a:gd name="T33" fmla="*/ 111 h 865"/>
                <a:gd name="T34" fmla="*/ 267 w 901"/>
                <a:gd name="T35" fmla="*/ 28 h 865"/>
                <a:gd name="T36" fmla="*/ 436 w 901"/>
                <a:gd name="T37" fmla="*/ 0 h 865"/>
                <a:gd name="T38" fmla="*/ 606 w 901"/>
                <a:gd name="T39" fmla="*/ 39 h 865"/>
                <a:gd name="T40" fmla="*/ 722 w 901"/>
                <a:gd name="T41" fmla="*/ 147 h 865"/>
                <a:gd name="T42" fmla="*/ 450 w 901"/>
                <a:gd name="T43" fmla="*/ 156 h 865"/>
                <a:gd name="T44" fmla="*/ 450 w 901"/>
                <a:gd name="T45" fmla="*/ 156 h 865"/>
                <a:gd name="T46" fmla="*/ 344 w 901"/>
                <a:gd name="T47" fmla="*/ 175 h 865"/>
                <a:gd name="T48" fmla="*/ 258 w 901"/>
                <a:gd name="T49" fmla="*/ 231 h 865"/>
                <a:gd name="T50" fmla="*/ 197 w 901"/>
                <a:gd name="T51" fmla="*/ 317 h 865"/>
                <a:gd name="T52" fmla="*/ 178 w 901"/>
                <a:gd name="T53" fmla="*/ 428 h 865"/>
                <a:gd name="T54" fmla="*/ 197 w 901"/>
                <a:gd name="T55" fmla="*/ 545 h 865"/>
                <a:gd name="T56" fmla="*/ 258 w 901"/>
                <a:gd name="T57" fmla="*/ 631 h 865"/>
                <a:gd name="T58" fmla="*/ 344 w 901"/>
                <a:gd name="T59" fmla="*/ 684 h 865"/>
                <a:gd name="T60" fmla="*/ 450 w 901"/>
                <a:gd name="T61" fmla="*/ 703 h 865"/>
                <a:gd name="T62" fmla="*/ 600 w 901"/>
                <a:gd name="T63" fmla="*/ 664 h 865"/>
                <a:gd name="T64" fmla="*/ 692 w 901"/>
                <a:gd name="T65" fmla="*/ 561 h 865"/>
                <a:gd name="T66" fmla="*/ 722 w 901"/>
                <a:gd name="T67" fmla="*/ 431 h 865"/>
                <a:gd name="T68" fmla="*/ 692 w 901"/>
                <a:gd name="T69" fmla="*/ 298 h 865"/>
                <a:gd name="T70" fmla="*/ 600 w 901"/>
                <a:gd name="T71" fmla="*/ 198 h 865"/>
                <a:gd name="T72" fmla="*/ 450 w 901"/>
                <a:gd name="T73" fmla="*/ 156 h 865"/>
                <a:gd name="T74" fmla="*/ 722 w 901"/>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1" h="865">
                  <a:moveTo>
                    <a:pt x="722" y="147"/>
                  </a:moveTo>
                  <a:lnTo>
                    <a:pt x="722" y="147"/>
                  </a:lnTo>
                  <a:cubicBezTo>
                    <a:pt x="728" y="17"/>
                    <a:pt x="728" y="17"/>
                    <a:pt x="728" y="17"/>
                  </a:cubicBezTo>
                  <a:cubicBezTo>
                    <a:pt x="900" y="17"/>
                    <a:pt x="900" y="17"/>
                    <a:pt x="900" y="17"/>
                  </a:cubicBezTo>
                  <a:cubicBezTo>
                    <a:pt x="900" y="842"/>
                    <a:pt x="900" y="842"/>
                    <a:pt x="900" y="842"/>
                  </a:cubicBezTo>
                  <a:cubicBezTo>
                    <a:pt x="731" y="842"/>
                    <a:pt x="731" y="842"/>
                    <a:pt x="731" y="842"/>
                  </a:cubicBezTo>
                  <a:cubicBezTo>
                    <a:pt x="722" y="709"/>
                    <a:pt x="722" y="709"/>
                    <a:pt x="722" y="709"/>
                  </a:cubicBezTo>
                  <a:cubicBezTo>
                    <a:pt x="708" y="736"/>
                    <a:pt x="692" y="759"/>
                    <a:pt x="669" y="778"/>
                  </a:cubicBezTo>
                  <a:cubicBezTo>
                    <a:pt x="647" y="797"/>
                    <a:pt x="622" y="814"/>
                    <a:pt x="597" y="825"/>
                  </a:cubicBezTo>
                  <a:cubicBezTo>
                    <a:pt x="569" y="839"/>
                    <a:pt x="542" y="847"/>
                    <a:pt x="514" y="856"/>
                  </a:cubicBezTo>
                  <a:cubicBezTo>
                    <a:pt x="486" y="861"/>
                    <a:pt x="458" y="864"/>
                    <a:pt x="433" y="864"/>
                  </a:cubicBezTo>
                  <a:cubicBezTo>
                    <a:pt x="372" y="864"/>
                    <a:pt x="314" y="853"/>
                    <a:pt x="261" y="836"/>
                  </a:cubicBezTo>
                  <a:cubicBezTo>
                    <a:pt x="208" y="817"/>
                    <a:pt x="164" y="789"/>
                    <a:pt x="125" y="753"/>
                  </a:cubicBezTo>
                  <a:cubicBezTo>
                    <a:pt x="86" y="714"/>
                    <a:pt x="56" y="670"/>
                    <a:pt x="33" y="617"/>
                  </a:cubicBezTo>
                  <a:cubicBezTo>
                    <a:pt x="11" y="561"/>
                    <a:pt x="0" y="500"/>
                    <a:pt x="0" y="428"/>
                  </a:cubicBezTo>
                  <a:cubicBezTo>
                    <a:pt x="0" y="361"/>
                    <a:pt x="11" y="300"/>
                    <a:pt x="36" y="245"/>
                  </a:cubicBezTo>
                  <a:cubicBezTo>
                    <a:pt x="58" y="192"/>
                    <a:pt x="89" y="147"/>
                    <a:pt x="128" y="111"/>
                  </a:cubicBezTo>
                  <a:cubicBezTo>
                    <a:pt x="167" y="75"/>
                    <a:pt x="214" y="48"/>
                    <a:pt x="267" y="28"/>
                  </a:cubicBezTo>
                  <a:cubicBezTo>
                    <a:pt x="319" y="9"/>
                    <a:pt x="375" y="0"/>
                    <a:pt x="436" y="0"/>
                  </a:cubicBezTo>
                  <a:cubicBezTo>
                    <a:pt x="497" y="0"/>
                    <a:pt x="553" y="14"/>
                    <a:pt x="606" y="39"/>
                  </a:cubicBezTo>
                  <a:cubicBezTo>
                    <a:pt x="658" y="64"/>
                    <a:pt x="697" y="103"/>
                    <a:pt x="722" y="147"/>
                  </a:cubicBezTo>
                  <a:lnTo>
                    <a:pt x="450" y="156"/>
                  </a:lnTo>
                  <a:lnTo>
                    <a:pt x="450" y="156"/>
                  </a:lnTo>
                  <a:cubicBezTo>
                    <a:pt x="414" y="156"/>
                    <a:pt x="378" y="164"/>
                    <a:pt x="344" y="175"/>
                  </a:cubicBezTo>
                  <a:cubicBezTo>
                    <a:pt x="311" y="189"/>
                    <a:pt x="283" y="206"/>
                    <a:pt x="258" y="231"/>
                  </a:cubicBezTo>
                  <a:cubicBezTo>
                    <a:pt x="233" y="253"/>
                    <a:pt x="211" y="284"/>
                    <a:pt x="197" y="317"/>
                  </a:cubicBezTo>
                  <a:cubicBezTo>
                    <a:pt x="183" y="350"/>
                    <a:pt x="178" y="386"/>
                    <a:pt x="178" y="428"/>
                  </a:cubicBezTo>
                  <a:cubicBezTo>
                    <a:pt x="178" y="472"/>
                    <a:pt x="183" y="509"/>
                    <a:pt x="197" y="545"/>
                  </a:cubicBezTo>
                  <a:cubicBezTo>
                    <a:pt x="211" y="578"/>
                    <a:pt x="233" y="606"/>
                    <a:pt x="258" y="631"/>
                  </a:cubicBezTo>
                  <a:cubicBezTo>
                    <a:pt x="283" y="653"/>
                    <a:pt x="311" y="672"/>
                    <a:pt x="344" y="684"/>
                  </a:cubicBezTo>
                  <a:cubicBezTo>
                    <a:pt x="378" y="698"/>
                    <a:pt x="414" y="703"/>
                    <a:pt x="450" y="703"/>
                  </a:cubicBezTo>
                  <a:cubicBezTo>
                    <a:pt x="511" y="703"/>
                    <a:pt x="561" y="689"/>
                    <a:pt x="600" y="664"/>
                  </a:cubicBezTo>
                  <a:cubicBezTo>
                    <a:pt x="642" y="636"/>
                    <a:pt x="672" y="603"/>
                    <a:pt x="692" y="561"/>
                  </a:cubicBezTo>
                  <a:cubicBezTo>
                    <a:pt x="714" y="522"/>
                    <a:pt x="722" y="478"/>
                    <a:pt x="722" y="431"/>
                  </a:cubicBezTo>
                  <a:cubicBezTo>
                    <a:pt x="722" y="384"/>
                    <a:pt x="714" y="339"/>
                    <a:pt x="692" y="298"/>
                  </a:cubicBezTo>
                  <a:cubicBezTo>
                    <a:pt x="672" y="259"/>
                    <a:pt x="642" y="223"/>
                    <a:pt x="600" y="198"/>
                  </a:cubicBezTo>
                  <a:cubicBezTo>
                    <a:pt x="561" y="170"/>
                    <a:pt x="511"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3" name="Freeform 20">
              <a:extLst>
                <a:ext uri="{FF2B5EF4-FFF2-40B4-BE49-F238E27FC236}">
                  <a16:creationId xmlns:a16="http://schemas.microsoft.com/office/drawing/2014/main" id="{2E9B9610-9A08-0447-AD11-5AAA13296216}"/>
                </a:ext>
              </a:extLst>
            </p:cNvPr>
            <p:cNvSpPr>
              <a:spLocks noChangeArrowheads="1"/>
            </p:cNvSpPr>
            <p:nvPr userDrawn="1"/>
          </p:nvSpPr>
          <p:spPr bwMode="auto">
            <a:xfrm>
              <a:off x="2214563" y="3743325"/>
              <a:ext cx="266700" cy="312738"/>
            </a:xfrm>
            <a:custGeom>
              <a:avLst/>
              <a:gdLst>
                <a:gd name="T0" fmla="*/ 603 w 743"/>
                <a:gd name="T1" fmla="*/ 222 h 870"/>
                <a:gd name="T2" fmla="*/ 603 w 743"/>
                <a:gd name="T3" fmla="*/ 222 h 870"/>
                <a:gd name="T4" fmla="*/ 500 w 743"/>
                <a:gd name="T5" fmla="*/ 161 h 870"/>
                <a:gd name="T6" fmla="*/ 381 w 743"/>
                <a:gd name="T7" fmla="*/ 147 h 870"/>
                <a:gd name="T8" fmla="*/ 250 w 743"/>
                <a:gd name="T9" fmla="*/ 169 h 870"/>
                <a:gd name="T10" fmla="*/ 203 w 743"/>
                <a:gd name="T11" fmla="*/ 244 h 870"/>
                <a:gd name="T12" fmla="*/ 253 w 743"/>
                <a:gd name="T13" fmla="*/ 319 h 870"/>
                <a:gd name="T14" fmla="*/ 386 w 743"/>
                <a:gd name="T15" fmla="*/ 349 h 870"/>
                <a:gd name="T16" fmla="*/ 506 w 743"/>
                <a:gd name="T17" fmla="*/ 366 h 870"/>
                <a:gd name="T18" fmla="*/ 622 w 743"/>
                <a:gd name="T19" fmla="*/ 405 h 870"/>
                <a:gd name="T20" fmla="*/ 708 w 743"/>
                <a:gd name="T21" fmla="*/ 480 h 870"/>
                <a:gd name="T22" fmla="*/ 742 w 743"/>
                <a:gd name="T23" fmla="*/ 608 h 870"/>
                <a:gd name="T24" fmla="*/ 717 w 743"/>
                <a:gd name="T25" fmla="*/ 713 h 870"/>
                <a:gd name="T26" fmla="*/ 645 w 743"/>
                <a:gd name="T27" fmla="*/ 797 h 870"/>
                <a:gd name="T28" fmla="*/ 531 w 743"/>
                <a:gd name="T29" fmla="*/ 849 h 870"/>
                <a:gd name="T30" fmla="*/ 383 w 743"/>
                <a:gd name="T31" fmla="*/ 869 h 870"/>
                <a:gd name="T32" fmla="*/ 184 w 743"/>
                <a:gd name="T33" fmla="*/ 838 h 870"/>
                <a:gd name="T34" fmla="*/ 0 w 743"/>
                <a:gd name="T35" fmla="*/ 716 h 870"/>
                <a:gd name="T36" fmla="*/ 92 w 743"/>
                <a:gd name="T37" fmla="*/ 597 h 870"/>
                <a:gd name="T38" fmla="*/ 231 w 743"/>
                <a:gd name="T39" fmla="*/ 688 h 870"/>
                <a:gd name="T40" fmla="*/ 386 w 743"/>
                <a:gd name="T41" fmla="*/ 719 h 870"/>
                <a:gd name="T42" fmla="*/ 450 w 743"/>
                <a:gd name="T43" fmla="*/ 713 h 870"/>
                <a:gd name="T44" fmla="*/ 506 w 743"/>
                <a:gd name="T45" fmla="*/ 694 h 870"/>
                <a:gd name="T46" fmla="*/ 550 w 743"/>
                <a:gd name="T47" fmla="*/ 661 h 870"/>
                <a:gd name="T48" fmla="*/ 567 w 743"/>
                <a:gd name="T49" fmla="*/ 611 h 870"/>
                <a:gd name="T50" fmla="*/ 517 w 743"/>
                <a:gd name="T51" fmla="*/ 530 h 870"/>
                <a:gd name="T52" fmla="*/ 372 w 743"/>
                <a:gd name="T53" fmla="*/ 497 h 870"/>
                <a:gd name="T54" fmla="*/ 250 w 743"/>
                <a:gd name="T55" fmla="*/ 477 h 870"/>
                <a:gd name="T56" fmla="*/ 142 w 743"/>
                <a:gd name="T57" fmla="*/ 436 h 870"/>
                <a:gd name="T58" fmla="*/ 61 w 743"/>
                <a:gd name="T59" fmla="*/ 363 h 870"/>
                <a:gd name="T60" fmla="*/ 28 w 743"/>
                <a:gd name="T61" fmla="*/ 249 h 870"/>
                <a:gd name="T62" fmla="*/ 61 w 743"/>
                <a:gd name="T63" fmla="*/ 133 h 870"/>
                <a:gd name="T64" fmla="*/ 145 w 743"/>
                <a:gd name="T65" fmla="*/ 55 h 870"/>
                <a:gd name="T66" fmla="*/ 258 w 743"/>
                <a:gd name="T67" fmla="*/ 11 h 870"/>
                <a:gd name="T68" fmla="*/ 378 w 743"/>
                <a:gd name="T69" fmla="*/ 0 h 870"/>
                <a:gd name="T70" fmla="*/ 553 w 743"/>
                <a:gd name="T71" fmla="*/ 22 h 870"/>
                <a:gd name="T72" fmla="*/ 703 w 743"/>
                <a:gd name="T73" fmla="*/ 108 h 870"/>
                <a:gd name="T74" fmla="*/ 603 w 743"/>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3" h="870">
                  <a:moveTo>
                    <a:pt x="603" y="222"/>
                  </a:moveTo>
                  <a:lnTo>
                    <a:pt x="603" y="222"/>
                  </a:lnTo>
                  <a:cubicBezTo>
                    <a:pt x="572" y="191"/>
                    <a:pt x="536" y="172"/>
                    <a:pt x="500" y="161"/>
                  </a:cubicBezTo>
                  <a:cubicBezTo>
                    <a:pt x="464" y="149"/>
                    <a:pt x="425" y="147"/>
                    <a:pt x="381" y="147"/>
                  </a:cubicBezTo>
                  <a:cubicBezTo>
                    <a:pt x="328" y="144"/>
                    <a:pt x="284" y="152"/>
                    <a:pt x="250" y="169"/>
                  </a:cubicBezTo>
                  <a:cubicBezTo>
                    <a:pt x="220" y="188"/>
                    <a:pt x="203" y="211"/>
                    <a:pt x="203" y="244"/>
                  </a:cubicBezTo>
                  <a:cubicBezTo>
                    <a:pt x="203" y="280"/>
                    <a:pt x="220" y="302"/>
                    <a:pt x="253" y="319"/>
                  </a:cubicBezTo>
                  <a:cubicBezTo>
                    <a:pt x="286" y="333"/>
                    <a:pt x="331" y="344"/>
                    <a:pt x="386" y="349"/>
                  </a:cubicBezTo>
                  <a:cubicBezTo>
                    <a:pt x="425" y="352"/>
                    <a:pt x="464" y="358"/>
                    <a:pt x="506" y="366"/>
                  </a:cubicBezTo>
                  <a:cubicBezTo>
                    <a:pt x="550" y="372"/>
                    <a:pt x="586" y="386"/>
                    <a:pt x="622" y="405"/>
                  </a:cubicBezTo>
                  <a:cubicBezTo>
                    <a:pt x="658" y="422"/>
                    <a:pt x="686" y="447"/>
                    <a:pt x="708" y="480"/>
                  </a:cubicBezTo>
                  <a:cubicBezTo>
                    <a:pt x="731" y="513"/>
                    <a:pt x="742" y="555"/>
                    <a:pt x="742" y="608"/>
                  </a:cubicBezTo>
                  <a:cubicBezTo>
                    <a:pt x="742" y="647"/>
                    <a:pt x="733" y="683"/>
                    <a:pt x="717" y="713"/>
                  </a:cubicBezTo>
                  <a:cubicBezTo>
                    <a:pt x="700" y="747"/>
                    <a:pt x="675" y="774"/>
                    <a:pt x="645" y="797"/>
                  </a:cubicBezTo>
                  <a:cubicBezTo>
                    <a:pt x="614" y="819"/>
                    <a:pt x="575" y="838"/>
                    <a:pt x="531" y="849"/>
                  </a:cubicBezTo>
                  <a:cubicBezTo>
                    <a:pt x="486" y="863"/>
                    <a:pt x="439" y="869"/>
                    <a:pt x="383" y="869"/>
                  </a:cubicBezTo>
                  <a:cubicBezTo>
                    <a:pt x="317" y="869"/>
                    <a:pt x="247" y="858"/>
                    <a:pt x="184" y="838"/>
                  </a:cubicBezTo>
                  <a:cubicBezTo>
                    <a:pt x="117" y="819"/>
                    <a:pt x="56" y="777"/>
                    <a:pt x="0" y="716"/>
                  </a:cubicBezTo>
                  <a:cubicBezTo>
                    <a:pt x="92" y="597"/>
                    <a:pt x="92" y="597"/>
                    <a:pt x="92" y="597"/>
                  </a:cubicBezTo>
                  <a:cubicBezTo>
                    <a:pt x="131" y="638"/>
                    <a:pt x="178" y="669"/>
                    <a:pt x="231" y="688"/>
                  </a:cubicBezTo>
                  <a:cubicBezTo>
                    <a:pt x="286" y="708"/>
                    <a:pt x="336" y="719"/>
                    <a:pt x="386" y="719"/>
                  </a:cubicBezTo>
                  <a:cubicBezTo>
                    <a:pt x="408" y="719"/>
                    <a:pt x="428" y="716"/>
                    <a:pt x="450" y="713"/>
                  </a:cubicBezTo>
                  <a:cubicBezTo>
                    <a:pt x="470" y="708"/>
                    <a:pt x="489" y="702"/>
                    <a:pt x="506" y="694"/>
                  </a:cubicBezTo>
                  <a:cubicBezTo>
                    <a:pt x="522" y="686"/>
                    <a:pt x="539" y="674"/>
                    <a:pt x="550" y="661"/>
                  </a:cubicBezTo>
                  <a:cubicBezTo>
                    <a:pt x="561" y="647"/>
                    <a:pt x="567" y="630"/>
                    <a:pt x="567" y="611"/>
                  </a:cubicBezTo>
                  <a:cubicBezTo>
                    <a:pt x="567" y="574"/>
                    <a:pt x="550" y="547"/>
                    <a:pt x="517" y="530"/>
                  </a:cubicBezTo>
                  <a:cubicBezTo>
                    <a:pt x="483" y="513"/>
                    <a:pt x="433" y="502"/>
                    <a:pt x="372" y="497"/>
                  </a:cubicBezTo>
                  <a:cubicBezTo>
                    <a:pt x="331" y="494"/>
                    <a:pt x="292" y="486"/>
                    <a:pt x="250" y="477"/>
                  </a:cubicBezTo>
                  <a:cubicBezTo>
                    <a:pt x="211" y="469"/>
                    <a:pt x="175" y="455"/>
                    <a:pt x="142" y="436"/>
                  </a:cubicBezTo>
                  <a:cubicBezTo>
                    <a:pt x="109" y="416"/>
                    <a:pt x="81" y="394"/>
                    <a:pt x="61" y="363"/>
                  </a:cubicBezTo>
                  <a:cubicBezTo>
                    <a:pt x="39" y="333"/>
                    <a:pt x="28" y="294"/>
                    <a:pt x="28" y="249"/>
                  </a:cubicBezTo>
                  <a:cubicBezTo>
                    <a:pt x="28" y="202"/>
                    <a:pt x="39" y="166"/>
                    <a:pt x="61" y="133"/>
                  </a:cubicBezTo>
                  <a:cubicBezTo>
                    <a:pt x="84" y="102"/>
                    <a:pt x="111" y="74"/>
                    <a:pt x="145" y="55"/>
                  </a:cubicBezTo>
                  <a:cubicBezTo>
                    <a:pt x="178" y="36"/>
                    <a:pt x="217" y="22"/>
                    <a:pt x="258" y="11"/>
                  </a:cubicBezTo>
                  <a:cubicBezTo>
                    <a:pt x="297" y="2"/>
                    <a:pt x="339" y="0"/>
                    <a:pt x="378" y="0"/>
                  </a:cubicBezTo>
                  <a:cubicBezTo>
                    <a:pt x="445" y="0"/>
                    <a:pt x="503" y="8"/>
                    <a:pt x="553" y="22"/>
                  </a:cubicBezTo>
                  <a:cubicBezTo>
                    <a:pt x="606" y="38"/>
                    <a:pt x="656" y="66"/>
                    <a:pt x="703" y="108"/>
                  </a:cubicBezTo>
                  <a:lnTo>
                    <a:pt x="603"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4" name="Freeform 21">
              <a:extLst>
                <a:ext uri="{FF2B5EF4-FFF2-40B4-BE49-F238E27FC236}">
                  <a16:creationId xmlns:a16="http://schemas.microsoft.com/office/drawing/2014/main" id="{E70BD038-26E5-9A48-804A-252A946F509E}"/>
                </a:ext>
              </a:extLst>
            </p:cNvPr>
            <p:cNvSpPr>
              <a:spLocks noChangeArrowheads="1"/>
            </p:cNvSpPr>
            <p:nvPr userDrawn="1"/>
          </p:nvSpPr>
          <p:spPr bwMode="auto">
            <a:xfrm>
              <a:off x="2698750" y="3749675"/>
              <a:ext cx="63500" cy="298450"/>
            </a:xfrm>
            <a:custGeom>
              <a:avLst/>
              <a:gdLst>
                <a:gd name="T0" fmla="*/ 175 w 176"/>
                <a:gd name="T1" fmla="*/ 828 h 829"/>
                <a:gd name="T2" fmla="*/ 0 w 176"/>
                <a:gd name="T3" fmla="*/ 828 h 829"/>
                <a:gd name="T4" fmla="*/ 0 w 176"/>
                <a:gd name="T5" fmla="*/ 0 h 829"/>
                <a:gd name="T6" fmla="*/ 175 w 176"/>
                <a:gd name="T7" fmla="*/ 0 h 829"/>
                <a:gd name="T8" fmla="*/ 175 w 176"/>
                <a:gd name="T9" fmla="*/ 828 h 829"/>
              </a:gdLst>
              <a:ahLst/>
              <a:cxnLst>
                <a:cxn ang="0">
                  <a:pos x="T0" y="T1"/>
                </a:cxn>
                <a:cxn ang="0">
                  <a:pos x="T2" y="T3"/>
                </a:cxn>
                <a:cxn ang="0">
                  <a:pos x="T4" y="T5"/>
                </a:cxn>
                <a:cxn ang="0">
                  <a:pos x="T6" y="T7"/>
                </a:cxn>
                <a:cxn ang="0">
                  <a:pos x="T8" y="T9"/>
                </a:cxn>
              </a:cxnLst>
              <a:rect l="0" t="0" r="r" b="b"/>
              <a:pathLst>
                <a:path w="176" h="829">
                  <a:moveTo>
                    <a:pt x="175" y="828"/>
                  </a:moveTo>
                  <a:lnTo>
                    <a:pt x="0" y="828"/>
                  </a:lnTo>
                  <a:lnTo>
                    <a:pt x="0" y="0"/>
                  </a:lnTo>
                  <a:lnTo>
                    <a:pt x="175" y="0"/>
                  </a:lnTo>
                  <a:lnTo>
                    <a:pt x="175" y="828"/>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5" name="Freeform 22">
              <a:extLst>
                <a:ext uri="{FF2B5EF4-FFF2-40B4-BE49-F238E27FC236}">
                  <a16:creationId xmlns:a16="http://schemas.microsoft.com/office/drawing/2014/main" id="{EC45D851-8B05-F549-BB5A-3E56A84A68CF}"/>
                </a:ext>
              </a:extLst>
            </p:cNvPr>
            <p:cNvSpPr>
              <a:spLocks noChangeArrowheads="1"/>
            </p:cNvSpPr>
            <p:nvPr userDrawn="1"/>
          </p:nvSpPr>
          <p:spPr bwMode="auto">
            <a:xfrm>
              <a:off x="2822575" y="3665538"/>
              <a:ext cx="223838" cy="385762"/>
            </a:xfrm>
            <a:custGeom>
              <a:avLst/>
              <a:gdLst>
                <a:gd name="T0" fmla="*/ 342 w 620"/>
                <a:gd name="T1" fmla="*/ 0 h 1073"/>
                <a:gd name="T2" fmla="*/ 342 w 620"/>
                <a:gd name="T3" fmla="*/ 0 h 1073"/>
                <a:gd name="T4" fmla="*/ 342 w 620"/>
                <a:gd name="T5" fmla="*/ 239 h 1073"/>
                <a:gd name="T6" fmla="*/ 586 w 620"/>
                <a:gd name="T7" fmla="*/ 239 h 1073"/>
                <a:gd name="T8" fmla="*/ 586 w 620"/>
                <a:gd name="T9" fmla="*/ 389 h 1073"/>
                <a:gd name="T10" fmla="*/ 339 w 620"/>
                <a:gd name="T11" fmla="*/ 389 h 1073"/>
                <a:gd name="T12" fmla="*/ 339 w 620"/>
                <a:gd name="T13" fmla="*/ 780 h 1073"/>
                <a:gd name="T14" fmla="*/ 369 w 620"/>
                <a:gd name="T15" fmla="*/ 880 h 1073"/>
                <a:gd name="T16" fmla="*/ 461 w 620"/>
                <a:gd name="T17" fmla="*/ 917 h 1073"/>
                <a:gd name="T18" fmla="*/ 514 w 620"/>
                <a:gd name="T19" fmla="*/ 908 h 1073"/>
                <a:gd name="T20" fmla="*/ 566 w 620"/>
                <a:gd name="T21" fmla="*/ 886 h 1073"/>
                <a:gd name="T22" fmla="*/ 619 w 620"/>
                <a:gd name="T23" fmla="*/ 1033 h 1073"/>
                <a:gd name="T24" fmla="*/ 533 w 620"/>
                <a:gd name="T25" fmla="*/ 1061 h 1073"/>
                <a:gd name="T26" fmla="*/ 450 w 620"/>
                <a:gd name="T27" fmla="*/ 1072 h 1073"/>
                <a:gd name="T28" fmla="*/ 236 w 620"/>
                <a:gd name="T29" fmla="*/ 1000 h 1073"/>
                <a:gd name="T30" fmla="*/ 164 w 620"/>
                <a:gd name="T31" fmla="*/ 780 h 1073"/>
                <a:gd name="T32" fmla="*/ 164 w 620"/>
                <a:gd name="T33" fmla="*/ 389 h 1073"/>
                <a:gd name="T34" fmla="*/ 0 w 620"/>
                <a:gd name="T35" fmla="*/ 389 h 1073"/>
                <a:gd name="T36" fmla="*/ 0 w 620"/>
                <a:gd name="T37" fmla="*/ 239 h 1073"/>
                <a:gd name="T38" fmla="*/ 164 w 620"/>
                <a:gd name="T39" fmla="*/ 239 h 1073"/>
                <a:gd name="T40" fmla="*/ 164 w 620"/>
                <a:gd name="T41" fmla="*/ 19 h 1073"/>
                <a:gd name="T42" fmla="*/ 342 w 620"/>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0" h="1073">
                  <a:moveTo>
                    <a:pt x="342" y="0"/>
                  </a:moveTo>
                  <a:lnTo>
                    <a:pt x="342" y="0"/>
                  </a:lnTo>
                  <a:cubicBezTo>
                    <a:pt x="342" y="239"/>
                    <a:pt x="342" y="239"/>
                    <a:pt x="342" y="239"/>
                  </a:cubicBezTo>
                  <a:cubicBezTo>
                    <a:pt x="586" y="239"/>
                    <a:pt x="586" y="239"/>
                    <a:pt x="586" y="239"/>
                  </a:cubicBezTo>
                  <a:cubicBezTo>
                    <a:pt x="586" y="389"/>
                    <a:pt x="586" y="389"/>
                    <a:pt x="586" y="389"/>
                  </a:cubicBezTo>
                  <a:cubicBezTo>
                    <a:pt x="339" y="389"/>
                    <a:pt x="339" y="389"/>
                    <a:pt x="339" y="389"/>
                  </a:cubicBezTo>
                  <a:cubicBezTo>
                    <a:pt x="339" y="780"/>
                    <a:pt x="339" y="780"/>
                    <a:pt x="339" y="780"/>
                  </a:cubicBezTo>
                  <a:cubicBezTo>
                    <a:pt x="339" y="825"/>
                    <a:pt x="350" y="858"/>
                    <a:pt x="369" y="880"/>
                  </a:cubicBezTo>
                  <a:cubicBezTo>
                    <a:pt x="389" y="905"/>
                    <a:pt x="419" y="917"/>
                    <a:pt x="461" y="917"/>
                  </a:cubicBezTo>
                  <a:cubicBezTo>
                    <a:pt x="478" y="917"/>
                    <a:pt x="494" y="914"/>
                    <a:pt x="514" y="908"/>
                  </a:cubicBezTo>
                  <a:cubicBezTo>
                    <a:pt x="533" y="903"/>
                    <a:pt x="550" y="897"/>
                    <a:pt x="566" y="886"/>
                  </a:cubicBezTo>
                  <a:cubicBezTo>
                    <a:pt x="619" y="1033"/>
                    <a:pt x="619" y="1033"/>
                    <a:pt x="619" y="1033"/>
                  </a:cubicBezTo>
                  <a:cubicBezTo>
                    <a:pt x="589" y="1047"/>
                    <a:pt x="561" y="1055"/>
                    <a:pt x="533" y="1061"/>
                  </a:cubicBezTo>
                  <a:cubicBezTo>
                    <a:pt x="508" y="1069"/>
                    <a:pt x="480" y="1072"/>
                    <a:pt x="450" y="1072"/>
                  </a:cubicBezTo>
                  <a:cubicBezTo>
                    <a:pt x="358" y="1072"/>
                    <a:pt x="286" y="1050"/>
                    <a:pt x="236" y="1000"/>
                  </a:cubicBezTo>
                  <a:cubicBezTo>
                    <a:pt x="189" y="953"/>
                    <a:pt x="164" y="878"/>
                    <a:pt x="164" y="780"/>
                  </a:cubicBezTo>
                  <a:cubicBezTo>
                    <a:pt x="164" y="389"/>
                    <a:pt x="164" y="389"/>
                    <a:pt x="164" y="389"/>
                  </a:cubicBezTo>
                  <a:cubicBezTo>
                    <a:pt x="0" y="389"/>
                    <a:pt x="0" y="389"/>
                    <a:pt x="0" y="389"/>
                  </a:cubicBezTo>
                  <a:cubicBezTo>
                    <a:pt x="0" y="239"/>
                    <a:pt x="0" y="239"/>
                    <a:pt x="0" y="239"/>
                  </a:cubicBezTo>
                  <a:cubicBezTo>
                    <a:pt x="164" y="239"/>
                    <a:pt x="164" y="239"/>
                    <a:pt x="164" y="239"/>
                  </a:cubicBezTo>
                  <a:cubicBezTo>
                    <a:pt x="164" y="19"/>
                    <a:pt x="164" y="19"/>
                    <a:pt x="164" y="19"/>
                  </a:cubicBezTo>
                  <a:lnTo>
                    <a:pt x="342"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6" name="Freeform 23">
              <a:extLst>
                <a:ext uri="{FF2B5EF4-FFF2-40B4-BE49-F238E27FC236}">
                  <a16:creationId xmlns:a16="http://schemas.microsoft.com/office/drawing/2014/main" id="{AA995A18-2D95-0E43-B94A-3DA3DCDB513C}"/>
                </a:ext>
              </a:extLst>
            </p:cNvPr>
            <p:cNvSpPr>
              <a:spLocks noChangeArrowheads="1"/>
            </p:cNvSpPr>
            <p:nvPr userDrawn="1"/>
          </p:nvSpPr>
          <p:spPr bwMode="auto">
            <a:xfrm>
              <a:off x="3208338" y="3749675"/>
              <a:ext cx="492125" cy="298450"/>
            </a:xfrm>
            <a:custGeom>
              <a:avLst/>
              <a:gdLst>
                <a:gd name="T0" fmla="*/ 761 w 1368"/>
                <a:gd name="T1" fmla="*/ 0 h 829"/>
                <a:gd name="T2" fmla="*/ 961 w 1368"/>
                <a:gd name="T3" fmla="*/ 647 h 829"/>
                <a:gd name="T4" fmla="*/ 1169 w 1368"/>
                <a:gd name="T5" fmla="*/ 0 h 829"/>
                <a:gd name="T6" fmla="*/ 1367 w 1368"/>
                <a:gd name="T7" fmla="*/ 0 h 829"/>
                <a:gd name="T8" fmla="*/ 1072 w 1368"/>
                <a:gd name="T9" fmla="*/ 828 h 829"/>
                <a:gd name="T10" fmla="*/ 867 w 1368"/>
                <a:gd name="T11" fmla="*/ 828 h 829"/>
                <a:gd name="T12" fmla="*/ 767 w 1368"/>
                <a:gd name="T13" fmla="*/ 555 h 829"/>
                <a:gd name="T14" fmla="*/ 686 w 1368"/>
                <a:gd name="T15" fmla="*/ 267 h 829"/>
                <a:gd name="T16" fmla="*/ 603 w 1368"/>
                <a:gd name="T17" fmla="*/ 555 h 829"/>
                <a:gd name="T18" fmla="*/ 503 w 1368"/>
                <a:gd name="T19" fmla="*/ 828 h 829"/>
                <a:gd name="T20" fmla="*/ 297 w 1368"/>
                <a:gd name="T21" fmla="*/ 828 h 829"/>
                <a:gd name="T22" fmla="*/ 0 w 1368"/>
                <a:gd name="T23" fmla="*/ 0 h 829"/>
                <a:gd name="T24" fmla="*/ 200 w 1368"/>
                <a:gd name="T25" fmla="*/ 0 h 829"/>
                <a:gd name="T26" fmla="*/ 408 w 1368"/>
                <a:gd name="T27" fmla="*/ 647 h 829"/>
                <a:gd name="T28" fmla="*/ 608 w 1368"/>
                <a:gd name="T29" fmla="*/ 0 h 829"/>
                <a:gd name="T30" fmla="*/ 761 w 1368"/>
                <a:gd name="T31" fmla="*/ 0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8" h="829">
                  <a:moveTo>
                    <a:pt x="761" y="0"/>
                  </a:moveTo>
                  <a:lnTo>
                    <a:pt x="961" y="647"/>
                  </a:lnTo>
                  <a:lnTo>
                    <a:pt x="1169" y="0"/>
                  </a:lnTo>
                  <a:lnTo>
                    <a:pt x="1367" y="0"/>
                  </a:lnTo>
                  <a:lnTo>
                    <a:pt x="1072" y="828"/>
                  </a:lnTo>
                  <a:lnTo>
                    <a:pt x="867" y="828"/>
                  </a:lnTo>
                  <a:lnTo>
                    <a:pt x="767" y="555"/>
                  </a:lnTo>
                  <a:lnTo>
                    <a:pt x="686" y="267"/>
                  </a:lnTo>
                  <a:lnTo>
                    <a:pt x="603" y="555"/>
                  </a:lnTo>
                  <a:lnTo>
                    <a:pt x="503" y="828"/>
                  </a:lnTo>
                  <a:lnTo>
                    <a:pt x="297" y="828"/>
                  </a:lnTo>
                  <a:lnTo>
                    <a:pt x="0" y="0"/>
                  </a:lnTo>
                  <a:lnTo>
                    <a:pt x="200" y="0"/>
                  </a:lnTo>
                  <a:lnTo>
                    <a:pt x="408" y="647"/>
                  </a:lnTo>
                  <a:lnTo>
                    <a:pt x="608" y="0"/>
                  </a:lnTo>
                  <a:lnTo>
                    <a:pt x="761"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7" name="Freeform 24">
              <a:extLst>
                <a:ext uri="{FF2B5EF4-FFF2-40B4-BE49-F238E27FC236}">
                  <a16:creationId xmlns:a16="http://schemas.microsoft.com/office/drawing/2014/main" id="{70EEA587-2306-EB49-8FE3-42EBD34E90A9}"/>
                </a:ext>
              </a:extLst>
            </p:cNvPr>
            <p:cNvSpPr>
              <a:spLocks noChangeArrowheads="1"/>
            </p:cNvSpPr>
            <p:nvPr userDrawn="1"/>
          </p:nvSpPr>
          <p:spPr bwMode="auto">
            <a:xfrm>
              <a:off x="37322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3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8" y="147"/>
                    <a:pt x="127" y="111"/>
                  </a:cubicBezTo>
                  <a:cubicBezTo>
                    <a:pt x="166" y="75"/>
                    <a:pt x="211" y="48"/>
                    <a:pt x="263"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38" y="636"/>
                    <a:pt x="669" y="603"/>
                    <a:pt x="691" y="561"/>
                  </a:cubicBezTo>
                  <a:cubicBezTo>
                    <a:pt x="711" y="522"/>
                    <a:pt x="722" y="478"/>
                    <a:pt x="722" y="431"/>
                  </a:cubicBezTo>
                  <a:cubicBezTo>
                    <a:pt x="722" y="384"/>
                    <a:pt x="711" y="339"/>
                    <a:pt x="691" y="298"/>
                  </a:cubicBezTo>
                  <a:cubicBezTo>
                    <a:pt x="669" y="259"/>
                    <a:pt x="638"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8" name="Freeform 25">
              <a:extLst>
                <a:ext uri="{FF2B5EF4-FFF2-40B4-BE49-F238E27FC236}">
                  <a16:creationId xmlns:a16="http://schemas.microsoft.com/office/drawing/2014/main" id="{72CD9F3A-AD63-334C-8F13-F68D61A86EBC}"/>
                </a:ext>
              </a:extLst>
            </p:cNvPr>
            <p:cNvSpPr>
              <a:spLocks noChangeArrowheads="1"/>
            </p:cNvSpPr>
            <p:nvPr userDrawn="1"/>
          </p:nvSpPr>
          <p:spPr bwMode="auto">
            <a:xfrm>
              <a:off x="4116388" y="3743325"/>
              <a:ext cx="268287" cy="312738"/>
            </a:xfrm>
            <a:custGeom>
              <a:avLst/>
              <a:gdLst>
                <a:gd name="T0" fmla="*/ 605 w 745"/>
                <a:gd name="T1" fmla="*/ 222 h 870"/>
                <a:gd name="T2" fmla="*/ 605 w 745"/>
                <a:gd name="T3" fmla="*/ 222 h 870"/>
                <a:gd name="T4" fmla="*/ 500 w 745"/>
                <a:gd name="T5" fmla="*/ 161 h 870"/>
                <a:gd name="T6" fmla="*/ 383 w 745"/>
                <a:gd name="T7" fmla="*/ 147 h 870"/>
                <a:gd name="T8" fmla="*/ 253 w 745"/>
                <a:gd name="T9" fmla="*/ 169 h 870"/>
                <a:gd name="T10" fmla="*/ 203 w 745"/>
                <a:gd name="T11" fmla="*/ 244 h 870"/>
                <a:gd name="T12" fmla="*/ 256 w 745"/>
                <a:gd name="T13" fmla="*/ 319 h 870"/>
                <a:gd name="T14" fmla="*/ 386 w 745"/>
                <a:gd name="T15" fmla="*/ 349 h 870"/>
                <a:gd name="T16" fmla="*/ 508 w 745"/>
                <a:gd name="T17" fmla="*/ 366 h 870"/>
                <a:gd name="T18" fmla="*/ 625 w 745"/>
                <a:gd name="T19" fmla="*/ 405 h 870"/>
                <a:gd name="T20" fmla="*/ 711 w 745"/>
                <a:gd name="T21" fmla="*/ 480 h 870"/>
                <a:gd name="T22" fmla="*/ 744 w 745"/>
                <a:gd name="T23" fmla="*/ 608 h 870"/>
                <a:gd name="T24" fmla="*/ 717 w 745"/>
                <a:gd name="T25" fmla="*/ 713 h 870"/>
                <a:gd name="T26" fmla="*/ 644 w 745"/>
                <a:gd name="T27" fmla="*/ 797 h 870"/>
                <a:gd name="T28" fmla="*/ 533 w 745"/>
                <a:gd name="T29" fmla="*/ 849 h 870"/>
                <a:gd name="T30" fmla="*/ 386 w 745"/>
                <a:gd name="T31" fmla="*/ 869 h 870"/>
                <a:gd name="T32" fmla="*/ 183 w 745"/>
                <a:gd name="T33" fmla="*/ 838 h 870"/>
                <a:gd name="T34" fmla="*/ 0 w 745"/>
                <a:gd name="T35" fmla="*/ 716 h 870"/>
                <a:gd name="T36" fmla="*/ 92 w 745"/>
                <a:gd name="T37" fmla="*/ 597 h 870"/>
                <a:gd name="T38" fmla="*/ 233 w 745"/>
                <a:gd name="T39" fmla="*/ 688 h 870"/>
                <a:gd name="T40" fmla="*/ 389 w 745"/>
                <a:gd name="T41" fmla="*/ 719 h 870"/>
                <a:gd name="T42" fmla="*/ 450 w 745"/>
                <a:gd name="T43" fmla="*/ 713 h 870"/>
                <a:gd name="T44" fmla="*/ 508 w 745"/>
                <a:gd name="T45" fmla="*/ 694 h 870"/>
                <a:gd name="T46" fmla="*/ 550 w 745"/>
                <a:gd name="T47" fmla="*/ 661 h 870"/>
                <a:gd name="T48" fmla="*/ 567 w 745"/>
                <a:gd name="T49" fmla="*/ 611 h 870"/>
                <a:gd name="T50" fmla="*/ 519 w 745"/>
                <a:gd name="T51" fmla="*/ 530 h 870"/>
                <a:gd name="T52" fmla="*/ 372 w 745"/>
                <a:gd name="T53" fmla="*/ 497 h 870"/>
                <a:gd name="T54" fmla="*/ 253 w 745"/>
                <a:gd name="T55" fmla="*/ 477 h 870"/>
                <a:gd name="T56" fmla="*/ 142 w 745"/>
                <a:gd name="T57" fmla="*/ 436 h 870"/>
                <a:gd name="T58" fmla="*/ 61 w 745"/>
                <a:gd name="T59" fmla="*/ 363 h 870"/>
                <a:gd name="T60" fmla="*/ 30 w 745"/>
                <a:gd name="T61" fmla="*/ 249 h 870"/>
                <a:gd name="T62" fmla="*/ 61 w 745"/>
                <a:gd name="T63" fmla="*/ 133 h 870"/>
                <a:gd name="T64" fmla="*/ 147 w 745"/>
                <a:gd name="T65" fmla="*/ 55 h 870"/>
                <a:gd name="T66" fmla="*/ 258 w 745"/>
                <a:gd name="T67" fmla="*/ 11 h 870"/>
                <a:gd name="T68" fmla="*/ 381 w 745"/>
                <a:gd name="T69" fmla="*/ 0 h 870"/>
                <a:gd name="T70" fmla="*/ 556 w 745"/>
                <a:gd name="T71" fmla="*/ 22 h 870"/>
                <a:gd name="T72" fmla="*/ 705 w 745"/>
                <a:gd name="T73" fmla="*/ 108 h 870"/>
                <a:gd name="T74" fmla="*/ 605 w 745"/>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5" h="870">
                  <a:moveTo>
                    <a:pt x="605" y="222"/>
                  </a:moveTo>
                  <a:lnTo>
                    <a:pt x="605" y="222"/>
                  </a:lnTo>
                  <a:cubicBezTo>
                    <a:pt x="572" y="191"/>
                    <a:pt x="536" y="172"/>
                    <a:pt x="500" y="161"/>
                  </a:cubicBezTo>
                  <a:cubicBezTo>
                    <a:pt x="464" y="149"/>
                    <a:pt x="425" y="147"/>
                    <a:pt x="383" y="147"/>
                  </a:cubicBezTo>
                  <a:cubicBezTo>
                    <a:pt x="328" y="144"/>
                    <a:pt x="286" y="152"/>
                    <a:pt x="253" y="169"/>
                  </a:cubicBezTo>
                  <a:cubicBezTo>
                    <a:pt x="219" y="188"/>
                    <a:pt x="203" y="211"/>
                    <a:pt x="203" y="244"/>
                  </a:cubicBezTo>
                  <a:cubicBezTo>
                    <a:pt x="206" y="280"/>
                    <a:pt x="222" y="302"/>
                    <a:pt x="256" y="319"/>
                  </a:cubicBezTo>
                  <a:cubicBezTo>
                    <a:pt x="289" y="333"/>
                    <a:pt x="333" y="344"/>
                    <a:pt x="386" y="349"/>
                  </a:cubicBezTo>
                  <a:cubicBezTo>
                    <a:pt x="425" y="352"/>
                    <a:pt x="467" y="358"/>
                    <a:pt x="508" y="366"/>
                  </a:cubicBezTo>
                  <a:cubicBezTo>
                    <a:pt x="550" y="372"/>
                    <a:pt x="589" y="386"/>
                    <a:pt x="625" y="405"/>
                  </a:cubicBezTo>
                  <a:cubicBezTo>
                    <a:pt x="658" y="422"/>
                    <a:pt x="689" y="447"/>
                    <a:pt x="711" y="480"/>
                  </a:cubicBezTo>
                  <a:cubicBezTo>
                    <a:pt x="733" y="513"/>
                    <a:pt x="744" y="555"/>
                    <a:pt x="744" y="608"/>
                  </a:cubicBezTo>
                  <a:cubicBezTo>
                    <a:pt x="744" y="647"/>
                    <a:pt x="736" y="683"/>
                    <a:pt x="717" y="713"/>
                  </a:cubicBezTo>
                  <a:cubicBezTo>
                    <a:pt x="700" y="747"/>
                    <a:pt x="678" y="774"/>
                    <a:pt x="644" y="797"/>
                  </a:cubicBezTo>
                  <a:cubicBezTo>
                    <a:pt x="614" y="819"/>
                    <a:pt x="578" y="838"/>
                    <a:pt x="533" y="849"/>
                  </a:cubicBezTo>
                  <a:cubicBezTo>
                    <a:pt x="489" y="863"/>
                    <a:pt x="439" y="869"/>
                    <a:pt x="386" y="869"/>
                  </a:cubicBezTo>
                  <a:cubicBezTo>
                    <a:pt x="317" y="869"/>
                    <a:pt x="250" y="858"/>
                    <a:pt x="183" y="838"/>
                  </a:cubicBezTo>
                  <a:cubicBezTo>
                    <a:pt x="117" y="819"/>
                    <a:pt x="56" y="777"/>
                    <a:pt x="0" y="716"/>
                  </a:cubicBezTo>
                  <a:cubicBezTo>
                    <a:pt x="92" y="597"/>
                    <a:pt x="92" y="597"/>
                    <a:pt x="92" y="597"/>
                  </a:cubicBezTo>
                  <a:cubicBezTo>
                    <a:pt x="133" y="638"/>
                    <a:pt x="181" y="669"/>
                    <a:pt x="233" y="688"/>
                  </a:cubicBezTo>
                  <a:cubicBezTo>
                    <a:pt x="286" y="708"/>
                    <a:pt x="339" y="719"/>
                    <a:pt x="389" y="719"/>
                  </a:cubicBezTo>
                  <a:cubicBezTo>
                    <a:pt x="408" y="719"/>
                    <a:pt x="430" y="716"/>
                    <a:pt x="450" y="713"/>
                  </a:cubicBezTo>
                  <a:cubicBezTo>
                    <a:pt x="472" y="708"/>
                    <a:pt x="492" y="702"/>
                    <a:pt x="508" y="694"/>
                  </a:cubicBezTo>
                  <a:cubicBezTo>
                    <a:pt x="525" y="686"/>
                    <a:pt x="539" y="674"/>
                    <a:pt x="550" y="661"/>
                  </a:cubicBezTo>
                  <a:cubicBezTo>
                    <a:pt x="561" y="647"/>
                    <a:pt x="567" y="630"/>
                    <a:pt x="567" y="611"/>
                  </a:cubicBezTo>
                  <a:cubicBezTo>
                    <a:pt x="569" y="574"/>
                    <a:pt x="553" y="547"/>
                    <a:pt x="519" y="530"/>
                  </a:cubicBezTo>
                  <a:cubicBezTo>
                    <a:pt x="483" y="513"/>
                    <a:pt x="436" y="502"/>
                    <a:pt x="372" y="497"/>
                  </a:cubicBezTo>
                  <a:cubicBezTo>
                    <a:pt x="333" y="494"/>
                    <a:pt x="292" y="486"/>
                    <a:pt x="253" y="477"/>
                  </a:cubicBezTo>
                  <a:cubicBezTo>
                    <a:pt x="211" y="469"/>
                    <a:pt x="175" y="455"/>
                    <a:pt x="142" y="436"/>
                  </a:cubicBezTo>
                  <a:cubicBezTo>
                    <a:pt x="108" y="416"/>
                    <a:pt x="83" y="394"/>
                    <a:pt x="61" y="363"/>
                  </a:cubicBezTo>
                  <a:cubicBezTo>
                    <a:pt x="42" y="333"/>
                    <a:pt x="30" y="294"/>
                    <a:pt x="30" y="249"/>
                  </a:cubicBezTo>
                  <a:cubicBezTo>
                    <a:pt x="30" y="202"/>
                    <a:pt x="42" y="166"/>
                    <a:pt x="61" y="133"/>
                  </a:cubicBezTo>
                  <a:cubicBezTo>
                    <a:pt x="83" y="102"/>
                    <a:pt x="111" y="74"/>
                    <a:pt x="147" y="55"/>
                  </a:cubicBezTo>
                  <a:cubicBezTo>
                    <a:pt x="181" y="36"/>
                    <a:pt x="217" y="22"/>
                    <a:pt x="258" y="11"/>
                  </a:cubicBezTo>
                  <a:cubicBezTo>
                    <a:pt x="300" y="2"/>
                    <a:pt x="339" y="0"/>
                    <a:pt x="381" y="0"/>
                  </a:cubicBezTo>
                  <a:cubicBezTo>
                    <a:pt x="444" y="0"/>
                    <a:pt x="503" y="8"/>
                    <a:pt x="556" y="22"/>
                  </a:cubicBezTo>
                  <a:cubicBezTo>
                    <a:pt x="605" y="38"/>
                    <a:pt x="656" y="66"/>
                    <a:pt x="705" y="108"/>
                  </a:cubicBezTo>
                  <a:lnTo>
                    <a:pt x="605" y="222"/>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9" name="Freeform 26">
              <a:extLst>
                <a:ext uri="{FF2B5EF4-FFF2-40B4-BE49-F238E27FC236}">
                  <a16:creationId xmlns:a16="http://schemas.microsoft.com/office/drawing/2014/main" id="{4AA9266C-9A95-AC43-A5B1-6FB5289A6E70}"/>
                </a:ext>
              </a:extLst>
            </p:cNvPr>
            <p:cNvSpPr>
              <a:spLocks noChangeArrowheads="1"/>
            </p:cNvSpPr>
            <p:nvPr userDrawn="1"/>
          </p:nvSpPr>
          <p:spPr bwMode="auto">
            <a:xfrm>
              <a:off x="4600575" y="3744913"/>
              <a:ext cx="476250" cy="301625"/>
            </a:xfrm>
            <a:custGeom>
              <a:avLst/>
              <a:gdLst>
                <a:gd name="T0" fmla="*/ 575 w 1322"/>
                <a:gd name="T1" fmla="*/ 839 h 840"/>
                <a:gd name="T2" fmla="*/ 575 w 1322"/>
                <a:gd name="T3" fmla="*/ 839 h 840"/>
                <a:gd name="T4" fmla="*/ 575 w 1322"/>
                <a:gd name="T5" fmla="*/ 386 h 840"/>
                <a:gd name="T6" fmla="*/ 564 w 1322"/>
                <a:gd name="T7" fmla="*/ 300 h 840"/>
                <a:gd name="T8" fmla="*/ 525 w 1322"/>
                <a:gd name="T9" fmla="*/ 228 h 840"/>
                <a:gd name="T10" fmla="*/ 461 w 1322"/>
                <a:gd name="T11" fmla="*/ 178 h 840"/>
                <a:gd name="T12" fmla="*/ 381 w 1322"/>
                <a:gd name="T13" fmla="*/ 161 h 840"/>
                <a:gd name="T14" fmla="*/ 295 w 1322"/>
                <a:gd name="T15" fmla="*/ 178 h 840"/>
                <a:gd name="T16" fmla="*/ 231 w 1322"/>
                <a:gd name="T17" fmla="*/ 228 h 840"/>
                <a:gd name="T18" fmla="*/ 192 w 1322"/>
                <a:gd name="T19" fmla="*/ 300 h 840"/>
                <a:gd name="T20" fmla="*/ 175 w 1322"/>
                <a:gd name="T21" fmla="*/ 386 h 840"/>
                <a:gd name="T22" fmla="*/ 175 w 1322"/>
                <a:gd name="T23" fmla="*/ 839 h 840"/>
                <a:gd name="T24" fmla="*/ 0 w 1322"/>
                <a:gd name="T25" fmla="*/ 839 h 840"/>
                <a:gd name="T26" fmla="*/ 0 w 1322"/>
                <a:gd name="T27" fmla="*/ 14 h 840"/>
                <a:gd name="T28" fmla="*/ 164 w 1322"/>
                <a:gd name="T29" fmla="*/ 14 h 840"/>
                <a:gd name="T30" fmla="*/ 175 w 1322"/>
                <a:gd name="T31" fmla="*/ 125 h 840"/>
                <a:gd name="T32" fmla="*/ 278 w 1322"/>
                <a:gd name="T33" fmla="*/ 28 h 840"/>
                <a:gd name="T34" fmla="*/ 411 w 1322"/>
                <a:gd name="T35" fmla="*/ 0 h 840"/>
                <a:gd name="T36" fmla="*/ 492 w 1322"/>
                <a:gd name="T37" fmla="*/ 8 h 840"/>
                <a:gd name="T38" fmla="*/ 567 w 1322"/>
                <a:gd name="T39" fmla="*/ 36 h 840"/>
                <a:gd name="T40" fmla="*/ 631 w 1322"/>
                <a:gd name="T41" fmla="*/ 89 h 840"/>
                <a:gd name="T42" fmla="*/ 675 w 1322"/>
                <a:gd name="T43" fmla="*/ 167 h 840"/>
                <a:gd name="T44" fmla="*/ 803 w 1322"/>
                <a:gd name="T45" fmla="*/ 39 h 840"/>
                <a:gd name="T46" fmla="*/ 964 w 1322"/>
                <a:gd name="T47" fmla="*/ 3 h 840"/>
                <a:gd name="T48" fmla="*/ 1230 w 1322"/>
                <a:gd name="T49" fmla="*/ 103 h 840"/>
                <a:gd name="T50" fmla="*/ 1321 w 1322"/>
                <a:gd name="T51" fmla="*/ 383 h 840"/>
                <a:gd name="T52" fmla="*/ 1321 w 1322"/>
                <a:gd name="T53" fmla="*/ 839 h 840"/>
                <a:gd name="T54" fmla="*/ 1145 w 1322"/>
                <a:gd name="T55" fmla="*/ 839 h 840"/>
                <a:gd name="T56" fmla="*/ 1145 w 1322"/>
                <a:gd name="T57" fmla="*/ 381 h 840"/>
                <a:gd name="T58" fmla="*/ 1134 w 1322"/>
                <a:gd name="T59" fmla="*/ 297 h 840"/>
                <a:gd name="T60" fmla="*/ 1097 w 1322"/>
                <a:gd name="T61" fmla="*/ 225 h 840"/>
                <a:gd name="T62" fmla="*/ 1039 w 1322"/>
                <a:gd name="T63" fmla="*/ 178 h 840"/>
                <a:gd name="T64" fmla="*/ 959 w 1322"/>
                <a:gd name="T65" fmla="*/ 161 h 840"/>
                <a:gd name="T66" fmla="*/ 872 w 1322"/>
                <a:gd name="T67" fmla="*/ 181 h 840"/>
                <a:gd name="T68" fmla="*/ 809 w 1322"/>
                <a:gd name="T69" fmla="*/ 228 h 840"/>
                <a:gd name="T70" fmla="*/ 767 w 1322"/>
                <a:gd name="T71" fmla="*/ 300 h 840"/>
                <a:gd name="T72" fmla="*/ 753 w 1322"/>
                <a:gd name="T73" fmla="*/ 386 h 840"/>
                <a:gd name="T74" fmla="*/ 753 w 1322"/>
                <a:gd name="T75" fmla="*/ 839 h 840"/>
                <a:gd name="T76" fmla="*/ 575 w 1322"/>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2" h="840">
                  <a:moveTo>
                    <a:pt x="575" y="839"/>
                  </a:moveTo>
                  <a:lnTo>
                    <a:pt x="575" y="839"/>
                  </a:lnTo>
                  <a:cubicBezTo>
                    <a:pt x="575" y="386"/>
                    <a:pt x="575" y="386"/>
                    <a:pt x="575" y="386"/>
                  </a:cubicBezTo>
                  <a:cubicBezTo>
                    <a:pt x="575" y="356"/>
                    <a:pt x="572" y="325"/>
                    <a:pt x="564" y="300"/>
                  </a:cubicBezTo>
                  <a:cubicBezTo>
                    <a:pt x="556" y="272"/>
                    <a:pt x="542" y="247"/>
                    <a:pt x="525" y="228"/>
                  </a:cubicBezTo>
                  <a:cubicBezTo>
                    <a:pt x="509" y="206"/>
                    <a:pt x="486" y="189"/>
                    <a:pt x="461" y="178"/>
                  </a:cubicBezTo>
                  <a:cubicBezTo>
                    <a:pt x="436" y="167"/>
                    <a:pt x="411" y="161"/>
                    <a:pt x="381" y="161"/>
                  </a:cubicBezTo>
                  <a:cubicBezTo>
                    <a:pt x="347" y="161"/>
                    <a:pt x="320" y="167"/>
                    <a:pt x="295" y="178"/>
                  </a:cubicBezTo>
                  <a:cubicBezTo>
                    <a:pt x="270" y="189"/>
                    <a:pt x="250" y="206"/>
                    <a:pt x="231" y="228"/>
                  </a:cubicBezTo>
                  <a:cubicBezTo>
                    <a:pt x="214" y="247"/>
                    <a:pt x="200" y="272"/>
                    <a:pt x="192" y="300"/>
                  </a:cubicBezTo>
                  <a:cubicBezTo>
                    <a:pt x="181" y="325"/>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200" y="78"/>
                    <a:pt x="234" y="47"/>
                    <a:pt x="278" y="28"/>
                  </a:cubicBezTo>
                  <a:cubicBezTo>
                    <a:pt x="323" y="8"/>
                    <a:pt x="367" y="0"/>
                    <a:pt x="411" y="0"/>
                  </a:cubicBezTo>
                  <a:cubicBezTo>
                    <a:pt x="439" y="0"/>
                    <a:pt x="467" y="3"/>
                    <a:pt x="492" y="8"/>
                  </a:cubicBezTo>
                  <a:cubicBezTo>
                    <a:pt x="520" y="14"/>
                    <a:pt x="542" y="22"/>
                    <a:pt x="567" y="36"/>
                  </a:cubicBezTo>
                  <a:cubicBezTo>
                    <a:pt x="589" y="50"/>
                    <a:pt x="611" y="67"/>
                    <a:pt x="631" y="89"/>
                  </a:cubicBezTo>
                  <a:cubicBezTo>
                    <a:pt x="647" y="111"/>
                    <a:pt x="664" y="136"/>
                    <a:pt x="675" y="167"/>
                  </a:cubicBezTo>
                  <a:cubicBezTo>
                    <a:pt x="711" y="106"/>
                    <a:pt x="753" y="61"/>
                    <a:pt x="803" y="39"/>
                  </a:cubicBezTo>
                  <a:cubicBezTo>
                    <a:pt x="853" y="14"/>
                    <a:pt x="906" y="3"/>
                    <a:pt x="964" y="3"/>
                  </a:cubicBezTo>
                  <a:cubicBezTo>
                    <a:pt x="1084" y="3"/>
                    <a:pt x="1172" y="36"/>
                    <a:pt x="1230" y="103"/>
                  </a:cubicBezTo>
                  <a:cubicBezTo>
                    <a:pt x="1291" y="169"/>
                    <a:pt x="1321" y="264"/>
                    <a:pt x="1321" y="383"/>
                  </a:cubicBezTo>
                  <a:cubicBezTo>
                    <a:pt x="1321" y="839"/>
                    <a:pt x="1321" y="839"/>
                    <a:pt x="1321" y="839"/>
                  </a:cubicBezTo>
                  <a:cubicBezTo>
                    <a:pt x="1145" y="839"/>
                    <a:pt x="1145" y="839"/>
                    <a:pt x="1145" y="839"/>
                  </a:cubicBezTo>
                  <a:cubicBezTo>
                    <a:pt x="1145" y="381"/>
                    <a:pt x="1145" y="381"/>
                    <a:pt x="1145" y="381"/>
                  </a:cubicBezTo>
                  <a:cubicBezTo>
                    <a:pt x="1145" y="353"/>
                    <a:pt x="1139" y="322"/>
                    <a:pt x="1134" y="297"/>
                  </a:cubicBezTo>
                  <a:cubicBezTo>
                    <a:pt x="1125" y="269"/>
                    <a:pt x="1114" y="247"/>
                    <a:pt x="1097" y="225"/>
                  </a:cubicBezTo>
                  <a:cubicBezTo>
                    <a:pt x="1081" y="206"/>
                    <a:pt x="1061" y="189"/>
                    <a:pt x="1039" y="178"/>
                  </a:cubicBezTo>
                  <a:cubicBezTo>
                    <a:pt x="1017" y="167"/>
                    <a:pt x="989" y="161"/>
                    <a:pt x="959" y="161"/>
                  </a:cubicBezTo>
                  <a:cubicBezTo>
                    <a:pt x="928" y="161"/>
                    <a:pt x="900" y="169"/>
                    <a:pt x="872" y="181"/>
                  </a:cubicBezTo>
                  <a:cubicBezTo>
                    <a:pt x="847" y="192"/>
                    <a:pt x="825" y="208"/>
                    <a:pt x="809" y="228"/>
                  </a:cubicBezTo>
                  <a:cubicBezTo>
                    <a:pt x="792" y="247"/>
                    <a:pt x="778" y="272"/>
                    <a:pt x="767" y="300"/>
                  </a:cubicBezTo>
                  <a:cubicBezTo>
                    <a:pt x="759" y="325"/>
                    <a:pt x="753" y="356"/>
                    <a:pt x="753" y="386"/>
                  </a:cubicBezTo>
                  <a:cubicBezTo>
                    <a:pt x="753" y="839"/>
                    <a:pt x="753" y="839"/>
                    <a:pt x="753" y="839"/>
                  </a:cubicBezTo>
                  <a:lnTo>
                    <a:pt x="575" y="839"/>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0" name="Freeform 27">
              <a:extLst>
                <a:ext uri="{FF2B5EF4-FFF2-40B4-BE49-F238E27FC236}">
                  <a16:creationId xmlns:a16="http://schemas.microsoft.com/office/drawing/2014/main" id="{6745A430-6FAE-ED4D-A55A-AD8B18569B1C}"/>
                </a:ext>
              </a:extLst>
            </p:cNvPr>
            <p:cNvSpPr>
              <a:spLocks noChangeArrowheads="1"/>
            </p:cNvSpPr>
            <p:nvPr userDrawn="1"/>
          </p:nvSpPr>
          <p:spPr bwMode="auto">
            <a:xfrm>
              <a:off x="5138738" y="3743325"/>
              <a:ext cx="315912"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2 w 876"/>
                <a:gd name="T11" fmla="*/ 680 h 864"/>
                <a:gd name="T12" fmla="*/ 703 w 876"/>
                <a:gd name="T13" fmla="*/ 616 h 864"/>
                <a:gd name="T14" fmla="*/ 817 w 876"/>
                <a:gd name="T15" fmla="*/ 724 h 864"/>
                <a:gd name="T16" fmla="*/ 742 w 876"/>
                <a:gd name="T17" fmla="*/ 786 h 864"/>
                <a:gd name="T18" fmla="*/ 653 w 876"/>
                <a:gd name="T19" fmla="*/ 830 h 864"/>
                <a:gd name="T20" fmla="*/ 553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3 w 876"/>
                <a:gd name="T35" fmla="*/ 119 h 864"/>
                <a:gd name="T36" fmla="*/ 261 w 876"/>
                <a:gd name="T37" fmla="*/ 30 h 864"/>
                <a:gd name="T38" fmla="*/ 442 w 876"/>
                <a:gd name="T39" fmla="*/ 0 h 864"/>
                <a:gd name="T40" fmla="*/ 628 w 876"/>
                <a:gd name="T41" fmla="*/ 30 h 864"/>
                <a:gd name="T42" fmla="*/ 767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2 w 876"/>
                <a:gd name="T55" fmla="*/ 202 h 864"/>
                <a:gd name="T56" fmla="*/ 448 w 876"/>
                <a:gd name="T57" fmla="*/ 152 h 864"/>
                <a:gd name="T58" fmla="*/ 278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17" y="686"/>
                    <a:pt x="381" y="705"/>
                    <a:pt x="459" y="705"/>
                  </a:cubicBezTo>
                  <a:cubicBezTo>
                    <a:pt x="500" y="705"/>
                    <a:pt x="548" y="697"/>
                    <a:pt x="592" y="680"/>
                  </a:cubicBezTo>
                  <a:cubicBezTo>
                    <a:pt x="639" y="666"/>
                    <a:pt x="675" y="644"/>
                    <a:pt x="703" y="616"/>
                  </a:cubicBezTo>
                  <a:cubicBezTo>
                    <a:pt x="817" y="724"/>
                    <a:pt x="817" y="724"/>
                    <a:pt x="817" y="724"/>
                  </a:cubicBezTo>
                  <a:cubicBezTo>
                    <a:pt x="795" y="747"/>
                    <a:pt x="770" y="769"/>
                    <a:pt x="742" y="786"/>
                  </a:cubicBezTo>
                  <a:cubicBezTo>
                    <a:pt x="714" y="802"/>
                    <a:pt x="684" y="819"/>
                    <a:pt x="653" y="830"/>
                  </a:cubicBezTo>
                  <a:cubicBezTo>
                    <a:pt x="620" y="841"/>
                    <a:pt x="589" y="849"/>
                    <a:pt x="553" y="855"/>
                  </a:cubicBezTo>
                  <a:cubicBezTo>
                    <a:pt x="520" y="861"/>
                    <a:pt x="486" y="863"/>
                    <a:pt x="456" y="863"/>
                  </a:cubicBezTo>
                  <a:cubicBezTo>
                    <a:pt x="386" y="863"/>
                    <a:pt x="323" y="855"/>
                    <a:pt x="267" y="833"/>
                  </a:cubicBezTo>
                  <a:cubicBezTo>
                    <a:pt x="211" y="813"/>
                    <a:pt x="164" y="783"/>
                    <a:pt x="125" y="747"/>
                  </a:cubicBezTo>
                  <a:cubicBezTo>
                    <a:pt x="86" y="708"/>
                    <a:pt x="56" y="661"/>
                    <a:pt x="34" y="608"/>
                  </a:cubicBezTo>
                  <a:cubicBezTo>
                    <a:pt x="11" y="552"/>
                    <a:pt x="0" y="494"/>
                    <a:pt x="0" y="427"/>
                  </a:cubicBezTo>
                  <a:cubicBezTo>
                    <a:pt x="0" y="366"/>
                    <a:pt x="11" y="308"/>
                    <a:pt x="34" y="255"/>
                  </a:cubicBezTo>
                  <a:cubicBezTo>
                    <a:pt x="56" y="202"/>
                    <a:pt x="84" y="158"/>
                    <a:pt x="123" y="119"/>
                  </a:cubicBezTo>
                  <a:cubicBezTo>
                    <a:pt x="161" y="80"/>
                    <a:pt x="209" y="52"/>
                    <a:pt x="261" y="30"/>
                  </a:cubicBezTo>
                  <a:cubicBezTo>
                    <a:pt x="317" y="8"/>
                    <a:pt x="378" y="0"/>
                    <a:pt x="442" y="0"/>
                  </a:cubicBezTo>
                  <a:cubicBezTo>
                    <a:pt x="511" y="0"/>
                    <a:pt x="573" y="8"/>
                    <a:pt x="628" y="30"/>
                  </a:cubicBezTo>
                  <a:cubicBezTo>
                    <a:pt x="684" y="50"/>
                    <a:pt x="731" y="80"/>
                    <a:pt x="767" y="122"/>
                  </a:cubicBezTo>
                  <a:cubicBezTo>
                    <a:pt x="806" y="163"/>
                    <a:pt x="834" y="216"/>
                    <a:pt x="853" y="277"/>
                  </a:cubicBezTo>
                  <a:cubicBezTo>
                    <a:pt x="870" y="341"/>
                    <a:pt x="875" y="413"/>
                    <a:pt x="867" y="497"/>
                  </a:cubicBezTo>
                  <a:lnTo>
                    <a:pt x="186" y="352"/>
                  </a:lnTo>
                  <a:lnTo>
                    <a:pt x="186" y="352"/>
                  </a:lnTo>
                  <a:cubicBezTo>
                    <a:pt x="698" y="352"/>
                    <a:pt x="698" y="352"/>
                    <a:pt x="698" y="352"/>
                  </a:cubicBezTo>
                  <a:cubicBezTo>
                    <a:pt x="692" y="286"/>
                    <a:pt x="667" y="236"/>
                    <a:pt x="622" y="202"/>
                  </a:cubicBezTo>
                  <a:cubicBezTo>
                    <a:pt x="578" y="169"/>
                    <a:pt x="520" y="152"/>
                    <a:pt x="448" y="152"/>
                  </a:cubicBezTo>
                  <a:cubicBezTo>
                    <a:pt x="384" y="152"/>
                    <a:pt x="328" y="169"/>
                    <a:pt x="278"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1" name="Freeform 28">
              <a:extLst>
                <a:ext uri="{FF2B5EF4-FFF2-40B4-BE49-F238E27FC236}">
                  <a16:creationId xmlns:a16="http://schemas.microsoft.com/office/drawing/2014/main" id="{E3E2DFF6-D44B-5F42-95C1-7E783E653E68}"/>
                </a:ext>
              </a:extLst>
            </p:cNvPr>
            <p:cNvSpPr>
              <a:spLocks noChangeArrowheads="1"/>
            </p:cNvSpPr>
            <p:nvPr userDrawn="1"/>
          </p:nvSpPr>
          <p:spPr bwMode="auto">
            <a:xfrm>
              <a:off x="54975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4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9" y="147"/>
                    <a:pt x="127" y="111"/>
                  </a:cubicBezTo>
                  <a:cubicBezTo>
                    <a:pt x="166" y="75"/>
                    <a:pt x="211" y="48"/>
                    <a:pt x="264"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41" y="636"/>
                    <a:pt x="669" y="603"/>
                    <a:pt x="691" y="561"/>
                  </a:cubicBezTo>
                  <a:cubicBezTo>
                    <a:pt x="711" y="522"/>
                    <a:pt x="722" y="478"/>
                    <a:pt x="722" y="431"/>
                  </a:cubicBezTo>
                  <a:cubicBezTo>
                    <a:pt x="722" y="384"/>
                    <a:pt x="711" y="339"/>
                    <a:pt x="691" y="298"/>
                  </a:cubicBezTo>
                  <a:cubicBezTo>
                    <a:pt x="669" y="259"/>
                    <a:pt x="641" y="223"/>
                    <a:pt x="600" y="198"/>
                  </a:cubicBezTo>
                  <a:cubicBezTo>
                    <a:pt x="558" y="170"/>
                    <a:pt x="508" y="156"/>
                    <a:pt x="450" y="156"/>
                  </a:cubicBezTo>
                  <a:lnTo>
                    <a:pt x="722" y="14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2" name="Freeform 29">
              <a:extLst>
                <a:ext uri="{FF2B5EF4-FFF2-40B4-BE49-F238E27FC236}">
                  <a16:creationId xmlns:a16="http://schemas.microsoft.com/office/drawing/2014/main" id="{F1F0A8F6-9229-D949-BA1A-AC62C4C5F933}"/>
                </a:ext>
              </a:extLst>
            </p:cNvPr>
            <p:cNvSpPr>
              <a:spLocks noChangeArrowheads="1"/>
            </p:cNvSpPr>
            <p:nvPr userDrawn="1"/>
          </p:nvSpPr>
          <p:spPr bwMode="auto">
            <a:xfrm>
              <a:off x="5905500" y="3746500"/>
              <a:ext cx="293688" cy="301625"/>
            </a:xfrm>
            <a:custGeom>
              <a:avLst/>
              <a:gdLst>
                <a:gd name="T0" fmla="*/ 639 w 817"/>
                <a:gd name="T1" fmla="*/ 836 h 837"/>
                <a:gd name="T2" fmla="*/ 639 w 817"/>
                <a:gd name="T3" fmla="*/ 836 h 837"/>
                <a:gd name="T4" fmla="*/ 639 w 817"/>
                <a:gd name="T5" fmla="*/ 397 h 837"/>
                <a:gd name="T6" fmla="*/ 580 w 817"/>
                <a:gd name="T7" fmla="*/ 225 h 837"/>
                <a:gd name="T8" fmla="*/ 411 w 817"/>
                <a:gd name="T9" fmla="*/ 158 h 837"/>
                <a:gd name="T10" fmla="*/ 316 w 817"/>
                <a:gd name="T11" fmla="*/ 178 h 837"/>
                <a:gd name="T12" fmla="*/ 241 w 817"/>
                <a:gd name="T13" fmla="*/ 230 h 837"/>
                <a:gd name="T14" fmla="*/ 194 w 817"/>
                <a:gd name="T15" fmla="*/ 311 h 837"/>
                <a:gd name="T16" fmla="*/ 177 w 817"/>
                <a:gd name="T17" fmla="*/ 405 h 837"/>
                <a:gd name="T18" fmla="*/ 177 w 817"/>
                <a:gd name="T19" fmla="*/ 836 h 837"/>
                <a:gd name="T20" fmla="*/ 0 w 817"/>
                <a:gd name="T21" fmla="*/ 836 h 837"/>
                <a:gd name="T22" fmla="*/ 0 w 817"/>
                <a:gd name="T23" fmla="*/ 11 h 837"/>
                <a:gd name="T24" fmla="*/ 161 w 817"/>
                <a:gd name="T25" fmla="*/ 11 h 837"/>
                <a:gd name="T26" fmla="*/ 172 w 817"/>
                <a:gd name="T27" fmla="*/ 130 h 837"/>
                <a:gd name="T28" fmla="*/ 455 w 817"/>
                <a:gd name="T29" fmla="*/ 0 h 837"/>
                <a:gd name="T30" fmla="*/ 597 w 817"/>
                <a:gd name="T31" fmla="*/ 25 h 837"/>
                <a:gd name="T32" fmla="*/ 711 w 817"/>
                <a:gd name="T33" fmla="*/ 100 h 837"/>
                <a:gd name="T34" fmla="*/ 789 w 817"/>
                <a:gd name="T35" fmla="*/ 225 h 837"/>
                <a:gd name="T36" fmla="*/ 816 w 817"/>
                <a:gd name="T37" fmla="*/ 394 h 837"/>
                <a:gd name="T38" fmla="*/ 816 w 817"/>
                <a:gd name="T39" fmla="*/ 836 h 837"/>
                <a:gd name="T40" fmla="*/ 639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9" y="836"/>
                  </a:moveTo>
                  <a:lnTo>
                    <a:pt x="639" y="836"/>
                  </a:lnTo>
                  <a:cubicBezTo>
                    <a:pt x="639" y="397"/>
                    <a:pt x="639" y="397"/>
                    <a:pt x="639" y="397"/>
                  </a:cubicBezTo>
                  <a:cubicBezTo>
                    <a:pt x="639" y="325"/>
                    <a:pt x="619" y="266"/>
                    <a:pt x="580" y="225"/>
                  </a:cubicBezTo>
                  <a:cubicBezTo>
                    <a:pt x="541" y="180"/>
                    <a:pt x="486" y="158"/>
                    <a:pt x="411" y="158"/>
                  </a:cubicBezTo>
                  <a:cubicBezTo>
                    <a:pt x="377" y="158"/>
                    <a:pt x="344" y="166"/>
                    <a:pt x="316" y="178"/>
                  </a:cubicBezTo>
                  <a:cubicBezTo>
                    <a:pt x="286" y="192"/>
                    <a:pt x="261" y="208"/>
                    <a:pt x="241" y="230"/>
                  </a:cubicBezTo>
                  <a:cubicBezTo>
                    <a:pt x="222" y="255"/>
                    <a:pt x="205" y="280"/>
                    <a:pt x="194" y="311"/>
                  </a:cubicBezTo>
                  <a:cubicBezTo>
                    <a:pt x="183" y="341"/>
                    <a:pt x="177" y="372"/>
                    <a:pt x="177" y="405"/>
                  </a:cubicBezTo>
                  <a:cubicBezTo>
                    <a:pt x="177" y="836"/>
                    <a:pt x="177" y="836"/>
                    <a:pt x="177" y="836"/>
                  </a:cubicBezTo>
                  <a:cubicBezTo>
                    <a:pt x="0" y="836"/>
                    <a:pt x="0" y="836"/>
                    <a:pt x="0" y="836"/>
                  </a:cubicBezTo>
                  <a:cubicBezTo>
                    <a:pt x="0" y="11"/>
                    <a:pt x="0" y="11"/>
                    <a:pt x="0" y="11"/>
                  </a:cubicBezTo>
                  <a:cubicBezTo>
                    <a:pt x="161" y="11"/>
                    <a:pt x="161" y="11"/>
                    <a:pt x="161" y="11"/>
                  </a:cubicBezTo>
                  <a:cubicBezTo>
                    <a:pt x="172" y="130"/>
                    <a:pt x="172" y="130"/>
                    <a:pt x="172" y="130"/>
                  </a:cubicBezTo>
                  <a:cubicBezTo>
                    <a:pt x="250" y="42"/>
                    <a:pt x="344" y="0"/>
                    <a:pt x="455" y="0"/>
                  </a:cubicBezTo>
                  <a:cubicBezTo>
                    <a:pt x="505" y="0"/>
                    <a:pt x="552" y="8"/>
                    <a:pt x="597" y="25"/>
                  </a:cubicBezTo>
                  <a:cubicBezTo>
                    <a:pt x="641" y="42"/>
                    <a:pt x="680" y="66"/>
                    <a:pt x="711" y="100"/>
                  </a:cubicBezTo>
                  <a:cubicBezTo>
                    <a:pt x="744" y="133"/>
                    <a:pt x="769" y="175"/>
                    <a:pt x="789" y="225"/>
                  </a:cubicBezTo>
                  <a:cubicBezTo>
                    <a:pt x="808" y="275"/>
                    <a:pt x="816" y="330"/>
                    <a:pt x="816" y="394"/>
                  </a:cubicBezTo>
                  <a:cubicBezTo>
                    <a:pt x="816" y="836"/>
                    <a:pt x="816" y="836"/>
                    <a:pt x="816" y="836"/>
                  </a:cubicBezTo>
                  <a:lnTo>
                    <a:pt x="639" y="836"/>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3" name="Freeform 30">
              <a:extLst>
                <a:ext uri="{FF2B5EF4-FFF2-40B4-BE49-F238E27FC236}">
                  <a16:creationId xmlns:a16="http://schemas.microsoft.com/office/drawing/2014/main" id="{B16A197B-0E17-EF43-80AA-BFBCB40AC761}"/>
                </a:ext>
              </a:extLst>
            </p:cNvPr>
            <p:cNvSpPr>
              <a:spLocks noChangeArrowheads="1"/>
            </p:cNvSpPr>
            <p:nvPr userDrawn="1"/>
          </p:nvSpPr>
          <p:spPr bwMode="auto">
            <a:xfrm>
              <a:off x="6251575"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4" name="Freeform 31">
              <a:extLst>
                <a:ext uri="{FF2B5EF4-FFF2-40B4-BE49-F238E27FC236}">
                  <a16:creationId xmlns:a16="http://schemas.microsoft.com/office/drawing/2014/main" id="{575F5FA7-2A68-E247-8A62-204B7962F005}"/>
                </a:ext>
              </a:extLst>
            </p:cNvPr>
            <p:cNvSpPr>
              <a:spLocks noChangeArrowheads="1"/>
            </p:cNvSpPr>
            <p:nvPr userDrawn="1"/>
          </p:nvSpPr>
          <p:spPr bwMode="auto">
            <a:xfrm>
              <a:off x="6643688"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5" name="Freeform 32">
              <a:extLst>
                <a:ext uri="{FF2B5EF4-FFF2-40B4-BE49-F238E27FC236}">
                  <a16:creationId xmlns:a16="http://schemas.microsoft.com/office/drawing/2014/main" id="{34C098E7-184C-504A-8792-AF18A8E97AEC}"/>
                </a:ext>
              </a:extLst>
            </p:cNvPr>
            <p:cNvSpPr>
              <a:spLocks noChangeArrowheads="1"/>
            </p:cNvSpPr>
            <p:nvPr userDrawn="1"/>
          </p:nvSpPr>
          <p:spPr bwMode="auto">
            <a:xfrm>
              <a:off x="6897688" y="3743325"/>
              <a:ext cx="314325" cy="309563"/>
            </a:xfrm>
            <a:custGeom>
              <a:avLst/>
              <a:gdLst>
                <a:gd name="T0" fmla="*/ 436 w 873"/>
                <a:gd name="T1" fmla="*/ 0 h 860"/>
                <a:gd name="T2" fmla="*/ 436 w 873"/>
                <a:gd name="T3" fmla="*/ 0 h 860"/>
                <a:gd name="T4" fmla="*/ 611 w 873"/>
                <a:gd name="T5" fmla="*/ 34 h 860"/>
                <a:gd name="T6" fmla="*/ 750 w 873"/>
                <a:gd name="T7" fmla="*/ 125 h 860"/>
                <a:gd name="T8" fmla="*/ 842 w 873"/>
                <a:gd name="T9" fmla="*/ 261 h 860"/>
                <a:gd name="T10" fmla="*/ 872 w 873"/>
                <a:gd name="T11" fmla="*/ 431 h 860"/>
                <a:gd name="T12" fmla="*/ 842 w 873"/>
                <a:gd name="T13" fmla="*/ 600 h 860"/>
                <a:gd name="T14" fmla="*/ 753 w 873"/>
                <a:gd name="T15" fmla="*/ 736 h 860"/>
                <a:gd name="T16" fmla="*/ 614 w 873"/>
                <a:gd name="T17" fmla="*/ 825 h 860"/>
                <a:gd name="T18" fmla="*/ 436 w 873"/>
                <a:gd name="T19" fmla="*/ 859 h 860"/>
                <a:gd name="T20" fmla="*/ 256 w 873"/>
                <a:gd name="T21" fmla="*/ 825 h 860"/>
                <a:gd name="T22" fmla="*/ 119 w 873"/>
                <a:gd name="T23" fmla="*/ 736 h 860"/>
                <a:gd name="T24" fmla="*/ 31 w 873"/>
                <a:gd name="T25" fmla="*/ 600 h 860"/>
                <a:gd name="T26" fmla="*/ 0 w 873"/>
                <a:gd name="T27" fmla="*/ 431 h 860"/>
                <a:gd name="T28" fmla="*/ 31 w 873"/>
                <a:gd name="T29" fmla="*/ 261 h 860"/>
                <a:gd name="T30" fmla="*/ 119 w 873"/>
                <a:gd name="T31" fmla="*/ 125 h 860"/>
                <a:gd name="T32" fmla="*/ 258 w 873"/>
                <a:gd name="T33" fmla="*/ 34 h 860"/>
                <a:gd name="T34" fmla="*/ 436 w 873"/>
                <a:gd name="T35" fmla="*/ 0 h 860"/>
                <a:gd name="T36" fmla="*/ 436 w 873"/>
                <a:gd name="T37" fmla="*/ 161 h 860"/>
                <a:gd name="T38" fmla="*/ 436 w 873"/>
                <a:gd name="T39" fmla="*/ 161 h 860"/>
                <a:gd name="T40" fmla="*/ 328 w 873"/>
                <a:gd name="T41" fmla="*/ 184 h 860"/>
                <a:gd name="T42" fmla="*/ 247 w 873"/>
                <a:gd name="T43" fmla="*/ 242 h 860"/>
                <a:gd name="T44" fmla="*/ 194 w 873"/>
                <a:gd name="T45" fmla="*/ 328 h 860"/>
                <a:gd name="T46" fmla="*/ 178 w 873"/>
                <a:gd name="T47" fmla="*/ 431 h 860"/>
                <a:gd name="T48" fmla="*/ 194 w 873"/>
                <a:gd name="T49" fmla="*/ 536 h 860"/>
                <a:gd name="T50" fmla="*/ 247 w 873"/>
                <a:gd name="T51" fmla="*/ 620 h 860"/>
                <a:gd name="T52" fmla="*/ 328 w 873"/>
                <a:gd name="T53" fmla="*/ 678 h 860"/>
                <a:gd name="T54" fmla="*/ 436 w 873"/>
                <a:gd name="T55" fmla="*/ 698 h 860"/>
                <a:gd name="T56" fmla="*/ 544 w 873"/>
                <a:gd name="T57" fmla="*/ 678 h 860"/>
                <a:gd name="T58" fmla="*/ 625 w 873"/>
                <a:gd name="T59" fmla="*/ 620 h 860"/>
                <a:gd name="T60" fmla="*/ 678 w 873"/>
                <a:gd name="T61" fmla="*/ 536 h 860"/>
                <a:gd name="T62" fmla="*/ 694 w 873"/>
                <a:gd name="T63" fmla="*/ 431 h 860"/>
                <a:gd name="T64" fmla="*/ 675 w 873"/>
                <a:gd name="T65" fmla="*/ 328 h 860"/>
                <a:gd name="T66" fmla="*/ 622 w 873"/>
                <a:gd name="T67" fmla="*/ 242 h 860"/>
                <a:gd name="T68" fmla="*/ 542 w 873"/>
                <a:gd name="T69" fmla="*/ 184 h 860"/>
                <a:gd name="T70" fmla="*/ 436 w 873"/>
                <a:gd name="T71" fmla="*/ 161 h 860"/>
                <a:gd name="T72" fmla="*/ 436 w 873"/>
                <a:gd name="T73"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60">
                  <a:moveTo>
                    <a:pt x="436" y="0"/>
                  </a:moveTo>
                  <a:lnTo>
                    <a:pt x="436" y="0"/>
                  </a:lnTo>
                  <a:cubicBezTo>
                    <a:pt x="500" y="0"/>
                    <a:pt x="558" y="11"/>
                    <a:pt x="611" y="34"/>
                  </a:cubicBezTo>
                  <a:cubicBezTo>
                    <a:pt x="667" y="59"/>
                    <a:pt x="711" y="86"/>
                    <a:pt x="750" y="125"/>
                  </a:cubicBezTo>
                  <a:cubicBezTo>
                    <a:pt x="789" y="164"/>
                    <a:pt x="819" y="209"/>
                    <a:pt x="842" y="261"/>
                  </a:cubicBezTo>
                  <a:cubicBezTo>
                    <a:pt x="861" y="314"/>
                    <a:pt x="872" y="370"/>
                    <a:pt x="872" y="431"/>
                  </a:cubicBezTo>
                  <a:cubicBezTo>
                    <a:pt x="872" y="492"/>
                    <a:pt x="861" y="547"/>
                    <a:pt x="842" y="600"/>
                  </a:cubicBezTo>
                  <a:cubicBezTo>
                    <a:pt x="819" y="653"/>
                    <a:pt x="792" y="698"/>
                    <a:pt x="753" y="736"/>
                  </a:cubicBezTo>
                  <a:cubicBezTo>
                    <a:pt x="714" y="775"/>
                    <a:pt x="669" y="806"/>
                    <a:pt x="614" y="825"/>
                  </a:cubicBezTo>
                  <a:cubicBezTo>
                    <a:pt x="561" y="847"/>
                    <a:pt x="500" y="859"/>
                    <a:pt x="436" y="859"/>
                  </a:cubicBezTo>
                  <a:cubicBezTo>
                    <a:pt x="369" y="859"/>
                    <a:pt x="308" y="847"/>
                    <a:pt x="256" y="825"/>
                  </a:cubicBezTo>
                  <a:cubicBezTo>
                    <a:pt x="203" y="806"/>
                    <a:pt x="156" y="775"/>
                    <a:pt x="119" y="736"/>
                  </a:cubicBezTo>
                  <a:cubicBezTo>
                    <a:pt x="80" y="698"/>
                    <a:pt x="53" y="653"/>
                    <a:pt x="31" y="600"/>
                  </a:cubicBezTo>
                  <a:cubicBezTo>
                    <a:pt x="11" y="547"/>
                    <a:pt x="0" y="492"/>
                    <a:pt x="0" y="431"/>
                  </a:cubicBezTo>
                  <a:cubicBezTo>
                    <a:pt x="0" y="370"/>
                    <a:pt x="11" y="314"/>
                    <a:pt x="31" y="261"/>
                  </a:cubicBezTo>
                  <a:cubicBezTo>
                    <a:pt x="53" y="209"/>
                    <a:pt x="80" y="164"/>
                    <a:pt x="119" y="125"/>
                  </a:cubicBezTo>
                  <a:cubicBezTo>
                    <a:pt x="158" y="86"/>
                    <a:pt x="203" y="59"/>
                    <a:pt x="258" y="34"/>
                  </a:cubicBezTo>
                  <a:cubicBezTo>
                    <a:pt x="311" y="11"/>
                    <a:pt x="369" y="0"/>
                    <a:pt x="436" y="0"/>
                  </a:cubicBezTo>
                  <a:lnTo>
                    <a:pt x="436" y="161"/>
                  </a:lnTo>
                  <a:lnTo>
                    <a:pt x="436" y="161"/>
                  </a:lnTo>
                  <a:cubicBezTo>
                    <a:pt x="394" y="161"/>
                    <a:pt x="358" y="170"/>
                    <a:pt x="328" y="184"/>
                  </a:cubicBezTo>
                  <a:cubicBezTo>
                    <a:pt x="294" y="198"/>
                    <a:pt x="269" y="217"/>
                    <a:pt x="247" y="242"/>
                  </a:cubicBezTo>
                  <a:cubicBezTo>
                    <a:pt x="225" y="267"/>
                    <a:pt x="206" y="298"/>
                    <a:pt x="194" y="328"/>
                  </a:cubicBezTo>
                  <a:cubicBezTo>
                    <a:pt x="183" y="361"/>
                    <a:pt x="178" y="395"/>
                    <a:pt x="178" y="431"/>
                  </a:cubicBezTo>
                  <a:cubicBezTo>
                    <a:pt x="178" y="470"/>
                    <a:pt x="183" y="503"/>
                    <a:pt x="194" y="536"/>
                  </a:cubicBezTo>
                  <a:cubicBezTo>
                    <a:pt x="206" y="567"/>
                    <a:pt x="225" y="595"/>
                    <a:pt x="247" y="620"/>
                  </a:cubicBezTo>
                  <a:cubicBezTo>
                    <a:pt x="269" y="645"/>
                    <a:pt x="294" y="664"/>
                    <a:pt x="328" y="678"/>
                  </a:cubicBezTo>
                  <a:cubicBezTo>
                    <a:pt x="358" y="692"/>
                    <a:pt x="394" y="698"/>
                    <a:pt x="436" y="698"/>
                  </a:cubicBezTo>
                  <a:cubicBezTo>
                    <a:pt x="475" y="698"/>
                    <a:pt x="511" y="692"/>
                    <a:pt x="544" y="678"/>
                  </a:cubicBezTo>
                  <a:cubicBezTo>
                    <a:pt x="575" y="664"/>
                    <a:pt x="603" y="645"/>
                    <a:pt x="625" y="620"/>
                  </a:cubicBezTo>
                  <a:cubicBezTo>
                    <a:pt x="647" y="595"/>
                    <a:pt x="664" y="567"/>
                    <a:pt x="678" y="536"/>
                  </a:cubicBezTo>
                  <a:cubicBezTo>
                    <a:pt x="689" y="503"/>
                    <a:pt x="694" y="470"/>
                    <a:pt x="694" y="431"/>
                  </a:cubicBezTo>
                  <a:cubicBezTo>
                    <a:pt x="694" y="395"/>
                    <a:pt x="689" y="361"/>
                    <a:pt x="675" y="328"/>
                  </a:cubicBezTo>
                  <a:cubicBezTo>
                    <a:pt x="664" y="298"/>
                    <a:pt x="644" y="267"/>
                    <a:pt x="622" y="242"/>
                  </a:cubicBezTo>
                  <a:cubicBezTo>
                    <a:pt x="600" y="217"/>
                    <a:pt x="572" y="198"/>
                    <a:pt x="542" y="184"/>
                  </a:cubicBezTo>
                  <a:cubicBezTo>
                    <a:pt x="508" y="170"/>
                    <a:pt x="472" y="161"/>
                    <a:pt x="436" y="161"/>
                  </a:cubicBezTo>
                  <a:lnTo>
                    <a:pt x="436" y="0"/>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6" name="Freeform 33">
              <a:extLst>
                <a:ext uri="{FF2B5EF4-FFF2-40B4-BE49-F238E27FC236}">
                  <a16:creationId xmlns:a16="http://schemas.microsoft.com/office/drawing/2014/main" id="{B6A67FDD-10A8-4D43-9C49-154E07D6EE85}"/>
                </a:ext>
              </a:extLst>
            </p:cNvPr>
            <p:cNvSpPr>
              <a:spLocks noChangeArrowheads="1"/>
            </p:cNvSpPr>
            <p:nvPr userDrawn="1"/>
          </p:nvSpPr>
          <p:spPr bwMode="auto">
            <a:xfrm>
              <a:off x="7431088" y="3627438"/>
              <a:ext cx="323850" cy="427037"/>
            </a:xfrm>
            <a:custGeom>
              <a:avLst/>
              <a:gdLst>
                <a:gd name="T0" fmla="*/ 175 w 898"/>
                <a:gd name="T1" fmla="*/ 0 h 1185"/>
                <a:gd name="T2" fmla="*/ 175 w 898"/>
                <a:gd name="T3" fmla="*/ 0 h 1185"/>
                <a:gd name="T4" fmla="*/ 175 w 898"/>
                <a:gd name="T5" fmla="*/ 472 h 1185"/>
                <a:gd name="T6" fmla="*/ 231 w 898"/>
                <a:gd name="T7" fmla="*/ 409 h 1185"/>
                <a:gd name="T8" fmla="*/ 306 w 898"/>
                <a:gd name="T9" fmla="*/ 361 h 1185"/>
                <a:gd name="T10" fmla="*/ 389 w 898"/>
                <a:gd name="T11" fmla="*/ 334 h 1185"/>
                <a:gd name="T12" fmla="*/ 472 w 898"/>
                <a:gd name="T13" fmla="*/ 325 h 1185"/>
                <a:gd name="T14" fmla="*/ 639 w 898"/>
                <a:gd name="T15" fmla="*/ 353 h 1185"/>
                <a:gd name="T16" fmla="*/ 775 w 898"/>
                <a:gd name="T17" fmla="*/ 434 h 1185"/>
                <a:gd name="T18" fmla="*/ 867 w 898"/>
                <a:gd name="T19" fmla="*/ 570 h 1185"/>
                <a:gd name="T20" fmla="*/ 897 w 898"/>
                <a:gd name="T21" fmla="*/ 753 h 1185"/>
                <a:gd name="T22" fmla="*/ 864 w 898"/>
                <a:gd name="T23" fmla="*/ 936 h 1185"/>
                <a:gd name="T24" fmla="*/ 775 w 898"/>
                <a:gd name="T25" fmla="*/ 1072 h 1185"/>
                <a:gd name="T26" fmla="*/ 639 w 898"/>
                <a:gd name="T27" fmla="*/ 1156 h 1185"/>
                <a:gd name="T28" fmla="*/ 467 w 898"/>
                <a:gd name="T29" fmla="*/ 1184 h 1185"/>
                <a:gd name="T30" fmla="*/ 303 w 898"/>
                <a:gd name="T31" fmla="*/ 1150 h 1185"/>
                <a:gd name="T32" fmla="*/ 175 w 898"/>
                <a:gd name="T33" fmla="*/ 1036 h 1185"/>
                <a:gd name="T34" fmla="*/ 167 w 898"/>
                <a:gd name="T35" fmla="*/ 1167 h 1185"/>
                <a:gd name="T36" fmla="*/ 0 w 898"/>
                <a:gd name="T37" fmla="*/ 1167 h 1185"/>
                <a:gd name="T38" fmla="*/ 0 w 898"/>
                <a:gd name="T39" fmla="*/ 0 h 1185"/>
                <a:gd name="T40" fmla="*/ 175 w 898"/>
                <a:gd name="T41" fmla="*/ 0 h 1185"/>
                <a:gd name="T42" fmla="*/ 456 w 898"/>
                <a:gd name="T43" fmla="*/ 486 h 1185"/>
                <a:gd name="T44" fmla="*/ 456 w 898"/>
                <a:gd name="T45" fmla="*/ 486 h 1185"/>
                <a:gd name="T46" fmla="*/ 353 w 898"/>
                <a:gd name="T47" fmla="*/ 506 h 1185"/>
                <a:gd name="T48" fmla="*/ 267 w 898"/>
                <a:gd name="T49" fmla="*/ 559 h 1185"/>
                <a:gd name="T50" fmla="*/ 208 w 898"/>
                <a:gd name="T51" fmla="*/ 645 h 1185"/>
                <a:gd name="T52" fmla="*/ 186 w 898"/>
                <a:gd name="T53" fmla="*/ 753 h 1185"/>
                <a:gd name="T54" fmla="*/ 208 w 898"/>
                <a:gd name="T55" fmla="*/ 864 h 1185"/>
                <a:gd name="T56" fmla="*/ 267 w 898"/>
                <a:gd name="T57" fmla="*/ 950 h 1185"/>
                <a:gd name="T58" fmla="*/ 350 w 898"/>
                <a:gd name="T59" fmla="*/ 1003 h 1185"/>
                <a:gd name="T60" fmla="*/ 456 w 898"/>
                <a:gd name="T61" fmla="*/ 1023 h 1185"/>
                <a:gd name="T62" fmla="*/ 558 w 898"/>
                <a:gd name="T63" fmla="*/ 1006 h 1185"/>
                <a:gd name="T64" fmla="*/ 645 w 898"/>
                <a:gd name="T65" fmla="*/ 950 h 1185"/>
                <a:gd name="T66" fmla="*/ 700 w 898"/>
                <a:gd name="T67" fmla="*/ 867 h 1185"/>
                <a:gd name="T68" fmla="*/ 722 w 898"/>
                <a:gd name="T69" fmla="*/ 753 h 1185"/>
                <a:gd name="T70" fmla="*/ 700 w 898"/>
                <a:gd name="T71" fmla="*/ 639 h 1185"/>
                <a:gd name="T72" fmla="*/ 645 w 898"/>
                <a:gd name="T73" fmla="*/ 556 h 1185"/>
                <a:gd name="T74" fmla="*/ 558 w 898"/>
                <a:gd name="T75" fmla="*/ 503 h 1185"/>
                <a:gd name="T76" fmla="*/ 456 w 898"/>
                <a:gd name="T77" fmla="*/ 48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8" h="1185">
                  <a:moveTo>
                    <a:pt x="175" y="0"/>
                  </a:moveTo>
                  <a:lnTo>
                    <a:pt x="175" y="0"/>
                  </a:lnTo>
                  <a:cubicBezTo>
                    <a:pt x="175" y="472"/>
                    <a:pt x="175" y="472"/>
                    <a:pt x="175" y="472"/>
                  </a:cubicBezTo>
                  <a:cubicBezTo>
                    <a:pt x="189" y="448"/>
                    <a:pt x="208" y="425"/>
                    <a:pt x="231" y="409"/>
                  </a:cubicBezTo>
                  <a:cubicBezTo>
                    <a:pt x="253" y="389"/>
                    <a:pt x="278" y="373"/>
                    <a:pt x="306" y="361"/>
                  </a:cubicBezTo>
                  <a:cubicBezTo>
                    <a:pt x="334" y="350"/>
                    <a:pt x="361" y="339"/>
                    <a:pt x="389" y="334"/>
                  </a:cubicBezTo>
                  <a:cubicBezTo>
                    <a:pt x="417" y="328"/>
                    <a:pt x="445" y="325"/>
                    <a:pt x="472" y="325"/>
                  </a:cubicBezTo>
                  <a:cubicBezTo>
                    <a:pt x="531" y="325"/>
                    <a:pt x="589" y="334"/>
                    <a:pt x="639" y="353"/>
                  </a:cubicBezTo>
                  <a:cubicBezTo>
                    <a:pt x="692" y="370"/>
                    <a:pt x="739" y="397"/>
                    <a:pt x="775" y="434"/>
                  </a:cubicBezTo>
                  <a:cubicBezTo>
                    <a:pt x="814" y="470"/>
                    <a:pt x="845" y="514"/>
                    <a:pt x="867" y="570"/>
                  </a:cubicBezTo>
                  <a:cubicBezTo>
                    <a:pt x="886" y="623"/>
                    <a:pt x="897" y="684"/>
                    <a:pt x="897" y="753"/>
                  </a:cubicBezTo>
                  <a:cubicBezTo>
                    <a:pt x="897" y="823"/>
                    <a:pt x="886" y="884"/>
                    <a:pt x="864" y="936"/>
                  </a:cubicBezTo>
                  <a:cubicBezTo>
                    <a:pt x="842" y="989"/>
                    <a:pt x="811" y="1036"/>
                    <a:pt x="775" y="1072"/>
                  </a:cubicBezTo>
                  <a:cubicBezTo>
                    <a:pt x="736" y="1109"/>
                    <a:pt x="692" y="1136"/>
                    <a:pt x="639" y="1156"/>
                  </a:cubicBezTo>
                  <a:cubicBezTo>
                    <a:pt x="586" y="1175"/>
                    <a:pt x="531" y="1184"/>
                    <a:pt x="467" y="1184"/>
                  </a:cubicBezTo>
                  <a:cubicBezTo>
                    <a:pt x="411" y="1184"/>
                    <a:pt x="356" y="1172"/>
                    <a:pt x="303" y="1150"/>
                  </a:cubicBezTo>
                  <a:cubicBezTo>
                    <a:pt x="253" y="1128"/>
                    <a:pt x="208" y="1089"/>
                    <a:pt x="175" y="1036"/>
                  </a:cubicBezTo>
                  <a:cubicBezTo>
                    <a:pt x="167" y="1167"/>
                    <a:pt x="167" y="1167"/>
                    <a:pt x="167" y="1167"/>
                  </a:cubicBezTo>
                  <a:cubicBezTo>
                    <a:pt x="0" y="1167"/>
                    <a:pt x="0" y="1167"/>
                    <a:pt x="0" y="1167"/>
                  </a:cubicBezTo>
                  <a:cubicBezTo>
                    <a:pt x="0" y="0"/>
                    <a:pt x="0" y="0"/>
                    <a:pt x="0" y="0"/>
                  </a:cubicBezTo>
                  <a:lnTo>
                    <a:pt x="175" y="0"/>
                  </a:lnTo>
                  <a:close/>
                  <a:moveTo>
                    <a:pt x="456" y="486"/>
                  </a:moveTo>
                  <a:lnTo>
                    <a:pt x="456" y="486"/>
                  </a:lnTo>
                  <a:cubicBezTo>
                    <a:pt x="420" y="486"/>
                    <a:pt x="383" y="492"/>
                    <a:pt x="353" y="506"/>
                  </a:cubicBezTo>
                  <a:cubicBezTo>
                    <a:pt x="320" y="517"/>
                    <a:pt x="289" y="536"/>
                    <a:pt x="267" y="559"/>
                  </a:cubicBezTo>
                  <a:cubicBezTo>
                    <a:pt x="242" y="584"/>
                    <a:pt x="222" y="611"/>
                    <a:pt x="208" y="645"/>
                  </a:cubicBezTo>
                  <a:cubicBezTo>
                    <a:pt x="195" y="678"/>
                    <a:pt x="186" y="714"/>
                    <a:pt x="186" y="753"/>
                  </a:cubicBezTo>
                  <a:cubicBezTo>
                    <a:pt x="186" y="795"/>
                    <a:pt x="195" y="831"/>
                    <a:pt x="208" y="864"/>
                  </a:cubicBezTo>
                  <a:cubicBezTo>
                    <a:pt x="222" y="897"/>
                    <a:pt x="242" y="925"/>
                    <a:pt x="267" y="950"/>
                  </a:cubicBezTo>
                  <a:cubicBezTo>
                    <a:pt x="289" y="972"/>
                    <a:pt x="320" y="992"/>
                    <a:pt x="350" y="1003"/>
                  </a:cubicBezTo>
                  <a:cubicBezTo>
                    <a:pt x="383" y="1017"/>
                    <a:pt x="420" y="1023"/>
                    <a:pt x="456" y="1023"/>
                  </a:cubicBezTo>
                  <a:cubicBezTo>
                    <a:pt x="492" y="1023"/>
                    <a:pt x="528" y="1017"/>
                    <a:pt x="558" y="1006"/>
                  </a:cubicBezTo>
                  <a:cubicBezTo>
                    <a:pt x="592" y="992"/>
                    <a:pt x="620" y="975"/>
                    <a:pt x="645" y="950"/>
                  </a:cubicBezTo>
                  <a:cubicBezTo>
                    <a:pt x="667" y="928"/>
                    <a:pt x="686" y="900"/>
                    <a:pt x="700" y="867"/>
                  </a:cubicBezTo>
                  <a:cubicBezTo>
                    <a:pt x="714" y="834"/>
                    <a:pt x="722" y="795"/>
                    <a:pt x="722" y="753"/>
                  </a:cubicBezTo>
                  <a:cubicBezTo>
                    <a:pt x="722" y="711"/>
                    <a:pt x="714" y="672"/>
                    <a:pt x="700" y="639"/>
                  </a:cubicBezTo>
                  <a:cubicBezTo>
                    <a:pt x="686" y="609"/>
                    <a:pt x="667" y="581"/>
                    <a:pt x="645" y="556"/>
                  </a:cubicBezTo>
                  <a:cubicBezTo>
                    <a:pt x="620" y="534"/>
                    <a:pt x="592" y="517"/>
                    <a:pt x="558" y="503"/>
                  </a:cubicBezTo>
                  <a:cubicBezTo>
                    <a:pt x="528" y="492"/>
                    <a:pt x="492" y="486"/>
                    <a:pt x="456" y="486"/>
                  </a:cubicBezTo>
                  <a:close/>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7" name="Freeform 34">
              <a:extLst>
                <a:ext uri="{FF2B5EF4-FFF2-40B4-BE49-F238E27FC236}">
                  <a16:creationId xmlns:a16="http://schemas.microsoft.com/office/drawing/2014/main" id="{176176EE-7085-B647-A980-50C6B722CB76}"/>
                </a:ext>
              </a:extLst>
            </p:cNvPr>
            <p:cNvSpPr>
              <a:spLocks noChangeArrowheads="1"/>
            </p:cNvSpPr>
            <p:nvPr userDrawn="1"/>
          </p:nvSpPr>
          <p:spPr bwMode="auto">
            <a:xfrm>
              <a:off x="7804150" y="3743325"/>
              <a:ext cx="315913"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5 w 876"/>
                <a:gd name="T11" fmla="*/ 680 h 864"/>
                <a:gd name="T12" fmla="*/ 703 w 876"/>
                <a:gd name="T13" fmla="*/ 616 h 864"/>
                <a:gd name="T14" fmla="*/ 817 w 876"/>
                <a:gd name="T15" fmla="*/ 724 h 864"/>
                <a:gd name="T16" fmla="*/ 742 w 876"/>
                <a:gd name="T17" fmla="*/ 786 h 864"/>
                <a:gd name="T18" fmla="*/ 653 w 876"/>
                <a:gd name="T19" fmla="*/ 830 h 864"/>
                <a:gd name="T20" fmla="*/ 556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5 w 876"/>
                <a:gd name="T35" fmla="*/ 119 h 864"/>
                <a:gd name="T36" fmla="*/ 264 w 876"/>
                <a:gd name="T37" fmla="*/ 30 h 864"/>
                <a:gd name="T38" fmla="*/ 445 w 876"/>
                <a:gd name="T39" fmla="*/ 0 h 864"/>
                <a:gd name="T40" fmla="*/ 628 w 876"/>
                <a:gd name="T41" fmla="*/ 30 h 864"/>
                <a:gd name="T42" fmla="*/ 770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3 w 876"/>
                <a:gd name="T55" fmla="*/ 202 h 864"/>
                <a:gd name="T56" fmla="*/ 450 w 876"/>
                <a:gd name="T57" fmla="*/ 152 h 864"/>
                <a:gd name="T58" fmla="*/ 281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20" y="686"/>
                    <a:pt x="381" y="705"/>
                    <a:pt x="459" y="705"/>
                  </a:cubicBezTo>
                  <a:cubicBezTo>
                    <a:pt x="503" y="705"/>
                    <a:pt x="548" y="697"/>
                    <a:pt x="595" y="680"/>
                  </a:cubicBezTo>
                  <a:cubicBezTo>
                    <a:pt x="642" y="666"/>
                    <a:pt x="678" y="644"/>
                    <a:pt x="703" y="616"/>
                  </a:cubicBezTo>
                  <a:cubicBezTo>
                    <a:pt x="817" y="724"/>
                    <a:pt x="817" y="724"/>
                    <a:pt x="817" y="724"/>
                  </a:cubicBezTo>
                  <a:cubicBezTo>
                    <a:pt x="798" y="747"/>
                    <a:pt x="770" y="769"/>
                    <a:pt x="742" y="786"/>
                  </a:cubicBezTo>
                  <a:cubicBezTo>
                    <a:pt x="714" y="802"/>
                    <a:pt x="684" y="819"/>
                    <a:pt x="653" y="830"/>
                  </a:cubicBezTo>
                  <a:cubicBezTo>
                    <a:pt x="623" y="841"/>
                    <a:pt x="589" y="849"/>
                    <a:pt x="556" y="855"/>
                  </a:cubicBezTo>
                  <a:cubicBezTo>
                    <a:pt x="520" y="861"/>
                    <a:pt x="486" y="863"/>
                    <a:pt x="456" y="863"/>
                  </a:cubicBezTo>
                  <a:cubicBezTo>
                    <a:pt x="386" y="863"/>
                    <a:pt x="323" y="855"/>
                    <a:pt x="267" y="833"/>
                  </a:cubicBezTo>
                  <a:cubicBezTo>
                    <a:pt x="212" y="813"/>
                    <a:pt x="164" y="783"/>
                    <a:pt x="125" y="747"/>
                  </a:cubicBezTo>
                  <a:cubicBezTo>
                    <a:pt x="86" y="708"/>
                    <a:pt x="56" y="661"/>
                    <a:pt x="34" y="608"/>
                  </a:cubicBezTo>
                  <a:cubicBezTo>
                    <a:pt x="12" y="552"/>
                    <a:pt x="0" y="494"/>
                    <a:pt x="0" y="427"/>
                  </a:cubicBezTo>
                  <a:cubicBezTo>
                    <a:pt x="0" y="366"/>
                    <a:pt x="12" y="308"/>
                    <a:pt x="34" y="255"/>
                  </a:cubicBezTo>
                  <a:cubicBezTo>
                    <a:pt x="56" y="202"/>
                    <a:pt x="86" y="158"/>
                    <a:pt x="125" y="119"/>
                  </a:cubicBezTo>
                  <a:cubicBezTo>
                    <a:pt x="164" y="80"/>
                    <a:pt x="209" y="52"/>
                    <a:pt x="264" y="30"/>
                  </a:cubicBezTo>
                  <a:cubicBezTo>
                    <a:pt x="317" y="8"/>
                    <a:pt x="378" y="0"/>
                    <a:pt x="445" y="0"/>
                  </a:cubicBezTo>
                  <a:cubicBezTo>
                    <a:pt x="511" y="0"/>
                    <a:pt x="573" y="8"/>
                    <a:pt x="628" y="30"/>
                  </a:cubicBezTo>
                  <a:cubicBezTo>
                    <a:pt x="684" y="50"/>
                    <a:pt x="731" y="80"/>
                    <a:pt x="770" y="122"/>
                  </a:cubicBezTo>
                  <a:cubicBezTo>
                    <a:pt x="809" y="163"/>
                    <a:pt x="836" y="216"/>
                    <a:pt x="853" y="277"/>
                  </a:cubicBezTo>
                  <a:cubicBezTo>
                    <a:pt x="870" y="341"/>
                    <a:pt x="875" y="413"/>
                    <a:pt x="867" y="497"/>
                  </a:cubicBezTo>
                  <a:lnTo>
                    <a:pt x="186" y="352"/>
                  </a:lnTo>
                  <a:lnTo>
                    <a:pt x="186" y="352"/>
                  </a:lnTo>
                  <a:cubicBezTo>
                    <a:pt x="698" y="352"/>
                    <a:pt x="698" y="352"/>
                    <a:pt x="698" y="352"/>
                  </a:cubicBezTo>
                  <a:cubicBezTo>
                    <a:pt x="692" y="286"/>
                    <a:pt x="667" y="236"/>
                    <a:pt x="623" y="202"/>
                  </a:cubicBezTo>
                  <a:cubicBezTo>
                    <a:pt x="578" y="169"/>
                    <a:pt x="520" y="152"/>
                    <a:pt x="450" y="152"/>
                  </a:cubicBezTo>
                  <a:cubicBezTo>
                    <a:pt x="384" y="152"/>
                    <a:pt x="328" y="169"/>
                    <a:pt x="281" y="202"/>
                  </a:cubicBezTo>
                  <a:cubicBezTo>
                    <a:pt x="231" y="236"/>
                    <a:pt x="200" y="286"/>
                    <a:pt x="186" y="352"/>
                  </a:cubicBezTo>
                  <a:lnTo>
                    <a:pt x="867" y="497"/>
                  </a:ln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9" name="Freeform 36">
              <a:extLst>
                <a:ext uri="{FF2B5EF4-FFF2-40B4-BE49-F238E27FC236}">
                  <a16:creationId xmlns:a16="http://schemas.microsoft.com/office/drawing/2014/main" id="{1D65CA47-B9DB-0E42-A6A7-78C35913AE91}"/>
                </a:ext>
              </a:extLst>
            </p:cNvPr>
            <p:cNvSpPr>
              <a:spLocks noChangeArrowheads="1"/>
            </p:cNvSpPr>
            <p:nvPr userDrawn="1"/>
          </p:nvSpPr>
          <p:spPr bwMode="auto">
            <a:xfrm>
              <a:off x="6570663" y="3024188"/>
              <a:ext cx="77787" cy="76200"/>
            </a:xfrm>
            <a:custGeom>
              <a:avLst/>
              <a:gdLst>
                <a:gd name="T0" fmla="*/ 0 w 218"/>
                <a:gd name="T1" fmla="*/ 106 h 213"/>
                <a:gd name="T2" fmla="*/ 0 w 218"/>
                <a:gd name="T3" fmla="*/ 106 h 213"/>
                <a:gd name="T4" fmla="*/ 33 w 218"/>
                <a:gd name="T5" fmla="*/ 25 h 213"/>
                <a:gd name="T6" fmla="*/ 108 w 218"/>
                <a:gd name="T7" fmla="*/ 0 h 213"/>
                <a:gd name="T8" fmla="*/ 183 w 218"/>
                <a:gd name="T9" fmla="*/ 25 h 213"/>
                <a:gd name="T10" fmla="*/ 217 w 218"/>
                <a:gd name="T11" fmla="*/ 106 h 213"/>
                <a:gd name="T12" fmla="*/ 183 w 218"/>
                <a:gd name="T13" fmla="*/ 184 h 213"/>
                <a:gd name="T14" fmla="*/ 108 w 218"/>
                <a:gd name="T15" fmla="*/ 212 h 213"/>
                <a:gd name="T16" fmla="*/ 33 w 218"/>
                <a:gd name="T17" fmla="*/ 184 h 213"/>
                <a:gd name="T18" fmla="*/ 0 w 218"/>
                <a:gd name="T19" fmla="*/ 10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3">
                  <a:moveTo>
                    <a:pt x="0" y="106"/>
                  </a:moveTo>
                  <a:lnTo>
                    <a:pt x="0" y="106"/>
                  </a:lnTo>
                  <a:cubicBezTo>
                    <a:pt x="0" y="70"/>
                    <a:pt x="11" y="42"/>
                    <a:pt x="33" y="25"/>
                  </a:cubicBezTo>
                  <a:cubicBezTo>
                    <a:pt x="56" y="9"/>
                    <a:pt x="80" y="0"/>
                    <a:pt x="108" y="0"/>
                  </a:cubicBezTo>
                  <a:cubicBezTo>
                    <a:pt x="136" y="0"/>
                    <a:pt x="161" y="9"/>
                    <a:pt x="183" y="25"/>
                  </a:cubicBezTo>
                  <a:cubicBezTo>
                    <a:pt x="206" y="42"/>
                    <a:pt x="217" y="70"/>
                    <a:pt x="217" y="106"/>
                  </a:cubicBezTo>
                  <a:cubicBezTo>
                    <a:pt x="217" y="139"/>
                    <a:pt x="206" y="167"/>
                    <a:pt x="183" y="184"/>
                  </a:cubicBezTo>
                  <a:cubicBezTo>
                    <a:pt x="161" y="203"/>
                    <a:pt x="136" y="212"/>
                    <a:pt x="108" y="212"/>
                  </a:cubicBezTo>
                  <a:cubicBezTo>
                    <a:pt x="80" y="212"/>
                    <a:pt x="56" y="203"/>
                    <a:pt x="33" y="184"/>
                  </a:cubicBezTo>
                  <a:cubicBezTo>
                    <a:pt x="11" y="167"/>
                    <a:pt x="0" y="139"/>
                    <a:pt x="0" y="106"/>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0" name="Freeform 37">
              <a:extLst>
                <a:ext uri="{FF2B5EF4-FFF2-40B4-BE49-F238E27FC236}">
                  <a16:creationId xmlns:a16="http://schemas.microsoft.com/office/drawing/2014/main" id="{8BD4A525-070F-7441-85C2-C1097D7DCD5F}"/>
                </a:ext>
              </a:extLst>
            </p:cNvPr>
            <p:cNvSpPr>
              <a:spLocks noChangeArrowheads="1"/>
            </p:cNvSpPr>
            <p:nvPr userDrawn="1"/>
          </p:nvSpPr>
          <p:spPr bwMode="auto">
            <a:xfrm>
              <a:off x="2690813" y="3625850"/>
              <a:ext cx="79375" cy="77788"/>
            </a:xfrm>
            <a:custGeom>
              <a:avLst/>
              <a:gdLst>
                <a:gd name="T0" fmla="*/ 0 w 221"/>
                <a:gd name="T1" fmla="*/ 105 h 215"/>
                <a:gd name="T2" fmla="*/ 0 w 221"/>
                <a:gd name="T3" fmla="*/ 105 h 215"/>
                <a:gd name="T4" fmla="*/ 34 w 221"/>
                <a:gd name="T5" fmla="*/ 28 h 215"/>
                <a:gd name="T6" fmla="*/ 111 w 221"/>
                <a:gd name="T7" fmla="*/ 0 h 215"/>
                <a:gd name="T8" fmla="*/ 186 w 221"/>
                <a:gd name="T9" fmla="*/ 28 h 215"/>
                <a:gd name="T10" fmla="*/ 220 w 221"/>
                <a:gd name="T11" fmla="*/ 105 h 215"/>
                <a:gd name="T12" fmla="*/ 186 w 221"/>
                <a:gd name="T13" fmla="*/ 186 h 215"/>
                <a:gd name="T14" fmla="*/ 111 w 221"/>
                <a:gd name="T15" fmla="*/ 214 h 215"/>
                <a:gd name="T16" fmla="*/ 34 w 221"/>
                <a:gd name="T17" fmla="*/ 186 h 215"/>
                <a:gd name="T18" fmla="*/ 0 w 221"/>
                <a:gd name="T19" fmla="*/ 10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215">
                  <a:moveTo>
                    <a:pt x="0" y="105"/>
                  </a:moveTo>
                  <a:lnTo>
                    <a:pt x="0" y="105"/>
                  </a:lnTo>
                  <a:cubicBezTo>
                    <a:pt x="0" y="69"/>
                    <a:pt x="11" y="44"/>
                    <a:pt x="34" y="28"/>
                  </a:cubicBezTo>
                  <a:cubicBezTo>
                    <a:pt x="59" y="8"/>
                    <a:pt x="84" y="0"/>
                    <a:pt x="111" y="0"/>
                  </a:cubicBezTo>
                  <a:cubicBezTo>
                    <a:pt x="136" y="0"/>
                    <a:pt x="161" y="8"/>
                    <a:pt x="186" y="28"/>
                  </a:cubicBezTo>
                  <a:cubicBezTo>
                    <a:pt x="209" y="44"/>
                    <a:pt x="220" y="69"/>
                    <a:pt x="220" y="105"/>
                  </a:cubicBezTo>
                  <a:cubicBezTo>
                    <a:pt x="220" y="141"/>
                    <a:pt x="209" y="169"/>
                    <a:pt x="186" y="186"/>
                  </a:cubicBezTo>
                  <a:cubicBezTo>
                    <a:pt x="161" y="202"/>
                    <a:pt x="136" y="214"/>
                    <a:pt x="111" y="214"/>
                  </a:cubicBezTo>
                  <a:cubicBezTo>
                    <a:pt x="84" y="214"/>
                    <a:pt x="59" y="202"/>
                    <a:pt x="34" y="186"/>
                  </a:cubicBezTo>
                  <a:cubicBezTo>
                    <a:pt x="11" y="169"/>
                    <a:pt x="0" y="141"/>
                    <a:pt x="0" y="105"/>
                  </a:cubicBezTo>
                </a:path>
              </a:pathLst>
            </a:custGeom>
            <a:solidFill>
              <a:srgbClr val="29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
        <p:nvSpPr>
          <p:cNvPr id="71" name="Text Placeholder 19">
            <a:extLst>
              <a:ext uri="{FF2B5EF4-FFF2-40B4-BE49-F238E27FC236}">
                <a16:creationId xmlns:a16="http://schemas.microsoft.com/office/drawing/2014/main" id="{9CE7F073-4B4F-DE4A-B3A0-AF386249A910}"/>
              </a:ext>
            </a:extLst>
          </p:cNvPr>
          <p:cNvSpPr>
            <a:spLocks noGrp="1"/>
          </p:cNvSpPr>
          <p:nvPr userDrawn="1">
            <p:ph type="body" sz="quarter" idx="10" hasCustomPrompt="1"/>
          </p:nvPr>
        </p:nvSpPr>
        <p:spPr>
          <a:xfrm>
            <a:off x="1" y="2696007"/>
            <a:ext cx="3455988" cy="455087"/>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grpSp>
        <p:nvGrpSpPr>
          <p:cNvPr id="72" name="Group 71">
            <a:extLst>
              <a:ext uri="{FF2B5EF4-FFF2-40B4-BE49-F238E27FC236}">
                <a16:creationId xmlns:a16="http://schemas.microsoft.com/office/drawing/2014/main" id="{3560E46D-BA4C-E840-B0F8-C5DB8CA0AAC7}"/>
              </a:ext>
            </a:extLst>
          </p:cNvPr>
          <p:cNvGrpSpPr/>
          <p:nvPr userDrawn="1"/>
        </p:nvGrpSpPr>
        <p:grpSpPr>
          <a:xfrm>
            <a:off x="4651520" y="428195"/>
            <a:ext cx="3757031" cy="5211006"/>
            <a:chOff x="4597400" y="-2041897"/>
            <a:chExt cx="5735638" cy="7955335"/>
          </a:xfrm>
        </p:grpSpPr>
        <p:sp>
          <p:nvSpPr>
            <p:cNvPr id="73" name="Freeform 1">
              <a:extLst>
                <a:ext uri="{FF2B5EF4-FFF2-40B4-BE49-F238E27FC236}">
                  <a16:creationId xmlns:a16="http://schemas.microsoft.com/office/drawing/2014/main" id="{B1C26064-59F4-E340-86DF-DD50C71FDAD0}"/>
                </a:ext>
              </a:extLst>
            </p:cNvPr>
            <p:cNvSpPr>
              <a:spLocks noChangeArrowheads="1"/>
            </p:cNvSpPr>
            <p:nvPr/>
          </p:nvSpPr>
          <p:spPr bwMode="auto">
            <a:xfrm>
              <a:off x="5988050" y="-611188"/>
              <a:ext cx="2519363" cy="1636713"/>
            </a:xfrm>
            <a:custGeom>
              <a:avLst/>
              <a:gdLst>
                <a:gd name="T0" fmla="*/ 157 w 7000"/>
                <a:gd name="T1" fmla="*/ 4545 h 4546"/>
                <a:gd name="T2" fmla="*/ 157 w 7000"/>
                <a:gd name="T3" fmla="*/ 4545 h 4546"/>
                <a:gd name="T4" fmla="*/ 1593 w 7000"/>
                <a:gd name="T5" fmla="*/ 3056 h 4546"/>
                <a:gd name="T6" fmla="*/ 2247 w 7000"/>
                <a:gd name="T7" fmla="*/ 1933 h 4546"/>
                <a:gd name="T8" fmla="*/ 3448 w 7000"/>
                <a:gd name="T9" fmla="*/ 993 h 4546"/>
                <a:gd name="T10" fmla="*/ 5276 w 7000"/>
                <a:gd name="T11" fmla="*/ 1672 h 4546"/>
                <a:gd name="T12" fmla="*/ 6529 w 7000"/>
                <a:gd name="T13" fmla="*/ 3082 h 4546"/>
                <a:gd name="T14" fmla="*/ 6189 w 7000"/>
                <a:gd name="T15" fmla="*/ 4440 h 4546"/>
                <a:gd name="T16" fmla="*/ 157 w 7000"/>
                <a:gd name="T17" fmla="*/ 4545 h 4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0" h="4546">
                  <a:moveTo>
                    <a:pt x="157" y="4545"/>
                  </a:moveTo>
                  <a:lnTo>
                    <a:pt x="157" y="4545"/>
                  </a:lnTo>
                  <a:cubicBezTo>
                    <a:pt x="0" y="4049"/>
                    <a:pt x="549" y="2769"/>
                    <a:pt x="1593" y="3056"/>
                  </a:cubicBezTo>
                  <a:cubicBezTo>
                    <a:pt x="2429" y="3265"/>
                    <a:pt x="2586" y="2612"/>
                    <a:pt x="2247" y="1933"/>
                  </a:cubicBezTo>
                  <a:cubicBezTo>
                    <a:pt x="1907" y="1254"/>
                    <a:pt x="2534" y="0"/>
                    <a:pt x="3448" y="993"/>
                  </a:cubicBezTo>
                  <a:cubicBezTo>
                    <a:pt x="4361" y="1960"/>
                    <a:pt x="4518" y="2142"/>
                    <a:pt x="5276" y="1672"/>
                  </a:cubicBezTo>
                  <a:cubicBezTo>
                    <a:pt x="6033" y="1228"/>
                    <a:pt x="6999" y="2534"/>
                    <a:pt x="6529" y="3082"/>
                  </a:cubicBezTo>
                  <a:cubicBezTo>
                    <a:pt x="6033" y="3657"/>
                    <a:pt x="6189" y="4440"/>
                    <a:pt x="6189" y="4440"/>
                  </a:cubicBezTo>
                  <a:cubicBezTo>
                    <a:pt x="6189" y="4440"/>
                    <a:pt x="680" y="4545"/>
                    <a:pt x="157" y="4545"/>
                  </a:cubicBezTo>
                </a:path>
              </a:pathLst>
            </a:custGeom>
            <a:solidFill>
              <a:schemeClr val="bg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4" name="Freeform 2">
              <a:extLst>
                <a:ext uri="{FF2B5EF4-FFF2-40B4-BE49-F238E27FC236}">
                  <a16:creationId xmlns:a16="http://schemas.microsoft.com/office/drawing/2014/main" id="{B2A125C1-178E-6E42-98B0-636833CCB2A9}"/>
                </a:ext>
              </a:extLst>
            </p:cNvPr>
            <p:cNvSpPr>
              <a:spLocks noChangeArrowheads="1"/>
            </p:cNvSpPr>
            <p:nvPr/>
          </p:nvSpPr>
          <p:spPr bwMode="auto">
            <a:xfrm>
              <a:off x="4597400" y="1258888"/>
              <a:ext cx="1035050" cy="555625"/>
            </a:xfrm>
            <a:custGeom>
              <a:avLst/>
              <a:gdLst>
                <a:gd name="T0" fmla="*/ 2795 w 2873"/>
                <a:gd name="T1" fmla="*/ 1385 h 1543"/>
                <a:gd name="T2" fmla="*/ 2795 w 2873"/>
                <a:gd name="T3" fmla="*/ 1385 h 1543"/>
                <a:gd name="T4" fmla="*/ 2455 w 2873"/>
                <a:gd name="T5" fmla="*/ 863 h 1543"/>
                <a:gd name="T6" fmla="*/ 1959 w 2873"/>
                <a:gd name="T7" fmla="*/ 341 h 1543"/>
                <a:gd name="T8" fmla="*/ 1280 w 2873"/>
                <a:gd name="T9" fmla="*/ 288 h 1543"/>
                <a:gd name="T10" fmla="*/ 705 w 2873"/>
                <a:gd name="T11" fmla="*/ 549 h 1543"/>
                <a:gd name="T12" fmla="*/ 235 w 2873"/>
                <a:gd name="T13" fmla="*/ 810 h 1543"/>
                <a:gd name="T14" fmla="*/ 366 w 2873"/>
                <a:gd name="T15" fmla="*/ 1359 h 1543"/>
                <a:gd name="T16" fmla="*/ 2795 w 2873"/>
                <a:gd name="T17" fmla="*/ 1385 h 1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73" h="1543">
                  <a:moveTo>
                    <a:pt x="2795" y="1385"/>
                  </a:moveTo>
                  <a:lnTo>
                    <a:pt x="2795" y="1385"/>
                  </a:lnTo>
                  <a:cubicBezTo>
                    <a:pt x="2872" y="1202"/>
                    <a:pt x="2821" y="810"/>
                    <a:pt x="2455" y="863"/>
                  </a:cubicBezTo>
                  <a:cubicBezTo>
                    <a:pt x="1671" y="1046"/>
                    <a:pt x="2194" y="654"/>
                    <a:pt x="1959" y="341"/>
                  </a:cubicBezTo>
                  <a:cubicBezTo>
                    <a:pt x="1723" y="0"/>
                    <a:pt x="1593" y="392"/>
                    <a:pt x="1280" y="288"/>
                  </a:cubicBezTo>
                  <a:cubicBezTo>
                    <a:pt x="966" y="183"/>
                    <a:pt x="1019" y="733"/>
                    <a:pt x="705" y="549"/>
                  </a:cubicBezTo>
                  <a:cubicBezTo>
                    <a:pt x="418" y="392"/>
                    <a:pt x="26" y="575"/>
                    <a:pt x="235" y="810"/>
                  </a:cubicBezTo>
                  <a:cubicBezTo>
                    <a:pt x="418" y="1019"/>
                    <a:pt x="0" y="1150"/>
                    <a:pt x="366" y="1359"/>
                  </a:cubicBezTo>
                  <a:cubicBezTo>
                    <a:pt x="705" y="1542"/>
                    <a:pt x="2586" y="1385"/>
                    <a:pt x="2795" y="1385"/>
                  </a:cubicBezTo>
                </a:path>
              </a:pathLst>
            </a:custGeom>
            <a:solidFill>
              <a:schemeClr val="bg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5" name="Freeform 3">
              <a:extLst>
                <a:ext uri="{FF2B5EF4-FFF2-40B4-BE49-F238E27FC236}">
                  <a16:creationId xmlns:a16="http://schemas.microsoft.com/office/drawing/2014/main" id="{9F507330-A319-5042-B5E4-3B084FB47D23}"/>
                </a:ext>
              </a:extLst>
            </p:cNvPr>
            <p:cNvSpPr>
              <a:spLocks noChangeArrowheads="1"/>
            </p:cNvSpPr>
            <p:nvPr/>
          </p:nvSpPr>
          <p:spPr bwMode="auto">
            <a:xfrm>
              <a:off x="4672013" y="2613025"/>
              <a:ext cx="3159125" cy="3290888"/>
            </a:xfrm>
            <a:custGeom>
              <a:avLst/>
              <a:gdLst>
                <a:gd name="T0" fmla="*/ 6921 w 8775"/>
                <a:gd name="T1" fmla="*/ 757 h 9142"/>
                <a:gd name="T2" fmla="*/ 6921 w 8775"/>
                <a:gd name="T3" fmla="*/ 757 h 9142"/>
                <a:gd name="T4" fmla="*/ 6816 w 8775"/>
                <a:gd name="T5" fmla="*/ 627 h 9142"/>
                <a:gd name="T6" fmla="*/ 5641 w 8775"/>
                <a:gd name="T7" fmla="*/ 340 h 9142"/>
                <a:gd name="T8" fmla="*/ 5354 w 8775"/>
                <a:gd name="T9" fmla="*/ 549 h 9142"/>
                <a:gd name="T10" fmla="*/ 5694 w 8775"/>
                <a:gd name="T11" fmla="*/ 914 h 9142"/>
                <a:gd name="T12" fmla="*/ 5615 w 8775"/>
                <a:gd name="T13" fmla="*/ 914 h 9142"/>
                <a:gd name="T14" fmla="*/ 5432 w 8775"/>
                <a:gd name="T15" fmla="*/ 1071 h 9142"/>
                <a:gd name="T16" fmla="*/ 6686 w 8775"/>
                <a:gd name="T17" fmla="*/ 1201 h 9142"/>
                <a:gd name="T18" fmla="*/ 4806 w 8775"/>
                <a:gd name="T19" fmla="*/ 2090 h 9142"/>
                <a:gd name="T20" fmla="*/ 4022 w 8775"/>
                <a:gd name="T21" fmla="*/ 2037 h 9142"/>
                <a:gd name="T22" fmla="*/ 3865 w 8775"/>
                <a:gd name="T23" fmla="*/ 1958 h 9142"/>
                <a:gd name="T24" fmla="*/ 3630 w 8775"/>
                <a:gd name="T25" fmla="*/ 1489 h 9142"/>
                <a:gd name="T26" fmla="*/ 3918 w 8775"/>
                <a:gd name="T27" fmla="*/ 1384 h 9142"/>
                <a:gd name="T28" fmla="*/ 3944 w 8775"/>
                <a:gd name="T29" fmla="*/ 1332 h 9142"/>
                <a:gd name="T30" fmla="*/ 3526 w 8775"/>
                <a:gd name="T31" fmla="*/ 391 h 9142"/>
                <a:gd name="T32" fmla="*/ 2873 w 8775"/>
                <a:gd name="T33" fmla="*/ 52 h 9142"/>
                <a:gd name="T34" fmla="*/ 2847 w 8775"/>
                <a:gd name="T35" fmla="*/ 1384 h 9142"/>
                <a:gd name="T36" fmla="*/ 3134 w 8775"/>
                <a:gd name="T37" fmla="*/ 2142 h 9142"/>
                <a:gd name="T38" fmla="*/ 3082 w 8775"/>
                <a:gd name="T39" fmla="*/ 2376 h 9142"/>
                <a:gd name="T40" fmla="*/ 1959 w 8775"/>
                <a:gd name="T41" fmla="*/ 3239 h 9142"/>
                <a:gd name="T42" fmla="*/ 1019 w 8775"/>
                <a:gd name="T43" fmla="*/ 4257 h 9142"/>
                <a:gd name="T44" fmla="*/ 0 w 8775"/>
                <a:gd name="T45" fmla="*/ 9141 h 9142"/>
                <a:gd name="T46" fmla="*/ 1097 w 8775"/>
                <a:gd name="T47" fmla="*/ 9141 h 9142"/>
                <a:gd name="T48" fmla="*/ 2142 w 8775"/>
                <a:gd name="T49" fmla="*/ 5302 h 9142"/>
                <a:gd name="T50" fmla="*/ 2742 w 8775"/>
                <a:gd name="T51" fmla="*/ 9141 h 9142"/>
                <a:gd name="T52" fmla="*/ 5772 w 8775"/>
                <a:gd name="T53" fmla="*/ 9141 h 9142"/>
                <a:gd name="T54" fmla="*/ 6242 w 8775"/>
                <a:gd name="T55" fmla="*/ 4101 h 9142"/>
                <a:gd name="T56" fmla="*/ 7104 w 8775"/>
                <a:gd name="T57" fmla="*/ 4152 h 9142"/>
                <a:gd name="T58" fmla="*/ 8591 w 8775"/>
                <a:gd name="T59" fmla="*/ 3343 h 9142"/>
                <a:gd name="T60" fmla="*/ 6921 w 8775"/>
                <a:gd name="T61" fmla="*/ 757 h 9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775" h="9142">
                  <a:moveTo>
                    <a:pt x="6921" y="757"/>
                  </a:moveTo>
                  <a:lnTo>
                    <a:pt x="6921" y="757"/>
                  </a:lnTo>
                  <a:cubicBezTo>
                    <a:pt x="6816" y="627"/>
                    <a:pt x="6816" y="627"/>
                    <a:pt x="6816" y="627"/>
                  </a:cubicBezTo>
                  <a:cubicBezTo>
                    <a:pt x="6530" y="391"/>
                    <a:pt x="5981" y="209"/>
                    <a:pt x="5641" y="340"/>
                  </a:cubicBezTo>
                  <a:cubicBezTo>
                    <a:pt x="5354" y="549"/>
                    <a:pt x="5354" y="549"/>
                    <a:pt x="5354" y="549"/>
                  </a:cubicBezTo>
                  <a:cubicBezTo>
                    <a:pt x="5694" y="914"/>
                    <a:pt x="5694" y="914"/>
                    <a:pt x="5694" y="914"/>
                  </a:cubicBezTo>
                  <a:cubicBezTo>
                    <a:pt x="5667" y="914"/>
                    <a:pt x="5641" y="914"/>
                    <a:pt x="5615" y="914"/>
                  </a:cubicBezTo>
                  <a:cubicBezTo>
                    <a:pt x="5432" y="941"/>
                    <a:pt x="5432" y="1071"/>
                    <a:pt x="5432" y="1071"/>
                  </a:cubicBezTo>
                  <a:cubicBezTo>
                    <a:pt x="6686" y="1201"/>
                    <a:pt x="6686" y="1201"/>
                    <a:pt x="6686" y="1201"/>
                  </a:cubicBezTo>
                  <a:cubicBezTo>
                    <a:pt x="8122" y="1358"/>
                    <a:pt x="8096" y="3683"/>
                    <a:pt x="4806" y="2090"/>
                  </a:cubicBezTo>
                  <a:cubicBezTo>
                    <a:pt x="4022" y="2037"/>
                    <a:pt x="4022" y="2037"/>
                    <a:pt x="4022" y="2037"/>
                  </a:cubicBezTo>
                  <a:cubicBezTo>
                    <a:pt x="3970" y="2037"/>
                    <a:pt x="3918" y="2011"/>
                    <a:pt x="3865" y="1958"/>
                  </a:cubicBezTo>
                  <a:cubicBezTo>
                    <a:pt x="3865" y="1958"/>
                    <a:pt x="3605" y="1489"/>
                    <a:pt x="3630" y="1489"/>
                  </a:cubicBezTo>
                  <a:cubicBezTo>
                    <a:pt x="3918" y="1384"/>
                    <a:pt x="3918" y="1384"/>
                    <a:pt x="3918" y="1384"/>
                  </a:cubicBezTo>
                  <a:cubicBezTo>
                    <a:pt x="3944" y="1384"/>
                    <a:pt x="3944" y="1358"/>
                    <a:pt x="3944" y="1332"/>
                  </a:cubicBezTo>
                  <a:cubicBezTo>
                    <a:pt x="3526" y="391"/>
                    <a:pt x="3526" y="391"/>
                    <a:pt x="3526" y="391"/>
                  </a:cubicBezTo>
                  <a:cubicBezTo>
                    <a:pt x="3422" y="131"/>
                    <a:pt x="3160" y="0"/>
                    <a:pt x="2873" y="52"/>
                  </a:cubicBezTo>
                  <a:cubicBezTo>
                    <a:pt x="2507" y="131"/>
                    <a:pt x="2455" y="523"/>
                    <a:pt x="2847" y="1384"/>
                  </a:cubicBezTo>
                  <a:cubicBezTo>
                    <a:pt x="3134" y="2142"/>
                    <a:pt x="3134" y="2142"/>
                    <a:pt x="3134" y="2142"/>
                  </a:cubicBezTo>
                  <a:cubicBezTo>
                    <a:pt x="3187" y="2220"/>
                    <a:pt x="3160" y="2325"/>
                    <a:pt x="3082" y="2376"/>
                  </a:cubicBezTo>
                  <a:cubicBezTo>
                    <a:pt x="1959" y="3239"/>
                    <a:pt x="1959" y="3239"/>
                    <a:pt x="1959" y="3239"/>
                  </a:cubicBezTo>
                  <a:cubicBezTo>
                    <a:pt x="1593" y="3552"/>
                    <a:pt x="1279" y="3892"/>
                    <a:pt x="1019" y="4257"/>
                  </a:cubicBezTo>
                  <a:cubicBezTo>
                    <a:pt x="78" y="5563"/>
                    <a:pt x="104" y="7444"/>
                    <a:pt x="0" y="9141"/>
                  </a:cubicBezTo>
                  <a:cubicBezTo>
                    <a:pt x="1097" y="9141"/>
                    <a:pt x="1097" y="9141"/>
                    <a:pt x="1097" y="9141"/>
                  </a:cubicBezTo>
                  <a:cubicBezTo>
                    <a:pt x="1254" y="7862"/>
                    <a:pt x="1332" y="6137"/>
                    <a:pt x="2142" y="5302"/>
                  </a:cubicBezTo>
                  <a:cubicBezTo>
                    <a:pt x="2742" y="9141"/>
                    <a:pt x="2742" y="9141"/>
                    <a:pt x="2742" y="9141"/>
                  </a:cubicBezTo>
                  <a:cubicBezTo>
                    <a:pt x="5772" y="9141"/>
                    <a:pt x="5772" y="9141"/>
                    <a:pt x="5772" y="9141"/>
                  </a:cubicBezTo>
                  <a:cubicBezTo>
                    <a:pt x="6242" y="4101"/>
                    <a:pt x="6242" y="4101"/>
                    <a:pt x="6242" y="4101"/>
                  </a:cubicBezTo>
                  <a:cubicBezTo>
                    <a:pt x="7104" y="4152"/>
                    <a:pt x="7104" y="4152"/>
                    <a:pt x="7104" y="4152"/>
                  </a:cubicBezTo>
                  <a:cubicBezTo>
                    <a:pt x="7626" y="4179"/>
                    <a:pt x="8591" y="3343"/>
                    <a:pt x="8591" y="3343"/>
                  </a:cubicBezTo>
                  <a:cubicBezTo>
                    <a:pt x="8670" y="2794"/>
                    <a:pt x="8774" y="1410"/>
                    <a:pt x="6921" y="757"/>
                  </a:cubicBez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6" name="Freeform 4">
              <a:extLst>
                <a:ext uri="{FF2B5EF4-FFF2-40B4-BE49-F238E27FC236}">
                  <a16:creationId xmlns:a16="http://schemas.microsoft.com/office/drawing/2014/main" id="{942710C0-DB6A-A245-851F-0C7D21F33471}"/>
                </a:ext>
              </a:extLst>
            </p:cNvPr>
            <p:cNvSpPr>
              <a:spLocks noChangeArrowheads="1"/>
            </p:cNvSpPr>
            <p:nvPr/>
          </p:nvSpPr>
          <p:spPr bwMode="auto">
            <a:xfrm>
              <a:off x="6723063" y="2716213"/>
              <a:ext cx="254000" cy="311150"/>
            </a:xfrm>
            <a:custGeom>
              <a:avLst/>
              <a:gdLst>
                <a:gd name="T0" fmla="*/ 26 w 706"/>
                <a:gd name="T1" fmla="*/ 627 h 863"/>
                <a:gd name="T2" fmla="*/ 26 w 706"/>
                <a:gd name="T3" fmla="*/ 627 h 863"/>
                <a:gd name="T4" fmla="*/ 496 w 706"/>
                <a:gd name="T5" fmla="*/ 366 h 863"/>
                <a:gd name="T6" fmla="*/ 0 w 706"/>
                <a:gd name="T7" fmla="*/ 575 h 863"/>
                <a:gd name="T8" fmla="*/ 26 w 706"/>
                <a:gd name="T9" fmla="*/ 627 h 863"/>
              </a:gdLst>
              <a:ahLst/>
              <a:cxnLst>
                <a:cxn ang="0">
                  <a:pos x="T0" y="T1"/>
                </a:cxn>
                <a:cxn ang="0">
                  <a:pos x="T2" y="T3"/>
                </a:cxn>
                <a:cxn ang="0">
                  <a:pos x="T4" y="T5"/>
                </a:cxn>
                <a:cxn ang="0">
                  <a:pos x="T6" y="T7"/>
                </a:cxn>
                <a:cxn ang="0">
                  <a:pos x="T8" y="T9"/>
                </a:cxn>
              </a:cxnLst>
              <a:rect l="0" t="0" r="r" b="b"/>
              <a:pathLst>
                <a:path w="706" h="863">
                  <a:moveTo>
                    <a:pt x="26" y="627"/>
                  </a:moveTo>
                  <a:lnTo>
                    <a:pt x="26" y="627"/>
                  </a:lnTo>
                  <a:cubicBezTo>
                    <a:pt x="391" y="862"/>
                    <a:pt x="705" y="731"/>
                    <a:pt x="496" y="366"/>
                  </a:cubicBezTo>
                  <a:cubicBezTo>
                    <a:pt x="261" y="0"/>
                    <a:pt x="0" y="575"/>
                    <a:pt x="0" y="575"/>
                  </a:cubicBezTo>
                  <a:lnTo>
                    <a:pt x="26" y="627"/>
                  </a:lnTo>
                </a:path>
              </a:pathLst>
            </a:custGeom>
            <a:solidFill>
              <a:srgbClr val="8D8D8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7" name="Freeform 5">
              <a:extLst>
                <a:ext uri="{FF2B5EF4-FFF2-40B4-BE49-F238E27FC236}">
                  <a16:creationId xmlns:a16="http://schemas.microsoft.com/office/drawing/2014/main" id="{82EDBCD5-8ECE-FA4C-8056-A722E584DA6F}"/>
                </a:ext>
              </a:extLst>
            </p:cNvPr>
            <p:cNvSpPr>
              <a:spLocks noChangeArrowheads="1"/>
            </p:cNvSpPr>
            <p:nvPr/>
          </p:nvSpPr>
          <p:spPr bwMode="auto">
            <a:xfrm>
              <a:off x="6346825" y="2593975"/>
              <a:ext cx="565150" cy="347663"/>
            </a:xfrm>
            <a:custGeom>
              <a:avLst/>
              <a:gdLst>
                <a:gd name="T0" fmla="*/ 0 w 1568"/>
                <a:gd name="T1" fmla="*/ 339 h 967"/>
                <a:gd name="T2" fmla="*/ 0 w 1568"/>
                <a:gd name="T3" fmla="*/ 339 h 967"/>
                <a:gd name="T4" fmla="*/ 1280 w 1568"/>
                <a:gd name="T5" fmla="*/ 966 h 967"/>
                <a:gd name="T6" fmla="*/ 1410 w 1568"/>
                <a:gd name="T7" fmla="*/ 914 h 967"/>
                <a:gd name="T8" fmla="*/ 1541 w 1568"/>
                <a:gd name="T9" fmla="*/ 705 h 967"/>
                <a:gd name="T10" fmla="*/ 1541 w 1568"/>
                <a:gd name="T11" fmla="*/ 522 h 967"/>
                <a:gd name="T12" fmla="*/ 1463 w 1568"/>
                <a:gd name="T13" fmla="*/ 470 h 967"/>
                <a:gd name="T14" fmla="*/ 470 w 1568"/>
                <a:gd name="T15" fmla="*/ 0 h 967"/>
                <a:gd name="T16" fmla="*/ 0 w 1568"/>
                <a:gd name="T17" fmla="*/ 339 h 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8" h="967">
                  <a:moveTo>
                    <a:pt x="0" y="339"/>
                  </a:moveTo>
                  <a:lnTo>
                    <a:pt x="0" y="339"/>
                  </a:lnTo>
                  <a:cubicBezTo>
                    <a:pt x="0" y="339"/>
                    <a:pt x="496" y="940"/>
                    <a:pt x="1280" y="966"/>
                  </a:cubicBezTo>
                  <a:cubicBezTo>
                    <a:pt x="1306" y="966"/>
                    <a:pt x="1358" y="966"/>
                    <a:pt x="1410" y="914"/>
                  </a:cubicBezTo>
                  <a:cubicBezTo>
                    <a:pt x="1489" y="835"/>
                    <a:pt x="1515" y="757"/>
                    <a:pt x="1541" y="705"/>
                  </a:cubicBezTo>
                  <a:cubicBezTo>
                    <a:pt x="1567" y="626"/>
                    <a:pt x="1567" y="575"/>
                    <a:pt x="1541" y="522"/>
                  </a:cubicBezTo>
                  <a:cubicBezTo>
                    <a:pt x="1541" y="496"/>
                    <a:pt x="1489" y="470"/>
                    <a:pt x="1463" y="470"/>
                  </a:cubicBezTo>
                  <a:cubicBezTo>
                    <a:pt x="1280" y="443"/>
                    <a:pt x="732" y="366"/>
                    <a:pt x="470" y="0"/>
                  </a:cubicBezTo>
                  <a:cubicBezTo>
                    <a:pt x="157" y="52"/>
                    <a:pt x="0" y="339"/>
                    <a:pt x="0" y="339"/>
                  </a:cubicBezTo>
                </a:path>
              </a:pathLst>
            </a:custGeom>
            <a:solidFill>
              <a:srgbClr val="149DC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8" name="Freeform 6">
              <a:extLst>
                <a:ext uri="{FF2B5EF4-FFF2-40B4-BE49-F238E27FC236}">
                  <a16:creationId xmlns:a16="http://schemas.microsoft.com/office/drawing/2014/main" id="{DD8C9F6D-E478-854F-B3F7-C793F0FE436B}"/>
                </a:ext>
              </a:extLst>
            </p:cNvPr>
            <p:cNvSpPr>
              <a:spLocks noChangeArrowheads="1"/>
            </p:cNvSpPr>
            <p:nvPr/>
          </p:nvSpPr>
          <p:spPr bwMode="auto">
            <a:xfrm>
              <a:off x="6684963" y="2744788"/>
              <a:ext cx="19050" cy="19050"/>
            </a:xfrm>
            <a:custGeom>
              <a:avLst/>
              <a:gdLst>
                <a:gd name="T0" fmla="*/ 25 w 52"/>
                <a:gd name="T1" fmla="*/ 53 h 54"/>
                <a:gd name="T2" fmla="*/ 51 w 52"/>
                <a:gd name="T3" fmla="*/ 0 h 54"/>
                <a:gd name="T4" fmla="*/ 0 w 52"/>
                <a:gd name="T5" fmla="*/ 26 h 54"/>
                <a:gd name="T6" fmla="*/ 25 w 52"/>
                <a:gd name="T7" fmla="*/ 53 h 54"/>
              </a:gdLst>
              <a:ahLst/>
              <a:cxnLst>
                <a:cxn ang="0">
                  <a:pos x="T0" y="T1"/>
                </a:cxn>
                <a:cxn ang="0">
                  <a:pos x="T2" y="T3"/>
                </a:cxn>
                <a:cxn ang="0">
                  <a:pos x="T4" y="T5"/>
                </a:cxn>
                <a:cxn ang="0">
                  <a:pos x="T6" y="T7"/>
                </a:cxn>
              </a:cxnLst>
              <a:rect l="0" t="0" r="r" b="b"/>
              <a:pathLst>
                <a:path w="52" h="54">
                  <a:moveTo>
                    <a:pt x="25" y="53"/>
                  </a:moveTo>
                  <a:lnTo>
                    <a:pt x="51" y="0"/>
                  </a:lnTo>
                  <a:lnTo>
                    <a:pt x="0" y="26"/>
                  </a:lnTo>
                  <a:lnTo>
                    <a:pt x="25" y="53"/>
                  </a:lnTo>
                </a:path>
              </a:pathLst>
            </a:custGeom>
            <a:solidFill>
              <a:srgbClr val="E7385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9" name="Freeform 7">
              <a:extLst>
                <a:ext uri="{FF2B5EF4-FFF2-40B4-BE49-F238E27FC236}">
                  <a16:creationId xmlns:a16="http://schemas.microsoft.com/office/drawing/2014/main" id="{9F2FF328-455A-7949-8C69-5E48D051D90E}"/>
                </a:ext>
              </a:extLst>
            </p:cNvPr>
            <p:cNvSpPr>
              <a:spLocks noChangeArrowheads="1"/>
            </p:cNvSpPr>
            <p:nvPr/>
          </p:nvSpPr>
          <p:spPr bwMode="auto">
            <a:xfrm>
              <a:off x="6524625" y="1325563"/>
              <a:ext cx="817563" cy="893762"/>
            </a:xfrm>
            <a:custGeom>
              <a:avLst/>
              <a:gdLst>
                <a:gd name="T0" fmla="*/ 496 w 2273"/>
                <a:gd name="T1" fmla="*/ 366 h 2482"/>
                <a:gd name="T2" fmla="*/ 496 w 2273"/>
                <a:gd name="T3" fmla="*/ 366 h 2482"/>
                <a:gd name="T4" fmla="*/ 784 w 2273"/>
                <a:gd name="T5" fmla="*/ 105 h 2482"/>
                <a:gd name="T6" fmla="*/ 1097 w 2273"/>
                <a:gd name="T7" fmla="*/ 27 h 2482"/>
                <a:gd name="T8" fmla="*/ 1437 w 2273"/>
                <a:gd name="T9" fmla="*/ 79 h 2482"/>
                <a:gd name="T10" fmla="*/ 1776 w 2273"/>
                <a:gd name="T11" fmla="*/ 262 h 2482"/>
                <a:gd name="T12" fmla="*/ 2063 w 2273"/>
                <a:gd name="T13" fmla="*/ 497 h 2482"/>
                <a:gd name="T14" fmla="*/ 2221 w 2273"/>
                <a:gd name="T15" fmla="*/ 784 h 2482"/>
                <a:gd name="T16" fmla="*/ 2272 w 2273"/>
                <a:gd name="T17" fmla="*/ 1045 h 2482"/>
                <a:gd name="T18" fmla="*/ 2221 w 2273"/>
                <a:gd name="T19" fmla="*/ 1333 h 2482"/>
                <a:gd name="T20" fmla="*/ 2011 w 2273"/>
                <a:gd name="T21" fmla="*/ 1594 h 2482"/>
                <a:gd name="T22" fmla="*/ 1803 w 2273"/>
                <a:gd name="T23" fmla="*/ 1699 h 2482"/>
                <a:gd name="T24" fmla="*/ 1541 w 2273"/>
                <a:gd name="T25" fmla="*/ 1699 h 2482"/>
                <a:gd name="T26" fmla="*/ 1306 w 2273"/>
                <a:gd name="T27" fmla="*/ 1699 h 2482"/>
                <a:gd name="T28" fmla="*/ 1097 w 2273"/>
                <a:gd name="T29" fmla="*/ 1725 h 2482"/>
                <a:gd name="T30" fmla="*/ 888 w 2273"/>
                <a:gd name="T31" fmla="*/ 1881 h 2482"/>
                <a:gd name="T32" fmla="*/ 445 w 2273"/>
                <a:gd name="T33" fmla="*/ 1542 h 2482"/>
                <a:gd name="T34" fmla="*/ 705 w 2273"/>
                <a:gd name="T35" fmla="*/ 1307 h 2482"/>
                <a:gd name="T36" fmla="*/ 940 w 2273"/>
                <a:gd name="T37" fmla="*/ 1202 h 2482"/>
                <a:gd name="T38" fmla="*/ 1176 w 2273"/>
                <a:gd name="T39" fmla="*/ 1202 h 2482"/>
                <a:gd name="T40" fmla="*/ 1358 w 2273"/>
                <a:gd name="T41" fmla="*/ 1228 h 2482"/>
                <a:gd name="T42" fmla="*/ 1541 w 2273"/>
                <a:gd name="T43" fmla="*/ 1202 h 2482"/>
                <a:gd name="T44" fmla="*/ 1646 w 2273"/>
                <a:gd name="T45" fmla="*/ 1072 h 2482"/>
                <a:gd name="T46" fmla="*/ 1671 w 2273"/>
                <a:gd name="T47" fmla="*/ 863 h 2482"/>
                <a:gd name="T48" fmla="*/ 1489 w 2273"/>
                <a:gd name="T49" fmla="*/ 654 h 2482"/>
                <a:gd name="T50" fmla="*/ 1202 w 2273"/>
                <a:gd name="T51" fmla="*/ 575 h 2482"/>
                <a:gd name="T52" fmla="*/ 967 w 2273"/>
                <a:gd name="T53" fmla="*/ 706 h 2482"/>
                <a:gd name="T54" fmla="*/ 496 w 2273"/>
                <a:gd name="T55" fmla="*/ 366 h 2482"/>
                <a:gd name="T56" fmla="*/ 78 w 2273"/>
                <a:gd name="T57" fmla="*/ 1934 h 2482"/>
                <a:gd name="T58" fmla="*/ 78 w 2273"/>
                <a:gd name="T59" fmla="*/ 1934 h 2482"/>
                <a:gd name="T60" fmla="*/ 236 w 2273"/>
                <a:gd name="T61" fmla="*/ 1803 h 2482"/>
                <a:gd name="T62" fmla="*/ 392 w 2273"/>
                <a:gd name="T63" fmla="*/ 1803 h 2482"/>
                <a:gd name="T64" fmla="*/ 549 w 2273"/>
                <a:gd name="T65" fmla="*/ 1855 h 2482"/>
                <a:gd name="T66" fmla="*/ 679 w 2273"/>
                <a:gd name="T67" fmla="*/ 1985 h 2482"/>
                <a:gd name="T68" fmla="*/ 705 w 2273"/>
                <a:gd name="T69" fmla="*/ 2168 h 2482"/>
                <a:gd name="T70" fmla="*/ 627 w 2273"/>
                <a:gd name="T71" fmla="*/ 2350 h 2482"/>
                <a:gd name="T72" fmla="*/ 470 w 2273"/>
                <a:gd name="T73" fmla="*/ 2455 h 2482"/>
                <a:gd name="T74" fmla="*/ 313 w 2273"/>
                <a:gd name="T75" fmla="*/ 2481 h 2482"/>
                <a:gd name="T76" fmla="*/ 157 w 2273"/>
                <a:gd name="T77" fmla="*/ 2402 h 2482"/>
                <a:gd name="T78" fmla="*/ 53 w 2273"/>
                <a:gd name="T79" fmla="*/ 2272 h 2482"/>
                <a:gd name="T80" fmla="*/ 0 w 2273"/>
                <a:gd name="T81" fmla="*/ 2117 h 2482"/>
                <a:gd name="T82" fmla="*/ 78 w 2273"/>
                <a:gd name="T83" fmla="*/ 1934 h 2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73" h="2482">
                  <a:moveTo>
                    <a:pt x="496" y="366"/>
                  </a:moveTo>
                  <a:lnTo>
                    <a:pt x="496" y="366"/>
                  </a:lnTo>
                  <a:cubicBezTo>
                    <a:pt x="575" y="236"/>
                    <a:pt x="679" y="158"/>
                    <a:pt x="784" y="105"/>
                  </a:cubicBezTo>
                  <a:cubicBezTo>
                    <a:pt x="862" y="53"/>
                    <a:pt x="993" y="27"/>
                    <a:pt x="1097" y="27"/>
                  </a:cubicBezTo>
                  <a:cubicBezTo>
                    <a:pt x="1202" y="0"/>
                    <a:pt x="1332" y="27"/>
                    <a:pt x="1437" y="79"/>
                  </a:cubicBezTo>
                  <a:cubicBezTo>
                    <a:pt x="1567" y="105"/>
                    <a:pt x="1671" y="183"/>
                    <a:pt x="1776" y="262"/>
                  </a:cubicBezTo>
                  <a:cubicBezTo>
                    <a:pt x="1880" y="340"/>
                    <a:pt x="1985" y="418"/>
                    <a:pt x="2063" y="497"/>
                  </a:cubicBezTo>
                  <a:cubicBezTo>
                    <a:pt x="2116" y="601"/>
                    <a:pt x="2194" y="680"/>
                    <a:pt x="2221" y="784"/>
                  </a:cubicBezTo>
                  <a:cubicBezTo>
                    <a:pt x="2246" y="863"/>
                    <a:pt x="2272" y="967"/>
                    <a:pt x="2272" y="1045"/>
                  </a:cubicBezTo>
                  <a:cubicBezTo>
                    <a:pt x="2272" y="1150"/>
                    <a:pt x="2246" y="1254"/>
                    <a:pt x="2221" y="1333"/>
                  </a:cubicBezTo>
                  <a:cubicBezTo>
                    <a:pt x="2142" y="1463"/>
                    <a:pt x="2089" y="1542"/>
                    <a:pt x="2011" y="1594"/>
                  </a:cubicBezTo>
                  <a:cubicBezTo>
                    <a:pt x="1933" y="1646"/>
                    <a:pt x="1880" y="1672"/>
                    <a:pt x="1803" y="1699"/>
                  </a:cubicBezTo>
                  <a:cubicBezTo>
                    <a:pt x="1724" y="1699"/>
                    <a:pt x="1646" y="1699"/>
                    <a:pt x="1541" y="1699"/>
                  </a:cubicBezTo>
                  <a:cubicBezTo>
                    <a:pt x="1462" y="1699"/>
                    <a:pt x="1385" y="1699"/>
                    <a:pt x="1306" y="1699"/>
                  </a:cubicBezTo>
                  <a:cubicBezTo>
                    <a:pt x="1228" y="1699"/>
                    <a:pt x="1149" y="1699"/>
                    <a:pt x="1097" y="1725"/>
                  </a:cubicBezTo>
                  <a:cubicBezTo>
                    <a:pt x="1019" y="1751"/>
                    <a:pt x="940" y="1803"/>
                    <a:pt x="888" y="1881"/>
                  </a:cubicBezTo>
                  <a:cubicBezTo>
                    <a:pt x="445" y="1542"/>
                    <a:pt x="445" y="1542"/>
                    <a:pt x="445" y="1542"/>
                  </a:cubicBezTo>
                  <a:cubicBezTo>
                    <a:pt x="522" y="1437"/>
                    <a:pt x="601" y="1359"/>
                    <a:pt x="705" y="1307"/>
                  </a:cubicBezTo>
                  <a:cubicBezTo>
                    <a:pt x="784" y="1254"/>
                    <a:pt x="862" y="1202"/>
                    <a:pt x="940" y="1202"/>
                  </a:cubicBezTo>
                  <a:cubicBezTo>
                    <a:pt x="1019" y="1176"/>
                    <a:pt x="1097" y="1176"/>
                    <a:pt x="1176" y="1202"/>
                  </a:cubicBezTo>
                  <a:cubicBezTo>
                    <a:pt x="1228" y="1202"/>
                    <a:pt x="1306" y="1202"/>
                    <a:pt x="1358" y="1228"/>
                  </a:cubicBezTo>
                  <a:cubicBezTo>
                    <a:pt x="1437" y="1228"/>
                    <a:pt x="1489" y="1228"/>
                    <a:pt x="1541" y="1202"/>
                  </a:cubicBezTo>
                  <a:cubicBezTo>
                    <a:pt x="1594" y="1176"/>
                    <a:pt x="1620" y="1150"/>
                    <a:pt x="1646" y="1072"/>
                  </a:cubicBezTo>
                  <a:cubicBezTo>
                    <a:pt x="1698" y="1019"/>
                    <a:pt x="1698" y="941"/>
                    <a:pt x="1671" y="863"/>
                  </a:cubicBezTo>
                  <a:cubicBezTo>
                    <a:pt x="1620" y="784"/>
                    <a:pt x="1567" y="732"/>
                    <a:pt x="1489" y="654"/>
                  </a:cubicBezTo>
                  <a:cubicBezTo>
                    <a:pt x="1385" y="601"/>
                    <a:pt x="1306" y="575"/>
                    <a:pt x="1202" y="575"/>
                  </a:cubicBezTo>
                  <a:cubicBezTo>
                    <a:pt x="1123" y="575"/>
                    <a:pt x="1019" y="627"/>
                    <a:pt x="967" y="706"/>
                  </a:cubicBezTo>
                  <a:lnTo>
                    <a:pt x="496" y="366"/>
                  </a:lnTo>
                  <a:close/>
                  <a:moveTo>
                    <a:pt x="78" y="1934"/>
                  </a:moveTo>
                  <a:lnTo>
                    <a:pt x="78" y="1934"/>
                  </a:lnTo>
                  <a:cubicBezTo>
                    <a:pt x="131" y="1881"/>
                    <a:pt x="183" y="1829"/>
                    <a:pt x="236" y="1803"/>
                  </a:cubicBezTo>
                  <a:cubicBezTo>
                    <a:pt x="287" y="1803"/>
                    <a:pt x="340" y="1776"/>
                    <a:pt x="392" y="1803"/>
                  </a:cubicBezTo>
                  <a:cubicBezTo>
                    <a:pt x="470" y="1803"/>
                    <a:pt x="522" y="1829"/>
                    <a:pt x="549" y="1855"/>
                  </a:cubicBezTo>
                  <a:cubicBezTo>
                    <a:pt x="601" y="1908"/>
                    <a:pt x="653" y="1934"/>
                    <a:pt x="679" y="1985"/>
                  </a:cubicBezTo>
                  <a:cubicBezTo>
                    <a:pt x="705" y="2038"/>
                    <a:pt x="705" y="2090"/>
                    <a:pt x="705" y="2168"/>
                  </a:cubicBezTo>
                  <a:cubicBezTo>
                    <a:pt x="705" y="2221"/>
                    <a:pt x="679" y="2272"/>
                    <a:pt x="627" y="2350"/>
                  </a:cubicBezTo>
                  <a:cubicBezTo>
                    <a:pt x="575" y="2402"/>
                    <a:pt x="549" y="2429"/>
                    <a:pt x="470" y="2455"/>
                  </a:cubicBezTo>
                  <a:cubicBezTo>
                    <a:pt x="418" y="2481"/>
                    <a:pt x="366" y="2481"/>
                    <a:pt x="313" y="2481"/>
                  </a:cubicBezTo>
                  <a:cubicBezTo>
                    <a:pt x="261" y="2455"/>
                    <a:pt x="209" y="2455"/>
                    <a:pt x="157" y="2402"/>
                  </a:cubicBezTo>
                  <a:cubicBezTo>
                    <a:pt x="104" y="2376"/>
                    <a:pt x="78" y="2325"/>
                    <a:pt x="53" y="2272"/>
                  </a:cubicBezTo>
                  <a:cubicBezTo>
                    <a:pt x="27" y="2221"/>
                    <a:pt x="0" y="2168"/>
                    <a:pt x="0" y="2117"/>
                  </a:cubicBezTo>
                  <a:cubicBezTo>
                    <a:pt x="27" y="2064"/>
                    <a:pt x="27" y="1985"/>
                    <a:pt x="78" y="1934"/>
                  </a:cubicBezTo>
                  <a:close/>
                </a:path>
              </a:pathLst>
            </a:custGeom>
            <a:solidFill>
              <a:srgbClr val="149DC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0" name="Freeform 8">
              <a:extLst>
                <a:ext uri="{FF2B5EF4-FFF2-40B4-BE49-F238E27FC236}">
                  <a16:creationId xmlns:a16="http://schemas.microsoft.com/office/drawing/2014/main" id="{DDDB068A-BD1E-1845-A30A-047D4A3CA4DE}"/>
                </a:ext>
              </a:extLst>
            </p:cNvPr>
            <p:cNvSpPr>
              <a:spLocks noChangeArrowheads="1"/>
            </p:cNvSpPr>
            <p:nvPr/>
          </p:nvSpPr>
          <p:spPr bwMode="auto">
            <a:xfrm>
              <a:off x="6119813" y="1833563"/>
              <a:ext cx="855662" cy="996950"/>
            </a:xfrm>
            <a:custGeom>
              <a:avLst/>
              <a:gdLst>
                <a:gd name="T0" fmla="*/ 1436 w 2378"/>
                <a:gd name="T1" fmla="*/ 861 h 2768"/>
                <a:gd name="T2" fmla="*/ 1436 w 2378"/>
                <a:gd name="T3" fmla="*/ 861 h 2768"/>
                <a:gd name="T4" fmla="*/ 758 w 2378"/>
                <a:gd name="T5" fmla="*/ 0 h 2768"/>
                <a:gd name="T6" fmla="*/ 758 w 2378"/>
                <a:gd name="T7" fmla="*/ 0 h 2768"/>
                <a:gd name="T8" fmla="*/ 418 w 2378"/>
                <a:gd name="T9" fmla="*/ 1123 h 2768"/>
                <a:gd name="T10" fmla="*/ 0 w 2378"/>
                <a:gd name="T11" fmla="*/ 2245 h 2768"/>
                <a:gd name="T12" fmla="*/ 601 w 2378"/>
                <a:gd name="T13" fmla="*/ 2767 h 2768"/>
                <a:gd name="T14" fmla="*/ 2377 w 2378"/>
                <a:gd name="T15" fmla="*/ 1331 h 2768"/>
                <a:gd name="T16" fmla="*/ 2377 w 2378"/>
                <a:gd name="T17" fmla="*/ 1331 h 2768"/>
                <a:gd name="T18" fmla="*/ 1436 w 2378"/>
                <a:gd name="T19" fmla="*/ 861 h 2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8" h="2768">
                  <a:moveTo>
                    <a:pt x="1436" y="861"/>
                  </a:moveTo>
                  <a:lnTo>
                    <a:pt x="1436" y="861"/>
                  </a:lnTo>
                  <a:cubicBezTo>
                    <a:pt x="1045" y="523"/>
                    <a:pt x="784" y="183"/>
                    <a:pt x="758" y="0"/>
                  </a:cubicBezTo>
                  <a:lnTo>
                    <a:pt x="758" y="0"/>
                  </a:lnTo>
                  <a:cubicBezTo>
                    <a:pt x="732" y="392"/>
                    <a:pt x="758" y="574"/>
                    <a:pt x="418" y="1123"/>
                  </a:cubicBezTo>
                  <a:cubicBezTo>
                    <a:pt x="26" y="1749"/>
                    <a:pt x="0" y="2245"/>
                    <a:pt x="0" y="2245"/>
                  </a:cubicBezTo>
                  <a:cubicBezTo>
                    <a:pt x="601" y="2767"/>
                    <a:pt x="601" y="2767"/>
                    <a:pt x="601" y="2767"/>
                  </a:cubicBezTo>
                  <a:cubicBezTo>
                    <a:pt x="601" y="2767"/>
                    <a:pt x="1541" y="1436"/>
                    <a:pt x="2377" y="1331"/>
                  </a:cubicBezTo>
                  <a:lnTo>
                    <a:pt x="2377" y="1331"/>
                  </a:lnTo>
                  <a:cubicBezTo>
                    <a:pt x="2194" y="1357"/>
                    <a:pt x="1802" y="1174"/>
                    <a:pt x="1436" y="861"/>
                  </a:cubicBezTo>
                </a:path>
              </a:pathLst>
            </a:custGeom>
            <a:solidFill>
              <a:srgbClr val="149DC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1" name="Freeform 9">
              <a:extLst>
                <a:ext uri="{FF2B5EF4-FFF2-40B4-BE49-F238E27FC236}">
                  <a16:creationId xmlns:a16="http://schemas.microsoft.com/office/drawing/2014/main" id="{AF8D78BA-1AFA-6E4F-A249-D305DAECD4A8}"/>
                </a:ext>
              </a:extLst>
            </p:cNvPr>
            <p:cNvSpPr>
              <a:spLocks noChangeArrowheads="1"/>
            </p:cNvSpPr>
            <p:nvPr/>
          </p:nvSpPr>
          <p:spPr bwMode="auto">
            <a:xfrm>
              <a:off x="6618288" y="2725738"/>
              <a:ext cx="339725" cy="225425"/>
            </a:xfrm>
            <a:custGeom>
              <a:avLst/>
              <a:gdLst>
                <a:gd name="T0" fmla="*/ 941 w 942"/>
                <a:gd name="T1" fmla="*/ 104 h 628"/>
                <a:gd name="T2" fmla="*/ 941 w 942"/>
                <a:gd name="T3" fmla="*/ 104 h 628"/>
                <a:gd name="T4" fmla="*/ 601 w 942"/>
                <a:gd name="T5" fmla="*/ 495 h 628"/>
                <a:gd name="T6" fmla="*/ 105 w 942"/>
                <a:gd name="T7" fmla="*/ 391 h 628"/>
                <a:gd name="T8" fmla="*/ 26 w 942"/>
                <a:gd name="T9" fmla="*/ 235 h 628"/>
                <a:gd name="T10" fmla="*/ 288 w 942"/>
                <a:gd name="T11" fmla="*/ 0 h 628"/>
                <a:gd name="T12" fmla="*/ 941 w 942"/>
                <a:gd name="T13" fmla="*/ 104 h 628"/>
              </a:gdLst>
              <a:ahLst/>
              <a:cxnLst>
                <a:cxn ang="0">
                  <a:pos x="T0" y="T1"/>
                </a:cxn>
                <a:cxn ang="0">
                  <a:pos x="T2" y="T3"/>
                </a:cxn>
                <a:cxn ang="0">
                  <a:pos x="T4" y="T5"/>
                </a:cxn>
                <a:cxn ang="0">
                  <a:pos x="T6" y="T7"/>
                </a:cxn>
                <a:cxn ang="0">
                  <a:pos x="T8" y="T9"/>
                </a:cxn>
                <a:cxn ang="0">
                  <a:pos x="T10" y="T11"/>
                </a:cxn>
                <a:cxn ang="0">
                  <a:pos x="T12" y="T13"/>
                </a:cxn>
              </a:cxnLst>
              <a:rect l="0" t="0" r="r" b="b"/>
              <a:pathLst>
                <a:path w="942" h="628">
                  <a:moveTo>
                    <a:pt x="941" y="104"/>
                  </a:moveTo>
                  <a:lnTo>
                    <a:pt x="941" y="104"/>
                  </a:lnTo>
                  <a:cubicBezTo>
                    <a:pt x="915" y="104"/>
                    <a:pt x="810" y="339"/>
                    <a:pt x="601" y="495"/>
                  </a:cubicBezTo>
                  <a:cubicBezTo>
                    <a:pt x="418" y="627"/>
                    <a:pt x="209" y="469"/>
                    <a:pt x="105" y="391"/>
                  </a:cubicBezTo>
                  <a:cubicBezTo>
                    <a:pt x="52" y="339"/>
                    <a:pt x="0" y="313"/>
                    <a:pt x="26" y="235"/>
                  </a:cubicBezTo>
                  <a:cubicBezTo>
                    <a:pt x="288" y="0"/>
                    <a:pt x="288" y="0"/>
                    <a:pt x="288" y="0"/>
                  </a:cubicBezTo>
                  <a:lnTo>
                    <a:pt x="941" y="10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2" name="Freeform 10">
              <a:extLst>
                <a:ext uri="{FF2B5EF4-FFF2-40B4-BE49-F238E27FC236}">
                  <a16:creationId xmlns:a16="http://schemas.microsoft.com/office/drawing/2014/main" id="{21102E1D-C599-964A-BCD0-910D51261409}"/>
                </a:ext>
              </a:extLst>
            </p:cNvPr>
            <p:cNvSpPr>
              <a:spLocks noChangeArrowheads="1"/>
            </p:cNvSpPr>
            <p:nvPr/>
          </p:nvSpPr>
          <p:spPr bwMode="auto">
            <a:xfrm>
              <a:off x="5518150" y="2349500"/>
              <a:ext cx="565150" cy="733425"/>
            </a:xfrm>
            <a:custGeom>
              <a:avLst/>
              <a:gdLst>
                <a:gd name="T0" fmla="*/ 496 w 1568"/>
                <a:gd name="T1" fmla="*/ 2037 h 2038"/>
                <a:gd name="T2" fmla="*/ 496 w 1568"/>
                <a:gd name="T3" fmla="*/ 2037 h 2038"/>
                <a:gd name="T4" fmla="*/ 261 w 1568"/>
                <a:gd name="T5" fmla="*/ 1880 h 2038"/>
                <a:gd name="T6" fmla="*/ 52 w 1568"/>
                <a:gd name="T7" fmla="*/ 1201 h 2038"/>
                <a:gd name="T8" fmla="*/ 52 w 1568"/>
                <a:gd name="T9" fmla="*/ 1201 h 2038"/>
                <a:gd name="T10" fmla="*/ 130 w 1568"/>
                <a:gd name="T11" fmla="*/ 992 h 2038"/>
                <a:gd name="T12" fmla="*/ 339 w 1568"/>
                <a:gd name="T13" fmla="*/ 679 h 2038"/>
                <a:gd name="T14" fmla="*/ 391 w 1568"/>
                <a:gd name="T15" fmla="*/ 522 h 2038"/>
                <a:gd name="T16" fmla="*/ 679 w 1568"/>
                <a:gd name="T17" fmla="*/ 26 h 2038"/>
                <a:gd name="T18" fmla="*/ 809 w 1568"/>
                <a:gd name="T19" fmla="*/ 78 h 2038"/>
                <a:gd name="T20" fmla="*/ 809 w 1568"/>
                <a:gd name="T21" fmla="*/ 78 h 2038"/>
                <a:gd name="T22" fmla="*/ 913 w 1568"/>
                <a:gd name="T23" fmla="*/ 130 h 2038"/>
                <a:gd name="T24" fmla="*/ 940 w 1568"/>
                <a:gd name="T25" fmla="*/ 130 h 2038"/>
                <a:gd name="T26" fmla="*/ 1175 w 1568"/>
                <a:gd name="T27" fmla="*/ 182 h 2038"/>
                <a:gd name="T28" fmla="*/ 1175 w 1568"/>
                <a:gd name="T29" fmla="*/ 235 h 2038"/>
                <a:gd name="T30" fmla="*/ 1358 w 1568"/>
                <a:gd name="T31" fmla="*/ 261 h 2038"/>
                <a:gd name="T32" fmla="*/ 1462 w 1568"/>
                <a:gd name="T33" fmla="*/ 182 h 2038"/>
                <a:gd name="T34" fmla="*/ 1567 w 1568"/>
                <a:gd name="T35" fmla="*/ 235 h 2038"/>
                <a:gd name="T36" fmla="*/ 1384 w 1568"/>
                <a:gd name="T37" fmla="*/ 653 h 2038"/>
                <a:gd name="T38" fmla="*/ 627 w 1568"/>
                <a:gd name="T39" fmla="*/ 1149 h 2038"/>
                <a:gd name="T40" fmla="*/ 679 w 1568"/>
                <a:gd name="T41" fmla="*/ 1802 h 2038"/>
                <a:gd name="T42" fmla="*/ 496 w 1568"/>
                <a:gd name="T43" fmla="*/ 1697 h 2038"/>
                <a:gd name="T44" fmla="*/ 496 w 1568"/>
                <a:gd name="T45" fmla="*/ 2037 h 2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68" h="2038">
                  <a:moveTo>
                    <a:pt x="496" y="2037"/>
                  </a:moveTo>
                  <a:lnTo>
                    <a:pt x="496" y="2037"/>
                  </a:lnTo>
                  <a:cubicBezTo>
                    <a:pt x="261" y="1880"/>
                    <a:pt x="261" y="1880"/>
                    <a:pt x="261" y="1880"/>
                  </a:cubicBezTo>
                  <a:cubicBezTo>
                    <a:pt x="78" y="1697"/>
                    <a:pt x="0" y="1436"/>
                    <a:pt x="52" y="1201"/>
                  </a:cubicBezTo>
                  <a:lnTo>
                    <a:pt x="52" y="1201"/>
                  </a:lnTo>
                  <a:cubicBezTo>
                    <a:pt x="78" y="1122"/>
                    <a:pt x="104" y="1071"/>
                    <a:pt x="130" y="992"/>
                  </a:cubicBezTo>
                  <a:cubicBezTo>
                    <a:pt x="339" y="679"/>
                    <a:pt x="339" y="679"/>
                    <a:pt x="339" y="679"/>
                  </a:cubicBezTo>
                  <a:cubicBezTo>
                    <a:pt x="365" y="653"/>
                    <a:pt x="391" y="522"/>
                    <a:pt x="391" y="522"/>
                  </a:cubicBezTo>
                  <a:cubicBezTo>
                    <a:pt x="444" y="182"/>
                    <a:pt x="496" y="156"/>
                    <a:pt x="679" y="26"/>
                  </a:cubicBezTo>
                  <a:cubicBezTo>
                    <a:pt x="731" y="0"/>
                    <a:pt x="783" y="26"/>
                    <a:pt x="809" y="78"/>
                  </a:cubicBezTo>
                  <a:lnTo>
                    <a:pt x="809" y="78"/>
                  </a:lnTo>
                  <a:cubicBezTo>
                    <a:pt x="809" y="156"/>
                    <a:pt x="862" y="182"/>
                    <a:pt x="913" y="130"/>
                  </a:cubicBezTo>
                  <a:cubicBezTo>
                    <a:pt x="940" y="130"/>
                    <a:pt x="940" y="130"/>
                    <a:pt x="940" y="130"/>
                  </a:cubicBezTo>
                  <a:cubicBezTo>
                    <a:pt x="992" y="52"/>
                    <a:pt x="1122" y="78"/>
                    <a:pt x="1175" y="182"/>
                  </a:cubicBezTo>
                  <a:cubicBezTo>
                    <a:pt x="1175" y="235"/>
                    <a:pt x="1175" y="235"/>
                    <a:pt x="1175" y="235"/>
                  </a:cubicBezTo>
                  <a:cubicBezTo>
                    <a:pt x="1201" y="313"/>
                    <a:pt x="1305" y="313"/>
                    <a:pt x="1358" y="261"/>
                  </a:cubicBezTo>
                  <a:cubicBezTo>
                    <a:pt x="1462" y="182"/>
                    <a:pt x="1462" y="182"/>
                    <a:pt x="1462" y="182"/>
                  </a:cubicBezTo>
                  <a:cubicBezTo>
                    <a:pt x="1488" y="156"/>
                    <a:pt x="1567" y="182"/>
                    <a:pt x="1567" y="235"/>
                  </a:cubicBezTo>
                  <a:cubicBezTo>
                    <a:pt x="1567" y="365"/>
                    <a:pt x="1488" y="496"/>
                    <a:pt x="1384" y="653"/>
                  </a:cubicBezTo>
                  <a:cubicBezTo>
                    <a:pt x="1279" y="809"/>
                    <a:pt x="731" y="1071"/>
                    <a:pt x="627" y="1149"/>
                  </a:cubicBezTo>
                  <a:cubicBezTo>
                    <a:pt x="470" y="1254"/>
                    <a:pt x="704" y="1776"/>
                    <a:pt x="679" y="1802"/>
                  </a:cubicBezTo>
                  <a:cubicBezTo>
                    <a:pt x="653" y="1802"/>
                    <a:pt x="627" y="1802"/>
                    <a:pt x="496" y="1697"/>
                  </a:cubicBezTo>
                  <a:cubicBezTo>
                    <a:pt x="287" y="1540"/>
                    <a:pt x="522" y="1906"/>
                    <a:pt x="496" y="2037"/>
                  </a:cubicBezTo>
                </a:path>
              </a:pathLst>
            </a:custGeom>
            <a:solidFill>
              <a:srgbClr val="EE3A6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3" name="Freeform 11">
              <a:extLst>
                <a:ext uri="{FF2B5EF4-FFF2-40B4-BE49-F238E27FC236}">
                  <a16:creationId xmlns:a16="http://schemas.microsoft.com/office/drawing/2014/main" id="{7AF17C05-81DD-3E46-9CED-59326A572651}"/>
                </a:ext>
              </a:extLst>
            </p:cNvPr>
            <p:cNvSpPr>
              <a:spLocks noChangeArrowheads="1"/>
            </p:cNvSpPr>
            <p:nvPr/>
          </p:nvSpPr>
          <p:spPr bwMode="auto">
            <a:xfrm>
              <a:off x="5630863" y="2933700"/>
              <a:ext cx="150812" cy="150813"/>
            </a:xfrm>
            <a:custGeom>
              <a:avLst/>
              <a:gdLst>
                <a:gd name="T0" fmla="*/ 419 w 420"/>
                <a:gd name="T1" fmla="*/ 392 h 419"/>
                <a:gd name="T2" fmla="*/ 419 w 420"/>
                <a:gd name="T3" fmla="*/ 392 h 419"/>
                <a:gd name="T4" fmla="*/ 288 w 420"/>
                <a:gd name="T5" fmla="*/ 104 h 419"/>
                <a:gd name="T6" fmla="*/ 158 w 420"/>
                <a:gd name="T7" fmla="*/ 0 h 419"/>
                <a:gd name="T8" fmla="*/ 79 w 420"/>
                <a:gd name="T9" fmla="*/ 0 h 419"/>
                <a:gd name="T10" fmla="*/ 79 w 420"/>
                <a:gd name="T11" fmla="*/ 235 h 419"/>
                <a:gd name="T12" fmla="*/ 419 w 420"/>
                <a:gd name="T13" fmla="*/ 392 h 419"/>
              </a:gdLst>
              <a:ahLst/>
              <a:cxnLst>
                <a:cxn ang="0">
                  <a:pos x="T0" y="T1"/>
                </a:cxn>
                <a:cxn ang="0">
                  <a:pos x="T2" y="T3"/>
                </a:cxn>
                <a:cxn ang="0">
                  <a:pos x="T4" y="T5"/>
                </a:cxn>
                <a:cxn ang="0">
                  <a:pos x="T6" y="T7"/>
                </a:cxn>
                <a:cxn ang="0">
                  <a:pos x="T8" y="T9"/>
                </a:cxn>
                <a:cxn ang="0">
                  <a:pos x="T10" y="T11"/>
                </a:cxn>
                <a:cxn ang="0">
                  <a:pos x="T12" y="T13"/>
                </a:cxn>
              </a:cxnLst>
              <a:rect l="0" t="0" r="r" b="b"/>
              <a:pathLst>
                <a:path w="420" h="419">
                  <a:moveTo>
                    <a:pt x="419" y="392"/>
                  </a:moveTo>
                  <a:lnTo>
                    <a:pt x="419" y="392"/>
                  </a:lnTo>
                  <a:cubicBezTo>
                    <a:pt x="419" y="392"/>
                    <a:pt x="341" y="209"/>
                    <a:pt x="288" y="104"/>
                  </a:cubicBezTo>
                  <a:cubicBezTo>
                    <a:pt x="262" y="53"/>
                    <a:pt x="210" y="26"/>
                    <a:pt x="158" y="0"/>
                  </a:cubicBezTo>
                  <a:cubicBezTo>
                    <a:pt x="106" y="0"/>
                    <a:pt x="106" y="0"/>
                    <a:pt x="79" y="0"/>
                  </a:cubicBezTo>
                  <a:cubicBezTo>
                    <a:pt x="0" y="53"/>
                    <a:pt x="27" y="183"/>
                    <a:pt x="79" y="235"/>
                  </a:cubicBezTo>
                  <a:cubicBezTo>
                    <a:pt x="236" y="366"/>
                    <a:pt x="262" y="418"/>
                    <a:pt x="419" y="392"/>
                  </a:cubicBez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4" name="Freeform 12">
              <a:extLst>
                <a:ext uri="{FF2B5EF4-FFF2-40B4-BE49-F238E27FC236}">
                  <a16:creationId xmlns:a16="http://schemas.microsoft.com/office/drawing/2014/main" id="{0F3248D7-5FED-3741-9E8C-AD1511EDD22F}"/>
                </a:ext>
              </a:extLst>
            </p:cNvPr>
            <p:cNvSpPr>
              <a:spLocks noChangeArrowheads="1"/>
            </p:cNvSpPr>
            <p:nvPr/>
          </p:nvSpPr>
          <p:spPr bwMode="auto">
            <a:xfrm>
              <a:off x="5838825" y="3121025"/>
              <a:ext cx="160338" cy="95250"/>
            </a:xfrm>
            <a:custGeom>
              <a:avLst/>
              <a:gdLst>
                <a:gd name="T0" fmla="*/ 392 w 445"/>
                <a:gd name="T1" fmla="*/ 79 h 263"/>
                <a:gd name="T2" fmla="*/ 392 w 445"/>
                <a:gd name="T3" fmla="*/ 79 h 263"/>
                <a:gd name="T4" fmla="*/ 209 w 445"/>
                <a:gd name="T5" fmla="*/ 105 h 263"/>
                <a:gd name="T6" fmla="*/ 131 w 445"/>
                <a:gd name="T7" fmla="*/ 79 h 263"/>
                <a:gd name="T8" fmla="*/ 53 w 445"/>
                <a:gd name="T9" fmla="*/ 0 h 263"/>
                <a:gd name="T10" fmla="*/ 26 w 445"/>
                <a:gd name="T11" fmla="*/ 26 h 263"/>
                <a:gd name="T12" fmla="*/ 79 w 445"/>
                <a:gd name="T13" fmla="*/ 105 h 263"/>
                <a:gd name="T14" fmla="*/ 235 w 445"/>
                <a:gd name="T15" fmla="*/ 235 h 263"/>
                <a:gd name="T16" fmla="*/ 392 w 445"/>
                <a:gd name="T17" fmla="*/ 262 h 263"/>
                <a:gd name="T18" fmla="*/ 392 w 445"/>
                <a:gd name="T19" fmla="*/ 262 h 263"/>
                <a:gd name="T20" fmla="*/ 444 w 445"/>
                <a:gd name="T21" fmla="*/ 183 h 263"/>
                <a:gd name="T22" fmla="*/ 392 w 445"/>
                <a:gd name="T23" fmla="*/ 79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5" h="263">
                  <a:moveTo>
                    <a:pt x="392" y="79"/>
                  </a:moveTo>
                  <a:lnTo>
                    <a:pt x="392" y="79"/>
                  </a:lnTo>
                  <a:cubicBezTo>
                    <a:pt x="209" y="105"/>
                    <a:pt x="209" y="105"/>
                    <a:pt x="209" y="105"/>
                  </a:cubicBezTo>
                  <a:cubicBezTo>
                    <a:pt x="184" y="105"/>
                    <a:pt x="158" y="105"/>
                    <a:pt x="131" y="79"/>
                  </a:cubicBezTo>
                  <a:cubicBezTo>
                    <a:pt x="53" y="0"/>
                    <a:pt x="53" y="0"/>
                    <a:pt x="53" y="0"/>
                  </a:cubicBezTo>
                  <a:cubicBezTo>
                    <a:pt x="26" y="0"/>
                    <a:pt x="0" y="26"/>
                    <a:pt x="26" y="26"/>
                  </a:cubicBezTo>
                  <a:cubicBezTo>
                    <a:pt x="79" y="105"/>
                    <a:pt x="79" y="105"/>
                    <a:pt x="79" y="105"/>
                  </a:cubicBezTo>
                  <a:cubicBezTo>
                    <a:pt x="131" y="183"/>
                    <a:pt x="184" y="209"/>
                    <a:pt x="235" y="235"/>
                  </a:cubicBezTo>
                  <a:cubicBezTo>
                    <a:pt x="288" y="235"/>
                    <a:pt x="340" y="262"/>
                    <a:pt x="392" y="262"/>
                  </a:cubicBezTo>
                  <a:lnTo>
                    <a:pt x="392" y="262"/>
                  </a:lnTo>
                  <a:cubicBezTo>
                    <a:pt x="418" y="262"/>
                    <a:pt x="444" y="209"/>
                    <a:pt x="444" y="183"/>
                  </a:cubicBezTo>
                  <a:lnTo>
                    <a:pt x="392" y="79"/>
                  </a:lnTo>
                </a:path>
              </a:pathLst>
            </a:custGeom>
            <a:solidFill>
              <a:srgbClr val="8D8D8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5" name="Freeform 13">
              <a:extLst>
                <a:ext uri="{FF2B5EF4-FFF2-40B4-BE49-F238E27FC236}">
                  <a16:creationId xmlns:a16="http://schemas.microsoft.com/office/drawing/2014/main" id="{B638A2A4-6983-2449-99E4-E2DCF8778CA9}"/>
                </a:ext>
              </a:extLst>
            </p:cNvPr>
            <p:cNvSpPr>
              <a:spLocks noChangeArrowheads="1"/>
            </p:cNvSpPr>
            <p:nvPr/>
          </p:nvSpPr>
          <p:spPr bwMode="auto">
            <a:xfrm>
              <a:off x="5688013" y="2970213"/>
              <a:ext cx="47625" cy="47625"/>
            </a:xfrm>
            <a:custGeom>
              <a:avLst/>
              <a:gdLst>
                <a:gd name="T0" fmla="*/ 78 w 131"/>
                <a:gd name="T1" fmla="*/ 131 h 132"/>
                <a:gd name="T2" fmla="*/ 78 w 131"/>
                <a:gd name="T3" fmla="*/ 131 h 132"/>
                <a:gd name="T4" fmla="*/ 78 w 131"/>
                <a:gd name="T5" fmla="*/ 131 h 132"/>
                <a:gd name="T6" fmla="*/ 0 w 131"/>
                <a:gd name="T7" fmla="*/ 53 h 132"/>
                <a:gd name="T8" fmla="*/ 0 w 131"/>
                <a:gd name="T9" fmla="*/ 26 h 132"/>
                <a:gd name="T10" fmla="*/ 26 w 131"/>
                <a:gd name="T11" fmla="*/ 0 h 132"/>
                <a:gd name="T12" fmla="*/ 52 w 131"/>
                <a:gd name="T13" fmla="*/ 26 h 132"/>
                <a:gd name="T14" fmla="*/ 52 w 131"/>
                <a:gd name="T15" fmla="*/ 53 h 132"/>
                <a:gd name="T16" fmla="*/ 104 w 131"/>
                <a:gd name="T17" fmla="*/ 79 h 132"/>
                <a:gd name="T18" fmla="*/ 104 w 131"/>
                <a:gd name="T19" fmla="*/ 105 h 132"/>
                <a:gd name="T20" fmla="*/ 78 w 131"/>
                <a:gd name="T21" fmla="*/ 13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132">
                  <a:moveTo>
                    <a:pt x="78" y="131"/>
                  </a:moveTo>
                  <a:lnTo>
                    <a:pt x="78" y="131"/>
                  </a:lnTo>
                  <a:lnTo>
                    <a:pt x="78" y="131"/>
                  </a:lnTo>
                  <a:cubicBezTo>
                    <a:pt x="52" y="131"/>
                    <a:pt x="0" y="105"/>
                    <a:pt x="0" y="53"/>
                  </a:cubicBezTo>
                  <a:cubicBezTo>
                    <a:pt x="0" y="26"/>
                    <a:pt x="0" y="26"/>
                    <a:pt x="0" y="26"/>
                  </a:cubicBezTo>
                  <a:lnTo>
                    <a:pt x="26" y="0"/>
                  </a:lnTo>
                  <a:cubicBezTo>
                    <a:pt x="52" y="0"/>
                    <a:pt x="52" y="26"/>
                    <a:pt x="52" y="26"/>
                  </a:cubicBezTo>
                  <a:cubicBezTo>
                    <a:pt x="52" y="53"/>
                    <a:pt x="52" y="53"/>
                    <a:pt x="52" y="53"/>
                  </a:cubicBezTo>
                  <a:cubicBezTo>
                    <a:pt x="52" y="53"/>
                    <a:pt x="78" y="79"/>
                    <a:pt x="104" y="79"/>
                  </a:cubicBezTo>
                  <a:cubicBezTo>
                    <a:pt x="104" y="79"/>
                    <a:pt x="130" y="105"/>
                    <a:pt x="104" y="105"/>
                  </a:cubicBezTo>
                  <a:cubicBezTo>
                    <a:pt x="104" y="131"/>
                    <a:pt x="104" y="131"/>
                    <a:pt x="78" y="131"/>
                  </a:cubicBezTo>
                </a:path>
              </a:pathLst>
            </a:custGeom>
            <a:solidFill>
              <a:srgbClr val="EE3A6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6" name="Freeform 14">
              <a:extLst>
                <a:ext uri="{FF2B5EF4-FFF2-40B4-BE49-F238E27FC236}">
                  <a16:creationId xmlns:a16="http://schemas.microsoft.com/office/drawing/2014/main" id="{6B4F6C01-2E4D-2E4F-8D68-40EC357CA18E}"/>
                </a:ext>
              </a:extLst>
            </p:cNvPr>
            <p:cNvSpPr>
              <a:spLocks noChangeArrowheads="1"/>
            </p:cNvSpPr>
            <p:nvPr/>
          </p:nvSpPr>
          <p:spPr bwMode="auto">
            <a:xfrm>
              <a:off x="5857875" y="2847975"/>
              <a:ext cx="47625" cy="57150"/>
            </a:xfrm>
            <a:custGeom>
              <a:avLst/>
              <a:gdLst>
                <a:gd name="T0" fmla="*/ 0 w 132"/>
                <a:gd name="T1" fmla="*/ 79 h 157"/>
                <a:gd name="T2" fmla="*/ 0 w 132"/>
                <a:gd name="T3" fmla="*/ 79 h 157"/>
                <a:gd name="T4" fmla="*/ 105 w 132"/>
                <a:gd name="T5" fmla="*/ 130 h 157"/>
                <a:gd name="T6" fmla="*/ 131 w 132"/>
                <a:gd name="T7" fmla="*/ 52 h 157"/>
                <a:gd name="T8" fmla="*/ 105 w 132"/>
                <a:gd name="T9" fmla="*/ 0 h 157"/>
                <a:gd name="T10" fmla="*/ 0 w 132"/>
                <a:gd name="T11" fmla="*/ 79 h 157"/>
              </a:gdLst>
              <a:ahLst/>
              <a:cxnLst>
                <a:cxn ang="0">
                  <a:pos x="T0" y="T1"/>
                </a:cxn>
                <a:cxn ang="0">
                  <a:pos x="T2" y="T3"/>
                </a:cxn>
                <a:cxn ang="0">
                  <a:pos x="T4" y="T5"/>
                </a:cxn>
                <a:cxn ang="0">
                  <a:pos x="T6" y="T7"/>
                </a:cxn>
                <a:cxn ang="0">
                  <a:pos x="T8" y="T9"/>
                </a:cxn>
                <a:cxn ang="0">
                  <a:pos x="T10" y="T11"/>
                </a:cxn>
              </a:cxnLst>
              <a:rect l="0" t="0" r="r" b="b"/>
              <a:pathLst>
                <a:path w="132" h="157">
                  <a:moveTo>
                    <a:pt x="0" y="79"/>
                  </a:moveTo>
                  <a:lnTo>
                    <a:pt x="0" y="79"/>
                  </a:lnTo>
                  <a:cubicBezTo>
                    <a:pt x="26" y="104"/>
                    <a:pt x="78" y="156"/>
                    <a:pt x="105" y="130"/>
                  </a:cubicBezTo>
                  <a:cubicBezTo>
                    <a:pt x="131" y="130"/>
                    <a:pt x="131" y="104"/>
                    <a:pt x="131" y="52"/>
                  </a:cubicBezTo>
                  <a:cubicBezTo>
                    <a:pt x="105" y="26"/>
                    <a:pt x="105" y="26"/>
                    <a:pt x="105" y="0"/>
                  </a:cubicBezTo>
                  <a:lnTo>
                    <a:pt x="0" y="79"/>
                  </a:lnTo>
                </a:path>
              </a:pathLst>
            </a:custGeom>
            <a:solidFill>
              <a:srgbClr val="149DC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7" name="Freeform 15">
              <a:extLst>
                <a:ext uri="{FF2B5EF4-FFF2-40B4-BE49-F238E27FC236}">
                  <a16:creationId xmlns:a16="http://schemas.microsoft.com/office/drawing/2014/main" id="{DA713128-96BE-6644-9686-AD69794E5ABD}"/>
                </a:ext>
              </a:extLst>
            </p:cNvPr>
            <p:cNvSpPr>
              <a:spLocks noChangeArrowheads="1"/>
            </p:cNvSpPr>
            <p:nvPr/>
          </p:nvSpPr>
          <p:spPr bwMode="auto">
            <a:xfrm>
              <a:off x="5951538" y="2828925"/>
              <a:ext cx="76200" cy="141288"/>
            </a:xfrm>
            <a:custGeom>
              <a:avLst/>
              <a:gdLst>
                <a:gd name="T0" fmla="*/ 104 w 210"/>
                <a:gd name="T1" fmla="*/ 392 h 393"/>
                <a:gd name="T2" fmla="*/ 104 w 210"/>
                <a:gd name="T3" fmla="*/ 392 h 393"/>
                <a:gd name="T4" fmla="*/ 78 w 210"/>
                <a:gd name="T5" fmla="*/ 366 h 393"/>
                <a:gd name="T6" fmla="*/ 104 w 210"/>
                <a:gd name="T7" fmla="*/ 341 h 393"/>
                <a:gd name="T8" fmla="*/ 157 w 210"/>
                <a:gd name="T9" fmla="*/ 314 h 393"/>
                <a:gd name="T10" fmla="*/ 0 w 210"/>
                <a:gd name="T11" fmla="*/ 27 h 393"/>
                <a:gd name="T12" fmla="*/ 0 w 210"/>
                <a:gd name="T13" fmla="*/ 0 h 393"/>
                <a:gd name="T14" fmla="*/ 53 w 210"/>
                <a:gd name="T15" fmla="*/ 0 h 393"/>
                <a:gd name="T16" fmla="*/ 209 w 210"/>
                <a:gd name="T17" fmla="*/ 314 h 393"/>
                <a:gd name="T18" fmla="*/ 130 w 210"/>
                <a:gd name="T19" fmla="*/ 392 h 393"/>
                <a:gd name="T20" fmla="*/ 104 w 210"/>
                <a:gd name="T21" fmla="*/ 392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0" h="393">
                  <a:moveTo>
                    <a:pt x="104" y="392"/>
                  </a:moveTo>
                  <a:lnTo>
                    <a:pt x="104" y="392"/>
                  </a:lnTo>
                  <a:cubicBezTo>
                    <a:pt x="104" y="392"/>
                    <a:pt x="104" y="392"/>
                    <a:pt x="78" y="366"/>
                  </a:cubicBezTo>
                  <a:cubicBezTo>
                    <a:pt x="78" y="366"/>
                    <a:pt x="78" y="341"/>
                    <a:pt x="104" y="341"/>
                  </a:cubicBezTo>
                  <a:cubicBezTo>
                    <a:pt x="157" y="314"/>
                    <a:pt x="157" y="314"/>
                    <a:pt x="157" y="314"/>
                  </a:cubicBezTo>
                  <a:cubicBezTo>
                    <a:pt x="0" y="27"/>
                    <a:pt x="0" y="27"/>
                    <a:pt x="0" y="27"/>
                  </a:cubicBezTo>
                  <a:lnTo>
                    <a:pt x="0" y="0"/>
                  </a:lnTo>
                  <a:cubicBezTo>
                    <a:pt x="26" y="0"/>
                    <a:pt x="53" y="0"/>
                    <a:pt x="53" y="0"/>
                  </a:cubicBezTo>
                  <a:cubicBezTo>
                    <a:pt x="209" y="314"/>
                    <a:pt x="209" y="314"/>
                    <a:pt x="209" y="314"/>
                  </a:cubicBezTo>
                  <a:cubicBezTo>
                    <a:pt x="130" y="392"/>
                    <a:pt x="130" y="392"/>
                    <a:pt x="130" y="392"/>
                  </a:cubicBezTo>
                  <a:cubicBezTo>
                    <a:pt x="130" y="392"/>
                    <a:pt x="130" y="392"/>
                    <a:pt x="104" y="392"/>
                  </a:cubicBezTo>
                </a:path>
              </a:pathLst>
            </a:custGeom>
            <a:solidFill>
              <a:srgbClr val="8D8D8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8" name="Freeform 16">
              <a:extLst>
                <a:ext uri="{FF2B5EF4-FFF2-40B4-BE49-F238E27FC236}">
                  <a16:creationId xmlns:a16="http://schemas.microsoft.com/office/drawing/2014/main" id="{5B3312C0-3B1A-0D4B-9A27-97A98D507643}"/>
                </a:ext>
              </a:extLst>
            </p:cNvPr>
            <p:cNvSpPr>
              <a:spLocks noChangeArrowheads="1"/>
            </p:cNvSpPr>
            <p:nvPr/>
          </p:nvSpPr>
          <p:spPr bwMode="auto">
            <a:xfrm>
              <a:off x="5922963" y="2998788"/>
              <a:ext cx="112712" cy="47625"/>
            </a:xfrm>
            <a:custGeom>
              <a:avLst/>
              <a:gdLst>
                <a:gd name="T0" fmla="*/ 157 w 315"/>
                <a:gd name="T1" fmla="*/ 130 h 131"/>
                <a:gd name="T2" fmla="*/ 157 w 315"/>
                <a:gd name="T3" fmla="*/ 130 h 131"/>
                <a:gd name="T4" fmla="*/ 27 w 315"/>
                <a:gd name="T5" fmla="*/ 52 h 131"/>
                <a:gd name="T6" fmla="*/ 27 w 315"/>
                <a:gd name="T7" fmla="*/ 26 h 131"/>
                <a:gd name="T8" fmla="*/ 53 w 315"/>
                <a:gd name="T9" fmla="*/ 26 h 131"/>
                <a:gd name="T10" fmla="*/ 236 w 315"/>
                <a:gd name="T11" fmla="*/ 52 h 131"/>
                <a:gd name="T12" fmla="*/ 262 w 315"/>
                <a:gd name="T13" fmla="*/ 52 h 131"/>
                <a:gd name="T14" fmla="*/ 288 w 315"/>
                <a:gd name="T15" fmla="*/ 52 h 131"/>
                <a:gd name="T16" fmla="*/ 288 w 315"/>
                <a:gd name="T17" fmla="*/ 104 h 131"/>
                <a:gd name="T18" fmla="*/ 262 w 315"/>
                <a:gd name="T19" fmla="*/ 104 h 131"/>
                <a:gd name="T20" fmla="*/ 157 w 315"/>
                <a:gd name="T21" fmla="*/ 1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5" h="131">
                  <a:moveTo>
                    <a:pt x="157" y="130"/>
                  </a:moveTo>
                  <a:lnTo>
                    <a:pt x="157" y="130"/>
                  </a:lnTo>
                  <a:cubicBezTo>
                    <a:pt x="105" y="130"/>
                    <a:pt x="53" y="104"/>
                    <a:pt x="27" y="52"/>
                  </a:cubicBezTo>
                  <a:cubicBezTo>
                    <a:pt x="0" y="52"/>
                    <a:pt x="0" y="26"/>
                    <a:pt x="27" y="26"/>
                  </a:cubicBezTo>
                  <a:cubicBezTo>
                    <a:pt x="27" y="0"/>
                    <a:pt x="53" y="0"/>
                    <a:pt x="53" y="26"/>
                  </a:cubicBezTo>
                  <a:cubicBezTo>
                    <a:pt x="105" y="78"/>
                    <a:pt x="183" y="104"/>
                    <a:pt x="236" y="52"/>
                  </a:cubicBezTo>
                  <a:cubicBezTo>
                    <a:pt x="262" y="52"/>
                    <a:pt x="262" y="52"/>
                    <a:pt x="262" y="52"/>
                  </a:cubicBezTo>
                  <a:cubicBezTo>
                    <a:pt x="262" y="26"/>
                    <a:pt x="288" y="52"/>
                    <a:pt x="288" y="52"/>
                  </a:cubicBezTo>
                  <a:cubicBezTo>
                    <a:pt x="314" y="78"/>
                    <a:pt x="314" y="78"/>
                    <a:pt x="288" y="104"/>
                  </a:cubicBezTo>
                  <a:cubicBezTo>
                    <a:pt x="262" y="104"/>
                    <a:pt x="262" y="104"/>
                    <a:pt x="262" y="104"/>
                  </a:cubicBezTo>
                  <a:cubicBezTo>
                    <a:pt x="236" y="130"/>
                    <a:pt x="209" y="130"/>
                    <a:pt x="157" y="130"/>
                  </a:cubicBezTo>
                </a:path>
              </a:pathLst>
            </a:custGeom>
            <a:solidFill>
              <a:srgbClr val="EE3A6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89" name="Freeform 17">
              <a:extLst>
                <a:ext uri="{FF2B5EF4-FFF2-40B4-BE49-F238E27FC236}">
                  <a16:creationId xmlns:a16="http://schemas.microsoft.com/office/drawing/2014/main" id="{9162F3B3-7CDB-274D-96B0-C5E15C1726F8}"/>
                </a:ext>
              </a:extLst>
            </p:cNvPr>
            <p:cNvSpPr>
              <a:spLocks noChangeArrowheads="1"/>
            </p:cNvSpPr>
            <p:nvPr/>
          </p:nvSpPr>
          <p:spPr bwMode="auto">
            <a:xfrm>
              <a:off x="5829300" y="2819400"/>
              <a:ext cx="76200" cy="85725"/>
            </a:xfrm>
            <a:custGeom>
              <a:avLst/>
              <a:gdLst>
                <a:gd name="T0" fmla="*/ 25 w 210"/>
                <a:gd name="T1" fmla="*/ 235 h 236"/>
                <a:gd name="T2" fmla="*/ 25 w 210"/>
                <a:gd name="T3" fmla="*/ 235 h 236"/>
                <a:gd name="T4" fmla="*/ 25 w 210"/>
                <a:gd name="T5" fmla="*/ 209 h 236"/>
                <a:gd name="T6" fmla="*/ 25 w 210"/>
                <a:gd name="T7" fmla="*/ 183 h 236"/>
                <a:gd name="T8" fmla="*/ 156 w 210"/>
                <a:gd name="T9" fmla="*/ 0 h 236"/>
                <a:gd name="T10" fmla="*/ 209 w 210"/>
                <a:gd name="T11" fmla="*/ 0 h 236"/>
                <a:gd name="T12" fmla="*/ 209 w 210"/>
                <a:gd name="T13" fmla="*/ 53 h 236"/>
                <a:gd name="T14" fmla="*/ 51 w 210"/>
                <a:gd name="T15" fmla="*/ 209 h 236"/>
                <a:gd name="T16" fmla="*/ 25 w 210"/>
                <a:gd name="T17" fmla="*/ 2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0" h="236">
                  <a:moveTo>
                    <a:pt x="25" y="235"/>
                  </a:moveTo>
                  <a:lnTo>
                    <a:pt x="25" y="235"/>
                  </a:lnTo>
                  <a:lnTo>
                    <a:pt x="25" y="209"/>
                  </a:lnTo>
                  <a:cubicBezTo>
                    <a:pt x="0" y="209"/>
                    <a:pt x="0" y="183"/>
                    <a:pt x="25" y="183"/>
                  </a:cubicBezTo>
                  <a:cubicBezTo>
                    <a:pt x="156" y="0"/>
                    <a:pt x="156" y="0"/>
                    <a:pt x="156" y="0"/>
                  </a:cubicBezTo>
                  <a:cubicBezTo>
                    <a:pt x="183" y="0"/>
                    <a:pt x="183" y="0"/>
                    <a:pt x="209" y="0"/>
                  </a:cubicBezTo>
                  <a:cubicBezTo>
                    <a:pt x="209" y="26"/>
                    <a:pt x="209" y="26"/>
                    <a:pt x="209" y="53"/>
                  </a:cubicBezTo>
                  <a:cubicBezTo>
                    <a:pt x="51" y="209"/>
                    <a:pt x="51" y="209"/>
                    <a:pt x="51" y="209"/>
                  </a:cubicBezTo>
                  <a:cubicBezTo>
                    <a:pt x="51" y="209"/>
                    <a:pt x="51" y="235"/>
                    <a:pt x="25" y="235"/>
                  </a:cubicBezTo>
                </a:path>
              </a:pathLst>
            </a:custGeom>
            <a:solidFill>
              <a:srgbClr val="8D8D8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0" name="Freeform 18">
              <a:extLst>
                <a:ext uri="{FF2B5EF4-FFF2-40B4-BE49-F238E27FC236}">
                  <a16:creationId xmlns:a16="http://schemas.microsoft.com/office/drawing/2014/main" id="{FA0FBBE3-14E7-B848-8F7E-1308CFC64A90}"/>
                </a:ext>
              </a:extLst>
            </p:cNvPr>
            <p:cNvSpPr>
              <a:spLocks noChangeArrowheads="1"/>
            </p:cNvSpPr>
            <p:nvPr/>
          </p:nvSpPr>
          <p:spPr bwMode="auto">
            <a:xfrm>
              <a:off x="5810250" y="2754313"/>
              <a:ext cx="66675" cy="66675"/>
            </a:xfrm>
            <a:custGeom>
              <a:avLst/>
              <a:gdLst>
                <a:gd name="T0" fmla="*/ 27 w 184"/>
                <a:gd name="T1" fmla="*/ 183 h 184"/>
                <a:gd name="T2" fmla="*/ 27 w 184"/>
                <a:gd name="T3" fmla="*/ 183 h 184"/>
                <a:gd name="T4" fmla="*/ 27 w 184"/>
                <a:gd name="T5" fmla="*/ 183 h 184"/>
                <a:gd name="T6" fmla="*/ 0 w 184"/>
                <a:gd name="T7" fmla="*/ 158 h 184"/>
                <a:gd name="T8" fmla="*/ 78 w 184"/>
                <a:gd name="T9" fmla="*/ 27 h 184"/>
                <a:gd name="T10" fmla="*/ 131 w 184"/>
                <a:gd name="T11" fmla="*/ 0 h 184"/>
                <a:gd name="T12" fmla="*/ 183 w 184"/>
                <a:gd name="T13" fmla="*/ 0 h 184"/>
                <a:gd name="T14" fmla="*/ 157 w 184"/>
                <a:gd name="T15" fmla="*/ 53 h 184"/>
                <a:gd name="T16" fmla="*/ 104 w 184"/>
                <a:gd name="T17" fmla="*/ 79 h 184"/>
                <a:gd name="T18" fmla="*/ 78 w 184"/>
                <a:gd name="T19" fmla="*/ 158 h 184"/>
                <a:gd name="T20" fmla="*/ 27 w 184"/>
                <a:gd name="T21" fmla="*/ 18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184">
                  <a:moveTo>
                    <a:pt x="27" y="183"/>
                  </a:moveTo>
                  <a:lnTo>
                    <a:pt x="27" y="183"/>
                  </a:lnTo>
                  <a:lnTo>
                    <a:pt x="27" y="183"/>
                  </a:lnTo>
                  <a:lnTo>
                    <a:pt x="0" y="158"/>
                  </a:lnTo>
                  <a:cubicBezTo>
                    <a:pt x="27" y="53"/>
                    <a:pt x="53" y="53"/>
                    <a:pt x="78" y="27"/>
                  </a:cubicBezTo>
                  <a:cubicBezTo>
                    <a:pt x="104" y="27"/>
                    <a:pt x="104" y="27"/>
                    <a:pt x="131" y="0"/>
                  </a:cubicBezTo>
                  <a:cubicBezTo>
                    <a:pt x="157" y="0"/>
                    <a:pt x="157" y="0"/>
                    <a:pt x="183" y="0"/>
                  </a:cubicBezTo>
                  <a:cubicBezTo>
                    <a:pt x="183" y="27"/>
                    <a:pt x="183" y="53"/>
                    <a:pt x="157" y="53"/>
                  </a:cubicBezTo>
                  <a:cubicBezTo>
                    <a:pt x="157" y="53"/>
                    <a:pt x="131" y="79"/>
                    <a:pt x="104" y="79"/>
                  </a:cubicBezTo>
                  <a:cubicBezTo>
                    <a:pt x="104" y="79"/>
                    <a:pt x="78" y="79"/>
                    <a:pt x="78" y="158"/>
                  </a:cubicBezTo>
                  <a:cubicBezTo>
                    <a:pt x="53" y="183"/>
                    <a:pt x="53" y="183"/>
                    <a:pt x="27" y="183"/>
                  </a:cubicBezTo>
                </a:path>
              </a:pathLst>
            </a:custGeom>
            <a:solidFill>
              <a:srgbClr val="8D8D8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1" name="Freeform 19">
              <a:extLst>
                <a:ext uri="{FF2B5EF4-FFF2-40B4-BE49-F238E27FC236}">
                  <a16:creationId xmlns:a16="http://schemas.microsoft.com/office/drawing/2014/main" id="{757A0E4D-B000-6045-AA83-D3EE9AFBDF5A}"/>
                </a:ext>
              </a:extLst>
            </p:cNvPr>
            <p:cNvSpPr>
              <a:spLocks noChangeArrowheads="1"/>
            </p:cNvSpPr>
            <p:nvPr/>
          </p:nvSpPr>
          <p:spPr bwMode="auto">
            <a:xfrm>
              <a:off x="5903913" y="2979738"/>
              <a:ext cx="141287" cy="76200"/>
            </a:xfrm>
            <a:custGeom>
              <a:avLst/>
              <a:gdLst>
                <a:gd name="T0" fmla="*/ 78 w 392"/>
                <a:gd name="T1" fmla="*/ 79 h 210"/>
                <a:gd name="T2" fmla="*/ 78 w 392"/>
                <a:gd name="T3" fmla="*/ 79 h 210"/>
                <a:gd name="T4" fmla="*/ 339 w 392"/>
                <a:gd name="T5" fmla="*/ 105 h 210"/>
                <a:gd name="T6" fmla="*/ 78 w 392"/>
                <a:gd name="T7" fmla="*/ 79 h 210"/>
              </a:gdLst>
              <a:ahLst/>
              <a:cxnLst>
                <a:cxn ang="0">
                  <a:pos x="T0" y="T1"/>
                </a:cxn>
                <a:cxn ang="0">
                  <a:pos x="T2" y="T3"/>
                </a:cxn>
                <a:cxn ang="0">
                  <a:pos x="T4" y="T5"/>
                </a:cxn>
                <a:cxn ang="0">
                  <a:pos x="T6" y="T7"/>
                </a:cxn>
              </a:cxnLst>
              <a:rect l="0" t="0" r="r" b="b"/>
              <a:pathLst>
                <a:path w="392" h="210">
                  <a:moveTo>
                    <a:pt x="78" y="79"/>
                  </a:moveTo>
                  <a:lnTo>
                    <a:pt x="78" y="79"/>
                  </a:lnTo>
                  <a:cubicBezTo>
                    <a:pt x="156" y="27"/>
                    <a:pt x="313" y="0"/>
                    <a:pt x="339" y="105"/>
                  </a:cubicBezTo>
                  <a:cubicBezTo>
                    <a:pt x="391" y="209"/>
                    <a:pt x="0" y="131"/>
                    <a:pt x="78" y="79"/>
                  </a:cubicBezTo>
                </a:path>
              </a:pathLst>
            </a:custGeom>
            <a:solidFill>
              <a:srgbClr val="EE3A6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2" name="Freeform 20">
              <a:extLst>
                <a:ext uri="{FF2B5EF4-FFF2-40B4-BE49-F238E27FC236}">
                  <a16:creationId xmlns:a16="http://schemas.microsoft.com/office/drawing/2014/main" id="{71DD712C-C320-3B42-8E7F-5D9D04AF8783}"/>
                </a:ext>
              </a:extLst>
            </p:cNvPr>
            <p:cNvSpPr>
              <a:spLocks noChangeArrowheads="1"/>
            </p:cNvSpPr>
            <p:nvPr/>
          </p:nvSpPr>
          <p:spPr bwMode="auto">
            <a:xfrm>
              <a:off x="6110288" y="2622550"/>
              <a:ext cx="234950" cy="301625"/>
            </a:xfrm>
            <a:custGeom>
              <a:avLst/>
              <a:gdLst>
                <a:gd name="T0" fmla="*/ 261 w 654"/>
                <a:gd name="T1" fmla="*/ 627 h 837"/>
                <a:gd name="T2" fmla="*/ 261 w 654"/>
                <a:gd name="T3" fmla="*/ 627 h 837"/>
                <a:gd name="T4" fmla="*/ 653 w 654"/>
                <a:gd name="T5" fmla="*/ 497 h 837"/>
                <a:gd name="T6" fmla="*/ 52 w 654"/>
                <a:gd name="T7" fmla="*/ 0 h 837"/>
                <a:gd name="T8" fmla="*/ 261 w 654"/>
                <a:gd name="T9" fmla="*/ 627 h 837"/>
              </a:gdLst>
              <a:ahLst/>
              <a:cxnLst>
                <a:cxn ang="0">
                  <a:pos x="T0" y="T1"/>
                </a:cxn>
                <a:cxn ang="0">
                  <a:pos x="T2" y="T3"/>
                </a:cxn>
                <a:cxn ang="0">
                  <a:pos x="T4" y="T5"/>
                </a:cxn>
                <a:cxn ang="0">
                  <a:pos x="T6" y="T7"/>
                </a:cxn>
                <a:cxn ang="0">
                  <a:pos x="T8" y="T9"/>
                </a:cxn>
              </a:cxnLst>
              <a:rect l="0" t="0" r="r" b="b"/>
              <a:pathLst>
                <a:path w="654" h="837">
                  <a:moveTo>
                    <a:pt x="261" y="627"/>
                  </a:moveTo>
                  <a:lnTo>
                    <a:pt x="261" y="627"/>
                  </a:lnTo>
                  <a:cubicBezTo>
                    <a:pt x="522" y="836"/>
                    <a:pt x="653" y="497"/>
                    <a:pt x="653" y="497"/>
                  </a:cubicBezTo>
                  <a:cubicBezTo>
                    <a:pt x="52" y="0"/>
                    <a:pt x="52" y="0"/>
                    <a:pt x="52" y="0"/>
                  </a:cubicBezTo>
                  <a:cubicBezTo>
                    <a:pt x="52" y="0"/>
                    <a:pt x="0" y="392"/>
                    <a:pt x="261" y="627"/>
                  </a:cubicBezTo>
                </a:path>
              </a:pathLst>
            </a:custGeom>
            <a:solidFill>
              <a:schemeClr val="bg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3" name="Freeform 21">
              <a:extLst>
                <a:ext uri="{FF2B5EF4-FFF2-40B4-BE49-F238E27FC236}">
                  <a16:creationId xmlns:a16="http://schemas.microsoft.com/office/drawing/2014/main" id="{3BFBFB44-1CED-0049-84BA-EA44E28A1C18}"/>
                </a:ext>
              </a:extLst>
            </p:cNvPr>
            <p:cNvSpPr>
              <a:spLocks noChangeArrowheads="1"/>
            </p:cNvSpPr>
            <p:nvPr/>
          </p:nvSpPr>
          <p:spPr bwMode="auto">
            <a:xfrm>
              <a:off x="6364288" y="1757363"/>
              <a:ext cx="677862" cy="592137"/>
            </a:xfrm>
            <a:custGeom>
              <a:avLst/>
              <a:gdLst>
                <a:gd name="T0" fmla="*/ 757 w 1882"/>
                <a:gd name="T1" fmla="*/ 1070 h 1646"/>
                <a:gd name="T2" fmla="*/ 757 w 1882"/>
                <a:gd name="T3" fmla="*/ 1070 h 1646"/>
                <a:gd name="T4" fmla="*/ 1776 w 1882"/>
                <a:gd name="T5" fmla="*/ 1514 h 1646"/>
                <a:gd name="T6" fmla="*/ 1149 w 1882"/>
                <a:gd name="T7" fmla="*/ 574 h 1646"/>
                <a:gd name="T8" fmla="*/ 105 w 1882"/>
                <a:gd name="T9" fmla="*/ 131 h 1646"/>
                <a:gd name="T10" fmla="*/ 757 w 1882"/>
                <a:gd name="T11" fmla="*/ 1070 h 1646"/>
              </a:gdLst>
              <a:ahLst/>
              <a:cxnLst>
                <a:cxn ang="0">
                  <a:pos x="T0" y="T1"/>
                </a:cxn>
                <a:cxn ang="0">
                  <a:pos x="T2" y="T3"/>
                </a:cxn>
                <a:cxn ang="0">
                  <a:pos x="T4" y="T5"/>
                </a:cxn>
                <a:cxn ang="0">
                  <a:pos x="T6" y="T7"/>
                </a:cxn>
                <a:cxn ang="0">
                  <a:pos x="T8" y="T9"/>
                </a:cxn>
                <a:cxn ang="0">
                  <a:pos x="T10" y="T11"/>
                </a:cxn>
              </a:cxnLst>
              <a:rect l="0" t="0" r="r" b="b"/>
              <a:pathLst>
                <a:path w="1882" h="1646">
                  <a:moveTo>
                    <a:pt x="757" y="1070"/>
                  </a:moveTo>
                  <a:lnTo>
                    <a:pt x="757" y="1070"/>
                  </a:lnTo>
                  <a:cubicBezTo>
                    <a:pt x="1202" y="1436"/>
                    <a:pt x="1672" y="1645"/>
                    <a:pt x="1776" y="1514"/>
                  </a:cubicBezTo>
                  <a:cubicBezTo>
                    <a:pt x="1881" y="1383"/>
                    <a:pt x="1593" y="966"/>
                    <a:pt x="1149" y="574"/>
                  </a:cubicBezTo>
                  <a:cubicBezTo>
                    <a:pt x="680" y="209"/>
                    <a:pt x="209" y="0"/>
                    <a:pt x="105" y="131"/>
                  </a:cubicBezTo>
                  <a:cubicBezTo>
                    <a:pt x="0" y="261"/>
                    <a:pt x="288" y="679"/>
                    <a:pt x="757" y="1070"/>
                  </a:cubicBezTo>
                </a:path>
              </a:pathLst>
            </a:custGeom>
            <a:solidFill>
              <a:schemeClr val="bg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4" name="Freeform 22">
              <a:extLst>
                <a:ext uri="{FF2B5EF4-FFF2-40B4-BE49-F238E27FC236}">
                  <a16:creationId xmlns:a16="http://schemas.microsoft.com/office/drawing/2014/main" id="{B0B4F716-9C81-EF43-A1E6-3385401A3B23}"/>
                </a:ext>
              </a:extLst>
            </p:cNvPr>
            <p:cNvSpPr>
              <a:spLocks noChangeArrowheads="1"/>
            </p:cNvSpPr>
            <p:nvPr/>
          </p:nvSpPr>
          <p:spPr bwMode="auto">
            <a:xfrm>
              <a:off x="4662488" y="3365500"/>
              <a:ext cx="3252787" cy="2547938"/>
            </a:xfrm>
            <a:custGeom>
              <a:avLst/>
              <a:gdLst>
                <a:gd name="T0" fmla="*/ 6294 w 9036"/>
                <a:gd name="T1" fmla="*/ 391 h 7078"/>
                <a:gd name="T2" fmla="*/ 6294 w 9036"/>
                <a:gd name="T3" fmla="*/ 391 h 7078"/>
                <a:gd name="T4" fmla="*/ 4832 w 9036"/>
                <a:gd name="T5" fmla="*/ 0 h 7078"/>
                <a:gd name="T6" fmla="*/ 2481 w 9036"/>
                <a:gd name="T7" fmla="*/ 783 h 7078"/>
                <a:gd name="T8" fmla="*/ 1985 w 9036"/>
                <a:gd name="T9" fmla="*/ 1149 h 7078"/>
                <a:gd name="T10" fmla="*/ 1045 w 9036"/>
                <a:gd name="T11" fmla="*/ 2167 h 7078"/>
                <a:gd name="T12" fmla="*/ 0 w 9036"/>
                <a:gd name="T13" fmla="*/ 5798 h 7078"/>
                <a:gd name="T14" fmla="*/ 1305 w 9036"/>
                <a:gd name="T15" fmla="*/ 5798 h 7078"/>
                <a:gd name="T16" fmla="*/ 2168 w 9036"/>
                <a:gd name="T17" fmla="*/ 3212 h 7078"/>
                <a:gd name="T18" fmla="*/ 2768 w 9036"/>
                <a:gd name="T19" fmla="*/ 7077 h 7078"/>
                <a:gd name="T20" fmla="*/ 5798 w 9036"/>
                <a:gd name="T21" fmla="*/ 7077 h 7078"/>
                <a:gd name="T22" fmla="*/ 6268 w 9036"/>
                <a:gd name="T23" fmla="*/ 2011 h 7078"/>
                <a:gd name="T24" fmla="*/ 7130 w 9036"/>
                <a:gd name="T25" fmla="*/ 2062 h 7078"/>
                <a:gd name="T26" fmla="*/ 7365 w 9036"/>
                <a:gd name="T27" fmla="*/ 391 h 7078"/>
                <a:gd name="T28" fmla="*/ 6294 w 9036"/>
                <a:gd name="T29" fmla="*/ 391 h 7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36" h="7078">
                  <a:moveTo>
                    <a:pt x="6294" y="391"/>
                  </a:moveTo>
                  <a:lnTo>
                    <a:pt x="6294" y="391"/>
                  </a:lnTo>
                  <a:cubicBezTo>
                    <a:pt x="4832" y="0"/>
                    <a:pt x="4832" y="0"/>
                    <a:pt x="4832" y="0"/>
                  </a:cubicBezTo>
                  <a:cubicBezTo>
                    <a:pt x="4910" y="1358"/>
                    <a:pt x="3343" y="1749"/>
                    <a:pt x="2481" y="783"/>
                  </a:cubicBezTo>
                  <a:cubicBezTo>
                    <a:pt x="1985" y="1149"/>
                    <a:pt x="1985" y="1149"/>
                    <a:pt x="1985" y="1149"/>
                  </a:cubicBezTo>
                  <a:cubicBezTo>
                    <a:pt x="1619" y="1462"/>
                    <a:pt x="1305" y="1802"/>
                    <a:pt x="1045" y="2167"/>
                  </a:cubicBezTo>
                  <a:cubicBezTo>
                    <a:pt x="104" y="3473"/>
                    <a:pt x="26" y="4100"/>
                    <a:pt x="0" y="5798"/>
                  </a:cubicBezTo>
                  <a:cubicBezTo>
                    <a:pt x="1305" y="5798"/>
                    <a:pt x="1305" y="5798"/>
                    <a:pt x="1305" y="5798"/>
                  </a:cubicBezTo>
                  <a:cubicBezTo>
                    <a:pt x="1567" y="4205"/>
                    <a:pt x="1723" y="3734"/>
                    <a:pt x="2168" y="3212"/>
                  </a:cubicBezTo>
                  <a:cubicBezTo>
                    <a:pt x="2768" y="7077"/>
                    <a:pt x="2768" y="7077"/>
                    <a:pt x="2768" y="7077"/>
                  </a:cubicBezTo>
                  <a:cubicBezTo>
                    <a:pt x="5798" y="7077"/>
                    <a:pt x="5798" y="7077"/>
                    <a:pt x="5798" y="7077"/>
                  </a:cubicBezTo>
                  <a:cubicBezTo>
                    <a:pt x="6268" y="2011"/>
                    <a:pt x="6268" y="2011"/>
                    <a:pt x="6268" y="2011"/>
                  </a:cubicBezTo>
                  <a:cubicBezTo>
                    <a:pt x="7130" y="2062"/>
                    <a:pt x="7130" y="2062"/>
                    <a:pt x="7130" y="2062"/>
                  </a:cubicBezTo>
                  <a:cubicBezTo>
                    <a:pt x="9035" y="2271"/>
                    <a:pt x="7365" y="391"/>
                    <a:pt x="7365" y="391"/>
                  </a:cubicBezTo>
                  <a:cubicBezTo>
                    <a:pt x="7365" y="391"/>
                    <a:pt x="7078" y="600"/>
                    <a:pt x="6294" y="391"/>
                  </a:cubicBezTo>
                </a:path>
              </a:pathLst>
            </a:custGeom>
            <a:solidFill>
              <a:schemeClr val="bg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5" name="Freeform 23">
              <a:extLst>
                <a:ext uri="{FF2B5EF4-FFF2-40B4-BE49-F238E27FC236}">
                  <a16:creationId xmlns:a16="http://schemas.microsoft.com/office/drawing/2014/main" id="{DD1831F2-552F-8344-8858-FD4FDC8A0898}"/>
                </a:ext>
              </a:extLst>
            </p:cNvPr>
            <p:cNvSpPr>
              <a:spLocks noChangeArrowheads="1"/>
            </p:cNvSpPr>
            <p:nvPr/>
          </p:nvSpPr>
          <p:spPr bwMode="auto">
            <a:xfrm>
              <a:off x="7962900" y="-2041897"/>
              <a:ext cx="2370138" cy="6966354"/>
            </a:xfrm>
            <a:custGeom>
              <a:avLst/>
              <a:gdLst>
                <a:gd name="T0" fmla="*/ 4805 w 6582"/>
                <a:gd name="T1" fmla="*/ 2638 h 21025"/>
                <a:gd name="T2" fmla="*/ 4805 w 6582"/>
                <a:gd name="T3" fmla="*/ 2638 h 21025"/>
                <a:gd name="T4" fmla="*/ 4805 w 6582"/>
                <a:gd name="T5" fmla="*/ 2194 h 21025"/>
                <a:gd name="T6" fmla="*/ 5693 w 6582"/>
                <a:gd name="T7" fmla="*/ 2194 h 21025"/>
                <a:gd name="T8" fmla="*/ 5170 w 6582"/>
                <a:gd name="T9" fmla="*/ 1332 h 21025"/>
                <a:gd name="T10" fmla="*/ 3499 w 6582"/>
                <a:gd name="T11" fmla="*/ 1541 h 21025"/>
                <a:gd name="T12" fmla="*/ 3891 w 6582"/>
                <a:gd name="T13" fmla="*/ 2194 h 21025"/>
                <a:gd name="T14" fmla="*/ 4387 w 6582"/>
                <a:gd name="T15" fmla="*/ 2194 h 21025"/>
                <a:gd name="T16" fmla="*/ 4387 w 6582"/>
                <a:gd name="T17" fmla="*/ 2612 h 21025"/>
                <a:gd name="T18" fmla="*/ 3603 w 6582"/>
                <a:gd name="T19" fmla="*/ 2586 h 21025"/>
                <a:gd name="T20" fmla="*/ 3603 w 6582"/>
                <a:gd name="T21" fmla="*/ 2455 h 21025"/>
                <a:gd name="T22" fmla="*/ 2376 w 6582"/>
                <a:gd name="T23" fmla="*/ 2376 h 21025"/>
                <a:gd name="T24" fmla="*/ 2376 w 6582"/>
                <a:gd name="T25" fmla="*/ 1515 h 21025"/>
                <a:gd name="T26" fmla="*/ 2533 w 6582"/>
                <a:gd name="T27" fmla="*/ 1123 h 21025"/>
                <a:gd name="T28" fmla="*/ 2350 w 6582"/>
                <a:gd name="T29" fmla="*/ 52 h 21025"/>
                <a:gd name="T30" fmla="*/ 1697 w 6582"/>
                <a:gd name="T31" fmla="*/ 915 h 21025"/>
                <a:gd name="T32" fmla="*/ 1880 w 6582"/>
                <a:gd name="T33" fmla="*/ 1985 h 21025"/>
                <a:gd name="T34" fmla="*/ 2219 w 6582"/>
                <a:gd name="T35" fmla="*/ 1776 h 21025"/>
                <a:gd name="T36" fmla="*/ 2219 w 6582"/>
                <a:gd name="T37" fmla="*/ 2376 h 21025"/>
                <a:gd name="T38" fmla="*/ 1175 w 6582"/>
                <a:gd name="T39" fmla="*/ 2325 h 21025"/>
                <a:gd name="T40" fmla="*/ 1175 w 6582"/>
                <a:gd name="T41" fmla="*/ 2533 h 21025"/>
                <a:gd name="T42" fmla="*/ 0 w 6582"/>
                <a:gd name="T43" fmla="*/ 2508 h 21025"/>
                <a:gd name="T44" fmla="*/ 0 w 6582"/>
                <a:gd name="T45" fmla="*/ 21024 h 21025"/>
                <a:gd name="T46" fmla="*/ 6581 w 6582"/>
                <a:gd name="T47" fmla="*/ 21024 h 21025"/>
                <a:gd name="T48" fmla="*/ 6581 w 6582"/>
                <a:gd name="T49" fmla="*/ 2768 h 21025"/>
                <a:gd name="T50" fmla="*/ 4805 w 6582"/>
                <a:gd name="T51" fmla="*/ 2638 h 2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82" h="21025">
                  <a:moveTo>
                    <a:pt x="4805" y="2638"/>
                  </a:moveTo>
                  <a:lnTo>
                    <a:pt x="4805" y="2638"/>
                  </a:lnTo>
                  <a:cubicBezTo>
                    <a:pt x="4805" y="2194"/>
                    <a:pt x="4805" y="2194"/>
                    <a:pt x="4805" y="2194"/>
                  </a:cubicBezTo>
                  <a:cubicBezTo>
                    <a:pt x="5693" y="2194"/>
                    <a:pt x="5693" y="2194"/>
                    <a:pt x="5693" y="2194"/>
                  </a:cubicBezTo>
                  <a:cubicBezTo>
                    <a:pt x="5170" y="1332"/>
                    <a:pt x="5170" y="1332"/>
                    <a:pt x="5170" y="1332"/>
                  </a:cubicBezTo>
                  <a:cubicBezTo>
                    <a:pt x="3499" y="1541"/>
                    <a:pt x="3499" y="1541"/>
                    <a:pt x="3499" y="1541"/>
                  </a:cubicBezTo>
                  <a:cubicBezTo>
                    <a:pt x="3891" y="2194"/>
                    <a:pt x="3891" y="2194"/>
                    <a:pt x="3891" y="2194"/>
                  </a:cubicBezTo>
                  <a:cubicBezTo>
                    <a:pt x="4387" y="2194"/>
                    <a:pt x="4387" y="2194"/>
                    <a:pt x="4387" y="2194"/>
                  </a:cubicBezTo>
                  <a:cubicBezTo>
                    <a:pt x="4387" y="2612"/>
                    <a:pt x="4387" y="2612"/>
                    <a:pt x="4387" y="2612"/>
                  </a:cubicBezTo>
                  <a:cubicBezTo>
                    <a:pt x="4126" y="2612"/>
                    <a:pt x="3865" y="2586"/>
                    <a:pt x="3603" y="2586"/>
                  </a:cubicBezTo>
                  <a:cubicBezTo>
                    <a:pt x="3603" y="2455"/>
                    <a:pt x="3603" y="2455"/>
                    <a:pt x="3603" y="2455"/>
                  </a:cubicBezTo>
                  <a:cubicBezTo>
                    <a:pt x="2376" y="2376"/>
                    <a:pt x="2376" y="2376"/>
                    <a:pt x="2376" y="2376"/>
                  </a:cubicBezTo>
                  <a:cubicBezTo>
                    <a:pt x="2376" y="1515"/>
                    <a:pt x="2376" y="1515"/>
                    <a:pt x="2376" y="1515"/>
                  </a:cubicBezTo>
                  <a:cubicBezTo>
                    <a:pt x="2428" y="1410"/>
                    <a:pt x="2480" y="1254"/>
                    <a:pt x="2533" y="1123"/>
                  </a:cubicBezTo>
                  <a:cubicBezTo>
                    <a:pt x="2663" y="601"/>
                    <a:pt x="2559" y="105"/>
                    <a:pt x="2350" y="52"/>
                  </a:cubicBezTo>
                  <a:cubicBezTo>
                    <a:pt x="2115" y="0"/>
                    <a:pt x="1827" y="392"/>
                    <a:pt x="1697" y="915"/>
                  </a:cubicBezTo>
                  <a:cubicBezTo>
                    <a:pt x="1567" y="1437"/>
                    <a:pt x="1644" y="1907"/>
                    <a:pt x="1880" y="1985"/>
                  </a:cubicBezTo>
                  <a:cubicBezTo>
                    <a:pt x="1984" y="2011"/>
                    <a:pt x="2115" y="1933"/>
                    <a:pt x="2219" y="1776"/>
                  </a:cubicBezTo>
                  <a:cubicBezTo>
                    <a:pt x="2219" y="2376"/>
                    <a:pt x="2219" y="2376"/>
                    <a:pt x="2219" y="2376"/>
                  </a:cubicBezTo>
                  <a:cubicBezTo>
                    <a:pt x="1175" y="2325"/>
                    <a:pt x="1175" y="2325"/>
                    <a:pt x="1175" y="2325"/>
                  </a:cubicBezTo>
                  <a:cubicBezTo>
                    <a:pt x="1175" y="2533"/>
                    <a:pt x="1175" y="2533"/>
                    <a:pt x="1175" y="2533"/>
                  </a:cubicBezTo>
                  <a:cubicBezTo>
                    <a:pt x="783" y="2508"/>
                    <a:pt x="391" y="2508"/>
                    <a:pt x="0" y="2508"/>
                  </a:cubicBezTo>
                  <a:cubicBezTo>
                    <a:pt x="0" y="21024"/>
                    <a:pt x="0" y="21024"/>
                    <a:pt x="0" y="21024"/>
                  </a:cubicBezTo>
                  <a:cubicBezTo>
                    <a:pt x="6581" y="21024"/>
                    <a:pt x="6581" y="21024"/>
                    <a:pt x="6581" y="21024"/>
                  </a:cubicBezTo>
                  <a:cubicBezTo>
                    <a:pt x="6581" y="2768"/>
                    <a:pt x="6581" y="2768"/>
                    <a:pt x="6581" y="2768"/>
                  </a:cubicBezTo>
                  <a:cubicBezTo>
                    <a:pt x="6581" y="2768"/>
                    <a:pt x="5928" y="2716"/>
                    <a:pt x="4805" y="2638"/>
                  </a:cubicBezTo>
                </a:path>
              </a:pathLst>
            </a:custGeom>
            <a:solidFill>
              <a:schemeClr val="bg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6" name="Freeform 24">
              <a:extLst>
                <a:ext uri="{FF2B5EF4-FFF2-40B4-BE49-F238E27FC236}">
                  <a16:creationId xmlns:a16="http://schemas.microsoft.com/office/drawing/2014/main" id="{B6137098-2DFF-FA41-9996-825538379DC1}"/>
                </a:ext>
              </a:extLst>
            </p:cNvPr>
            <p:cNvSpPr>
              <a:spLocks noChangeArrowheads="1"/>
            </p:cNvSpPr>
            <p:nvPr/>
          </p:nvSpPr>
          <p:spPr bwMode="auto">
            <a:xfrm>
              <a:off x="8197850" y="-395288"/>
              <a:ext cx="188913" cy="1420813"/>
            </a:xfrm>
            <a:custGeom>
              <a:avLst/>
              <a:gdLst>
                <a:gd name="T0" fmla="*/ 523 w 524"/>
                <a:gd name="T1" fmla="*/ 3944 h 3945"/>
                <a:gd name="T2" fmla="*/ 0 w 524"/>
                <a:gd name="T3" fmla="*/ 3944 h 3945"/>
                <a:gd name="T4" fmla="*/ 0 w 524"/>
                <a:gd name="T5" fmla="*/ 0 h 3945"/>
                <a:gd name="T6" fmla="*/ 523 w 524"/>
                <a:gd name="T7" fmla="*/ 0 h 3945"/>
                <a:gd name="T8" fmla="*/ 523 w 524"/>
                <a:gd name="T9" fmla="*/ 3944 h 3945"/>
              </a:gdLst>
              <a:ahLst/>
              <a:cxnLst>
                <a:cxn ang="0">
                  <a:pos x="T0" y="T1"/>
                </a:cxn>
                <a:cxn ang="0">
                  <a:pos x="T2" y="T3"/>
                </a:cxn>
                <a:cxn ang="0">
                  <a:pos x="T4" y="T5"/>
                </a:cxn>
                <a:cxn ang="0">
                  <a:pos x="T6" y="T7"/>
                </a:cxn>
                <a:cxn ang="0">
                  <a:pos x="T8" y="T9"/>
                </a:cxn>
              </a:cxnLst>
              <a:rect l="0" t="0" r="r" b="b"/>
              <a:pathLst>
                <a:path w="524" h="3945">
                  <a:moveTo>
                    <a:pt x="523" y="3944"/>
                  </a:moveTo>
                  <a:lnTo>
                    <a:pt x="0" y="3944"/>
                  </a:lnTo>
                  <a:lnTo>
                    <a:pt x="0" y="0"/>
                  </a:lnTo>
                  <a:lnTo>
                    <a:pt x="523" y="0"/>
                  </a:lnTo>
                  <a:lnTo>
                    <a:pt x="523" y="3944"/>
                  </a:lnTo>
                </a:path>
              </a:pathLst>
            </a:custGeom>
            <a:solidFill>
              <a:srgbClr val="EE3A6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7" name="Freeform 25">
              <a:extLst>
                <a:ext uri="{FF2B5EF4-FFF2-40B4-BE49-F238E27FC236}">
                  <a16:creationId xmlns:a16="http://schemas.microsoft.com/office/drawing/2014/main" id="{89FB2548-9F04-B448-9A08-78281A55C907}"/>
                </a:ext>
              </a:extLst>
            </p:cNvPr>
            <p:cNvSpPr>
              <a:spLocks noChangeArrowheads="1"/>
            </p:cNvSpPr>
            <p:nvPr/>
          </p:nvSpPr>
          <p:spPr bwMode="auto">
            <a:xfrm>
              <a:off x="8197850" y="1296988"/>
              <a:ext cx="188913" cy="1419225"/>
            </a:xfrm>
            <a:custGeom>
              <a:avLst/>
              <a:gdLst>
                <a:gd name="T0" fmla="*/ 523 w 524"/>
                <a:gd name="T1" fmla="*/ 3942 h 3943"/>
                <a:gd name="T2" fmla="*/ 0 w 524"/>
                <a:gd name="T3" fmla="*/ 3942 h 3943"/>
                <a:gd name="T4" fmla="*/ 0 w 524"/>
                <a:gd name="T5" fmla="*/ 0 h 3943"/>
                <a:gd name="T6" fmla="*/ 523 w 524"/>
                <a:gd name="T7" fmla="*/ 0 h 3943"/>
                <a:gd name="T8" fmla="*/ 523 w 524"/>
                <a:gd name="T9" fmla="*/ 3942 h 3943"/>
              </a:gdLst>
              <a:ahLst/>
              <a:cxnLst>
                <a:cxn ang="0">
                  <a:pos x="T0" y="T1"/>
                </a:cxn>
                <a:cxn ang="0">
                  <a:pos x="T2" y="T3"/>
                </a:cxn>
                <a:cxn ang="0">
                  <a:pos x="T4" y="T5"/>
                </a:cxn>
                <a:cxn ang="0">
                  <a:pos x="T6" y="T7"/>
                </a:cxn>
                <a:cxn ang="0">
                  <a:pos x="T8" y="T9"/>
                </a:cxn>
              </a:cxnLst>
              <a:rect l="0" t="0" r="r" b="b"/>
              <a:pathLst>
                <a:path w="524" h="3943">
                  <a:moveTo>
                    <a:pt x="523" y="3942"/>
                  </a:moveTo>
                  <a:lnTo>
                    <a:pt x="0" y="3942"/>
                  </a:lnTo>
                  <a:lnTo>
                    <a:pt x="0" y="0"/>
                  </a:lnTo>
                  <a:lnTo>
                    <a:pt x="523" y="0"/>
                  </a:lnTo>
                  <a:lnTo>
                    <a:pt x="523" y="3942"/>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8" name="Freeform 26">
              <a:extLst>
                <a:ext uri="{FF2B5EF4-FFF2-40B4-BE49-F238E27FC236}">
                  <a16:creationId xmlns:a16="http://schemas.microsoft.com/office/drawing/2014/main" id="{F93111AF-EA2C-494F-8184-A0A9991DCB7C}"/>
                </a:ext>
              </a:extLst>
            </p:cNvPr>
            <p:cNvSpPr>
              <a:spLocks noChangeArrowheads="1"/>
            </p:cNvSpPr>
            <p:nvPr/>
          </p:nvSpPr>
          <p:spPr bwMode="auto">
            <a:xfrm>
              <a:off x="8197850" y="2989263"/>
              <a:ext cx="188913" cy="1419225"/>
            </a:xfrm>
            <a:custGeom>
              <a:avLst/>
              <a:gdLst>
                <a:gd name="T0" fmla="*/ 523 w 524"/>
                <a:gd name="T1" fmla="*/ 3943 h 3944"/>
                <a:gd name="T2" fmla="*/ 0 w 524"/>
                <a:gd name="T3" fmla="*/ 3943 h 3944"/>
                <a:gd name="T4" fmla="*/ 0 w 524"/>
                <a:gd name="T5" fmla="*/ 0 h 3944"/>
                <a:gd name="T6" fmla="*/ 523 w 524"/>
                <a:gd name="T7" fmla="*/ 0 h 3944"/>
                <a:gd name="T8" fmla="*/ 523 w 524"/>
                <a:gd name="T9" fmla="*/ 3943 h 3944"/>
              </a:gdLst>
              <a:ahLst/>
              <a:cxnLst>
                <a:cxn ang="0">
                  <a:pos x="T0" y="T1"/>
                </a:cxn>
                <a:cxn ang="0">
                  <a:pos x="T2" y="T3"/>
                </a:cxn>
                <a:cxn ang="0">
                  <a:pos x="T4" y="T5"/>
                </a:cxn>
                <a:cxn ang="0">
                  <a:pos x="T6" y="T7"/>
                </a:cxn>
                <a:cxn ang="0">
                  <a:pos x="T8" y="T9"/>
                </a:cxn>
              </a:cxnLst>
              <a:rect l="0" t="0" r="r" b="b"/>
              <a:pathLst>
                <a:path w="524" h="3944">
                  <a:moveTo>
                    <a:pt x="523" y="3943"/>
                  </a:moveTo>
                  <a:lnTo>
                    <a:pt x="0" y="3943"/>
                  </a:lnTo>
                  <a:lnTo>
                    <a:pt x="0" y="0"/>
                  </a:lnTo>
                  <a:lnTo>
                    <a:pt x="523" y="0"/>
                  </a:lnTo>
                  <a:lnTo>
                    <a:pt x="523" y="3943"/>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99" name="Freeform 27">
              <a:extLst>
                <a:ext uri="{FF2B5EF4-FFF2-40B4-BE49-F238E27FC236}">
                  <a16:creationId xmlns:a16="http://schemas.microsoft.com/office/drawing/2014/main" id="{B72DA66F-081B-D349-B018-D550887E3FBC}"/>
                </a:ext>
              </a:extLst>
            </p:cNvPr>
            <p:cNvSpPr>
              <a:spLocks noChangeArrowheads="1"/>
            </p:cNvSpPr>
            <p:nvPr/>
          </p:nvSpPr>
          <p:spPr bwMode="auto">
            <a:xfrm>
              <a:off x="8583613" y="-395288"/>
              <a:ext cx="179387" cy="1420813"/>
            </a:xfrm>
            <a:custGeom>
              <a:avLst/>
              <a:gdLst>
                <a:gd name="T0" fmla="*/ 496 w 497"/>
                <a:gd name="T1" fmla="*/ 3944 h 3945"/>
                <a:gd name="T2" fmla="*/ 0 w 497"/>
                <a:gd name="T3" fmla="*/ 3944 h 3945"/>
                <a:gd name="T4" fmla="*/ 0 w 497"/>
                <a:gd name="T5" fmla="*/ 0 h 3945"/>
                <a:gd name="T6" fmla="*/ 496 w 497"/>
                <a:gd name="T7" fmla="*/ 0 h 3945"/>
                <a:gd name="T8" fmla="*/ 496 w 497"/>
                <a:gd name="T9" fmla="*/ 3944 h 3945"/>
              </a:gdLst>
              <a:ahLst/>
              <a:cxnLst>
                <a:cxn ang="0">
                  <a:pos x="T0" y="T1"/>
                </a:cxn>
                <a:cxn ang="0">
                  <a:pos x="T2" y="T3"/>
                </a:cxn>
                <a:cxn ang="0">
                  <a:pos x="T4" y="T5"/>
                </a:cxn>
                <a:cxn ang="0">
                  <a:pos x="T6" y="T7"/>
                </a:cxn>
                <a:cxn ang="0">
                  <a:pos x="T8" y="T9"/>
                </a:cxn>
              </a:cxnLst>
              <a:rect l="0" t="0" r="r" b="b"/>
              <a:pathLst>
                <a:path w="497" h="3945">
                  <a:moveTo>
                    <a:pt x="496" y="3944"/>
                  </a:moveTo>
                  <a:lnTo>
                    <a:pt x="0" y="3944"/>
                  </a:lnTo>
                  <a:lnTo>
                    <a:pt x="0" y="0"/>
                  </a:lnTo>
                  <a:lnTo>
                    <a:pt x="496" y="0"/>
                  </a:lnTo>
                  <a:lnTo>
                    <a:pt x="496" y="3944"/>
                  </a:lnTo>
                </a:path>
              </a:pathLst>
            </a:custGeom>
            <a:solidFill>
              <a:srgbClr val="EE3A6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0" name="Freeform 28">
              <a:extLst>
                <a:ext uri="{FF2B5EF4-FFF2-40B4-BE49-F238E27FC236}">
                  <a16:creationId xmlns:a16="http://schemas.microsoft.com/office/drawing/2014/main" id="{9FF03357-E3F8-A645-9ED5-630B7E6509AD}"/>
                </a:ext>
              </a:extLst>
            </p:cNvPr>
            <p:cNvSpPr>
              <a:spLocks noChangeArrowheads="1"/>
            </p:cNvSpPr>
            <p:nvPr/>
          </p:nvSpPr>
          <p:spPr bwMode="auto">
            <a:xfrm>
              <a:off x="8583613" y="1296988"/>
              <a:ext cx="179387" cy="1419225"/>
            </a:xfrm>
            <a:custGeom>
              <a:avLst/>
              <a:gdLst>
                <a:gd name="T0" fmla="*/ 496 w 497"/>
                <a:gd name="T1" fmla="*/ 3942 h 3943"/>
                <a:gd name="T2" fmla="*/ 0 w 497"/>
                <a:gd name="T3" fmla="*/ 3942 h 3943"/>
                <a:gd name="T4" fmla="*/ 0 w 497"/>
                <a:gd name="T5" fmla="*/ 0 h 3943"/>
                <a:gd name="T6" fmla="*/ 496 w 497"/>
                <a:gd name="T7" fmla="*/ 0 h 3943"/>
                <a:gd name="T8" fmla="*/ 496 w 497"/>
                <a:gd name="T9" fmla="*/ 3942 h 3943"/>
              </a:gdLst>
              <a:ahLst/>
              <a:cxnLst>
                <a:cxn ang="0">
                  <a:pos x="T0" y="T1"/>
                </a:cxn>
                <a:cxn ang="0">
                  <a:pos x="T2" y="T3"/>
                </a:cxn>
                <a:cxn ang="0">
                  <a:pos x="T4" y="T5"/>
                </a:cxn>
                <a:cxn ang="0">
                  <a:pos x="T6" y="T7"/>
                </a:cxn>
                <a:cxn ang="0">
                  <a:pos x="T8" y="T9"/>
                </a:cxn>
              </a:cxnLst>
              <a:rect l="0" t="0" r="r" b="b"/>
              <a:pathLst>
                <a:path w="497" h="3943">
                  <a:moveTo>
                    <a:pt x="496" y="3942"/>
                  </a:moveTo>
                  <a:lnTo>
                    <a:pt x="0" y="3942"/>
                  </a:lnTo>
                  <a:lnTo>
                    <a:pt x="0" y="0"/>
                  </a:lnTo>
                  <a:lnTo>
                    <a:pt x="496" y="0"/>
                  </a:lnTo>
                  <a:lnTo>
                    <a:pt x="496" y="3942"/>
                  </a:lnTo>
                </a:path>
              </a:pathLst>
            </a:custGeom>
            <a:solidFill>
              <a:srgbClr val="EE3A6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1" name="Freeform 29">
              <a:extLst>
                <a:ext uri="{FF2B5EF4-FFF2-40B4-BE49-F238E27FC236}">
                  <a16:creationId xmlns:a16="http://schemas.microsoft.com/office/drawing/2014/main" id="{2DB0FE16-CD40-F54C-9C41-B68F923C7071}"/>
                </a:ext>
              </a:extLst>
            </p:cNvPr>
            <p:cNvSpPr>
              <a:spLocks noChangeArrowheads="1"/>
            </p:cNvSpPr>
            <p:nvPr/>
          </p:nvSpPr>
          <p:spPr bwMode="auto">
            <a:xfrm>
              <a:off x="8583613" y="2989263"/>
              <a:ext cx="179387" cy="1419225"/>
            </a:xfrm>
            <a:custGeom>
              <a:avLst/>
              <a:gdLst>
                <a:gd name="T0" fmla="*/ 496 w 497"/>
                <a:gd name="T1" fmla="*/ 3943 h 3944"/>
                <a:gd name="T2" fmla="*/ 0 w 497"/>
                <a:gd name="T3" fmla="*/ 3943 h 3944"/>
                <a:gd name="T4" fmla="*/ 0 w 497"/>
                <a:gd name="T5" fmla="*/ 0 h 3944"/>
                <a:gd name="T6" fmla="*/ 496 w 497"/>
                <a:gd name="T7" fmla="*/ 0 h 3944"/>
                <a:gd name="T8" fmla="*/ 496 w 497"/>
                <a:gd name="T9" fmla="*/ 3943 h 3944"/>
              </a:gdLst>
              <a:ahLst/>
              <a:cxnLst>
                <a:cxn ang="0">
                  <a:pos x="T0" y="T1"/>
                </a:cxn>
                <a:cxn ang="0">
                  <a:pos x="T2" y="T3"/>
                </a:cxn>
                <a:cxn ang="0">
                  <a:pos x="T4" y="T5"/>
                </a:cxn>
                <a:cxn ang="0">
                  <a:pos x="T6" y="T7"/>
                </a:cxn>
                <a:cxn ang="0">
                  <a:pos x="T8" y="T9"/>
                </a:cxn>
              </a:cxnLst>
              <a:rect l="0" t="0" r="r" b="b"/>
              <a:pathLst>
                <a:path w="497" h="3944">
                  <a:moveTo>
                    <a:pt x="496" y="3943"/>
                  </a:moveTo>
                  <a:lnTo>
                    <a:pt x="0" y="3943"/>
                  </a:lnTo>
                  <a:lnTo>
                    <a:pt x="0" y="0"/>
                  </a:lnTo>
                  <a:lnTo>
                    <a:pt x="496" y="0"/>
                  </a:lnTo>
                  <a:lnTo>
                    <a:pt x="496" y="3943"/>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2" name="Freeform 30">
              <a:extLst>
                <a:ext uri="{FF2B5EF4-FFF2-40B4-BE49-F238E27FC236}">
                  <a16:creationId xmlns:a16="http://schemas.microsoft.com/office/drawing/2014/main" id="{25349B74-5BFA-8D48-B4CD-63B58099928B}"/>
                </a:ext>
              </a:extLst>
            </p:cNvPr>
            <p:cNvSpPr>
              <a:spLocks noChangeArrowheads="1"/>
            </p:cNvSpPr>
            <p:nvPr/>
          </p:nvSpPr>
          <p:spPr bwMode="auto">
            <a:xfrm>
              <a:off x="8959850" y="-395288"/>
              <a:ext cx="188913" cy="1420813"/>
            </a:xfrm>
            <a:custGeom>
              <a:avLst/>
              <a:gdLst>
                <a:gd name="T0" fmla="*/ 522 w 523"/>
                <a:gd name="T1" fmla="*/ 3944 h 3945"/>
                <a:gd name="T2" fmla="*/ 0 w 523"/>
                <a:gd name="T3" fmla="*/ 3944 h 3945"/>
                <a:gd name="T4" fmla="*/ 0 w 523"/>
                <a:gd name="T5" fmla="*/ 0 h 3945"/>
                <a:gd name="T6" fmla="*/ 522 w 523"/>
                <a:gd name="T7" fmla="*/ 0 h 3945"/>
                <a:gd name="T8" fmla="*/ 522 w 523"/>
                <a:gd name="T9" fmla="*/ 3944 h 3945"/>
              </a:gdLst>
              <a:ahLst/>
              <a:cxnLst>
                <a:cxn ang="0">
                  <a:pos x="T0" y="T1"/>
                </a:cxn>
                <a:cxn ang="0">
                  <a:pos x="T2" y="T3"/>
                </a:cxn>
                <a:cxn ang="0">
                  <a:pos x="T4" y="T5"/>
                </a:cxn>
                <a:cxn ang="0">
                  <a:pos x="T6" y="T7"/>
                </a:cxn>
                <a:cxn ang="0">
                  <a:pos x="T8" y="T9"/>
                </a:cxn>
              </a:cxnLst>
              <a:rect l="0" t="0" r="r" b="b"/>
              <a:pathLst>
                <a:path w="523" h="3945">
                  <a:moveTo>
                    <a:pt x="522" y="3944"/>
                  </a:moveTo>
                  <a:lnTo>
                    <a:pt x="0" y="3944"/>
                  </a:lnTo>
                  <a:lnTo>
                    <a:pt x="0" y="0"/>
                  </a:lnTo>
                  <a:lnTo>
                    <a:pt x="522" y="0"/>
                  </a:lnTo>
                  <a:lnTo>
                    <a:pt x="522" y="394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3" name="Freeform 31">
              <a:extLst>
                <a:ext uri="{FF2B5EF4-FFF2-40B4-BE49-F238E27FC236}">
                  <a16:creationId xmlns:a16="http://schemas.microsoft.com/office/drawing/2014/main" id="{0344B83C-F262-8B41-BEFE-F65AB23D3001}"/>
                </a:ext>
              </a:extLst>
            </p:cNvPr>
            <p:cNvSpPr>
              <a:spLocks noChangeArrowheads="1"/>
            </p:cNvSpPr>
            <p:nvPr/>
          </p:nvSpPr>
          <p:spPr bwMode="auto">
            <a:xfrm>
              <a:off x="8959850" y="1296988"/>
              <a:ext cx="188913" cy="1419225"/>
            </a:xfrm>
            <a:custGeom>
              <a:avLst/>
              <a:gdLst>
                <a:gd name="T0" fmla="*/ 522 w 523"/>
                <a:gd name="T1" fmla="*/ 3942 h 3943"/>
                <a:gd name="T2" fmla="*/ 0 w 523"/>
                <a:gd name="T3" fmla="*/ 3942 h 3943"/>
                <a:gd name="T4" fmla="*/ 0 w 523"/>
                <a:gd name="T5" fmla="*/ 0 h 3943"/>
                <a:gd name="T6" fmla="*/ 522 w 523"/>
                <a:gd name="T7" fmla="*/ 0 h 3943"/>
                <a:gd name="T8" fmla="*/ 522 w 523"/>
                <a:gd name="T9" fmla="*/ 3942 h 3943"/>
              </a:gdLst>
              <a:ahLst/>
              <a:cxnLst>
                <a:cxn ang="0">
                  <a:pos x="T0" y="T1"/>
                </a:cxn>
                <a:cxn ang="0">
                  <a:pos x="T2" y="T3"/>
                </a:cxn>
                <a:cxn ang="0">
                  <a:pos x="T4" y="T5"/>
                </a:cxn>
                <a:cxn ang="0">
                  <a:pos x="T6" y="T7"/>
                </a:cxn>
                <a:cxn ang="0">
                  <a:pos x="T8" y="T9"/>
                </a:cxn>
              </a:cxnLst>
              <a:rect l="0" t="0" r="r" b="b"/>
              <a:pathLst>
                <a:path w="523" h="3943">
                  <a:moveTo>
                    <a:pt x="522" y="3942"/>
                  </a:moveTo>
                  <a:lnTo>
                    <a:pt x="0" y="3942"/>
                  </a:lnTo>
                  <a:lnTo>
                    <a:pt x="0" y="0"/>
                  </a:lnTo>
                  <a:lnTo>
                    <a:pt x="522" y="0"/>
                  </a:lnTo>
                  <a:lnTo>
                    <a:pt x="522" y="3942"/>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4" name="Freeform 32">
              <a:extLst>
                <a:ext uri="{FF2B5EF4-FFF2-40B4-BE49-F238E27FC236}">
                  <a16:creationId xmlns:a16="http://schemas.microsoft.com/office/drawing/2014/main" id="{249FDCF9-54C0-3148-BF07-2029578A9C95}"/>
                </a:ext>
              </a:extLst>
            </p:cNvPr>
            <p:cNvSpPr>
              <a:spLocks noChangeArrowheads="1"/>
            </p:cNvSpPr>
            <p:nvPr/>
          </p:nvSpPr>
          <p:spPr bwMode="auto">
            <a:xfrm>
              <a:off x="8959850" y="2989263"/>
              <a:ext cx="188913" cy="1419225"/>
            </a:xfrm>
            <a:custGeom>
              <a:avLst/>
              <a:gdLst>
                <a:gd name="T0" fmla="*/ 522 w 523"/>
                <a:gd name="T1" fmla="*/ 3943 h 3944"/>
                <a:gd name="T2" fmla="*/ 0 w 523"/>
                <a:gd name="T3" fmla="*/ 3943 h 3944"/>
                <a:gd name="T4" fmla="*/ 0 w 523"/>
                <a:gd name="T5" fmla="*/ 0 h 3944"/>
                <a:gd name="T6" fmla="*/ 522 w 523"/>
                <a:gd name="T7" fmla="*/ 0 h 3944"/>
                <a:gd name="T8" fmla="*/ 522 w 523"/>
                <a:gd name="T9" fmla="*/ 3943 h 3944"/>
              </a:gdLst>
              <a:ahLst/>
              <a:cxnLst>
                <a:cxn ang="0">
                  <a:pos x="T0" y="T1"/>
                </a:cxn>
                <a:cxn ang="0">
                  <a:pos x="T2" y="T3"/>
                </a:cxn>
                <a:cxn ang="0">
                  <a:pos x="T4" y="T5"/>
                </a:cxn>
                <a:cxn ang="0">
                  <a:pos x="T6" y="T7"/>
                </a:cxn>
                <a:cxn ang="0">
                  <a:pos x="T8" y="T9"/>
                </a:cxn>
              </a:cxnLst>
              <a:rect l="0" t="0" r="r" b="b"/>
              <a:pathLst>
                <a:path w="523" h="3944">
                  <a:moveTo>
                    <a:pt x="522" y="3943"/>
                  </a:moveTo>
                  <a:lnTo>
                    <a:pt x="0" y="3943"/>
                  </a:lnTo>
                  <a:lnTo>
                    <a:pt x="0" y="0"/>
                  </a:lnTo>
                  <a:lnTo>
                    <a:pt x="522" y="0"/>
                  </a:lnTo>
                  <a:lnTo>
                    <a:pt x="522" y="3943"/>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5" name="Freeform 33">
              <a:extLst>
                <a:ext uri="{FF2B5EF4-FFF2-40B4-BE49-F238E27FC236}">
                  <a16:creationId xmlns:a16="http://schemas.microsoft.com/office/drawing/2014/main" id="{DC7864DE-85CF-4240-A75A-6232992FAA1A}"/>
                </a:ext>
              </a:extLst>
            </p:cNvPr>
            <p:cNvSpPr>
              <a:spLocks noChangeArrowheads="1"/>
            </p:cNvSpPr>
            <p:nvPr/>
          </p:nvSpPr>
          <p:spPr bwMode="auto">
            <a:xfrm>
              <a:off x="9345613" y="-395288"/>
              <a:ext cx="188912" cy="1420813"/>
            </a:xfrm>
            <a:custGeom>
              <a:avLst/>
              <a:gdLst>
                <a:gd name="T0" fmla="*/ 523 w 524"/>
                <a:gd name="T1" fmla="*/ 3944 h 3945"/>
                <a:gd name="T2" fmla="*/ 0 w 524"/>
                <a:gd name="T3" fmla="*/ 3944 h 3945"/>
                <a:gd name="T4" fmla="*/ 0 w 524"/>
                <a:gd name="T5" fmla="*/ 0 h 3945"/>
                <a:gd name="T6" fmla="*/ 523 w 524"/>
                <a:gd name="T7" fmla="*/ 0 h 3945"/>
                <a:gd name="T8" fmla="*/ 523 w 524"/>
                <a:gd name="T9" fmla="*/ 3944 h 3945"/>
              </a:gdLst>
              <a:ahLst/>
              <a:cxnLst>
                <a:cxn ang="0">
                  <a:pos x="T0" y="T1"/>
                </a:cxn>
                <a:cxn ang="0">
                  <a:pos x="T2" y="T3"/>
                </a:cxn>
                <a:cxn ang="0">
                  <a:pos x="T4" y="T5"/>
                </a:cxn>
                <a:cxn ang="0">
                  <a:pos x="T6" y="T7"/>
                </a:cxn>
                <a:cxn ang="0">
                  <a:pos x="T8" y="T9"/>
                </a:cxn>
              </a:cxnLst>
              <a:rect l="0" t="0" r="r" b="b"/>
              <a:pathLst>
                <a:path w="524" h="3945">
                  <a:moveTo>
                    <a:pt x="523" y="3944"/>
                  </a:moveTo>
                  <a:lnTo>
                    <a:pt x="0" y="3944"/>
                  </a:lnTo>
                  <a:lnTo>
                    <a:pt x="0" y="0"/>
                  </a:lnTo>
                  <a:lnTo>
                    <a:pt x="523" y="0"/>
                  </a:lnTo>
                  <a:lnTo>
                    <a:pt x="523" y="394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6" name="Freeform 34">
              <a:extLst>
                <a:ext uri="{FF2B5EF4-FFF2-40B4-BE49-F238E27FC236}">
                  <a16:creationId xmlns:a16="http://schemas.microsoft.com/office/drawing/2014/main" id="{E0869E75-FDC6-E742-8EC5-AB1C204B8B4B}"/>
                </a:ext>
              </a:extLst>
            </p:cNvPr>
            <p:cNvSpPr>
              <a:spLocks noChangeArrowheads="1"/>
            </p:cNvSpPr>
            <p:nvPr/>
          </p:nvSpPr>
          <p:spPr bwMode="auto">
            <a:xfrm>
              <a:off x="9345613" y="1296988"/>
              <a:ext cx="188912" cy="1419225"/>
            </a:xfrm>
            <a:custGeom>
              <a:avLst/>
              <a:gdLst>
                <a:gd name="T0" fmla="*/ 523 w 524"/>
                <a:gd name="T1" fmla="*/ 3942 h 3943"/>
                <a:gd name="T2" fmla="*/ 0 w 524"/>
                <a:gd name="T3" fmla="*/ 3942 h 3943"/>
                <a:gd name="T4" fmla="*/ 0 w 524"/>
                <a:gd name="T5" fmla="*/ 0 h 3943"/>
                <a:gd name="T6" fmla="*/ 523 w 524"/>
                <a:gd name="T7" fmla="*/ 0 h 3943"/>
                <a:gd name="T8" fmla="*/ 523 w 524"/>
                <a:gd name="T9" fmla="*/ 3942 h 3943"/>
              </a:gdLst>
              <a:ahLst/>
              <a:cxnLst>
                <a:cxn ang="0">
                  <a:pos x="T0" y="T1"/>
                </a:cxn>
                <a:cxn ang="0">
                  <a:pos x="T2" y="T3"/>
                </a:cxn>
                <a:cxn ang="0">
                  <a:pos x="T4" y="T5"/>
                </a:cxn>
                <a:cxn ang="0">
                  <a:pos x="T6" y="T7"/>
                </a:cxn>
                <a:cxn ang="0">
                  <a:pos x="T8" y="T9"/>
                </a:cxn>
              </a:cxnLst>
              <a:rect l="0" t="0" r="r" b="b"/>
              <a:pathLst>
                <a:path w="524" h="3943">
                  <a:moveTo>
                    <a:pt x="523" y="3942"/>
                  </a:moveTo>
                  <a:lnTo>
                    <a:pt x="0" y="3942"/>
                  </a:lnTo>
                  <a:lnTo>
                    <a:pt x="0" y="0"/>
                  </a:lnTo>
                  <a:lnTo>
                    <a:pt x="523" y="0"/>
                  </a:lnTo>
                  <a:lnTo>
                    <a:pt x="523" y="3942"/>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7" name="Freeform 35">
              <a:extLst>
                <a:ext uri="{FF2B5EF4-FFF2-40B4-BE49-F238E27FC236}">
                  <a16:creationId xmlns:a16="http://schemas.microsoft.com/office/drawing/2014/main" id="{1F448A15-E74F-7B42-9DB2-F73228DB677C}"/>
                </a:ext>
              </a:extLst>
            </p:cNvPr>
            <p:cNvSpPr>
              <a:spLocks noChangeArrowheads="1"/>
            </p:cNvSpPr>
            <p:nvPr/>
          </p:nvSpPr>
          <p:spPr bwMode="auto">
            <a:xfrm>
              <a:off x="9345613" y="2979738"/>
              <a:ext cx="188912" cy="1420812"/>
            </a:xfrm>
            <a:custGeom>
              <a:avLst/>
              <a:gdLst>
                <a:gd name="T0" fmla="*/ 523 w 524"/>
                <a:gd name="T1" fmla="*/ 3944 h 3945"/>
                <a:gd name="T2" fmla="*/ 0 w 524"/>
                <a:gd name="T3" fmla="*/ 3944 h 3945"/>
                <a:gd name="T4" fmla="*/ 0 w 524"/>
                <a:gd name="T5" fmla="*/ 0 h 3945"/>
                <a:gd name="T6" fmla="*/ 523 w 524"/>
                <a:gd name="T7" fmla="*/ 0 h 3945"/>
                <a:gd name="T8" fmla="*/ 523 w 524"/>
                <a:gd name="T9" fmla="*/ 3944 h 3945"/>
              </a:gdLst>
              <a:ahLst/>
              <a:cxnLst>
                <a:cxn ang="0">
                  <a:pos x="T0" y="T1"/>
                </a:cxn>
                <a:cxn ang="0">
                  <a:pos x="T2" y="T3"/>
                </a:cxn>
                <a:cxn ang="0">
                  <a:pos x="T4" y="T5"/>
                </a:cxn>
                <a:cxn ang="0">
                  <a:pos x="T6" y="T7"/>
                </a:cxn>
                <a:cxn ang="0">
                  <a:pos x="T8" y="T9"/>
                </a:cxn>
              </a:cxnLst>
              <a:rect l="0" t="0" r="r" b="b"/>
              <a:pathLst>
                <a:path w="524" h="3945">
                  <a:moveTo>
                    <a:pt x="523" y="3944"/>
                  </a:moveTo>
                  <a:lnTo>
                    <a:pt x="0" y="3944"/>
                  </a:lnTo>
                  <a:lnTo>
                    <a:pt x="0" y="0"/>
                  </a:lnTo>
                  <a:lnTo>
                    <a:pt x="523" y="0"/>
                  </a:lnTo>
                  <a:lnTo>
                    <a:pt x="523" y="394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8" name="Freeform 36">
              <a:extLst>
                <a:ext uri="{FF2B5EF4-FFF2-40B4-BE49-F238E27FC236}">
                  <a16:creationId xmlns:a16="http://schemas.microsoft.com/office/drawing/2014/main" id="{38D38C84-04F4-714B-908D-DBE848B0A97C}"/>
                </a:ext>
              </a:extLst>
            </p:cNvPr>
            <p:cNvSpPr>
              <a:spLocks noChangeArrowheads="1"/>
            </p:cNvSpPr>
            <p:nvPr/>
          </p:nvSpPr>
          <p:spPr bwMode="auto">
            <a:xfrm>
              <a:off x="9731375" y="-395288"/>
              <a:ext cx="177800" cy="1420813"/>
            </a:xfrm>
            <a:custGeom>
              <a:avLst/>
              <a:gdLst>
                <a:gd name="T0" fmla="*/ 495 w 496"/>
                <a:gd name="T1" fmla="*/ 3944 h 3945"/>
                <a:gd name="T2" fmla="*/ 0 w 496"/>
                <a:gd name="T3" fmla="*/ 3944 h 3945"/>
                <a:gd name="T4" fmla="*/ 0 w 496"/>
                <a:gd name="T5" fmla="*/ 0 h 3945"/>
                <a:gd name="T6" fmla="*/ 495 w 496"/>
                <a:gd name="T7" fmla="*/ 0 h 3945"/>
                <a:gd name="T8" fmla="*/ 495 w 496"/>
                <a:gd name="T9" fmla="*/ 3944 h 3945"/>
              </a:gdLst>
              <a:ahLst/>
              <a:cxnLst>
                <a:cxn ang="0">
                  <a:pos x="T0" y="T1"/>
                </a:cxn>
                <a:cxn ang="0">
                  <a:pos x="T2" y="T3"/>
                </a:cxn>
                <a:cxn ang="0">
                  <a:pos x="T4" y="T5"/>
                </a:cxn>
                <a:cxn ang="0">
                  <a:pos x="T6" y="T7"/>
                </a:cxn>
                <a:cxn ang="0">
                  <a:pos x="T8" y="T9"/>
                </a:cxn>
              </a:cxnLst>
              <a:rect l="0" t="0" r="r" b="b"/>
              <a:pathLst>
                <a:path w="496" h="3945">
                  <a:moveTo>
                    <a:pt x="495" y="3944"/>
                  </a:moveTo>
                  <a:lnTo>
                    <a:pt x="0" y="3944"/>
                  </a:lnTo>
                  <a:lnTo>
                    <a:pt x="0" y="0"/>
                  </a:lnTo>
                  <a:lnTo>
                    <a:pt x="495" y="0"/>
                  </a:lnTo>
                  <a:lnTo>
                    <a:pt x="495" y="394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09" name="Freeform 37">
              <a:extLst>
                <a:ext uri="{FF2B5EF4-FFF2-40B4-BE49-F238E27FC236}">
                  <a16:creationId xmlns:a16="http://schemas.microsoft.com/office/drawing/2014/main" id="{545AB8DF-0AD0-234C-A194-58E028C9396D}"/>
                </a:ext>
              </a:extLst>
            </p:cNvPr>
            <p:cNvSpPr>
              <a:spLocks noChangeArrowheads="1"/>
            </p:cNvSpPr>
            <p:nvPr/>
          </p:nvSpPr>
          <p:spPr bwMode="auto">
            <a:xfrm>
              <a:off x="9731375" y="1296988"/>
              <a:ext cx="177800" cy="1419225"/>
            </a:xfrm>
            <a:custGeom>
              <a:avLst/>
              <a:gdLst>
                <a:gd name="T0" fmla="*/ 495 w 496"/>
                <a:gd name="T1" fmla="*/ 3942 h 3943"/>
                <a:gd name="T2" fmla="*/ 0 w 496"/>
                <a:gd name="T3" fmla="*/ 3942 h 3943"/>
                <a:gd name="T4" fmla="*/ 0 w 496"/>
                <a:gd name="T5" fmla="*/ 0 h 3943"/>
                <a:gd name="T6" fmla="*/ 495 w 496"/>
                <a:gd name="T7" fmla="*/ 0 h 3943"/>
                <a:gd name="T8" fmla="*/ 495 w 496"/>
                <a:gd name="T9" fmla="*/ 3942 h 3943"/>
              </a:gdLst>
              <a:ahLst/>
              <a:cxnLst>
                <a:cxn ang="0">
                  <a:pos x="T0" y="T1"/>
                </a:cxn>
                <a:cxn ang="0">
                  <a:pos x="T2" y="T3"/>
                </a:cxn>
                <a:cxn ang="0">
                  <a:pos x="T4" y="T5"/>
                </a:cxn>
                <a:cxn ang="0">
                  <a:pos x="T6" y="T7"/>
                </a:cxn>
                <a:cxn ang="0">
                  <a:pos x="T8" y="T9"/>
                </a:cxn>
              </a:cxnLst>
              <a:rect l="0" t="0" r="r" b="b"/>
              <a:pathLst>
                <a:path w="496" h="3943">
                  <a:moveTo>
                    <a:pt x="495" y="3942"/>
                  </a:moveTo>
                  <a:lnTo>
                    <a:pt x="0" y="3942"/>
                  </a:lnTo>
                  <a:lnTo>
                    <a:pt x="0" y="0"/>
                  </a:lnTo>
                  <a:lnTo>
                    <a:pt x="495" y="0"/>
                  </a:lnTo>
                  <a:lnTo>
                    <a:pt x="495" y="3942"/>
                  </a:lnTo>
                </a:path>
              </a:pathLst>
            </a:custGeom>
            <a:solidFill>
              <a:srgbClr val="EE3A6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110" name="Freeform 38">
              <a:extLst>
                <a:ext uri="{FF2B5EF4-FFF2-40B4-BE49-F238E27FC236}">
                  <a16:creationId xmlns:a16="http://schemas.microsoft.com/office/drawing/2014/main" id="{F44CA969-7A82-CA44-9AFE-3A713C38286F}"/>
                </a:ext>
              </a:extLst>
            </p:cNvPr>
            <p:cNvSpPr>
              <a:spLocks noChangeArrowheads="1"/>
            </p:cNvSpPr>
            <p:nvPr/>
          </p:nvSpPr>
          <p:spPr bwMode="auto">
            <a:xfrm>
              <a:off x="9731375" y="2989263"/>
              <a:ext cx="177800" cy="1419225"/>
            </a:xfrm>
            <a:custGeom>
              <a:avLst/>
              <a:gdLst>
                <a:gd name="T0" fmla="*/ 495 w 496"/>
                <a:gd name="T1" fmla="*/ 3943 h 3944"/>
                <a:gd name="T2" fmla="*/ 0 w 496"/>
                <a:gd name="T3" fmla="*/ 3943 h 3944"/>
                <a:gd name="T4" fmla="*/ 0 w 496"/>
                <a:gd name="T5" fmla="*/ 0 h 3944"/>
                <a:gd name="T6" fmla="*/ 495 w 496"/>
                <a:gd name="T7" fmla="*/ 0 h 3944"/>
                <a:gd name="T8" fmla="*/ 495 w 496"/>
                <a:gd name="T9" fmla="*/ 3943 h 3944"/>
              </a:gdLst>
              <a:ahLst/>
              <a:cxnLst>
                <a:cxn ang="0">
                  <a:pos x="T0" y="T1"/>
                </a:cxn>
                <a:cxn ang="0">
                  <a:pos x="T2" y="T3"/>
                </a:cxn>
                <a:cxn ang="0">
                  <a:pos x="T4" y="T5"/>
                </a:cxn>
                <a:cxn ang="0">
                  <a:pos x="T6" y="T7"/>
                </a:cxn>
                <a:cxn ang="0">
                  <a:pos x="T8" y="T9"/>
                </a:cxn>
              </a:cxnLst>
              <a:rect l="0" t="0" r="r" b="b"/>
              <a:pathLst>
                <a:path w="496" h="3944">
                  <a:moveTo>
                    <a:pt x="495" y="3943"/>
                  </a:moveTo>
                  <a:lnTo>
                    <a:pt x="0" y="3943"/>
                  </a:lnTo>
                  <a:lnTo>
                    <a:pt x="0" y="0"/>
                  </a:lnTo>
                  <a:lnTo>
                    <a:pt x="495" y="0"/>
                  </a:lnTo>
                  <a:lnTo>
                    <a:pt x="495" y="3943"/>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
        <p:nvSpPr>
          <p:cNvPr id="114" name="Freeform 2">
            <a:extLst>
              <a:ext uri="{FF2B5EF4-FFF2-40B4-BE49-F238E27FC236}">
                <a16:creationId xmlns:a16="http://schemas.microsoft.com/office/drawing/2014/main" id="{5C924674-24D3-9848-8092-696B2C5C1D64}"/>
              </a:ext>
            </a:extLst>
          </p:cNvPr>
          <p:cNvSpPr>
            <a:spLocks noChangeArrowheads="1"/>
          </p:cNvSpPr>
          <p:nvPr userDrawn="1"/>
        </p:nvSpPr>
        <p:spPr bwMode="auto">
          <a:xfrm>
            <a:off x="3397136" y="1013043"/>
            <a:ext cx="5367399" cy="5255074"/>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Tree>
    <p:extLst>
      <p:ext uri="{BB962C8B-B14F-4D97-AF65-F5344CB8AC3E}">
        <p14:creationId xmlns:p14="http://schemas.microsoft.com/office/powerpoint/2010/main" val="25964663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digo-Cover_Ogo-dark">
    <p:bg>
      <p:bgRef idx="1001">
        <a:schemeClr val="bg2"/>
      </p:bgRef>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68A49DF-FC25-2C4E-949A-9101A5224E03}"/>
              </a:ext>
            </a:extLst>
          </p:cNvPr>
          <p:cNvSpPr>
            <a:spLocks noGrp="1"/>
          </p:cNvSpPr>
          <p:nvPr>
            <p:ph type="pic" sz="quarter" idx="11"/>
          </p:nvPr>
        </p:nvSpPr>
        <p:spPr>
          <a:xfrm>
            <a:off x="4465448" y="1144708"/>
            <a:ext cx="3852324" cy="3998792"/>
          </a:xfrm>
          <a:prstGeom prst="round2DiagRect">
            <a:avLst>
              <a:gd name="adj1" fmla="val 38994"/>
              <a:gd name="adj2" fmla="val 0"/>
            </a:avLst>
          </a:prstGeom>
          <a:solidFill>
            <a:schemeClr val="bg2"/>
          </a:solidFill>
        </p:spPr>
        <p:txBody>
          <a:bodyPr/>
          <a:lstStyle/>
          <a:p>
            <a:endParaRPr lang="en-US" noProof="0"/>
          </a:p>
        </p:txBody>
      </p:sp>
      <p:sp>
        <p:nvSpPr>
          <p:cNvPr id="22" name="Freeform 1">
            <a:extLst>
              <a:ext uri="{FF2B5EF4-FFF2-40B4-BE49-F238E27FC236}">
                <a16:creationId xmlns:a16="http://schemas.microsoft.com/office/drawing/2014/main" id="{012B1637-88AD-2745-83B2-27BC58FFD203}"/>
              </a:ext>
            </a:extLst>
          </p:cNvPr>
          <p:cNvSpPr>
            <a:spLocks noChangeArrowheads="1"/>
          </p:cNvSpPr>
          <p:nvPr userDrawn="1"/>
        </p:nvSpPr>
        <p:spPr bwMode="auto">
          <a:xfrm>
            <a:off x="6800654" y="0"/>
            <a:ext cx="2747903" cy="2612855"/>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4" name="Title 1">
            <a:extLst>
              <a:ext uri="{FF2B5EF4-FFF2-40B4-BE49-F238E27FC236}">
                <a16:creationId xmlns:a16="http://schemas.microsoft.com/office/drawing/2014/main" id="{FCFEA4AF-DDE1-3B4C-85B8-C1A1D78F60B0}"/>
              </a:ext>
            </a:extLst>
          </p:cNvPr>
          <p:cNvSpPr>
            <a:spLocks noGrp="1"/>
          </p:cNvSpPr>
          <p:nvPr>
            <p:ph type="title" hasCustomPrompt="1"/>
          </p:nvPr>
        </p:nvSpPr>
        <p:spPr>
          <a:xfrm>
            <a:off x="1" y="1508558"/>
            <a:ext cx="3455988" cy="1187449"/>
          </a:xfrm>
          <a:prstGeom prst="rect">
            <a:avLst/>
          </a:prstGeom>
        </p:spPr>
        <p:txBody>
          <a:bodyPr lIns="432000" tIns="180000" rIns="72000" bIns="0"/>
          <a:lstStyle>
            <a:lvl1pPr>
              <a:defRPr lang="pl-PL" dirty="0"/>
            </a:lvl1pPr>
          </a:lstStyle>
          <a:p>
            <a:pPr lvl="0"/>
            <a:r>
              <a:rPr lang="en-US" noProof="0"/>
              <a:t>Presentation title</a:t>
            </a:r>
          </a:p>
        </p:txBody>
      </p:sp>
      <p:grpSp>
        <p:nvGrpSpPr>
          <p:cNvPr id="25" name="Group 24">
            <a:extLst>
              <a:ext uri="{FF2B5EF4-FFF2-40B4-BE49-F238E27FC236}">
                <a16:creationId xmlns:a16="http://schemas.microsoft.com/office/drawing/2014/main" id="{2FBD87C8-6045-0D47-9EBA-9EFCD740A2A0}"/>
              </a:ext>
            </a:extLst>
          </p:cNvPr>
          <p:cNvGrpSpPr/>
          <p:nvPr userDrawn="1"/>
        </p:nvGrpSpPr>
        <p:grpSpPr>
          <a:xfrm>
            <a:off x="431799" y="411163"/>
            <a:ext cx="1336166" cy="539307"/>
            <a:chOff x="2286000" y="2193925"/>
            <a:chExt cx="6835775" cy="2759075"/>
          </a:xfrm>
          <a:solidFill>
            <a:schemeClr val="tx1"/>
          </a:solidFill>
        </p:grpSpPr>
        <p:sp>
          <p:nvSpPr>
            <p:cNvPr id="26" name="Freeform 1">
              <a:extLst>
                <a:ext uri="{FF2B5EF4-FFF2-40B4-BE49-F238E27FC236}">
                  <a16:creationId xmlns:a16="http://schemas.microsoft.com/office/drawing/2014/main" id="{C3B29DF1-FA04-F34B-BF4C-56B3967A2EA2}"/>
                </a:ext>
              </a:extLst>
            </p:cNvPr>
            <p:cNvSpPr>
              <a:spLocks noChangeArrowheads="1"/>
            </p:cNvSpPr>
            <p:nvPr/>
          </p:nvSpPr>
          <p:spPr bwMode="auto">
            <a:xfrm>
              <a:off x="8378825" y="2471738"/>
              <a:ext cx="742950" cy="706437"/>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7" name="Freeform 2">
              <a:extLst>
                <a:ext uri="{FF2B5EF4-FFF2-40B4-BE49-F238E27FC236}">
                  <a16:creationId xmlns:a16="http://schemas.microsoft.com/office/drawing/2014/main" id="{8FD16FF3-416F-8040-8694-1A05511B1A32}"/>
                </a:ext>
              </a:extLst>
            </p:cNvPr>
            <p:cNvSpPr>
              <a:spLocks noChangeArrowheads="1"/>
            </p:cNvSpPr>
            <p:nvPr/>
          </p:nvSpPr>
          <p:spPr bwMode="auto">
            <a:xfrm>
              <a:off x="5299075" y="2781300"/>
              <a:ext cx="333375" cy="1349375"/>
            </a:xfrm>
            <a:custGeom>
              <a:avLst/>
              <a:gdLst>
                <a:gd name="T0" fmla="*/ 0 w 927"/>
                <a:gd name="T1" fmla="*/ 3749 h 3750"/>
                <a:gd name="T2" fmla="*/ 926 w 927"/>
                <a:gd name="T3" fmla="*/ 3749 h 3750"/>
                <a:gd name="T4" fmla="*/ 926 w 927"/>
                <a:gd name="T5" fmla="*/ 0 h 3750"/>
                <a:gd name="T6" fmla="*/ 0 w 927"/>
                <a:gd name="T7" fmla="*/ 0 h 3750"/>
                <a:gd name="T8" fmla="*/ 0 w 927"/>
                <a:gd name="T9" fmla="*/ 3749 h 3750"/>
              </a:gdLst>
              <a:ahLst/>
              <a:cxnLst>
                <a:cxn ang="0">
                  <a:pos x="T0" y="T1"/>
                </a:cxn>
                <a:cxn ang="0">
                  <a:pos x="T2" y="T3"/>
                </a:cxn>
                <a:cxn ang="0">
                  <a:pos x="T4" y="T5"/>
                </a:cxn>
                <a:cxn ang="0">
                  <a:pos x="T6" y="T7"/>
                </a:cxn>
                <a:cxn ang="0">
                  <a:pos x="T8" y="T9"/>
                </a:cxn>
              </a:cxnLst>
              <a:rect l="0" t="0" r="r" b="b"/>
              <a:pathLst>
                <a:path w="927" h="3750">
                  <a:moveTo>
                    <a:pt x="0" y="3749"/>
                  </a:moveTo>
                  <a:lnTo>
                    <a:pt x="926" y="3749"/>
                  </a:lnTo>
                  <a:lnTo>
                    <a:pt x="926" y="0"/>
                  </a:lnTo>
                  <a:lnTo>
                    <a:pt x="0" y="0"/>
                  </a:lnTo>
                  <a:lnTo>
                    <a:pt x="0" y="374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8" name="Freeform 3">
              <a:extLst>
                <a:ext uri="{FF2B5EF4-FFF2-40B4-BE49-F238E27FC236}">
                  <a16:creationId xmlns:a16="http://schemas.microsoft.com/office/drawing/2014/main" id="{50FA5CEE-F71C-524F-9F01-6BC30F520AA7}"/>
                </a:ext>
              </a:extLst>
            </p:cNvPr>
            <p:cNvSpPr>
              <a:spLocks noChangeArrowheads="1"/>
            </p:cNvSpPr>
            <p:nvPr/>
          </p:nvSpPr>
          <p:spPr bwMode="auto">
            <a:xfrm>
              <a:off x="3781425" y="2193925"/>
              <a:ext cx="1206500" cy="1973263"/>
            </a:xfrm>
            <a:custGeom>
              <a:avLst/>
              <a:gdLst>
                <a:gd name="T0" fmla="*/ 2426 w 3353"/>
                <a:gd name="T1" fmla="*/ 1631 h 5480"/>
                <a:gd name="T2" fmla="*/ 2426 w 3353"/>
                <a:gd name="T3" fmla="*/ 1631 h 5480"/>
                <a:gd name="T4" fmla="*/ 2459 w 3353"/>
                <a:gd name="T5" fmla="*/ 1940 h 5480"/>
                <a:gd name="T6" fmla="*/ 1290 w 3353"/>
                <a:gd name="T7" fmla="*/ 1532 h 5480"/>
                <a:gd name="T8" fmla="*/ 0 w 3353"/>
                <a:gd name="T9" fmla="*/ 1995 h 5480"/>
                <a:gd name="T10" fmla="*/ 463 w 3353"/>
                <a:gd name="T11" fmla="*/ 2833 h 5480"/>
                <a:gd name="T12" fmla="*/ 1323 w 3353"/>
                <a:gd name="T13" fmla="*/ 2403 h 5480"/>
                <a:gd name="T14" fmla="*/ 2393 w 3353"/>
                <a:gd name="T15" fmla="*/ 3506 h 5480"/>
                <a:gd name="T16" fmla="*/ 1323 w 3353"/>
                <a:gd name="T17" fmla="*/ 4619 h 5480"/>
                <a:gd name="T18" fmla="*/ 485 w 3353"/>
                <a:gd name="T19" fmla="*/ 4178 h 5480"/>
                <a:gd name="T20" fmla="*/ 0 w 3353"/>
                <a:gd name="T21" fmla="*/ 5049 h 5480"/>
                <a:gd name="T22" fmla="*/ 1290 w 3353"/>
                <a:gd name="T23" fmla="*/ 5479 h 5480"/>
                <a:gd name="T24" fmla="*/ 2459 w 3353"/>
                <a:gd name="T25" fmla="*/ 5071 h 5480"/>
                <a:gd name="T26" fmla="*/ 2492 w 3353"/>
                <a:gd name="T27" fmla="*/ 5380 h 5480"/>
                <a:gd name="T28" fmla="*/ 3352 w 3353"/>
                <a:gd name="T29" fmla="*/ 5380 h 5480"/>
                <a:gd name="T30" fmla="*/ 3352 w 3353"/>
                <a:gd name="T31" fmla="*/ 0 h 5480"/>
                <a:gd name="T32" fmla="*/ 2426 w 3353"/>
                <a:gd name="T33" fmla="*/ 0 h 5480"/>
                <a:gd name="T34" fmla="*/ 2426 w 3353"/>
                <a:gd name="T35" fmla="*/ 1631 h 5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53" h="5480">
                  <a:moveTo>
                    <a:pt x="2426" y="1631"/>
                  </a:moveTo>
                  <a:lnTo>
                    <a:pt x="2426" y="1631"/>
                  </a:lnTo>
                  <a:cubicBezTo>
                    <a:pt x="2426" y="1819"/>
                    <a:pt x="2459" y="1940"/>
                    <a:pt x="2459" y="1940"/>
                  </a:cubicBezTo>
                  <a:cubicBezTo>
                    <a:pt x="2150" y="1720"/>
                    <a:pt x="1786" y="1532"/>
                    <a:pt x="1290" y="1532"/>
                  </a:cubicBezTo>
                  <a:cubicBezTo>
                    <a:pt x="794" y="1532"/>
                    <a:pt x="364" y="1720"/>
                    <a:pt x="0" y="1995"/>
                  </a:cubicBezTo>
                  <a:cubicBezTo>
                    <a:pt x="210" y="2249"/>
                    <a:pt x="364" y="2524"/>
                    <a:pt x="463" y="2833"/>
                  </a:cubicBezTo>
                  <a:cubicBezTo>
                    <a:pt x="673" y="2557"/>
                    <a:pt x="948" y="2403"/>
                    <a:pt x="1323" y="2403"/>
                  </a:cubicBezTo>
                  <a:cubicBezTo>
                    <a:pt x="1963" y="2403"/>
                    <a:pt x="2393" y="2833"/>
                    <a:pt x="2393" y="3506"/>
                  </a:cubicBezTo>
                  <a:cubicBezTo>
                    <a:pt x="2393" y="4211"/>
                    <a:pt x="1941" y="4619"/>
                    <a:pt x="1323" y="4619"/>
                  </a:cubicBezTo>
                  <a:cubicBezTo>
                    <a:pt x="982" y="4619"/>
                    <a:pt x="673" y="4465"/>
                    <a:pt x="485" y="4178"/>
                  </a:cubicBezTo>
                  <a:cubicBezTo>
                    <a:pt x="397" y="4520"/>
                    <a:pt x="210" y="4795"/>
                    <a:pt x="0" y="5049"/>
                  </a:cubicBezTo>
                  <a:cubicBezTo>
                    <a:pt x="364" y="5325"/>
                    <a:pt x="794" y="5479"/>
                    <a:pt x="1290" y="5479"/>
                  </a:cubicBezTo>
                  <a:cubicBezTo>
                    <a:pt x="1753" y="5479"/>
                    <a:pt x="2183" y="5292"/>
                    <a:pt x="2459" y="5071"/>
                  </a:cubicBezTo>
                  <a:cubicBezTo>
                    <a:pt x="2492" y="5380"/>
                    <a:pt x="2492" y="5380"/>
                    <a:pt x="2492" y="5380"/>
                  </a:cubicBezTo>
                  <a:cubicBezTo>
                    <a:pt x="3352" y="5380"/>
                    <a:pt x="3352" y="5380"/>
                    <a:pt x="3352" y="5380"/>
                  </a:cubicBezTo>
                  <a:cubicBezTo>
                    <a:pt x="3352" y="0"/>
                    <a:pt x="3352" y="0"/>
                    <a:pt x="3352" y="0"/>
                  </a:cubicBezTo>
                  <a:cubicBezTo>
                    <a:pt x="2426" y="0"/>
                    <a:pt x="2426" y="0"/>
                    <a:pt x="2426" y="0"/>
                  </a:cubicBezTo>
                  <a:lnTo>
                    <a:pt x="2426" y="163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29" name="Freeform 4">
              <a:extLst>
                <a:ext uri="{FF2B5EF4-FFF2-40B4-BE49-F238E27FC236}">
                  <a16:creationId xmlns:a16="http://schemas.microsoft.com/office/drawing/2014/main" id="{1843977D-768B-CE49-9799-E3974D3C4002}"/>
                </a:ext>
              </a:extLst>
            </p:cNvPr>
            <p:cNvSpPr>
              <a:spLocks noChangeArrowheads="1"/>
            </p:cNvSpPr>
            <p:nvPr/>
          </p:nvSpPr>
          <p:spPr bwMode="auto">
            <a:xfrm>
              <a:off x="2286000" y="2746375"/>
              <a:ext cx="1441450" cy="1420813"/>
            </a:xfrm>
            <a:custGeom>
              <a:avLst/>
              <a:gdLst>
                <a:gd name="T0" fmla="*/ 1995 w 4003"/>
                <a:gd name="T1" fmla="*/ 0 h 3948"/>
                <a:gd name="T2" fmla="*/ 1995 w 4003"/>
                <a:gd name="T3" fmla="*/ 0 h 3948"/>
                <a:gd name="T4" fmla="*/ 0 w 4003"/>
                <a:gd name="T5" fmla="*/ 1974 h 3948"/>
                <a:gd name="T6" fmla="*/ 1995 w 4003"/>
                <a:gd name="T7" fmla="*/ 3947 h 3948"/>
                <a:gd name="T8" fmla="*/ 4002 w 4003"/>
                <a:gd name="T9" fmla="*/ 1974 h 3948"/>
                <a:gd name="T10" fmla="*/ 1995 w 4003"/>
                <a:gd name="T11" fmla="*/ 0 h 3948"/>
                <a:gd name="T12" fmla="*/ 1995 w 4003"/>
                <a:gd name="T13" fmla="*/ 3087 h 3948"/>
                <a:gd name="T14" fmla="*/ 1995 w 4003"/>
                <a:gd name="T15" fmla="*/ 3087 h 3948"/>
                <a:gd name="T16" fmla="*/ 926 w 4003"/>
                <a:gd name="T17" fmla="*/ 1974 h 3948"/>
                <a:gd name="T18" fmla="*/ 1995 w 4003"/>
                <a:gd name="T19" fmla="*/ 871 h 3948"/>
                <a:gd name="T20" fmla="*/ 3076 w 4003"/>
                <a:gd name="T21" fmla="*/ 1974 h 3948"/>
                <a:gd name="T22" fmla="*/ 1995 w 4003"/>
                <a:gd name="T23" fmla="*/ 3087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3" h="3948">
                  <a:moveTo>
                    <a:pt x="1995" y="0"/>
                  </a:moveTo>
                  <a:lnTo>
                    <a:pt x="1995" y="0"/>
                  </a:lnTo>
                  <a:cubicBezTo>
                    <a:pt x="860" y="0"/>
                    <a:pt x="0" y="893"/>
                    <a:pt x="0" y="1974"/>
                  </a:cubicBezTo>
                  <a:cubicBezTo>
                    <a:pt x="0" y="3109"/>
                    <a:pt x="860" y="3947"/>
                    <a:pt x="1995" y="3947"/>
                  </a:cubicBezTo>
                  <a:cubicBezTo>
                    <a:pt x="3142" y="3947"/>
                    <a:pt x="4002" y="3109"/>
                    <a:pt x="4002" y="1974"/>
                  </a:cubicBezTo>
                  <a:cubicBezTo>
                    <a:pt x="4002" y="893"/>
                    <a:pt x="3142" y="0"/>
                    <a:pt x="1995" y="0"/>
                  </a:cubicBezTo>
                  <a:close/>
                  <a:moveTo>
                    <a:pt x="1995" y="3087"/>
                  </a:moveTo>
                  <a:lnTo>
                    <a:pt x="1995" y="3087"/>
                  </a:lnTo>
                  <a:cubicBezTo>
                    <a:pt x="1389" y="3087"/>
                    <a:pt x="926" y="2624"/>
                    <a:pt x="926" y="1974"/>
                  </a:cubicBezTo>
                  <a:cubicBezTo>
                    <a:pt x="926" y="1356"/>
                    <a:pt x="1356" y="871"/>
                    <a:pt x="1995" y="871"/>
                  </a:cubicBezTo>
                  <a:cubicBezTo>
                    <a:pt x="2646" y="871"/>
                    <a:pt x="3076" y="1356"/>
                    <a:pt x="3076" y="1974"/>
                  </a:cubicBezTo>
                  <a:cubicBezTo>
                    <a:pt x="3076" y="2624"/>
                    <a:pt x="2613" y="3087"/>
                    <a:pt x="1995" y="308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0" name="Freeform 5">
              <a:extLst>
                <a:ext uri="{FF2B5EF4-FFF2-40B4-BE49-F238E27FC236}">
                  <a16:creationId xmlns:a16="http://schemas.microsoft.com/office/drawing/2014/main" id="{D3C33316-F0B6-7847-932F-F67B9F07C687}"/>
                </a:ext>
              </a:extLst>
            </p:cNvPr>
            <p:cNvSpPr>
              <a:spLocks noChangeArrowheads="1"/>
            </p:cNvSpPr>
            <p:nvPr/>
          </p:nvSpPr>
          <p:spPr bwMode="auto">
            <a:xfrm>
              <a:off x="5862638" y="2627313"/>
              <a:ext cx="1420812" cy="2325687"/>
            </a:xfrm>
            <a:custGeom>
              <a:avLst/>
              <a:gdLst>
                <a:gd name="T0" fmla="*/ 3914 w 3948"/>
                <a:gd name="T1" fmla="*/ 2216 h 6462"/>
                <a:gd name="T2" fmla="*/ 3914 w 3948"/>
                <a:gd name="T3" fmla="*/ 2216 h 6462"/>
                <a:gd name="T4" fmla="*/ 3517 w 3948"/>
                <a:gd name="T5" fmla="*/ 1048 h 6462"/>
                <a:gd name="T6" fmla="*/ 3947 w 3948"/>
                <a:gd name="T7" fmla="*/ 519 h 6462"/>
                <a:gd name="T8" fmla="*/ 3263 w 3948"/>
                <a:gd name="T9" fmla="*/ 0 h 6462"/>
                <a:gd name="T10" fmla="*/ 2800 w 3948"/>
                <a:gd name="T11" fmla="*/ 519 h 6462"/>
                <a:gd name="T12" fmla="*/ 1940 w 3948"/>
                <a:gd name="T13" fmla="*/ 331 h 6462"/>
                <a:gd name="T14" fmla="*/ 0 w 3948"/>
                <a:gd name="T15" fmla="*/ 2305 h 6462"/>
                <a:gd name="T16" fmla="*/ 1510 w 3948"/>
                <a:gd name="T17" fmla="*/ 4057 h 6462"/>
                <a:gd name="T18" fmla="*/ 2954 w 3948"/>
                <a:gd name="T19" fmla="*/ 4895 h 6462"/>
                <a:gd name="T20" fmla="*/ 2061 w 3948"/>
                <a:gd name="T21" fmla="*/ 5568 h 6462"/>
                <a:gd name="T22" fmla="*/ 1080 w 3948"/>
                <a:gd name="T23" fmla="*/ 4829 h 6462"/>
                <a:gd name="T24" fmla="*/ 1080 w 3948"/>
                <a:gd name="T25" fmla="*/ 4741 h 6462"/>
                <a:gd name="T26" fmla="*/ 132 w 3948"/>
                <a:gd name="T27" fmla="*/ 4741 h 6462"/>
                <a:gd name="T28" fmla="*/ 132 w 3948"/>
                <a:gd name="T29" fmla="*/ 4829 h 6462"/>
                <a:gd name="T30" fmla="*/ 2039 w 3948"/>
                <a:gd name="T31" fmla="*/ 6461 h 6462"/>
                <a:gd name="T32" fmla="*/ 3914 w 3948"/>
                <a:gd name="T33" fmla="*/ 4951 h 6462"/>
                <a:gd name="T34" fmla="*/ 3021 w 3948"/>
                <a:gd name="T35" fmla="*/ 3694 h 6462"/>
                <a:gd name="T36" fmla="*/ 3914 w 3948"/>
                <a:gd name="T37" fmla="*/ 2216 h 6462"/>
                <a:gd name="T38" fmla="*/ 1940 w 3948"/>
                <a:gd name="T39" fmla="*/ 3286 h 6462"/>
                <a:gd name="T40" fmla="*/ 1940 w 3948"/>
                <a:gd name="T41" fmla="*/ 3286 h 6462"/>
                <a:gd name="T42" fmla="*/ 959 w 3948"/>
                <a:gd name="T43" fmla="*/ 2238 h 6462"/>
                <a:gd name="T44" fmla="*/ 1940 w 3948"/>
                <a:gd name="T45" fmla="*/ 1202 h 6462"/>
                <a:gd name="T46" fmla="*/ 2954 w 3948"/>
                <a:gd name="T47" fmla="*/ 2238 h 6462"/>
                <a:gd name="T48" fmla="*/ 1940 w 3948"/>
                <a:gd name="T49" fmla="*/ 3286 h 6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8" h="6462">
                  <a:moveTo>
                    <a:pt x="3914" y="2216"/>
                  </a:moveTo>
                  <a:lnTo>
                    <a:pt x="3914" y="2216"/>
                  </a:lnTo>
                  <a:cubicBezTo>
                    <a:pt x="3914" y="1786"/>
                    <a:pt x="3759" y="1356"/>
                    <a:pt x="3517" y="1048"/>
                  </a:cubicBezTo>
                  <a:cubicBezTo>
                    <a:pt x="3947" y="519"/>
                    <a:pt x="3947" y="519"/>
                    <a:pt x="3947" y="519"/>
                  </a:cubicBezTo>
                  <a:cubicBezTo>
                    <a:pt x="3263" y="0"/>
                    <a:pt x="3263" y="0"/>
                    <a:pt x="3263" y="0"/>
                  </a:cubicBezTo>
                  <a:cubicBezTo>
                    <a:pt x="2800" y="519"/>
                    <a:pt x="2800" y="519"/>
                    <a:pt x="2800" y="519"/>
                  </a:cubicBezTo>
                  <a:cubicBezTo>
                    <a:pt x="2558" y="397"/>
                    <a:pt x="2282" y="331"/>
                    <a:pt x="1940" y="331"/>
                  </a:cubicBezTo>
                  <a:cubicBezTo>
                    <a:pt x="805" y="331"/>
                    <a:pt x="0" y="1202"/>
                    <a:pt x="0" y="2305"/>
                  </a:cubicBezTo>
                  <a:cubicBezTo>
                    <a:pt x="0" y="3286"/>
                    <a:pt x="595" y="3903"/>
                    <a:pt x="1510" y="4057"/>
                  </a:cubicBezTo>
                  <a:cubicBezTo>
                    <a:pt x="2128" y="4179"/>
                    <a:pt x="2954" y="4157"/>
                    <a:pt x="2954" y="4895"/>
                  </a:cubicBezTo>
                  <a:cubicBezTo>
                    <a:pt x="2954" y="5292"/>
                    <a:pt x="2679" y="5568"/>
                    <a:pt x="2061" y="5568"/>
                  </a:cubicBezTo>
                  <a:cubicBezTo>
                    <a:pt x="1422" y="5568"/>
                    <a:pt x="1080" y="5193"/>
                    <a:pt x="1080" y="4829"/>
                  </a:cubicBezTo>
                  <a:cubicBezTo>
                    <a:pt x="1080" y="4796"/>
                    <a:pt x="1080" y="4763"/>
                    <a:pt x="1080" y="4741"/>
                  </a:cubicBezTo>
                  <a:cubicBezTo>
                    <a:pt x="132" y="4741"/>
                    <a:pt x="132" y="4741"/>
                    <a:pt x="132" y="4741"/>
                  </a:cubicBezTo>
                  <a:cubicBezTo>
                    <a:pt x="132" y="4763"/>
                    <a:pt x="132" y="4796"/>
                    <a:pt x="132" y="4829"/>
                  </a:cubicBezTo>
                  <a:cubicBezTo>
                    <a:pt x="132" y="5689"/>
                    <a:pt x="871" y="6461"/>
                    <a:pt x="2039" y="6461"/>
                  </a:cubicBezTo>
                  <a:cubicBezTo>
                    <a:pt x="3329" y="6461"/>
                    <a:pt x="3914" y="5689"/>
                    <a:pt x="3914" y="4951"/>
                  </a:cubicBezTo>
                  <a:cubicBezTo>
                    <a:pt x="3914" y="4245"/>
                    <a:pt x="3539" y="3870"/>
                    <a:pt x="3021" y="3694"/>
                  </a:cubicBezTo>
                  <a:cubicBezTo>
                    <a:pt x="3539" y="3440"/>
                    <a:pt x="3914" y="2889"/>
                    <a:pt x="3914" y="2216"/>
                  </a:cubicBezTo>
                  <a:close/>
                  <a:moveTo>
                    <a:pt x="1940" y="3286"/>
                  </a:moveTo>
                  <a:lnTo>
                    <a:pt x="1940" y="3286"/>
                  </a:lnTo>
                  <a:cubicBezTo>
                    <a:pt x="1356" y="3286"/>
                    <a:pt x="959" y="2889"/>
                    <a:pt x="959" y="2238"/>
                  </a:cubicBezTo>
                  <a:cubicBezTo>
                    <a:pt x="959" y="1632"/>
                    <a:pt x="1334" y="1202"/>
                    <a:pt x="1940" y="1202"/>
                  </a:cubicBezTo>
                  <a:cubicBezTo>
                    <a:pt x="2591" y="1202"/>
                    <a:pt x="2954" y="1632"/>
                    <a:pt x="2954" y="2238"/>
                  </a:cubicBezTo>
                  <a:cubicBezTo>
                    <a:pt x="2954" y="2889"/>
                    <a:pt x="2624" y="3286"/>
                    <a:pt x="1940" y="32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1" name="Freeform 6">
              <a:extLst>
                <a:ext uri="{FF2B5EF4-FFF2-40B4-BE49-F238E27FC236}">
                  <a16:creationId xmlns:a16="http://schemas.microsoft.com/office/drawing/2014/main" id="{0B7E5FCE-40AB-6242-8B57-E5960B64EB87}"/>
                </a:ext>
              </a:extLst>
            </p:cNvPr>
            <p:cNvSpPr>
              <a:spLocks noChangeArrowheads="1"/>
            </p:cNvSpPr>
            <p:nvPr/>
          </p:nvSpPr>
          <p:spPr bwMode="auto">
            <a:xfrm>
              <a:off x="5299075" y="2193925"/>
              <a:ext cx="333375" cy="322263"/>
            </a:xfrm>
            <a:custGeom>
              <a:avLst/>
              <a:gdLst>
                <a:gd name="T0" fmla="*/ 0 w 927"/>
                <a:gd name="T1" fmla="*/ 893 h 894"/>
                <a:gd name="T2" fmla="*/ 926 w 927"/>
                <a:gd name="T3" fmla="*/ 893 h 894"/>
                <a:gd name="T4" fmla="*/ 926 w 927"/>
                <a:gd name="T5" fmla="*/ 0 h 894"/>
                <a:gd name="T6" fmla="*/ 0 w 927"/>
                <a:gd name="T7" fmla="*/ 0 h 894"/>
                <a:gd name="T8" fmla="*/ 0 w 927"/>
                <a:gd name="T9" fmla="*/ 893 h 894"/>
              </a:gdLst>
              <a:ahLst/>
              <a:cxnLst>
                <a:cxn ang="0">
                  <a:pos x="T0" y="T1"/>
                </a:cxn>
                <a:cxn ang="0">
                  <a:pos x="T2" y="T3"/>
                </a:cxn>
                <a:cxn ang="0">
                  <a:pos x="T4" y="T5"/>
                </a:cxn>
                <a:cxn ang="0">
                  <a:pos x="T6" y="T7"/>
                </a:cxn>
                <a:cxn ang="0">
                  <a:pos x="T8" y="T9"/>
                </a:cxn>
              </a:cxnLst>
              <a:rect l="0" t="0" r="r" b="b"/>
              <a:pathLst>
                <a:path w="927" h="894">
                  <a:moveTo>
                    <a:pt x="0" y="893"/>
                  </a:moveTo>
                  <a:lnTo>
                    <a:pt x="926" y="893"/>
                  </a:lnTo>
                  <a:lnTo>
                    <a:pt x="926" y="0"/>
                  </a:lnTo>
                  <a:lnTo>
                    <a:pt x="0" y="0"/>
                  </a:lnTo>
                  <a:lnTo>
                    <a:pt x="0" y="8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2" name="Freeform 7">
              <a:extLst>
                <a:ext uri="{FF2B5EF4-FFF2-40B4-BE49-F238E27FC236}">
                  <a16:creationId xmlns:a16="http://schemas.microsoft.com/office/drawing/2014/main" id="{7C5AAB3B-78AE-2D42-BAA2-4F84F9672947}"/>
                </a:ext>
              </a:extLst>
            </p:cNvPr>
            <p:cNvSpPr>
              <a:spLocks noChangeArrowheads="1"/>
            </p:cNvSpPr>
            <p:nvPr/>
          </p:nvSpPr>
          <p:spPr bwMode="auto">
            <a:xfrm>
              <a:off x="7458075" y="2746375"/>
              <a:ext cx="1452563" cy="1420813"/>
            </a:xfrm>
            <a:custGeom>
              <a:avLst/>
              <a:gdLst>
                <a:gd name="T0" fmla="*/ 3076 w 4036"/>
                <a:gd name="T1" fmla="*/ 1764 h 3948"/>
                <a:gd name="T2" fmla="*/ 3076 w 4036"/>
                <a:gd name="T3" fmla="*/ 1764 h 3948"/>
                <a:gd name="T4" fmla="*/ 3076 w 4036"/>
                <a:gd name="T5" fmla="*/ 1974 h 3948"/>
                <a:gd name="T6" fmla="*/ 2007 w 4036"/>
                <a:gd name="T7" fmla="*/ 3087 h 3948"/>
                <a:gd name="T8" fmla="*/ 959 w 4036"/>
                <a:gd name="T9" fmla="*/ 1974 h 3948"/>
                <a:gd name="T10" fmla="*/ 2007 w 4036"/>
                <a:gd name="T11" fmla="*/ 871 h 3948"/>
                <a:gd name="T12" fmla="*/ 2062 w 4036"/>
                <a:gd name="T13" fmla="*/ 871 h 3948"/>
                <a:gd name="T14" fmla="*/ 2062 w 4036"/>
                <a:gd name="T15" fmla="*/ 0 h 3948"/>
                <a:gd name="T16" fmla="*/ 2007 w 4036"/>
                <a:gd name="T17" fmla="*/ 0 h 3948"/>
                <a:gd name="T18" fmla="*/ 0 w 4036"/>
                <a:gd name="T19" fmla="*/ 1974 h 3948"/>
                <a:gd name="T20" fmla="*/ 2007 w 4036"/>
                <a:gd name="T21" fmla="*/ 3947 h 3948"/>
                <a:gd name="T22" fmla="*/ 4035 w 4036"/>
                <a:gd name="T23" fmla="*/ 1974 h 3948"/>
                <a:gd name="T24" fmla="*/ 4002 w 4036"/>
                <a:gd name="T25" fmla="*/ 1764 h 3948"/>
                <a:gd name="T26" fmla="*/ 3076 w 4036"/>
                <a:gd name="T27" fmla="*/ 1764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6" h="3948">
                  <a:moveTo>
                    <a:pt x="3076" y="1764"/>
                  </a:moveTo>
                  <a:lnTo>
                    <a:pt x="3076" y="1764"/>
                  </a:lnTo>
                  <a:cubicBezTo>
                    <a:pt x="3076" y="1852"/>
                    <a:pt x="3076" y="1907"/>
                    <a:pt x="3076" y="1974"/>
                  </a:cubicBezTo>
                  <a:cubicBezTo>
                    <a:pt x="3076" y="2624"/>
                    <a:pt x="2624" y="3087"/>
                    <a:pt x="2007" y="3087"/>
                  </a:cubicBezTo>
                  <a:cubicBezTo>
                    <a:pt x="1422" y="3087"/>
                    <a:pt x="959" y="2624"/>
                    <a:pt x="959" y="1974"/>
                  </a:cubicBezTo>
                  <a:cubicBezTo>
                    <a:pt x="959" y="1356"/>
                    <a:pt x="1389" y="871"/>
                    <a:pt x="2007" y="871"/>
                  </a:cubicBezTo>
                  <a:cubicBezTo>
                    <a:pt x="2040" y="871"/>
                    <a:pt x="2040" y="871"/>
                    <a:pt x="2062" y="871"/>
                  </a:cubicBezTo>
                  <a:cubicBezTo>
                    <a:pt x="2062" y="0"/>
                    <a:pt x="2062" y="0"/>
                    <a:pt x="2062" y="0"/>
                  </a:cubicBezTo>
                  <a:cubicBezTo>
                    <a:pt x="2040" y="0"/>
                    <a:pt x="2040" y="0"/>
                    <a:pt x="2007" y="0"/>
                  </a:cubicBezTo>
                  <a:cubicBezTo>
                    <a:pt x="871" y="0"/>
                    <a:pt x="0" y="893"/>
                    <a:pt x="0" y="1974"/>
                  </a:cubicBezTo>
                  <a:cubicBezTo>
                    <a:pt x="0" y="3109"/>
                    <a:pt x="871" y="3947"/>
                    <a:pt x="2007" y="3947"/>
                  </a:cubicBezTo>
                  <a:cubicBezTo>
                    <a:pt x="3175" y="3947"/>
                    <a:pt x="4035" y="3109"/>
                    <a:pt x="4035" y="1974"/>
                  </a:cubicBezTo>
                  <a:cubicBezTo>
                    <a:pt x="4035" y="1907"/>
                    <a:pt x="4035" y="1852"/>
                    <a:pt x="4002" y="1764"/>
                  </a:cubicBezTo>
                  <a:lnTo>
                    <a:pt x="3076" y="17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grpSp>
        <p:nvGrpSpPr>
          <p:cNvPr id="33" name="Group 32">
            <a:extLst>
              <a:ext uri="{FF2B5EF4-FFF2-40B4-BE49-F238E27FC236}">
                <a16:creationId xmlns:a16="http://schemas.microsoft.com/office/drawing/2014/main" id="{4B2B9ED4-4DFA-EB49-939D-3F245C247D48}"/>
              </a:ext>
            </a:extLst>
          </p:cNvPr>
          <p:cNvGrpSpPr/>
          <p:nvPr userDrawn="1"/>
        </p:nvGrpSpPr>
        <p:grpSpPr>
          <a:xfrm>
            <a:off x="434640" y="4447762"/>
            <a:ext cx="1692983" cy="279387"/>
            <a:chOff x="1828800" y="3017838"/>
            <a:chExt cx="6291263" cy="1038225"/>
          </a:xfrm>
          <a:solidFill>
            <a:schemeClr val="tx1"/>
          </a:solidFill>
        </p:grpSpPr>
        <p:sp>
          <p:nvSpPr>
            <p:cNvPr id="34" name="Freeform 1">
              <a:extLst>
                <a:ext uri="{FF2B5EF4-FFF2-40B4-BE49-F238E27FC236}">
                  <a16:creationId xmlns:a16="http://schemas.microsoft.com/office/drawing/2014/main" id="{668DE3C6-9435-F84B-8EE5-06AB30A25176}"/>
                </a:ext>
              </a:extLst>
            </p:cNvPr>
            <p:cNvSpPr>
              <a:spLocks noChangeArrowheads="1"/>
            </p:cNvSpPr>
            <p:nvPr userDrawn="1"/>
          </p:nvSpPr>
          <p:spPr bwMode="auto">
            <a:xfrm>
              <a:off x="1831975" y="3017838"/>
              <a:ext cx="388938" cy="438150"/>
            </a:xfrm>
            <a:custGeom>
              <a:avLst/>
              <a:gdLst>
                <a:gd name="T0" fmla="*/ 1081 w 1082"/>
                <a:gd name="T1" fmla="*/ 1042 h 1215"/>
                <a:gd name="T2" fmla="*/ 1081 w 1082"/>
                <a:gd name="T3" fmla="*/ 1042 h 1215"/>
                <a:gd name="T4" fmla="*/ 873 w 1082"/>
                <a:gd name="T5" fmla="*/ 1172 h 1215"/>
                <a:gd name="T6" fmla="*/ 631 w 1082"/>
                <a:gd name="T7" fmla="*/ 1214 h 1215"/>
                <a:gd name="T8" fmla="*/ 350 w 1082"/>
                <a:gd name="T9" fmla="*/ 1164 h 1215"/>
                <a:gd name="T10" fmla="*/ 153 w 1082"/>
                <a:gd name="T11" fmla="*/ 1028 h 1215"/>
                <a:gd name="T12" fmla="*/ 39 w 1082"/>
                <a:gd name="T13" fmla="*/ 836 h 1215"/>
                <a:gd name="T14" fmla="*/ 0 w 1082"/>
                <a:gd name="T15" fmla="*/ 614 h 1215"/>
                <a:gd name="T16" fmla="*/ 39 w 1082"/>
                <a:gd name="T17" fmla="*/ 389 h 1215"/>
                <a:gd name="T18" fmla="*/ 156 w 1082"/>
                <a:gd name="T19" fmla="*/ 192 h 1215"/>
                <a:gd name="T20" fmla="*/ 353 w 1082"/>
                <a:gd name="T21" fmla="*/ 53 h 1215"/>
                <a:gd name="T22" fmla="*/ 631 w 1082"/>
                <a:gd name="T23" fmla="*/ 0 h 1215"/>
                <a:gd name="T24" fmla="*/ 864 w 1082"/>
                <a:gd name="T25" fmla="*/ 44 h 1215"/>
                <a:gd name="T26" fmla="*/ 1070 w 1082"/>
                <a:gd name="T27" fmla="*/ 178 h 1215"/>
                <a:gd name="T28" fmla="*/ 942 w 1082"/>
                <a:gd name="T29" fmla="*/ 297 h 1215"/>
                <a:gd name="T30" fmla="*/ 795 w 1082"/>
                <a:gd name="T31" fmla="*/ 206 h 1215"/>
                <a:gd name="T32" fmla="*/ 631 w 1082"/>
                <a:gd name="T33" fmla="*/ 178 h 1215"/>
                <a:gd name="T34" fmla="*/ 434 w 1082"/>
                <a:gd name="T35" fmla="*/ 214 h 1215"/>
                <a:gd name="T36" fmla="*/ 298 w 1082"/>
                <a:gd name="T37" fmla="*/ 314 h 1215"/>
                <a:gd name="T38" fmla="*/ 217 w 1082"/>
                <a:gd name="T39" fmla="*/ 453 h 1215"/>
                <a:gd name="T40" fmla="*/ 192 w 1082"/>
                <a:gd name="T41" fmla="*/ 614 h 1215"/>
                <a:gd name="T42" fmla="*/ 217 w 1082"/>
                <a:gd name="T43" fmla="*/ 769 h 1215"/>
                <a:gd name="T44" fmla="*/ 295 w 1082"/>
                <a:gd name="T45" fmla="*/ 906 h 1215"/>
                <a:gd name="T46" fmla="*/ 434 w 1082"/>
                <a:gd name="T47" fmla="*/ 1003 h 1215"/>
                <a:gd name="T48" fmla="*/ 631 w 1082"/>
                <a:gd name="T49" fmla="*/ 1039 h 1215"/>
                <a:gd name="T50" fmla="*/ 800 w 1082"/>
                <a:gd name="T51" fmla="*/ 1008 h 1215"/>
                <a:gd name="T52" fmla="*/ 950 w 1082"/>
                <a:gd name="T53" fmla="*/ 911 h 1215"/>
                <a:gd name="T54" fmla="*/ 1081 w 1082"/>
                <a:gd name="T55" fmla="*/ 1042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2" h="1215">
                  <a:moveTo>
                    <a:pt x="1081" y="1042"/>
                  </a:moveTo>
                  <a:lnTo>
                    <a:pt x="1081" y="1042"/>
                  </a:lnTo>
                  <a:cubicBezTo>
                    <a:pt x="1020" y="1100"/>
                    <a:pt x="950" y="1144"/>
                    <a:pt x="873" y="1172"/>
                  </a:cubicBezTo>
                  <a:cubicBezTo>
                    <a:pt x="798" y="1200"/>
                    <a:pt x="717" y="1214"/>
                    <a:pt x="631" y="1214"/>
                  </a:cubicBezTo>
                  <a:cubicBezTo>
                    <a:pt x="523" y="1214"/>
                    <a:pt x="431" y="1197"/>
                    <a:pt x="350" y="1164"/>
                  </a:cubicBezTo>
                  <a:cubicBezTo>
                    <a:pt x="273" y="1130"/>
                    <a:pt x="206" y="1086"/>
                    <a:pt x="153" y="1028"/>
                  </a:cubicBezTo>
                  <a:cubicBezTo>
                    <a:pt x="103" y="972"/>
                    <a:pt x="64" y="908"/>
                    <a:pt x="39" y="836"/>
                  </a:cubicBezTo>
                  <a:cubicBezTo>
                    <a:pt x="14" y="764"/>
                    <a:pt x="0" y="692"/>
                    <a:pt x="0" y="614"/>
                  </a:cubicBezTo>
                  <a:cubicBezTo>
                    <a:pt x="0" y="536"/>
                    <a:pt x="14" y="461"/>
                    <a:pt x="39" y="389"/>
                  </a:cubicBezTo>
                  <a:cubicBezTo>
                    <a:pt x="67" y="314"/>
                    <a:pt x="103" y="250"/>
                    <a:pt x="156" y="192"/>
                  </a:cubicBezTo>
                  <a:cubicBezTo>
                    <a:pt x="209" y="133"/>
                    <a:pt x="273" y="89"/>
                    <a:pt x="353" y="53"/>
                  </a:cubicBezTo>
                  <a:cubicBezTo>
                    <a:pt x="431" y="17"/>
                    <a:pt x="525" y="0"/>
                    <a:pt x="631" y="0"/>
                  </a:cubicBezTo>
                  <a:cubicBezTo>
                    <a:pt x="711" y="0"/>
                    <a:pt x="789" y="14"/>
                    <a:pt x="864" y="44"/>
                  </a:cubicBezTo>
                  <a:cubicBezTo>
                    <a:pt x="939" y="72"/>
                    <a:pt x="1009" y="117"/>
                    <a:pt x="1070" y="178"/>
                  </a:cubicBezTo>
                  <a:cubicBezTo>
                    <a:pt x="942" y="297"/>
                    <a:pt x="942" y="297"/>
                    <a:pt x="942" y="297"/>
                  </a:cubicBezTo>
                  <a:cubicBezTo>
                    <a:pt x="898" y="256"/>
                    <a:pt x="850" y="225"/>
                    <a:pt x="795" y="206"/>
                  </a:cubicBezTo>
                  <a:cubicBezTo>
                    <a:pt x="742" y="186"/>
                    <a:pt x="686" y="178"/>
                    <a:pt x="631" y="178"/>
                  </a:cubicBezTo>
                  <a:cubicBezTo>
                    <a:pt x="556" y="178"/>
                    <a:pt x="489" y="189"/>
                    <a:pt x="434" y="214"/>
                  </a:cubicBezTo>
                  <a:cubicBezTo>
                    <a:pt x="378" y="239"/>
                    <a:pt x="334" y="272"/>
                    <a:pt x="298" y="314"/>
                  </a:cubicBezTo>
                  <a:cubicBezTo>
                    <a:pt x="261" y="356"/>
                    <a:pt x="234" y="400"/>
                    <a:pt x="217" y="453"/>
                  </a:cubicBezTo>
                  <a:cubicBezTo>
                    <a:pt x="200" y="506"/>
                    <a:pt x="192" y="558"/>
                    <a:pt x="192" y="614"/>
                  </a:cubicBezTo>
                  <a:cubicBezTo>
                    <a:pt x="192" y="667"/>
                    <a:pt x="200" y="719"/>
                    <a:pt x="217" y="769"/>
                  </a:cubicBezTo>
                  <a:cubicBezTo>
                    <a:pt x="234" y="822"/>
                    <a:pt x="261" y="867"/>
                    <a:pt x="295" y="906"/>
                  </a:cubicBezTo>
                  <a:cubicBezTo>
                    <a:pt x="331" y="947"/>
                    <a:pt x="378" y="978"/>
                    <a:pt x="434" y="1003"/>
                  </a:cubicBezTo>
                  <a:cubicBezTo>
                    <a:pt x="489" y="1028"/>
                    <a:pt x="553" y="1039"/>
                    <a:pt x="631" y="1039"/>
                  </a:cubicBezTo>
                  <a:cubicBezTo>
                    <a:pt x="686" y="1039"/>
                    <a:pt x="745" y="1028"/>
                    <a:pt x="800" y="1008"/>
                  </a:cubicBezTo>
                  <a:cubicBezTo>
                    <a:pt x="859" y="986"/>
                    <a:pt x="906" y="953"/>
                    <a:pt x="950" y="911"/>
                  </a:cubicBezTo>
                  <a:lnTo>
                    <a:pt x="1081" y="104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5" name="Freeform 2">
              <a:extLst>
                <a:ext uri="{FF2B5EF4-FFF2-40B4-BE49-F238E27FC236}">
                  <a16:creationId xmlns:a16="http://schemas.microsoft.com/office/drawing/2014/main" id="{C493F1EF-D6F4-6D4E-A1FD-6E3D9CD1D6D4}"/>
                </a:ext>
              </a:extLst>
            </p:cNvPr>
            <p:cNvSpPr>
              <a:spLocks noChangeArrowheads="1"/>
            </p:cNvSpPr>
            <p:nvPr userDrawn="1"/>
          </p:nvSpPr>
          <p:spPr bwMode="auto">
            <a:xfrm>
              <a:off x="2268538" y="3149600"/>
              <a:ext cx="293687" cy="301625"/>
            </a:xfrm>
            <a:custGeom>
              <a:avLst/>
              <a:gdLst>
                <a:gd name="T0" fmla="*/ 175 w 815"/>
                <a:gd name="T1" fmla="*/ 0 h 837"/>
                <a:gd name="T2" fmla="*/ 175 w 815"/>
                <a:gd name="T3" fmla="*/ 0 h 837"/>
                <a:gd name="T4" fmla="*/ 175 w 815"/>
                <a:gd name="T5" fmla="*/ 439 h 837"/>
                <a:gd name="T6" fmla="*/ 233 w 815"/>
                <a:gd name="T7" fmla="*/ 611 h 837"/>
                <a:gd name="T8" fmla="*/ 406 w 815"/>
                <a:gd name="T9" fmla="*/ 675 h 837"/>
                <a:gd name="T10" fmla="*/ 500 w 815"/>
                <a:gd name="T11" fmla="*/ 658 h 837"/>
                <a:gd name="T12" fmla="*/ 572 w 815"/>
                <a:gd name="T13" fmla="*/ 602 h 837"/>
                <a:gd name="T14" fmla="*/ 622 w 815"/>
                <a:gd name="T15" fmla="*/ 525 h 837"/>
                <a:gd name="T16" fmla="*/ 639 w 815"/>
                <a:gd name="T17" fmla="*/ 427 h 837"/>
                <a:gd name="T18" fmla="*/ 639 w 815"/>
                <a:gd name="T19" fmla="*/ 0 h 837"/>
                <a:gd name="T20" fmla="*/ 814 w 815"/>
                <a:gd name="T21" fmla="*/ 0 h 837"/>
                <a:gd name="T22" fmla="*/ 814 w 815"/>
                <a:gd name="T23" fmla="*/ 825 h 837"/>
                <a:gd name="T24" fmla="*/ 656 w 815"/>
                <a:gd name="T25" fmla="*/ 825 h 837"/>
                <a:gd name="T26" fmla="*/ 645 w 815"/>
                <a:gd name="T27" fmla="*/ 702 h 837"/>
                <a:gd name="T28" fmla="*/ 514 w 815"/>
                <a:gd name="T29" fmla="*/ 805 h 837"/>
                <a:gd name="T30" fmla="*/ 356 w 815"/>
                <a:gd name="T31" fmla="*/ 836 h 837"/>
                <a:gd name="T32" fmla="*/ 211 w 815"/>
                <a:gd name="T33" fmla="*/ 811 h 837"/>
                <a:gd name="T34" fmla="*/ 100 w 815"/>
                <a:gd name="T35" fmla="*/ 733 h 837"/>
                <a:gd name="T36" fmla="*/ 25 w 815"/>
                <a:gd name="T37" fmla="*/ 608 h 837"/>
                <a:gd name="T38" fmla="*/ 0 w 815"/>
                <a:gd name="T39" fmla="*/ 441 h 837"/>
                <a:gd name="T40" fmla="*/ 0 w 815"/>
                <a:gd name="T41" fmla="*/ 0 h 837"/>
                <a:gd name="T42" fmla="*/ 175 w 815"/>
                <a:gd name="T43" fmla="*/ 0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5" h="837">
                  <a:moveTo>
                    <a:pt x="175" y="0"/>
                  </a:moveTo>
                  <a:lnTo>
                    <a:pt x="175" y="0"/>
                  </a:lnTo>
                  <a:cubicBezTo>
                    <a:pt x="175" y="439"/>
                    <a:pt x="175" y="439"/>
                    <a:pt x="175" y="439"/>
                  </a:cubicBezTo>
                  <a:cubicBezTo>
                    <a:pt x="175" y="508"/>
                    <a:pt x="195" y="566"/>
                    <a:pt x="233" y="611"/>
                  </a:cubicBezTo>
                  <a:cubicBezTo>
                    <a:pt x="275" y="655"/>
                    <a:pt x="331" y="675"/>
                    <a:pt x="406" y="675"/>
                  </a:cubicBezTo>
                  <a:cubicBezTo>
                    <a:pt x="439" y="675"/>
                    <a:pt x="470" y="669"/>
                    <a:pt x="500" y="658"/>
                  </a:cubicBezTo>
                  <a:cubicBezTo>
                    <a:pt x="528" y="644"/>
                    <a:pt x="553" y="627"/>
                    <a:pt x="572" y="602"/>
                  </a:cubicBezTo>
                  <a:cubicBezTo>
                    <a:pt x="595" y="580"/>
                    <a:pt x="611" y="555"/>
                    <a:pt x="622" y="525"/>
                  </a:cubicBezTo>
                  <a:cubicBezTo>
                    <a:pt x="633" y="494"/>
                    <a:pt x="639" y="461"/>
                    <a:pt x="639" y="427"/>
                  </a:cubicBezTo>
                  <a:cubicBezTo>
                    <a:pt x="639" y="0"/>
                    <a:pt x="639" y="0"/>
                    <a:pt x="639" y="0"/>
                  </a:cubicBezTo>
                  <a:cubicBezTo>
                    <a:pt x="814" y="0"/>
                    <a:pt x="814" y="0"/>
                    <a:pt x="814" y="0"/>
                  </a:cubicBezTo>
                  <a:cubicBezTo>
                    <a:pt x="814" y="825"/>
                    <a:pt x="814" y="825"/>
                    <a:pt x="814" y="825"/>
                  </a:cubicBezTo>
                  <a:cubicBezTo>
                    <a:pt x="656" y="825"/>
                    <a:pt x="656" y="825"/>
                    <a:pt x="656" y="825"/>
                  </a:cubicBezTo>
                  <a:cubicBezTo>
                    <a:pt x="645" y="702"/>
                    <a:pt x="645" y="702"/>
                    <a:pt x="645" y="702"/>
                  </a:cubicBezTo>
                  <a:cubicBezTo>
                    <a:pt x="603" y="750"/>
                    <a:pt x="561" y="783"/>
                    <a:pt x="514" y="805"/>
                  </a:cubicBezTo>
                  <a:cubicBezTo>
                    <a:pt x="467" y="825"/>
                    <a:pt x="414" y="836"/>
                    <a:pt x="356" y="836"/>
                  </a:cubicBezTo>
                  <a:cubicBezTo>
                    <a:pt x="303" y="836"/>
                    <a:pt x="256" y="827"/>
                    <a:pt x="211" y="811"/>
                  </a:cubicBezTo>
                  <a:cubicBezTo>
                    <a:pt x="170" y="791"/>
                    <a:pt x="131" y="766"/>
                    <a:pt x="100" y="733"/>
                  </a:cubicBezTo>
                  <a:cubicBezTo>
                    <a:pt x="70" y="700"/>
                    <a:pt x="45" y="658"/>
                    <a:pt x="25" y="608"/>
                  </a:cubicBezTo>
                  <a:cubicBezTo>
                    <a:pt x="8" y="561"/>
                    <a:pt x="0" y="505"/>
                    <a:pt x="0" y="441"/>
                  </a:cubicBezTo>
                  <a:cubicBezTo>
                    <a:pt x="0" y="0"/>
                    <a:pt x="0" y="0"/>
                    <a:pt x="0" y="0"/>
                  </a:cubicBezTo>
                  <a:lnTo>
                    <a:pt x="17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6" name="Freeform 3">
              <a:extLst>
                <a:ext uri="{FF2B5EF4-FFF2-40B4-BE49-F238E27FC236}">
                  <a16:creationId xmlns:a16="http://schemas.microsoft.com/office/drawing/2014/main" id="{C9C84F0E-3548-014E-A8C1-5C7A30B4D79E}"/>
                </a:ext>
              </a:extLst>
            </p:cNvPr>
            <p:cNvSpPr>
              <a:spLocks noChangeArrowheads="1"/>
            </p:cNvSpPr>
            <p:nvPr userDrawn="1"/>
          </p:nvSpPr>
          <p:spPr bwMode="auto">
            <a:xfrm>
              <a:off x="2624138" y="3141663"/>
              <a:ext cx="268287" cy="314325"/>
            </a:xfrm>
            <a:custGeom>
              <a:avLst/>
              <a:gdLst>
                <a:gd name="T0" fmla="*/ 606 w 746"/>
                <a:gd name="T1" fmla="*/ 225 h 871"/>
                <a:gd name="T2" fmla="*/ 606 w 746"/>
                <a:gd name="T3" fmla="*/ 225 h 871"/>
                <a:gd name="T4" fmla="*/ 500 w 746"/>
                <a:gd name="T5" fmla="*/ 164 h 871"/>
                <a:gd name="T6" fmla="*/ 383 w 746"/>
                <a:gd name="T7" fmla="*/ 148 h 871"/>
                <a:gd name="T8" fmla="*/ 253 w 746"/>
                <a:gd name="T9" fmla="*/ 173 h 871"/>
                <a:gd name="T10" fmla="*/ 203 w 746"/>
                <a:gd name="T11" fmla="*/ 245 h 871"/>
                <a:gd name="T12" fmla="*/ 256 w 746"/>
                <a:gd name="T13" fmla="*/ 320 h 871"/>
                <a:gd name="T14" fmla="*/ 386 w 746"/>
                <a:gd name="T15" fmla="*/ 350 h 871"/>
                <a:gd name="T16" fmla="*/ 508 w 746"/>
                <a:gd name="T17" fmla="*/ 367 h 871"/>
                <a:gd name="T18" fmla="*/ 625 w 746"/>
                <a:gd name="T19" fmla="*/ 406 h 871"/>
                <a:gd name="T20" fmla="*/ 711 w 746"/>
                <a:gd name="T21" fmla="*/ 481 h 871"/>
                <a:gd name="T22" fmla="*/ 745 w 746"/>
                <a:gd name="T23" fmla="*/ 611 h 871"/>
                <a:gd name="T24" fmla="*/ 717 w 746"/>
                <a:gd name="T25" fmla="*/ 717 h 871"/>
                <a:gd name="T26" fmla="*/ 645 w 746"/>
                <a:gd name="T27" fmla="*/ 798 h 871"/>
                <a:gd name="T28" fmla="*/ 533 w 746"/>
                <a:gd name="T29" fmla="*/ 853 h 871"/>
                <a:gd name="T30" fmla="*/ 383 w 746"/>
                <a:gd name="T31" fmla="*/ 870 h 871"/>
                <a:gd name="T32" fmla="*/ 183 w 746"/>
                <a:gd name="T33" fmla="*/ 842 h 871"/>
                <a:gd name="T34" fmla="*/ 0 w 746"/>
                <a:gd name="T35" fmla="*/ 720 h 871"/>
                <a:gd name="T36" fmla="*/ 92 w 746"/>
                <a:gd name="T37" fmla="*/ 598 h 871"/>
                <a:gd name="T38" fmla="*/ 233 w 746"/>
                <a:gd name="T39" fmla="*/ 689 h 871"/>
                <a:gd name="T40" fmla="*/ 389 w 746"/>
                <a:gd name="T41" fmla="*/ 720 h 871"/>
                <a:gd name="T42" fmla="*/ 450 w 746"/>
                <a:gd name="T43" fmla="*/ 714 h 871"/>
                <a:gd name="T44" fmla="*/ 508 w 746"/>
                <a:gd name="T45" fmla="*/ 698 h 871"/>
                <a:gd name="T46" fmla="*/ 550 w 746"/>
                <a:gd name="T47" fmla="*/ 662 h 871"/>
                <a:gd name="T48" fmla="*/ 567 w 746"/>
                <a:gd name="T49" fmla="*/ 614 h 871"/>
                <a:gd name="T50" fmla="*/ 517 w 746"/>
                <a:gd name="T51" fmla="*/ 531 h 871"/>
                <a:gd name="T52" fmla="*/ 372 w 746"/>
                <a:gd name="T53" fmla="*/ 498 h 871"/>
                <a:gd name="T54" fmla="*/ 253 w 746"/>
                <a:gd name="T55" fmla="*/ 478 h 871"/>
                <a:gd name="T56" fmla="*/ 142 w 746"/>
                <a:gd name="T57" fmla="*/ 436 h 871"/>
                <a:gd name="T58" fmla="*/ 61 w 746"/>
                <a:gd name="T59" fmla="*/ 364 h 871"/>
                <a:gd name="T60" fmla="*/ 31 w 746"/>
                <a:gd name="T61" fmla="*/ 250 h 871"/>
                <a:gd name="T62" fmla="*/ 61 w 746"/>
                <a:gd name="T63" fmla="*/ 134 h 871"/>
                <a:gd name="T64" fmla="*/ 145 w 746"/>
                <a:gd name="T65" fmla="*/ 56 h 871"/>
                <a:gd name="T66" fmla="*/ 259 w 746"/>
                <a:gd name="T67" fmla="*/ 14 h 871"/>
                <a:gd name="T68" fmla="*/ 381 w 746"/>
                <a:gd name="T69" fmla="*/ 0 h 871"/>
                <a:gd name="T70" fmla="*/ 556 w 746"/>
                <a:gd name="T71" fmla="*/ 25 h 871"/>
                <a:gd name="T72" fmla="*/ 703 w 746"/>
                <a:gd name="T73" fmla="*/ 112 h 871"/>
                <a:gd name="T74" fmla="*/ 606 w 746"/>
                <a:gd name="T75" fmla="*/ 225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6" h="871">
                  <a:moveTo>
                    <a:pt x="606" y="225"/>
                  </a:moveTo>
                  <a:lnTo>
                    <a:pt x="606" y="225"/>
                  </a:lnTo>
                  <a:cubicBezTo>
                    <a:pt x="572" y="195"/>
                    <a:pt x="536" y="173"/>
                    <a:pt x="500" y="164"/>
                  </a:cubicBezTo>
                  <a:cubicBezTo>
                    <a:pt x="464" y="153"/>
                    <a:pt x="425" y="148"/>
                    <a:pt x="383" y="148"/>
                  </a:cubicBezTo>
                  <a:cubicBezTo>
                    <a:pt x="328" y="148"/>
                    <a:pt x="286" y="153"/>
                    <a:pt x="253" y="173"/>
                  </a:cubicBezTo>
                  <a:cubicBezTo>
                    <a:pt x="220" y="189"/>
                    <a:pt x="203" y="214"/>
                    <a:pt x="203" y="245"/>
                  </a:cubicBezTo>
                  <a:cubicBezTo>
                    <a:pt x="206" y="281"/>
                    <a:pt x="222" y="306"/>
                    <a:pt x="256" y="320"/>
                  </a:cubicBezTo>
                  <a:cubicBezTo>
                    <a:pt x="289" y="336"/>
                    <a:pt x="331" y="345"/>
                    <a:pt x="386" y="350"/>
                  </a:cubicBezTo>
                  <a:cubicBezTo>
                    <a:pt x="425" y="356"/>
                    <a:pt x="467" y="359"/>
                    <a:pt x="508" y="367"/>
                  </a:cubicBezTo>
                  <a:cubicBezTo>
                    <a:pt x="550" y="375"/>
                    <a:pt x="589" y="387"/>
                    <a:pt x="625" y="406"/>
                  </a:cubicBezTo>
                  <a:cubicBezTo>
                    <a:pt x="658" y="425"/>
                    <a:pt x="689" y="450"/>
                    <a:pt x="711" y="481"/>
                  </a:cubicBezTo>
                  <a:cubicBezTo>
                    <a:pt x="733" y="514"/>
                    <a:pt x="745" y="556"/>
                    <a:pt x="745" y="611"/>
                  </a:cubicBezTo>
                  <a:cubicBezTo>
                    <a:pt x="745" y="650"/>
                    <a:pt x="736" y="684"/>
                    <a:pt x="717" y="717"/>
                  </a:cubicBezTo>
                  <a:cubicBezTo>
                    <a:pt x="700" y="748"/>
                    <a:pt x="675" y="775"/>
                    <a:pt x="645" y="798"/>
                  </a:cubicBezTo>
                  <a:cubicBezTo>
                    <a:pt x="614" y="823"/>
                    <a:pt x="575" y="839"/>
                    <a:pt x="533" y="853"/>
                  </a:cubicBezTo>
                  <a:cubicBezTo>
                    <a:pt x="489" y="864"/>
                    <a:pt x="439" y="870"/>
                    <a:pt x="383" y="870"/>
                  </a:cubicBezTo>
                  <a:cubicBezTo>
                    <a:pt x="317" y="870"/>
                    <a:pt x="250" y="862"/>
                    <a:pt x="183" y="842"/>
                  </a:cubicBezTo>
                  <a:cubicBezTo>
                    <a:pt x="117" y="820"/>
                    <a:pt x="56" y="781"/>
                    <a:pt x="0" y="720"/>
                  </a:cubicBezTo>
                  <a:cubicBezTo>
                    <a:pt x="92" y="598"/>
                    <a:pt x="92" y="598"/>
                    <a:pt x="92" y="598"/>
                  </a:cubicBezTo>
                  <a:cubicBezTo>
                    <a:pt x="133" y="639"/>
                    <a:pt x="181" y="673"/>
                    <a:pt x="233" y="689"/>
                  </a:cubicBezTo>
                  <a:cubicBezTo>
                    <a:pt x="286" y="709"/>
                    <a:pt x="339" y="720"/>
                    <a:pt x="389" y="720"/>
                  </a:cubicBezTo>
                  <a:cubicBezTo>
                    <a:pt x="408" y="720"/>
                    <a:pt x="431" y="720"/>
                    <a:pt x="450" y="714"/>
                  </a:cubicBezTo>
                  <a:cubicBezTo>
                    <a:pt x="472" y="711"/>
                    <a:pt x="492" y="706"/>
                    <a:pt x="508" y="698"/>
                  </a:cubicBezTo>
                  <a:cubicBezTo>
                    <a:pt x="525" y="686"/>
                    <a:pt x="539" y="675"/>
                    <a:pt x="550" y="662"/>
                  </a:cubicBezTo>
                  <a:cubicBezTo>
                    <a:pt x="561" y="648"/>
                    <a:pt x="567" y="631"/>
                    <a:pt x="567" y="614"/>
                  </a:cubicBezTo>
                  <a:cubicBezTo>
                    <a:pt x="570" y="575"/>
                    <a:pt x="553" y="548"/>
                    <a:pt x="517" y="531"/>
                  </a:cubicBezTo>
                  <a:cubicBezTo>
                    <a:pt x="483" y="514"/>
                    <a:pt x="436" y="503"/>
                    <a:pt x="372" y="498"/>
                  </a:cubicBezTo>
                  <a:cubicBezTo>
                    <a:pt x="333" y="495"/>
                    <a:pt x="292" y="489"/>
                    <a:pt x="253" y="478"/>
                  </a:cubicBezTo>
                  <a:cubicBezTo>
                    <a:pt x="211" y="470"/>
                    <a:pt x="175" y="456"/>
                    <a:pt x="142" y="436"/>
                  </a:cubicBezTo>
                  <a:cubicBezTo>
                    <a:pt x="108" y="420"/>
                    <a:pt x="84" y="395"/>
                    <a:pt x="61" y="364"/>
                  </a:cubicBezTo>
                  <a:cubicBezTo>
                    <a:pt x="39" y="334"/>
                    <a:pt x="31" y="298"/>
                    <a:pt x="31" y="250"/>
                  </a:cubicBezTo>
                  <a:cubicBezTo>
                    <a:pt x="31" y="206"/>
                    <a:pt x="42" y="167"/>
                    <a:pt x="61" y="134"/>
                  </a:cubicBezTo>
                  <a:cubicBezTo>
                    <a:pt x="84" y="103"/>
                    <a:pt x="111" y="78"/>
                    <a:pt x="145" y="56"/>
                  </a:cubicBezTo>
                  <a:cubicBezTo>
                    <a:pt x="181" y="37"/>
                    <a:pt x="217" y="23"/>
                    <a:pt x="259" y="14"/>
                  </a:cubicBezTo>
                  <a:cubicBezTo>
                    <a:pt x="300" y="6"/>
                    <a:pt x="339" y="0"/>
                    <a:pt x="381" y="0"/>
                  </a:cubicBezTo>
                  <a:cubicBezTo>
                    <a:pt x="445" y="0"/>
                    <a:pt x="503" y="9"/>
                    <a:pt x="556" y="25"/>
                  </a:cubicBezTo>
                  <a:cubicBezTo>
                    <a:pt x="606" y="42"/>
                    <a:pt x="656" y="70"/>
                    <a:pt x="703" y="112"/>
                  </a:cubicBezTo>
                  <a:lnTo>
                    <a:pt x="606" y="22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7" name="Freeform 4">
              <a:extLst>
                <a:ext uri="{FF2B5EF4-FFF2-40B4-BE49-F238E27FC236}">
                  <a16:creationId xmlns:a16="http://schemas.microsoft.com/office/drawing/2014/main" id="{BFDBDE14-7DDA-BC4B-8B26-0D40258509DE}"/>
                </a:ext>
              </a:extLst>
            </p:cNvPr>
            <p:cNvSpPr>
              <a:spLocks noChangeArrowheads="1"/>
            </p:cNvSpPr>
            <p:nvPr userDrawn="1"/>
          </p:nvSpPr>
          <p:spPr bwMode="auto">
            <a:xfrm>
              <a:off x="2928938" y="3063875"/>
              <a:ext cx="223837" cy="387350"/>
            </a:xfrm>
            <a:custGeom>
              <a:avLst/>
              <a:gdLst>
                <a:gd name="T0" fmla="*/ 342 w 621"/>
                <a:gd name="T1" fmla="*/ 0 h 1076"/>
                <a:gd name="T2" fmla="*/ 342 w 621"/>
                <a:gd name="T3" fmla="*/ 0 h 1076"/>
                <a:gd name="T4" fmla="*/ 342 w 621"/>
                <a:gd name="T5" fmla="*/ 239 h 1076"/>
                <a:gd name="T6" fmla="*/ 586 w 621"/>
                <a:gd name="T7" fmla="*/ 239 h 1076"/>
                <a:gd name="T8" fmla="*/ 586 w 621"/>
                <a:gd name="T9" fmla="*/ 391 h 1076"/>
                <a:gd name="T10" fmla="*/ 339 w 621"/>
                <a:gd name="T11" fmla="*/ 391 h 1076"/>
                <a:gd name="T12" fmla="*/ 339 w 621"/>
                <a:gd name="T13" fmla="*/ 780 h 1076"/>
                <a:gd name="T14" fmla="*/ 369 w 621"/>
                <a:gd name="T15" fmla="*/ 880 h 1076"/>
                <a:gd name="T16" fmla="*/ 461 w 621"/>
                <a:gd name="T17" fmla="*/ 916 h 1076"/>
                <a:gd name="T18" fmla="*/ 514 w 621"/>
                <a:gd name="T19" fmla="*/ 908 h 1076"/>
                <a:gd name="T20" fmla="*/ 567 w 621"/>
                <a:gd name="T21" fmla="*/ 889 h 1076"/>
                <a:gd name="T22" fmla="*/ 620 w 621"/>
                <a:gd name="T23" fmla="*/ 1036 h 1076"/>
                <a:gd name="T24" fmla="*/ 533 w 621"/>
                <a:gd name="T25" fmla="*/ 1064 h 1076"/>
                <a:gd name="T26" fmla="*/ 450 w 621"/>
                <a:gd name="T27" fmla="*/ 1072 h 1076"/>
                <a:gd name="T28" fmla="*/ 236 w 621"/>
                <a:gd name="T29" fmla="*/ 1002 h 1076"/>
                <a:gd name="T30" fmla="*/ 164 w 621"/>
                <a:gd name="T31" fmla="*/ 783 h 1076"/>
                <a:gd name="T32" fmla="*/ 164 w 621"/>
                <a:gd name="T33" fmla="*/ 391 h 1076"/>
                <a:gd name="T34" fmla="*/ 0 w 621"/>
                <a:gd name="T35" fmla="*/ 391 h 1076"/>
                <a:gd name="T36" fmla="*/ 0 w 621"/>
                <a:gd name="T37" fmla="*/ 239 h 1076"/>
                <a:gd name="T38" fmla="*/ 164 w 621"/>
                <a:gd name="T39" fmla="*/ 239 h 1076"/>
                <a:gd name="T40" fmla="*/ 164 w 621"/>
                <a:gd name="T41" fmla="*/ 19 h 1076"/>
                <a:gd name="T42" fmla="*/ 342 w 621"/>
                <a:gd name="T43" fmla="*/ 0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1" h="1076">
                  <a:moveTo>
                    <a:pt x="342" y="0"/>
                  </a:moveTo>
                  <a:lnTo>
                    <a:pt x="342" y="0"/>
                  </a:lnTo>
                  <a:cubicBezTo>
                    <a:pt x="342" y="239"/>
                    <a:pt x="342" y="239"/>
                    <a:pt x="342" y="239"/>
                  </a:cubicBezTo>
                  <a:cubicBezTo>
                    <a:pt x="586" y="239"/>
                    <a:pt x="586" y="239"/>
                    <a:pt x="586" y="239"/>
                  </a:cubicBezTo>
                  <a:cubicBezTo>
                    <a:pt x="586" y="391"/>
                    <a:pt x="586" y="391"/>
                    <a:pt x="586" y="391"/>
                  </a:cubicBezTo>
                  <a:cubicBezTo>
                    <a:pt x="339" y="391"/>
                    <a:pt x="339" y="391"/>
                    <a:pt x="339" y="391"/>
                  </a:cubicBezTo>
                  <a:cubicBezTo>
                    <a:pt x="339" y="780"/>
                    <a:pt x="339" y="780"/>
                    <a:pt x="339" y="780"/>
                  </a:cubicBezTo>
                  <a:cubicBezTo>
                    <a:pt x="339" y="825"/>
                    <a:pt x="350" y="858"/>
                    <a:pt x="369" y="880"/>
                  </a:cubicBezTo>
                  <a:cubicBezTo>
                    <a:pt x="389" y="905"/>
                    <a:pt x="420" y="916"/>
                    <a:pt x="461" y="916"/>
                  </a:cubicBezTo>
                  <a:cubicBezTo>
                    <a:pt x="478" y="916"/>
                    <a:pt x="494" y="914"/>
                    <a:pt x="514" y="908"/>
                  </a:cubicBezTo>
                  <a:cubicBezTo>
                    <a:pt x="533" y="905"/>
                    <a:pt x="550" y="897"/>
                    <a:pt x="567" y="889"/>
                  </a:cubicBezTo>
                  <a:cubicBezTo>
                    <a:pt x="620" y="1036"/>
                    <a:pt x="620" y="1036"/>
                    <a:pt x="620" y="1036"/>
                  </a:cubicBezTo>
                  <a:cubicBezTo>
                    <a:pt x="589" y="1047"/>
                    <a:pt x="561" y="1058"/>
                    <a:pt x="533" y="1064"/>
                  </a:cubicBezTo>
                  <a:cubicBezTo>
                    <a:pt x="508" y="1069"/>
                    <a:pt x="481" y="1072"/>
                    <a:pt x="450" y="1072"/>
                  </a:cubicBezTo>
                  <a:cubicBezTo>
                    <a:pt x="358" y="1075"/>
                    <a:pt x="286" y="1050"/>
                    <a:pt x="236" y="1002"/>
                  </a:cubicBezTo>
                  <a:cubicBezTo>
                    <a:pt x="189" y="952"/>
                    <a:pt x="164" y="880"/>
                    <a:pt x="164" y="783"/>
                  </a:cubicBezTo>
                  <a:cubicBezTo>
                    <a:pt x="164" y="391"/>
                    <a:pt x="164" y="391"/>
                    <a:pt x="164" y="391"/>
                  </a:cubicBezTo>
                  <a:cubicBezTo>
                    <a:pt x="0" y="391"/>
                    <a:pt x="0" y="391"/>
                    <a:pt x="0" y="391"/>
                  </a:cubicBezTo>
                  <a:cubicBezTo>
                    <a:pt x="0" y="239"/>
                    <a:pt x="0" y="239"/>
                    <a:pt x="0" y="239"/>
                  </a:cubicBezTo>
                  <a:cubicBezTo>
                    <a:pt x="164" y="239"/>
                    <a:pt x="164" y="239"/>
                    <a:pt x="164" y="239"/>
                  </a:cubicBezTo>
                  <a:cubicBezTo>
                    <a:pt x="164" y="19"/>
                    <a:pt x="164" y="19"/>
                    <a:pt x="164" y="19"/>
                  </a:cubicBezTo>
                  <a:lnTo>
                    <a:pt x="34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8" name="Freeform 5">
              <a:extLst>
                <a:ext uri="{FF2B5EF4-FFF2-40B4-BE49-F238E27FC236}">
                  <a16:creationId xmlns:a16="http://schemas.microsoft.com/office/drawing/2014/main" id="{4F4686AA-F632-E543-BF95-BA90F74EB178}"/>
                </a:ext>
              </a:extLst>
            </p:cNvPr>
            <p:cNvSpPr>
              <a:spLocks noChangeArrowheads="1"/>
            </p:cNvSpPr>
            <p:nvPr userDrawn="1"/>
          </p:nvSpPr>
          <p:spPr bwMode="auto">
            <a:xfrm>
              <a:off x="3186113" y="3143250"/>
              <a:ext cx="314325" cy="307975"/>
            </a:xfrm>
            <a:custGeom>
              <a:avLst/>
              <a:gdLst>
                <a:gd name="T0" fmla="*/ 433 w 873"/>
                <a:gd name="T1" fmla="*/ 0 h 857"/>
                <a:gd name="T2" fmla="*/ 433 w 873"/>
                <a:gd name="T3" fmla="*/ 0 h 857"/>
                <a:gd name="T4" fmla="*/ 611 w 873"/>
                <a:gd name="T5" fmla="*/ 33 h 857"/>
                <a:gd name="T6" fmla="*/ 750 w 873"/>
                <a:gd name="T7" fmla="*/ 125 h 857"/>
                <a:gd name="T8" fmla="*/ 839 w 873"/>
                <a:gd name="T9" fmla="*/ 261 h 857"/>
                <a:gd name="T10" fmla="*/ 872 w 873"/>
                <a:gd name="T11" fmla="*/ 428 h 857"/>
                <a:gd name="T12" fmla="*/ 839 w 873"/>
                <a:gd name="T13" fmla="*/ 597 h 857"/>
                <a:gd name="T14" fmla="*/ 753 w 873"/>
                <a:gd name="T15" fmla="*/ 733 h 857"/>
                <a:gd name="T16" fmla="*/ 614 w 873"/>
                <a:gd name="T17" fmla="*/ 825 h 857"/>
                <a:gd name="T18" fmla="*/ 433 w 873"/>
                <a:gd name="T19" fmla="*/ 856 h 857"/>
                <a:gd name="T20" fmla="*/ 256 w 873"/>
                <a:gd name="T21" fmla="*/ 825 h 857"/>
                <a:gd name="T22" fmla="*/ 117 w 873"/>
                <a:gd name="T23" fmla="*/ 733 h 857"/>
                <a:gd name="T24" fmla="*/ 31 w 873"/>
                <a:gd name="T25" fmla="*/ 597 h 857"/>
                <a:gd name="T26" fmla="*/ 0 w 873"/>
                <a:gd name="T27" fmla="*/ 428 h 857"/>
                <a:gd name="T28" fmla="*/ 31 w 873"/>
                <a:gd name="T29" fmla="*/ 261 h 857"/>
                <a:gd name="T30" fmla="*/ 120 w 873"/>
                <a:gd name="T31" fmla="*/ 125 h 857"/>
                <a:gd name="T32" fmla="*/ 256 w 873"/>
                <a:gd name="T33" fmla="*/ 33 h 857"/>
                <a:gd name="T34" fmla="*/ 433 w 873"/>
                <a:gd name="T35" fmla="*/ 0 h 857"/>
                <a:gd name="T36" fmla="*/ 433 w 873"/>
                <a:gd name="T37" fmla="*/ 161 h 857"/>
                <a:gd name="T38" fmla="*/ 433 w 873"/>
                <a:gd name="T39" fmla="*/ 161 h 857"/>
                <a:gd name="T40" fmla="*/ 325 w 873"/>
                <a:gd name="T41" fmla="*/ 181 h 857"/>
                <a:gd name="T42" fmla="*/ 245 w 873"/>
                <a:gd name="T43" fmla="*/ 242 h 857"/>
                <a:gd name="T44" fmla="*/ 195 w 873"/>
                <a:gd name="T45" fmla="*/ 328 h 857"/>
                <a:gd name="T46" fmla="*/ 175 w 873"/>
                <a:gd name="T47" fmla="*/ 430 h 857"/>
                <a:gd name="T48" fmla="*/ 195 w 873"/>
                <a:gd name="T49" fmla="*/ 533 h 857"/>
                <a:gd name="T50" fmla="*/ 245 w 873"/>
                <a:gd name="T51" fmla="*/ 617 h 857"/>
                <a:gd name="T52" fmla="*/ 325 w 873"/>
                <a:gd name="T53" fmla="*/ 675 h 857"/>
                <a:gd name="T54" fmla="*/ 433 w 873"/>
                <a:gd name="T55" fmla="*/ 697 h 857"/>
                <a:gd name="T56" fmla="*/ 542 w 873"/>
                <a:gd name="T57" fmla="*/ 675 h 857"/>
                <a:gd name="T58" fmla="*/ 625 w 873"/>
                <a:gd name="T59" fmla="*/ 617 h 857"/>
                <a:gd name="T60" fmla="*/ 675 w 873"/>
                <a:gd name="T61" fmla="*/ 533 h 857"/>
                <a:gd name="T62" fmla="*/ 694 w 873"/>
                <a:gd name="T63" fmla="*/ 430 h 857"/>
                <a:gd name="T64" fmla="*/ 675 w 873"/>
                <a:gd name="T65" fmla="*/ 328 h 857"/>
                <a:gd name="T66" fmla="*/ 622 w 873"/>
                <a:gd name="T67" fmla="*/ 242 h 857"/>
                <a:gd name="T68" fmla="*/ 539 w 873"/>
                <a:gd name="T69" fmla="*/ 181 h 857"/>
                <a:gd name="T70" fmla="*/ 433 w 873"/>
                <a:gd name="T71" fmla="*/ 161 h 857"/>
                <a:gd name="T72" fmla="*/ 433 w 873"/>
                <a:gd name="T73"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57">
                  <a:moveTo>
                    <a:pt x="433" y="0"/>
                  </a:moveTo>
                  <a:lnTo>
                    <a:pt x="433" y="0"/>
                  </a:lnTo>
                  <a:cubicBezTo>
                    <a:pt x="500" y="0"/>
                    <a:pt x="558" y="11"/>
                    <a:pt x="611" y="33"/>
                  </a:cubicBezTo>
                  <a:cubicBezTo>
                    <a:pt x="664" y="56"/>
                    <a:pt x="711" y="86"/>
                    <a:pt x="750" y="125"/>
                  </a:cubicBezTo>
                  <a:cubicBezTo>
                    <a:pt x="789" y="161"/>
                    <a:pt x="820" y="208"/>
                    <a:pt x="839" y="261"/>
                  </a:cubicBezTo>
                  <a:cubicBezTo>
                    <a:pt x="861" y="314"/>
                    <a:pt x="872" y="369"/>
                    <a:pt x="872" y="428"/>
                  </a:cubicBezTo>
                  <a:cubicBezTo>
                    <a:pt x="872" y="489"/>
                    <a:pt x="861" y="547"/>
                    <a:pt x="839" y="597"/>
                  </a:cubicBezTo>
                  <a:cubicBezTo>
                    <a:pt x="820" y="650"/>
                    <a:pt x="792" y="694"/>
                    <a:pt x="753" y="733"/>
                  </a:cubicBezTo>
                  <a:cubicBezTo>
                    <a:pt x="714" y="772"/>
                    <a:pt x="667" y="803"/>
                    <a:pt x="614" y="825"/>
                  </a:cubicBezTo>
                  <a:cubicBezTo>
                    <a:pt x="561" y="847"/>
                    <a:pt x="500" y="856"/>
                    <a:pt x="433" y="856"/>
                  </a:cubicBezTo>
                  <a:cubicBezTo>
                    <a:pt x="367" y="856"/>
                    <a:pt x="308" y="847"/>
                    <a:pt x="256" y="825"/>
                  </a:cubicBezTo>
                  <a:cubicBezTo>
                    <a:pt x="200" y="803"/>
                    <a:pt x="156" y="772"/>
                    <a:pt x="117" y="733"/>
                  </a:cubicBezTo>
                  <a:cubicBezTo>
                    <a:pt x="81" y="694"/>
                    <a:pt x="50" y="650"/>
                    <a:pt x="31" y="597"/>
                  </a:cubicBezTo>
                  <a:cubicBezTo>
                    <a:pt x="11" y="547"/>
                    <a:pt x="0" y="489"/>
                    <a:pt x="0" y="428"/>
                  </a:cubicBezTo>
                  <a:cubicBezTo>
                    <a:pt x="0" y="369"/>
                    <a:pt x="11" y="314"/>
                    <a:pt x="31" y="261"/>
                  </a:cubicBezTo>
                  <a:cubicBezTo>
                    <a:pt x="50" y="208"/>
                    <a:pt x="81" y="161"/>
                    <a:pt x="120" y="125"/>
                  </a:cubicBezTo>
                  <a:cubicBezTo>
                    <a:pt x="156" y="86"/>
                    <a:pt x="203" y="56"/>
                    <a:pt x="256" y="33"/>
                  </a:cubicBezTo>
                  <a:cubicBezTo>
                    <a:pt x="308" y="11"/>
                    <a:pt x="370" y="0"/>
                    <a:pt x="433" y="0"/>
                  </a:cubicBezTo>
                  <a:lnTo>
                    <a:pt x="433" y="161"/>
                  </a:lnTo>
                  <a:lnTo>
                    <a:pt x="433" y="161"/>
                  </a:lnTo>
                  <a:cubicBezTo>
                    <a:pt x="394" y="161"/>
                    <a:pt x="358" y="167"/>
                    <a:pt x="325" y="181"/>
                  </a:cubicBezTo>
                  <a:cubicBezTo>
                    <a:pt x="295" y="197"/>
                    <a:pt x="267" y="217"/>
                    <a:pt x="245" y="242"/>
                  </a:cubicBezTo>
                  <a:cubicBezTo>
                    <a:pt x="222" y="267"/>
                    <a:pt x="206" y="294"/>
                    <a:pt x="195" y="328"/>
                  </a:cubicBezTo>
                  <a:cubicBezTo>
                    <a:pt x="181" y="358"/>
                    <a:pt x="175" y="394"/>
                    <a:pt x="175" y="430"/>
                  </a:cubicBezTo>
                  <a:cubicBezTo>
                    <a:pt x="175" y="467"/>
                    <a:pt x="181" y="500"/>
                    <a:pt x="195" y="533"/>
                  </a:cubicBezTo>
                  <a:cubicBezTo>
                    <a:pt x="206" y="567"/>
                    <a:pt x="222" y="594"/>
                    <a:pt x="245" y="617"/>
                  </a:cubicBezTo>
                  <a:cubicBezTo>
                    <a:pt x="267" y="642"/>
                    <a:pt x="295" y="661"/>
                    <a:pt x="325" y="675"/>
                  </a:cubicBezTo>
                  <a:cubicBezTo>
                    <a:pt x="358" y="689"/>
                    <a:pt x="394" y="697"/>
                    <a:pt x="433" y="697"/>
                  </a:cubicBezTo>
                  <a:cubicBezTo>
                    <a:pt x="475" y="697"/>
                    <a:pt x="511" y="689"/>
                    <a:pt x="542" y="675"/>
                  </a:cubicBezTo>
                  <a:cubicBezTo>
                    <a:pt x="575" y="661"/>
                    <a:pt x="603" y="642"/>
                    <a:pt x="625" y="617"/>
                  </a:cubicBezTo>
                  <a:cubicBezTo>
                    <a:pt x="647" y="594"/>
                    <a:pt x="664" y="567"/>
                    <a:pt x="675" y="533"/>
                  </a:cubicBezTo>
                  <a:cubicBezTo>
                    <a:pt x="686" y="500"/>
                    <a:pt x="694" y="467"/>
                    <a:pt x="694" y="430"/>
                  </a:cubicBezTo>
                  <a:cubicBezTo>
                    <a:pt x="694" y="394"/>
                    <a:pt x="686" y="358"/>
                    <a:pt x="675" y="328"/>
                  </a:cubicBezTo>
                  <a:cubicBezTo>
                    <a:pt x="661" y="294"/>
                    <a:pt x="645" y="267"/>
                    <a:pt x="622" y="242"/>
                  </a:cubicBezTo>
                  <a:cubicBezTo>
                    <a:pt x="600" y="217"/>
                    <a:pt x="572" y="197"/>
                    <a:pt x="539" y="181"/>
                  </a:cubicBezTo>
                  <a:cubicBezTo>
                    <a:pt x="508" y="167"/>
                    <a:pt x="472" y="161"/>
                    <a:pt x="433" y="161"/>
                  </a:cubicBezTo>
                  <a:lnTo>
                    <a:pt x="43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39" name="Freeform 6">
              <a:extLst>
                <a:ext uri="{FF2B5EF4-FFF2-40B4-BE49-F238E27FC236}">
                  <a16:creationId xmlns:a16="http://schemas.microsoft.com/office/drawing/2014/main" id="{1AFF59FE-12B4-6D4D-B799-C1D0C79BBC9D}"/>
                </a:ext>
              </a:extLst>
            </p:cNvPr>
            <p:cNvSpPr>
              <a:spLocks noChangeArrowheads="1"/>
            </p:cNvSpPr>
            <p:nvPr userDrawn="1"/>
          </p:nvSpPr>
          <p:spPr bwMode="auto">
            <a:xfrm>
              <a:off x="3567113" y="3143250"/>
              <a:ext cx="476250" cy="301625"/>
            </a:xfrm>
            <a:custGeom>
              <a:avLst/>
              <a:gdLst>
                <a:gd name="T0" fmla="*/ 575 w 1321"/>
                <a:gd name="T1" fmla="*/ 839 h 840"/>
                <a:gd name="T2" fmla="*/ 575 w 1321"/>
                <a:gd name="T3" fmla="*/ 839 h 840"/>
                <a:gd name="T4" fmla="*/ 575 w 1321"/>
                <a:gd name="T5" fmla="*/ 386 h 840"/>
                <a:gd name="T6" fmla="*/ 561 w 1321"/>
                <a:gd name="T7" fmla="*/ 300 h 840"/>
                <a:gd name="T8" fmla="*/ 523 w 1321"/>
                <a:gd name="T9" fmla="*/ 228 h 840"/>
                <a:gd name="T10" fmla="*/ 461 w 1321"/>
                <a:gd name="T11" fmla="*/ 181 h 840"/>
                <a:gd name="T12" fmla="*/ 378 w 1321"/>
                <a:gd name="T13" fmla="*/ 161 h 840"/>
                <a:gd name="T14" fmla="*/ 295 w 1321"/>
                <a:gd name="T15" fmla="*/ 181 h 840"/>
                <a:gd name="T16" fmla="*/ 231 w 1321"/>
                <a:gd name="T17" fmla="*/ 228 h 840"/>
                <a:gd name="T18" fmla="*/ 189 w 1321"/>
                <a:gd name="T19" fmla="*/ 300 h 840"/>
                <a:gd name="T20" fmla="*/ 175 w 1321"/>
                <a:gd name="T21" fmla="*/ 386 h 840"/>
                <a:gd name="T22" fmla="*/ 175 w 1321"/>
                <a:gd name="T23" fmla="*/ 839 h 840"/>
                <a:gd name="T24" fmla="*/ 0 w 1321"/>
                <a:gd name="T25" fmla="*/ 839 h 840"/>
                <a:gd name="T26" fmla="*/ 0 w 1321"/>
                <a:gd name="T27" fmla="*/ 14 h 840"/>
                <a:gd name="T28" fmla="*/ 164 w 1321"/>
                <a:gd name="T29" fmla="*/ 14 h 840"/>
                <a:gd name="T30" fmla="*/ 175 w 1321"/>
                <a:gd name="T31" fmla="*/ 125 h 840"/>
                <a:gd name="T32" fmla="*/ 278 w 1321"/>
                <a:gd name="T33" fmla="*/ 28 h 840"/>
                <a:gd name="T34" fmla="*/ 411 w 1321"/>
                <a:gd name="T35" fmla="*/ 0 h 840"/>
                <a:gd name="T36" fmla="*/ 492 w 1321"/>
                <a:gd name="T37" fmla="*/ 8 h 840"/>
                <a:gd name="T38" fmla="*/ 564 w 1321"/>
                <a:gd name="T39" fmla="*/ 39 h 840"/>
                <a:gd name="T40" fmla="*/ 628 w 1321"/>
                <a:gd name="T41" fmla="*/ 89 h 840"/>
                <a:gd name="T42" fmla="*/ 675 w 1321"/>
                <a:gd name="T43" fmla="*/ 167 h 840"/>
                <a:gd name="T44" fmla="*/ 800 w 1321"/>
                <a:gd name="T45" fmla="*/ 39 h 840"/>
                <a:gd name="T46" fmla="*/ 964 w 1321"/>
                <a:gd name="T47" fmla="*/ 3 h 840"/>
                <a:gd name="T48" fmla="*/ 1231 w 1321"/>
                <a:gd name="T49" fmla="*/ 103 h 840"/>
                <a:gd name="T50" fmla="*/ 1320 w 1321"/>
                <a:gd name="T51" fmla="*/ 383 h 840"/>
                <a:gd name="T52" fmla="*/ 1320 w 1321"/>
                <a:gd name="T53" fmla="*/ 839 h 840"/>
                <a:gd name="T54" fmla="*/ 1142 w 1321"/>
                <a:gd name="T55" fmla="*/ 839 h 840"/>
                <a:gd name="T56" fmla="*/ 1142 w 1321"/>
                <a:gd name="T57" fmla="*/ 383 h 840"/>
                <a:gd name="T58" fmla="*/ 1131 w 1321"/>
                <a:gd name="T59" fmla="*/ 297 h 840"/>
                <a:gd name="T60" fmla="*/ 1095 w 1321"/>
                <a:gd name="T61" fmla="*/ 228 h 840"/>
                <a:gd name="T62" fmla="*/ 1039 w 1321"/>
                <a:gd name="T63" fmla="*/ 181 h 840"/>
                <a:gd name="T64" fmla="*/ 956 w 1321"/>
                <a:gd name="T65" fmla="*/ 164 h 840"/>
                <a:gd name="T66" fmla="*/ 873 w 1321"/>
                <a:gd name="T67" fmla="*/ 181 h 840"/>
                <a:gd name="T68" fmla="*/ 809 w 1321"/>
                <a:gd name="T69" fmla="*/ 228 h 840"/>
                <a:gd name="T70" fmla="*/ 767 w 1321"/>
                <a:gd name="T71" fmla="*/ 300 h 840"/>
                <a:gd name="T72" fmla="*/ 753 w 1321"/>
                <a:gd name="T73" fmla="*/ 386 h 840"/>
                <a:gd name="T74" fmla="*/ 753 w 1321"/>
                <a:gd name="T75" fmla="*/ 839 h 840"/>
                <a:gd name="T76" fmla="*/ 575 w 1321"/>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1" h="840">
                  <a:moveTo>
                    <a:pt x="575" y="839"/>
                  </a:moveTo>
                  <a:lnTo>
                    <a:pt x="575" y="839"/>
                  </a:lnTo>
                  <a:cubicBezTo>
                    <a:pt x="575" y="386"/>
                    <a:pt x="575" y="386"/>
                    <a:pt x="575" y="386"/>
                  </a:cubicBezTo>
                  <a:cubicBezTo>
                    <a:pt x="575" y="356"/>
                    <a:pt x="570" y="328"/>
                    <a:pt x="561" y="300"/>
                  </a:cubicBezTo>
                  <a:cubicBezTo>
                    <a:pt x="553" y="272"/>
                    <a:pt x="539" y="247"/>
                    <a:pt x="523" y="228"/>
                  </a:cubicBezTo>
                  <a:cubicBezTo>
                    <a:pt x="506" y="208"/>
                    <a:pt x="486" y="192"/>
                    <a:pt x="461" y="181"/>
                  </a:cubicBezTo>
                  <a:cubicBezTo>
                    <a:pt x="436" y="167"/>
                    <a:pt x="409" y="161"/>
                    <a:pt x="378" y="161"/>
                  </a:cubicBezTo>
                  <a:cubicBezTo>
                    <a:pt x="348" y="161"/>
                    <a:pt x="320" y="167"/>
                    <a:pt x="295" y="181"/>
                  </a:cubicBezTo>
                  <a:cubicBezTo>
                    <a:pt x="270" y="192"/>
                    <a:pt x="248" y="208"/>
                    <a:pt x="231" y="228"/>
                  </a:cubicBezTo>
                  <a:cubicBezTo>
                    <a:pt x="211" y="247"/>
                    <a:pt x="200" y="272"/>
                    <a:pt x="189" y="300"/>
                  </a:cubicBezTo>
                  <a:cubicBezTo>
                    <a:pt x="181" y="328"/>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198" y="78"/>
                    <a:pt x="234" y="47"/>
                    <a:pt x="278" y="28"/>
                  </a:cubicBezTo>
                  <a:cubicBezTo>
                    <a:pt x="323" y="11"/>
                    <a:pt x="367" y="0"/>
                    <a:pt x="411" y="0"/>
                  </a:cubicBezTo>
                  <a:cubicBezTo>
                    <a:pt x="439" y="0"/>
                    <a:pt x="464" y="3"/>
                    <a:pt x="492" y="8"/>
                  </a:cubicBezTo>
                  <a:cubicBezTo>
                    <a:pt x="517" y="14"/>
                    <a:pt x="542" y="25"/>
                    <a:pt x="564" y="39"/>
                  </a:cubicBezTo>
                  <a:cubicBezTo>
                    <a:pt x="589" y="50"/>
                    <a:pt x="609" y="69"/>
                    <a:pt x="628" y="89"/>
                  </a:cubicBezTo>
                  <a:cubicBezTo>
                    <a:pt x="647" y="111"/>
                    <a:pt x="661" y="136"/>
                    <a:pt x="675" y="167"/>
                  </a:cubicBezTo>
                  <a:cubicBezTo>
                    <a:pt x="709" y="106"/>
                    <a:pt x="750" y="64"/>
                    <a:pt x="800" y="39"/>
                  </a:cubicBezTo>
                  <a:cubicBezTo>
                    <a:pt x="850" y="14"/>
                    <a:pt x="906" y="3"/>
                    <a:pt x="964" y="3"/>
                  </a:cubicBezTo>
                  <a:cubicBezTo>
                    <a:pt x="1081" y="3"/>
                    <a:pt x="1170" y="36"/>
                    <a:pt x="1231" y="103"/>
                  </a:cubicBezTo>
                  <a:cubicBezTo>
                    <a:pt x="1289" y="172"/>
                    <a:pt x="1320" y="264"/>
                    <a:pt x="1320" y="383"/>
                  </a:cubicBezTo>
                  <a:cubicBezTo>
                    <a:pt x="1320" y="839"/>
                    <a:pt x="1320" y="839"/>
                    <a:pt x="1320" y="839"/>
                  </a:cubicBezTo>
                  <a:cubicBezTo>
                    <a:pt x="1142" y="839"/>
                    <a:pt x="1142" y="839"/>
                    <a:pt x="1142" y="839"/>
                  </a:cubicBezTo>
                  <a:cubicBezTo>
                    <a:pt x="1142" y="383"/>
                    <a:pt x="1142" y="383"/>
                    <a:pt x="1142" y="383"/>
                  </a:cubicBezTo>
                  <a:cubicBezTo>
                    <a:pt x="1142" y="353"/>
                    <a:pt x="1139" y="325"/>
                    <a:pt x="1131" y="297"/>
                  </a:cubicBezTo>
                  <a:cubicBezTo>
                    <a:pt x="1122" y="269"/>
                    <a:pt x="1111" y="247"/>
                    <a:pt x="1095" y="228"/>
                  </a:cubicBezTo>
                  <a:cubicBezTo>
                    <a:pt x="1081" y="206"/>
                    <a:pt x="1061" y="192"/>
                    <a:pt x="1039" y="181"/>
                  </a:cubicBezTo>
                  <a:cubicBezTo>
                    <a:pt x="1014" y="169"/>
                    <a:pt x="986" y="164"/>
                    <a:pt x="956" y="164"/>
                  </a:cubicBezTo>
                  <a:cubicBezTo>
                    <a:pt x="925" y="164"/>
                    <a:pt x="897" y="169"/>
                    <a:pt x="873" y="181"/>
                  </a:cubicBezTo>
                  <a:cubicBezTo>
                    <a:pt x="847" y="192"/>
                    <a:pt x="825" y="208"/>
                    <a:pt x="809" y="228"/>
                  </a:cubicBezTo>
                  <a:cubicBezTo>
                    <a:pt x="789" y="250"/>
                    <a:pt x="775" y="272"/>
                    <a:pt x="767" y="300"/>
                  </a:cubicBezTo>
                  <a:cubicBezTo>
                    <a:pt x="756" y="328"/>
                    <a:pt x="753" y="356"/>
                    <a:pt x="753" y="386"/>
                  </a:cubicBezTo>
                  <a:cubicBezTo>
                    <a:pt x="753" y="839"/>
                    <a:pt x="753" y="839"/>
                    <a:pt x="753" y="839"/>
                  </a:cubicBezTo>
                  <a:lnTo>
                    <a:pt x="575" y="83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0" name="Freeform 7">
              <a:extLst>
                <a:ext uri="{FF2B5EF4-FFF2-40B4-BE49-F238E27FC236}">
                  <a16:creationId xmlns:a16="http://schemas.microsoft.com/office/drawing/2014/main" id="{F46638B0-F40C-B24A-93C9-6E1B70739452}"/>
                </a:ext>
              </a:extLst>
            </p:cNvPr>
            <p:cNvSpPr>
              <a:spLocks noChangeArrowheads="1"/>
            </p:cNvSpPr>
            <p:nvPr userDrawn="1"/>
          </p:nvSpPr>
          <p:spPr bwMode="auto">
            <a:xfrm>
              <a:off x="4105275" y="3141663"/>
              <a:ext cx="314325" cy="312737"/>
            </a:xfrm>
            <a:custGeom>
              <a:avLst/>
              <a:gdLst>
                <a:gd name="T0" fmla="*/ 864 w 874"/>
                <a:gd name="T1" fmla="*/ 498 h 868"/>
                <a:gd name="T2" fmla="*/ 864 w 874"/>
                <a:gd name="T3" fmla="*/ 498 h 868"/>
                <a:gd name="T4" fmla="*/ 181 w 874"/>
                <a:gd name="T5" fmla="*/ 498 h 868"/>
                <a:gd name="T6" fmla="*/ 267 w 874"/>
                <a:gd name="T7" fmla="*/ 650 h 868"/>
                <a:gd name="T8" fmla="*/ 456 w 874"/>
                <a:gd name="T9" fmla="*/ 706 h 868"/>
                <a:gd name="T10" fmla="*/ 592 w 874"/>
                <a:gd name="T11" fmla="*/ 684 h 868"/>
                <a:gd name="T12" fmla="*/ 700 w 874"/>
                <a:gd name="T13" fmla="*/ 617 h 868"/>
                <a:gd name="T14" fmla="*/ 814 w 874"/>
                <a:gd name="T15" fmla="*/ 725 h 868"/>
                <a:gd name="T16" fmla="*/ 739 w 874"/>
                <a:gd name="T17" fmla="*/ 786 h 868"/>
                <a:gd name="T18" fmla="*/ 650 w 874"/>
                <a:gd name="T19" fmla="*/ 831 h 868"/>
                <a:gd name="T20" fmla="*/ 553 w 874"/>
                <a:gd name="T21" fmla="*/ 859 h 868"/>
                <a:gd name="T22" fmla="*/ 453 w 874"/>
                <a:gd name="T23" fmla="*/ 867 h 868"/>
                <a:gd name="T24" fmla="*/ 267 w 874"/>
                <a:gd name="T25" fmla="*/ 836 h 868"/>
                <a:gd name="T26" fmla="*/ 123 w 874"/>
                <a:gd name="T27" fmla="*/ 748 h 868"/>
                <a:gd name="T28" fmla="*/ 31 w 874"/>
                <a:gd name="T29" fmla="*/ 609 h 868"/>
                <a:gd name="T30" fmla="*/ 0 w 874"/>
                <a:gd name="T31" fmla="*/ 431 h 868"/>
                <a:gd name="T32" fmla="*/ 31 w 874"/>
                <a:gd name="T33" fmla="*/ 256 h 868"/>
                <a:gd name="T34" fmla="*/ 123 w 874"/>
                <a:gd name="T35" fmla="*/ 120 h 868"/>
                <a:gd name="T36" fmla="*/ 261 w 874"/>
                <a:gd name="T37" fmla="*/ 31 h 868"/>
                <a:gd name="T38" fmla="*/ 442 w 874"/>
                <a:gd name="T39" fmla="*/ 0 h 868"/>
                <a:gd name="T40" fmla="*/ 628 w 874"/>
                <a:gd name="T41" fmla="*/ 31 h 868"/>
                <a:gd name="T42" fmla="*/ 767 w 874"/>
                <a:gd name="T43" fmla="*/ 125 h 868"/>
                <a:gd name="T44" fmla="*/ 850 w 874"/>
                <a:gd name="T45" fmla="*/ 278 h 868"/>
                <a:gd name="T46" fmla="*/ 864 w 874"/>
                <a:gd name="T47" fmla="*/ 498 h 868"/>
                <a:gd name="T48" fmla="*/ 187 w 874"/>
                <a:gd name="T49" fmla="*/ 353 h 868"/>
                <a:gd name="T50" fmla="*/ 187 w 874"/>
                <a:gd name="T51" fmla="*/ 353 h 868"/>
                <a:gd name="T52" fmla="*/ 695 w 874"/>
                <a:gd name="T53" fmla="*/ 353 h 868"/>
                <a:gd name="T54" fmla="*/ 620 w 874"/>
                <a:gd name="T55" fmla="*/ 203 h 868"/>
                <a:gd name="T56" fmla="*/ 448 w 874"/>
                <a:gd name="T57" fmla="*/ 153 h 868"/>
                <a:gd name="T58" fmla="*/ 278 w 874"/>
                <a:gd name="T59" fmla="*/ 203 h 868"/>
                <a:gd name="T60" fmla="*/ 187 w 874"/>
                <a:gd name="T61" fmla="*/ 353 h 868"/>
                <a:gd name="T62" fmla="*/ 864 w 874"/>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4" h="868">
                  <a:moveTo>
                    <a:pt x="864" y="498"/>
                  </a:moveTo>
                  <a:lnTo>
                    <a:pt x="864" y="498"/>
                  </a:lnTo>
                  <a:cubicBezTo>
                    <a:pt x="181" y="498"/>
                    <a:pt x="181" y="498"/>
                    <a:pt x="181" y="498"/>
                  </a:cubicBezTo>
                  <a:cubicBezTo>
                    <a:pt x="189" y="562"/>
                    <a:pt x="217" y="611"/>
                    <a:pt x="267" y="650"/>
                  </a:cubicBezTo>
                  <a:cubicBezTo>
                    <a:pt x="317" y="686"/>
                    <a:pt x="378" y="706"/>
                    <a:pt x="456" y="706"/>
                  </a:cubicBezTo>
                  <a:cubicBezTo>
                    <a:pt x="500" y="706"/>
                    <a:pt x="545" y="698"/>
                    <a:pt x="592" y="684"/>
                  </a:cubicBezTo>
                  <a:cubicBezTo>
                    <a:pt x="639" y="667"/>
                    <a:pt x="675" y="645"/>
                    <a:pt x="700" y="617"/>
                  </a:cubicBezTo>
                  <a:cubicBezTo>
                    <a:pt x="814" y="725"/>
                    <a:pt x="814" y="725"/>
                    <a:pt x="814" y="725"/>
                  </a:cubicBezTo>
                  <a:cubicBezTo>
                    <a:pt x="795" y="750"/>
                    <a:pt x="770" y="770"/>
                    <a:pt x="739" y="786"/>
                  </a:cubicBezTo>
                  <a:cubicBezTo>
                    <a:pt x="711" y="806"/>
                    <a:pt x="681" y="820"/>
                    <a:pt x="650" y="831"/>
                  </a:cubicBezTo>
                  <a:cubicBezTo>
                    <a:pt x="620" y="845"/>
                    <a:pt x="587" y="853"/>
                    <a:pt x="553" y="859"/>
                  </a:cubicBezTo>
                  <a:cubicBezTo>
                    <a:pt x="517" y="864"/>
                    <a:pt x="487" y="867"/>
                    <a:pt x="453" y="867"/>
                  </a:cubicBezTo>
                  <a:cubicBezTo>
                    <a:pt x="384" y="867"/>
                    <a:pt x="323" y="856"/>
                    <a:pt x="267" y="836"/>
                  </a:cubicBezTo>
                  <a:cubicBezTo>
                    <a:pt x="209" y="814"/>
                    <a:pt x="161" y="786"/>
                    <a:pt x="123" y="748"/>
                  </a:cubicBezTo>
                  <a:cubicBezTo>
                    <a:pt x="84" y="709"/>
                    <a:pt x="53" y="664"/>
                    <a:pt x="31" y="609"/>
                  </a:cubicBezTo>
                  <a:cubicBezTo>
                    <a:pt x="12" y="556"/>
                    <a:pt x="0" y="495"/>
                    <a:pt x="0" y="431"/>
                  </a:cubicBezTo>
                  <a:cubicBezTo>
                    <a:pt x="0" y="367"/>
                    <a:pt x="12" y="309"/>
                    <a:pt x="31" y="256"/>
                  </a:cubicBezTo>
                  <a:cubicBezTo>
                    <a:pt x="53" y="203"/>
                    <a:pt x="84" y="159"/>
                    <a:pt x="123" y="120"/>
                  </a:cubicBezTo>
                  <a:cubicBezTo>
                    <a:pt x="161" y="84"/>
                    <a:pt x="209" y="53"/>
                    <a:pt x="261" y="31"/>
                  </a:cubicBezTo>
                  <a:cubicBezTo>
                    <a:pt x="314" y="12"/>
                    <a:pt x="375" y="0"/>
                    <a:pt x="442" y="0"/>
                  </a:cubicBezTo>
                  <a:cubicBezTo>
                    <a:pt x="509" y="0"/>
                    <a:pt x="573" y="12"/>
                    <a:pt x="628" y="31"/>
                  </a:cubicBezTo>
                  <a:cubicBezTo>
                    <a:pt x="681" y="53"/>
                    <a:pt x="728" y="84"/>
                    <a:pt x="767" y="125"/>
                  </a:cubicBezTo>
                  <a:cubicBezTo>
                    <a:pt x="806" y="164"/>
                    <a:pt x="834" y="217"/>
                    <a:pt x="850" y="278"/>
                  </a:cubicBezTo>
                  <a:cubicBezTo>
                    <a:pt x="867" y="342"/>
                    <a:pt x="873" y="414"/>
                    <a:pt x="864" y="498"/>
                  </a:cubicBezTo>
                  <a:lnTo>
                    <a:pt x="187" y="353"/>
                  </a:lnTo>
                  <a:lnTo>
                    <a:pt x="187" y="353"/>
                  </a:lnTo>
                  <a:cubicBezTo>
                    <a:pt x="695" y="353"/>
                    <a:pt x="695" y="353"/>
                    <a:pt x="695" y="353"/>
                  </a:cubicBezTo>
                  <a:cubicBezTo>
                    <a:pt x="689" y="287"/>
                    <a:pt x="664" y="236"/>
                    <a:pt x="620" y="203"/>
                  </a:cubicBezTo>
                  <a:cubicBezTo>
                    <a:pt x="575" y="170"/>
                    <a:pt x="517" y="153"/>
                    <a:pt x="448" y="153"/>
                  </a:cubicBezTo>
                  <a:cubicBezTo>
                    <a:pt x="381" y="153"/>
                    <a:pt x="325" y="170"/>
                    <a:pt x="278" y="203"/>
                  </a:cubicBezTo>
                  <a:cubicBezTo>
                    <a:pt x="231" y="236"/>
                    <a:pt x="200" y="287"/>
                    <a:pt x="187" y="353"/>
                  </a:cubicBezTo>
                  <a:lnTo>
                    <a:pt x="864"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1" name="Freeform 8">
              <a:extLst>
                <a:ext uri="{FF2B5EF4-FFF2-40B4-BE49-F238E27FC236}">
                  <a16:creationId xmlns:a16="http://schemas.microsoft.com/office/drawing/2014/main" id="{6730F715-DAA9-4C4F-9015-64A34444B963}"/>
                </a:ext>
              </a:extLst>
            </p:cNvPr>
            <p:cNvSpPr>
              <a:spLocks noChangeArrowheads="1"/>
            </p:cNvSpPr>
            <p:nvPr userDrawn="1"/>
          </p:nvSpPr>
          <p:spPr bwMode="auto">
            <a:xfrm>
              <a:off x="4481513" y="3141663"/>
              <a:ext cx="227012" cy="303212"/>
            </a:xfrm>
            <a:custGeom>
              <a:avLst/>
              <a:gdLst>
                <a:gd name="T0" fmla="*/ 164 w 631"/>
                <a:gd name="T1" fmla="*/ 20 h 843"/>
                <a:gd name="T2" fmla="*/ 164 w 631"/>
                <a:gd name="T3" fmla="*/ 20 h 843"/>
                <a:gd name="T4" fmla="*/ 175 w 631"/>
                <a:gd name="T5" fmla="*/ 128 h 843"/>
                <a:gd name="T6" fmla="*/ 289 w 631"/>
                <a:gd name="T7" fmla="*/ 25 h 843"/>
                <a:gd name="T8" fmla="*/ 422 w 631"/>
                <a:gd name="T9" fmla="*/ 0 h 843"/>
                <a:gd name="T10" fmla="*/ 539 w 631"/>
                <a:gd name="T11" fmla="*/ 20 h 843"/>
                <a:gd name="T12" fmla="*/ 630 w 631"/>
                <a:gd name="T13" fmla="*/ 70 h 843"/>
                <a:gd name="T14" fmla="*/ 550 w 631"/>
                <a:gd name="T15" fmla="*/ 222 h 843"/>
                <a:gd name="T16" fmla="*/ 486 w 631"/>
                <a:gd name="T17" fmla="*/ 184 h 843"/>
                <a:gd name="T18" fmla="*/ 402 w 631"/>
                <a:gd name="T19" fmla="*/ 172 h 843"/>
                <a:gd name="T20" fmla="*/ 316 w 631"/>
                <a:gd name="T21" fmla="*/ 186 h 843"/>
                <a:gd name="T22" fmla="*/ 244 w 631"/>
                <a:gd name="T23" fmla="*/ 228 h 843"/>
                <a:gd name="T24" fmla="*/ 194 w 631"/>
                <a:gd name="T25" fmla="*/ 297 h 843"/>
                <a:gd name="T26" fmla="*/ 175 w 631"/>
                <a:gd name="T27" fmla="*/ 397 h 843"/>
                <a:gd name="T28" fmla="*/ 175 w 631"/>
                <a:gd name="T29" fmla="*/ 842 h 843"/>
                <a:gd name="T30" fmla="*/ 0 w 631"/>
                <a:gd name="T31" fmla="*/ 842 h 843"/>
                <a:gd name="T32" fmla="*/ 0 w 631"/>
                <a:gd name="T33" fmla="*/ 20 h 843"/>
                <a:gd name="T34" fmla="*/ 164 w 631"/>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1" h="843">
                  <a:moveTo>
                    <a:pt x="164" y="20"/>
                  </a:moveTo>
                  <a:lnTo>
                    <a:pt x="164" y="20"/>
                  </a:lnTo>
                  <a:cubicBezTo>
                    <a:pt x="175" y="128"/>
                    <a:pt x="175" y="128"/>
                    <a:pt x="175" y="128"/>
                  </a:cubicBezTo>
                  <a:cubicBezTo>
                    <a:pt x="205" y="75"/>
                    <a:pt x="244" y="42"/>
                    <a:pt x="289" y="25"/>
                  </a:cubicBezTo>
                  <a:cubicBezTo>
                    <a:pt x="333" y="9"/>
                    <a:pt x="378" y="0"/>
                    <a:pt x="422" y="0"/>
                  </a:cubicBezTo>
                  <a:cubicBezTo>
                    <a:pt x="464" y="0"/>
                    <a:pt x="502" y="9"/>
                    <a:pt x="539" y="20"/>
                  </a:cubicBezTo>
                  <a:cubicBezTo>
                    <a:pt x="577" y="34"/>
                    <a:pt x="608" y="50"/>
                    <a:pt x="630" y="70"/>
                  </a:cubicBezTo>
                  <a:cubicBezTo>
                    <a:pt x="550" y="222"/>
                    <a:pt x="550" y="222"/>
                    <a:pt x="550" y="222"/>
                  </a:cubicBezTo>
                  <a:cubicBezTo>
                    <a:pt x="530" y="206"/>
                    <a:pt x="508" y="192"/>
                    <a:pt x="486" y="184"/>
                  </a:cubicBezTo>
                  <a:cubicBezTo>
                    <a:pt x="464" y="175"/>
                    <a:pt x="436" y="172"/>
                    <a:pt x="402" y="172"/>
                  </a:cubicBezTo>
                  <a:cubicBezTo>
                    <a:pt x="372" y="172"/>
                    <a:pt x="341" y="175"/>
                    <a:pt x="316" y="186"/>
                  </a:cubicBezTo>
                  <a:cubicBezTo>
                    <a:pt x="289" y="195"/>
                    <a:pt x="264" y="209"/>
                    <a:pt x="244" y="228"/>
                  </a:cubicBezTo>
                  <a:cubicBezTo>
                    <a:pt x="222" y="245"/>
                    <a:pt x="205" y="270"/>
                    <a:pt x="194" y="297"/>
                  </a:cubicBezTo>
                  <a:cubicBezTo>
                    <a:pt x="180" y="325"/>
                    <a:pt x="175" y="359"/>
                    <a:pt x="175" y="397"/>
                  </a:cubicBezTo>
                  <a:cubicBezTo>
                    <a:pt x="175" y="842"/>
                    <a:pt x="175" y="842"/>
                    <a:pt x="175" y="842"/>
                  </a:cubicBezTo>
                  <a:cubicBezTo>
                    <a:pt x="0" y="842"/>
                    <a:pt x="0" y="842"/>
                    <a:pt x="0" y="842"/>
                  </a:cubicBezTo>
                  <a:cubicBezTo>
                    <a:pt x="0" y="20"/>
                    <a:pt x="0" y="20"/>
                    <a:pt x="0" y="20"/>
                  </a:cubicBezTo>
                  <a:lnTo>
                    <a:pt x="164" y="2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2" name="Freeform 9">
              <a:extLst>
                <a:ext uri="{FF2B5EF4-FFF2-40B4-BE49-F238E27FC236}">
                  <a16:creationId xmlns:a16="http://schemas.microsoft.com/office/drawing/2014/main" id="{597932D4-682B-CC44-977C-859F9F960C77}"/>
                </a:ext>
              </a:extLst>
            </p:cNvPr>
            <p:cNvSpPr>
              <a:spLocks noChangeArrowheads="1"/>
            </p:cNvSpPr>
            <p:nvPr userDrawn="1"/>
          </p:nvSpPr>
          <p:spPr bwMode="auto">
            <a:xfrm>
              <a:off x="4872038" y="3141663"/>
              <a:ext cx="314325" cy="312737"/>
            </a:xfrm>
            <a:custGeom>
              <a:avLst/>
              <a:gdLst>
                <a:gd name="T0" fmla="*/ 863 w 872"/>
                <a:gd name="T1" fmla="*/ 498 h 868"/>
                <a:gd name="T2" fmla="*/ 863 w 872"/>
                <a:gd name="T3" fmla="*/ 498 h 868"/>
                <a:gd name="T4" fmla="*/ 183 w 872"/>
                <a:gd name="T5" fmla="*/ 498 h 868"/>
                <a:gd name="T6" fmla="*/ 266 w 872"/>
                <a:gd name="T7" fmla="*/ 650 h 868"/>
                <a:gd name="T8" fmla="*/ 458 w 872"/>
                <a:gd name="T9" fmla="*/ 706 h 868"/>
                <a:gd name="T10" fmla="*/ 590 w 872"/>
                <a:gd name="T11" fmla="*/ 684 h 868"/>
                <a:gd name="T12" fmla="*/ 699 w 872"/>
                <a:gd name="T13" fmla="*/ 617 h 868"/>
                <a:gd name="T14" fmla="*/ 815 w 872"/>
                <a:gd name="T15" fmla="*/ 725 h 868"/>
                <a:gd name="T16" fmla="*/ 740 w 872"/>
                <a:gd name="T17" fmla="*/ 786 h 868"/>
                <a:gd name="T18" fmla="*/ 649 w 872"/>
                <a:gd name="T19" fmla="*/ 831 h 868"/>
                <a:gd name="T20" fmla="*/ 551 w 872"/>
                <a:gd name="T21" fmla="*/ 859 h 868"/>
                <a:gd name="T22" fmla="*/ 452 w 872"/>
                <a:gd name="T23" fmla="*/ 867 h 868"/>
                <a:gd name="T24" fmla="*/ 266 w 872"/>
                <a:gd name="T25" fmla="*/ 836 h 868"/>
                <a:gd name="T26" fmla="*/ 122 w 872"/>
                <a:gd name="T27" fmla="*/ 748 h 868"/>
                <a:gd name="T28" fmla="*/ 30 w 872"/>
                <a:gd name="T29" fmla="*/ 609 h 868"/>
                <a:gd name="T30" fmla="*/ 0 w 872"/>
                <a:gd name="T31" fmla="*/ 431 h 868"/>
                <a:gd name="T32" fmla="*/ 30 w 872"/>
                <a:gd name="T33" fmla="*/ 256 h 868"/>
                <a:gd name="T34" fmla="*/ 122 w 872"/>
                <a:gd name="T35" fmla="*/ 120 h 868"/>
                <a:gd name="T36" fmla="*/ 261 w 872"/>
                <a:gd name="T37" fmla="*/ 31 h 868"/>
                <a:gd name="T38" fmla="*/ 441 w 872"/>
                <a:gd name="T39" fmla="*/ 0 h 868"/>
                <a:gd name="T40" fmla="*/ 626 w 872"/>
                <a:gd name="T41" fmla="*/ 31 h 868"/>
                <a:gd name="T42" fmla="*/ 765 w 872"/>
                <a:gd name="T43" fmla="*/ 125 h 868"/>
                <a:gd name="T44" fmla="*/ 849 w 872"/>
                <a:gd name="T45" fmla="*/ 278 h 868"/>
                <a:gd name="T46" fmla="*/ 863 w 872"/>
                <a:gd name="T47" fmla="*/ 498 h 868"/>
                <a:gd name="T48" fmla="*/ 186 w 872"/>
                <a:gd name="T49" fmla="*/ 353 h 868"/>
                <a:gd name="T50" fmla="*/ 186 w 872"/>
                <a:gd name="T51" fmla="*/ 353 h 868"/>
                <a:gd name="T52" fmla="*/ 696 w 872"/>
                <a:gd name="T53" fmla="*/ 353 h 868"/>
                <a:gd name="T54" fmla="*/ 621 w 872"/>
                <a:gd name="T55" fmla="*/ 203 h 868"/>
                <a:gd name="T56" fmla="*/ 447 w 872"/>
                <a:gd name="T57" fmla="*/ 153 h 868"/>
                <a:gd name="T58" fmla="*/ 278 w 872"/>
                <a:gd name="T59" fmla="*/ 203 h 868"/>
                <a:gd name="T60" fmla="*/ 186 w 872"/>
                <a:gd name="T61" fmla="*/ 353 h 868"/>
                <a:gd name="T62" fmla="*/ 863 w 872"/>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2" h="868">
                  <a:moveTo>
                    <a:pt x="863" y="498"/>
                  </a:moveTo>
                  <a:lnTo>
                    <a:pt x="863" y="498"/>
                  </a:lnTo>
                  <a:cubicBezTo>
                    <a:pt x="183" y="498"/>
                    <a:pt x="183" y="498"/>
                    <a:pt x="183" y="498"/>
                  </a:cubicBezTo>
                  <a:cubicBezTo>
                    <a:pt x="189" y="562"/>
                    <a:pt x="219" y="611"/>
                    <a:pt x="266" y="650"/>
                  </a:cubicBezTo>
                  <a:cubicBezTo>
                    <a:pt x="316" y="686"/>
                    <a:pt x="380" y="706"/>
                    <a:pt x="458" y="706"/>
                  </a:cubicBezTo>
                  <a:cubicBezTo>
                    <a:pt x="499" y="706"/>
                    <a:pt x="543" y="698"/>
                    <a:pt x="590" y="684"/>
                  </a:cubicBezTo>
                  <a:cubicBezTo>
                    <a:pt x="638" y="667"/>
                    <a:pt x="674" y="645"/>
                    <a:pt x="699" y="617"/>
                  </a:cubicBezTo>
                  <a:cubicBezTo>
                    <a:pt x="815" y="725"/>
                    <a:pt x="815" y="725"/>
                    <a:pt x="815" y="725"/>
                  </a:cubicBezTo>
                  <a:cubicBezTo>
                    <a:pt x="793" y="750"/>
                    <a:pt x="768" y="770"/>
                    <a:pt x="740" y="786"/>
                  </a:cubicBezTo>
                  <a:cubicBezTo>
                    <a:pt x="710" y="806"/>
                    <a:pt x="682" y="820"/>
                    <a:pt x="649" y="831"/>
                  </a:cubicBezTo>
                  <a:cubicBezTo>
                    <a:pt x="618" y="845"/>
                    <a:pt x="585" y="853"/>
                    <a:pt x="551" y="859"/>
                  </a:cubicBezTo>
                  <a:cubicBezTo>
                    <a:pt x="518" y="864"/>
                    <a:pt x="485" y="867"/>
                    <a:pt x="452" y="867"/>
                  </a:cubicBezTo>
                  <a:cubicBezTo>
                    <a:pt x="383" y="867"/>
                    <a:pt x="322" y="856"/>
                    <a:pt x="266" y="836"/>
                  </a:cubicBezTo>
                  <a:cubicBezTo>
                    <a:pt x="211" y="814"/>
                    <a:pt x="161" y="786"/>
                    <a:pt x="122" y="748"/>
                  </a:cubicBezTo>
                  <a:cubicBezTo>
                    <a:pt x="83" y="709"/>
                    <a:pt x="53" y="664"/>
                    <a:pt x="30" y="609"/>
                  </a:cubicBezTo>
                  <a:cubicBezTo>
                    <a:pt x="11" y="556"/>
                    <a:pt x="0" y="495"/>
                    <a:pt x="0" y="431"/>
                  </a:cubicBezTo>
                  <a:cubicBezTo>
                    <a:pt x="0" y="367"/>
                    <a:pt x="11" y="309"/>
                    <a:pt x="30" y="256"/>
                  </a:cubicBezTo>
                  <a:cubicBezTo>
                    <a:pt x="53" y="203"/>
                    <a:pt x="83" y="159"/>
                    <a:pt x="122" y="120"/>
                  </a:cubicBezTo>
                  <a:cubicBezTo>
                    <a:pt x="161" y="84"/>
                    <a:pt x="208" y="53"/>
                    <a:pt x="261" y="31"/>
                  </a:cubicBezTo>
                  <a:cubicBezTo>
                    <a:pt x="316" y="12"/>
                    <a:pt x="375" y="0"/>
                    <a:pt x="441" y="0"/>
                  </a:cubicBezTo>
                  <a:cubicBezTo>
                    <a:pt x="510" y="0"/>
                    <a:pt x="571" y="12"/>
                    <a:pt x="626" y="31"/>
                  </a:cubicBezTo>
                  <a:cubicBezTo>
                    <a:pt x="682" y="53"/>
                    <a:pt x="726" y="84"/>
                    <a:pt x="765" y="125"/>
                  </a:cubicBezTo>
                  <a:cubicBezTo>
                    <a:pt x="804" y="164"/>
                    <a:pt x="832" y="217"/>
                    <a:pt x="849" y="278"/>
                  </a:cubicBezTo>
                  <a:cubicBezTo>
                    <a:pt x="868" y="342"/>
                    <a:pt x="871" y="414"/>
                    <a:pt x="863" y="498"/>
                  </a:cubicBezTo>
                  <a:lnTo>
                    <a:pt x="186" y="353"/>
                  </a:lnTo>
                  <a:lnTo>
                    <a:pt x="186" y="353"/>
                  </a:lnTo>
                  <a:cubicBezTo>
                    <a:pt x="696" y="353"/>
                    <a:pt x="696" y="353"/>
                    <a:pt x="696" y="353"/>
                  </a:cubicBezTo>
                  <a:cubicBezTo>
                    <a:pt x="690" y="287"/>
                    <a:pt x="663" y="236"/>
                    <a:pt x="621" y="203"/>
                  </a:cubicBezTo>
                  <a:cubicBezTo>
                    <a:pt x="577" y="170"/>
                    <a:pt x="518" y="153"/>
                    <a:pt x="447" y="153"/>
                  </a:cubicBezTo>
                  <a:cubicBezTo>
                    <a:pt x="380" y="153"/>
                    <a:pt x="325" y="170"/>
                    <a:pt x="278" y="203"/>
                  </a:cubicBezTo>
                  <a:cubicBezTo>
                    <a:pt x="230" y="236"/>
                    <a:pt x="200" y="287"/>
                    <a:pt x="186" y="353"/>
                  </a:cubicBezTo>
                  <a:lnTo>
                    <a:pt x="863"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3" name="Freeform 10">
              <a:extLst>
                <a:ext uri="{FF2B5EF4-FFF2-40B4-BE49-F238E27FC236}">
                  <a16:creationId xmlns:a16="http://schemas.microsoft.com/office/drawing/2014/main" id="{96065675-A273-F046-BBBD-BF5AD455AD2C}"/>
                </a:ext>
              </a:extLst>
            </p:cNvPr>
            <p:cNvSpPr>
              <a:spLocks noChangeArrowheads="1"/>
            </p:cNvSpPr>
            <p:nvPr userDrawn="1"/>
          </p:nvSpPr>
          <p:spPr bwMode="auto">
            <a:xfrm>
              <a:off x="5205413" y="3149600"/>
              <a:ext cx="301625" cy="296863"/>
            </a:xfrm>
            <a:custGeom>
              <a:avLst/>
              <a:gdLst>
                <a:gd name="T0" fmla="*/ 606 w 837"/>
                <a:gd name="T1" fmla="*/ 0 h 823"/>
                <a:gd name="T2" fmla="*/ 820 w 837"/>
                <a:gd name="T3" fmla="*/ 0 h 823"/>
                <a:gd name="T4" fmla="*/ 820 w 837"/>
                <a:gd name="T5" fmla="*/ 5 h 823"/>
                <a:gd name="T6" fmla="*/ 536 w 837"/>
                <a:gd name="T7" fmla="*/ 402 h 823"/>
                <a:gd name="T8" fmla="*/ 836 w 837"/>
                <a:gd name="T9" fmla="*/ 819 h 823"/>
                <a:gd name="T10" fmla="*/ 836 w 837"/>
                <a:gd name="T11" fmla="*/ 822 h 823"/>
                <a:gd name="T12" fmla="*/ 625 w 837"/>
                <a:gd name="T13" fmla="*/ 822 h 823"/>
                <a:gd name="T14" fmla="*/ 420 w 837"/>
                <a:gd name="T15" fmla="*/ 525 h 823"/>
                <a:gd name="T16" fmla="*/ 212 w 837"/>
                <a:gd name="T17" fmla="*/ 822 h 823"/>
                <a:gd name="T18" fmla="*/ 0 w 837"/>
                <a:gd name="T19" fmla="*/ 822 h 823"/>
                <a:gd name="T20" fmla="*/ 0 w 837"/>
                <a:gd name="T21" fmla="*/ 819 h 823"/>
                <a:gd name="T22" fmla="*/ 303 w 837"/>
                <a:gd name="T23" fmla="*/ 402 h 823"/>
                <a:gd name="T24" fmla="*/ 20 w 837"/>
                <a:gd name="T25" fmla="*/ 5 h 823"/>
                <a:gd name="T26" fmla="*/ 20 w 837"/>
                <a:gd name="T27" fmla="*/ 0 h 823"/>
                <a:gd name="T28" fmla="*/ 231 w 837"/>
                <a:gd name="T29" fmla="*/ 0 h 823"/>
                <a:gd name="T30" fmla="*/ 420 w 837"/>
                <a:gd name="T31" fmla="*/ 294 h 823"/>
                <a:gd name="T32" fmla="*/ 606 w 837"/>
                <a:gd name="T33"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7" h="823">
                  <a:moveTo>
                    <a:pt x="606" y="0"/>
                  </a:moveTo>
                  <a:lnTo>
                    <a:pt x="820" y="0"/>
                  </a:lnTo>
                  <a:lnTo>
                    <a:pt x="820" y="5"/>
                  </a:lnTo>
                  <a:lnTo>
                    <a:pt x="536" y="402"/>
                  </a:lnTo>
                  <a:lnTo>
                    <a:pt x="836" y="819"/>
                  </a:lnTo>
                  <a:lnTo>
                    <a:pt x="836" y="822"/>
                  </a:lnTo>
                  <a:lnTo>
                    <a:pt x="625" y="822"/>
                  </a:lnTo>
                  <a:lnTo>
                    <a:pt x="420" y="525"/>
                  </a:lnTo>
                  <a:lnTo>
                    <a:pt x="212" y="822"/>
                  </a:lnTo>
                  <a:lnTo>
                    <a:pt x="0" y="822"/>
                  </a:lnTo>
                  <a:lnTo>
                    <a:pt x="0" y="819"/>
                  </a:lnTo>
                  <a:lnTo>
                    <a:pt x="303" y="402"/>
                  </a:lnTo>
                  <a:lnTo>
                    <a:pt x="20" y="5"/>
                  </a:lnTo>
                  <a:lnTo>
                    <a:pt x="20" y="0"/>
                  </a:lnTo>
                  <a:lnTo>
                    <a:pt x="231" y="0"/>
                  </a:lnTo>
                  <a:lnTo>
                    <a:pt x="420" y="294"/>
                  </a:lnTo>
                  <a:lnTo>
                    <a:pt x="60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4" name="Freeform 11">
              <a:extLst>
                <a:ext uri="{FF2B5EF4-FFF2-40B4-BE49-F238E27FC236}">
                  <a16:creationId xmlns:a16="http://schemas.microsoft.com/office/drawing/2014/main" id="{CFBF11F7-13DF-164C-9B41-A5A9A575E6B7}"/>
                </a:ext>
              </a:extLst>
            </p:cNvPr>
            <p:cNvSpPr>
              <a:spLocks noChangeArrowheads="1"/>
            </p:cNvSpPr>
            <p:nvPr userDrawn="1"/>
          </p:nvSpPr>
          <p:spPr bwMode="auto">
            <a:xfrm>
              <a:off x="5557838" y="3143250"/>
              <a:ext cx="323850" cy="439738"/>
            </a:xfrm>
            <a:custGeom>
              <a:avLst/>
              <a:gdLst>
                <a:gd name="T0" fmla="*/ 0 w 898"/>
                <a:gd name="T1" fmla="*/ 1221 h 1222"/>
                <a:gd name="T2" fmla="*/ 0 w 898"/>
                <a:gd name="T3" fmla="*/ 1221 h 1222"/>
                <a:gd name="T4" fmla="*/ 0 w 898"/>
                <a:gd name="T5" fmla="*/ 17 h 1222"/>
                <a:gd name="T6" fmla="*/ 164 w 898"/>
                <a:gd name="T7" fmla="*/ 17 h 1222"/>
                <a:gd name="T8" fmla="*/ 175 w 898"/>
                <a:gd name="T9" fmla="*/ 150 h 1222"/>
                <a:gd name="T10" fmla="*/ 306 w 898"/>
                <a:gd name="T11" fmla="*/ 36 h 1222"/>
                <a:gd name="T12" fmla="*/ 472 w 898"/>
                <a:gd name="T13" fmla="*/ 0 h 1222"/>
                <a:gd name="T14" fmla="*/ 645 w 898"/>
                <a:gd name="T15" fmla="*/ 33 h 1222"/>
                <a:gd name="T16" fmla="*/ 781 w 898"/>
                <a:gd name="T17" fmla="*/ 122 h 1222"/>
                <a:gd name="T18" fmla="*/ 867 w 898"/>
                <a:gd name="T19" fmla="*/ 256 h 1222"/>
                <a:gd name="T20" fmla="*/ 897 w 898"/>
                <a:gd name="T21" fmla="*/ 428 h 1222"/>
                <a:gd name="T22" fmla="*/ 867 w 898"/>
                <a:gd name="T23" fmla="*/ 600 h 1222"/>
                <a:gd name="T24" fmla="*/ 783 w 898"/>
                <a:gd name="T25" fmla="*/ 736 h 1222"/>
                <a:gd name="T26" fmla="*/ 650 w 898"/>
                <a:gd name="T27" fmla="*/ 828 h 1222"/>
                <a:gd name="T28" fmla="*/ 472 w 898"/>
                <a:gd name="T29" fmla="*/ 858 h 1222"/>
                <a:gd name="T30" fmla="*/ 392 w 898"/>
                <a:gd name="T31" fmla="*/ 850 h 1222"/>
                <a:gd name="T32" fmla="*/ 308 w 898"/>
                <a:gd name="T33" fmla="*/ 828 h 1222"/>
                <a:gd name="T34" fmla="*/ 233 w 898"/>
                <a:gd name="T35" fmla="*/ 786 h 1222"/>
                <a:gd name="T36" fmla="*/ 175 w 898"/>
                <a:gd name="T37" fmla="*/ 719 h 1222"/>
                <a:gd name="T38" fmla="*/ 175 w 898"/>
                <a:gd name="T39" fmla="*/ 1221 h 1222"/>
                <a:gd name="T40" fmla="*/ 0 w 898"/>
                <a:gd name="T41" fmla="*/ 1221 h 1222"/>
                <a:gd name="T42" fmla="*/ 456 w 898"/>
                <a:gd name="T43" fmla="*/ 692 h 1222"/>
                <a:gd name="T44" fmla="*/ 456 w 898"/>
                <a:gd name="T45" fmla="*/ 692 h 1222"/>
                <a:gd name="T46" fmla="*/ 561 w 898"/>
                <a:gd name="T47" fmla="*/ 672 h 1222"/>
                <a:gd name="T48" fmla="*/ 647 w 898"/>
                <a:gd name="T49" fmla="*/ 617 h 1222"/>
                <a:gd name="T50" fmla="*/ 703 w 898"/>
                <a:gd name="T51" fmla="*/ 536 h 1222"/>
                <a:gd name="T52" fmla="*/ 722 w 898"/>
                <a:gd name="T53" fmla="*/ 428 h 1222"/>
                <a:gd name="T54" fmla="*/ 650 w 898"/>
                <a:gd name="T55" fmla="*/ 239 h 1222"/>
                <a:gd name="T56" fmla="*/ 456 w 898"/>
                <a:gd name="T57" fmla="*/ 167 h 1222"/>
                <a:gd name="T58" fmla="*/ 345 w 898"/>
                <a:gd name="T59" fmla="*/ 186 h 1222"/>
                <a:gd name="T60" fmla="*/ 261 w 898"/>
                <a:gd name="T61" fmla="*/ 242 h 1222"/>
                <a:gd name="T62" fmla="*/ 208 w 898"/>
                <a:gd name="T63" fmla="*/ 325 h 1222"/>
                <a:gd name="T64" fmla="*/ 192 w 898"/>
                <a:gd name="T65" fmla="*/ 428 h 1222"/>
                <a:gd name="T66" fmla="*/ 211 w 898"/>
                <a:gd name="T67" fmla="*/ 530 h 1222"/>
                <a:gd name="T68" fmla="*/ 264 w 898"/>
                <a:gd name="T69" fmla="*/ 617 h 1222"/>
                <a:gd name="T70" fmla="*/ 347 w 898"/>
                <a:gd name="T71" fmla="*/ 672 h 1222"/>
                <a:gd name="T72" fmla="*/ 456 w 898"/>
                <a:gd name="T73" fmla="*/ 69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8" h="1222">
                  <a:moveTo>
                    <a:pt x="0" y="1221"/>
                  </a:moveTo>
                  <a:lnTo>
                    <a:pt x="0" y="1221"/>
                  </a:lnTo>
                  <a:cubicBezTo>
                    <a:pt x="0" y="17"/>
                    <a:pt x="0" y="17"/>
                    <a:pt x="0" y="17"/>
                  </a:cubicBezTo>
                  <a:cubicBezTo>
                    <a:pt x="164" y="17"/>
                    <a:pt x="164" y="17"/>
                    <a:pt x="164" y="17"/>
                  </a:cubicBezTo>
                  <a:cubicBezTo>
                    <a:pt x="175" y="150"/>
                    <a:pt x="175" y="150"/>
                    <a:pt x="175" y="150"/>
                  </a:cubicBezTo>
                  <a:cubicBezTo>
                    <a:pt x="208" y="100"/>
                    <a:pt x="253" y="61"/>
                    <a:pt x="306" y="36"/>
                  </a:cubicBezTo>
                  <a:cubicBezTo>
                    <a:pt x="361" y="11"/>
                    <a:pt x="417" y="0"/>
                    <a:pt x="472" y="0"/>
                  </a:cubicBezTo>
                  <a:cubicBezTo>
                    <a:pt x="536" y="0"/>
                    <a:pt x="592" y="11"/>
                    <a:pt x="645" y="33"/>
                  </a:cubicBezTo>
                  <a:cubicBezTo>
                    <a:pt x="697" y="53"/>
                    <a:pt x="742" y="83"/>
                    <a:pt x="781" y="122"/>
                  </a:cubicBezTo>
                  <a:cubicBezTo>
                    <a:pt x="817" y="158"/>
                    <a:pt x="847" y="206"/>
                    <a:pt x="867" y="256"/>
                  </a:cubicBezTo>
                  <a:cubicBezTo>
                    <a:pt x="886" y="308"/>
                    <a:pt x="897" y="367"/>
                    <a:pt x="897" y="428"/>
                  </a:cubicBezTo>
                  <a:cubicBezTo>
                    <a:pt x="897" y="492"/>
                    <a:pt x="886" y="550"/>
                    <a:pt x="867" y="600"/>
                  </a:cubicBezTo>
                  <a:cubicBezTo>
                    <a:pt x="847" y="653"/>
                    <a:pt x="820" y="700"/>
                    <a:pt x="783" y="736"/>
                  </a:cubicBezTo>
                  <a:cubicBezTo>
                    <a:pt x="747" y="775"/>
                    <a:pt x="703" y="805"/>
                    <a:pt x="650" y="828"/>
                  </a:cubicBezTo>
                  <a:cubicBezTo>
                    <a:pt x="597" y="847"/>
                    <a:pt x="536" y="858"/>
                    <a:pt x="472" y="858"/>
                  </a:cubicBezTo>
                  <a:cubicBezTo>
                    <a:pt x="447" y="858"/>
                    <a:pt x="420" y="856"/>
                    <a:pt x="392" y="850"/>
                  </a:cubicBezTo>
                  <a:cubicBezTo>
                    <a:pt x="364" y="847"/>
                    <a:pt x="336" y="839"/>
                    <a:pt x="308" y="828"/>
                  </a:cubicBezTo>
                  <a:cubicBezTo>
                    <a:pt x="283" y="817"/>
                    <a:pt x="258" y="803"/>
                    <a:pt x="233" y="786"/>
                  </a:cubicBezTo>
                  <a:cubicBezTo>
                    <a:pt x="211" y="767"/>
                    <a:pt x="192" y="744"/>
                    <a:pt x="175" y="719"/>
                  </a:cubicBezTo>
                  <a:cubicBezTo>
                    <a:pt x="175" y="1221"/>
                    <a:pt x="175" y="1221"/>
                    <a:pt x="175" y="1221"/>
                  </a:cubicBezTo>
                  <a:lnTo>
                    <a:pt x="0" y="1221"/>
                  </a:lnTo>
                  <a:close/>
                  <a:moveTo>
                    <a:pt x="456" y="692"/>
                  </a:moveTo>
                  <a:lnTo>
                    <a:pt x="456" y="692"/>
                  </a:lnTo>
                  <a:cubicBezTo>
                    <a:pt x="495" y="692"/>
                    <a:pt x="531" y="686"/>
                    <a:pt x="561" y="672"/>
                  </a:cubicBezTo>
                  <a:cubicBezTo>
                    <a:pt x="595" y="658"/>
                    <a:pt x="622" y="642"/>
                    <a:pt x="647" y="617"/>
                  </a:cubicBezTo>
                  <a:cubicBezTo>
                    <a:pt x="669" y="594"/>
                    <a:pt x="689" y="567"/>
                    <a:pt x="703" y="536"/>
                  </a:cubicBezTo>
                  <a:cubicBezTo>
                    <a:pt x="714" y="503"/>
                    <a:pt x="722" y="467"/>
                    <a:pt x="722" y="428"/>
                  </a:cubicBezTo>
                  <a:cubicBezTo>
                    <a:pt x="722" y="350"/>
                    <a:pt x="697" y="289"/>
                    <a:pt x="650" y="239"/>
                  </a:cubicBezTo>
                  <a:cubicBezTo>
                    <a:pt x="600" y="192"/>
                    <a:pt x="536" y="167"/>
                    <a:pt x="456" y="167"/>
                  </a:cubicBezTo>
                  <a:cubicBezTo>
                    <a:pt x="414" y="167"/>
                    <a:pt x="378" y="172"/>
                    <a:pt x="345" y="186"/>
                  </a:cubicBezTo>
                  <a:cubicBezTo>
                    <a:pt x="314" y="200"/>
                    <a:pt x="286" y="219"/>
                    <a:pt x="261" y="242"/>
                  </a:cubicBezTo>
                  <a:cubicBezTo>
                    <a:pt x="239" y="267"/>
                    <a:pt x="222" y="294"/>
                    <a:pt x="208" y="325"/>
                  </a:cubicBezTo>
                  <a:cubicBezTo>
                    <a:pt x="197" y="358"/>
                    <a:pt x="192" y="392"/>
                    <a:pt x="192" y="428"/>
                  </a:cubicBezTo>
                  <a:cubicBezTo>
                    <a:pt x="192" y="467"/>
                    <a:pt x="197" y="500"/>
                    <a:pt x="211" y="530"/>
                  </a:cubicBezTo>
                  <a:cubicBezTo>
                    <a:pt x="222" y="564"/>
                    <a:pt x="242" y="592"/>
                    <a:pt x="264" y="617"/>
                  </a:cubicBezTo>
                  <a:cubicBezTo>
                    <a:pt x="289" y="639"/>
                    <a:pt x="317" y="658"/>
                    <a:pt x="347" y="672"/>
                  </a:cubicBezTo>
                  <a:cubicBezTo>
                    <a:pt x="381" y="683"/>
                    <a:pt x="417" y="692"/>
                    <a:pt x="456" y="69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5" name="Freeform 12">
              <a:extLst>
                <a:ext uri="{FF2B5EF4-FFF2-40B4-BE49-F238E27FC236}">
                  <a16:creationId xmlns:a16="http://schemas.microsoft.com/office/drawing/2014/main" id="{F56C2BA7-15B0-DA44-BEC3-24CC829F81BF}"/>
                </a:ext>
              </a:extLst>
            </p:cNvPr>
            <p:cNvSpPr>
              <a:spLocks noChangeArrowheads="1"/>
            </p:cNvSpPr>
            <p:nvPr userDrawn="1"/>
          </p:nvSpPr>
          <p:spPr bwMode="auto">
            <a:xfrm>
              <a:off x="5929313" y="3141663"/>
              <a:ext cx="315912" cy="312737"/>
            </a:xfrm>
            <a:custGeom>
              <a:avLst/>
              <a:gdLst>
                <a:gd name="T0" fmla="*/ 867 w 876"/>
                <a:gd name="T1" fmla="*/ 498 h 868"/>
                <a:gd name="T2" fmla="*/ 867 w 876"/>
                <a:gd name="T3" fmla="*/ 498 h 868"/>
                <a:gd name="T4" fmla="*/ 184 w 876"/>
                <a:gd name="T5" fmla="*/ 498 h 868"/>
                <a:gd name="T6" fmla="*/ 270 w 876"/>
                <a:gd name="T7" fmla="*/ 650 h 868"/>
                <a:gd name="T8" fmla="*/ 459 w 876"/>
                <a:gd name="T9" fmla="*/ 706 h 868"/>
                <a:gd name="T10" fmla="*/ 595 w 876"/>
                <a:gd name="T11" fmla="*/ 684 h 868"/>
                <a:gd name="T12" fmla="*/ 703 w 876"/>
                <a:gd name="T13" fmla="*/ 617 h 868"/>
                <a:gd name="T14" fmla="*/ 817 w 876"/>
                <a:gd name="T15" fmla="*/ 725 h 868"/>
                <a:gd name="T16" fmla="*/ 742 w 876"/>
                <a:gd name="T17" fmla="*/ 786 h 868"/>
                <a:gd name="T18" fmla="*/ 653 w 876"/>
                <a:gd name="T19" fmla="*/ 831 h 868"/>
                <a:gd name="T20" fmla="*/ 553 w 876"/>
                <a:gd name="T21" fmla="*/ 859 h 868"/>
                <a:gd name="T22" fmla="*/ 456 w 876"/>
                <a:gd name="T23" fmla="*/ 867 h 868"/>
                <a:gd name="T24" fmla="*/ 267 w 876"/>
                <a:gd name="T25" fmla="*/ 836 h 868"/>
                <a:gd name="T26" fmla="*/ 125 w 876"/>
                <a:gd name="T27" fmla="*/ 748 h 868"/>
                <a:gd name="T28" fmla="*/ 34 w 876"/>
                <a:gd name="T29" fmla="*/ 609 h 868"/>
                <a:gd name="T30" fmla="*/ 0 w 876"/>
                <a:gd name="T31" fmla="*/ 431 h 868"/>
                <a:gd name="T32" fmla="*/ 34 w 876"/>
                <a:gd name="T33" fmla="*/ 256 h 868"/>
                <a:gd name="T34" fmla="*/ 125 w 876"/>
                <a:gd name="T35" fmla="*/ 120 h 868"/>
                <a:gd name="T36" fmla="*/ 264 w 876"/>
                <a:gd name="T37" fmla="*/ 31 h 868"/>
                <a:gd name="T38" fmla="*/ 442 w 876"/>
                <a:gd name="T39" fmla="*/ 0 h 868"/>
                <a:gd name="T40" fmla="*/ 628 w 876"/>
                <a:gd name="T41" fmla="*/ 31 h 868"/>
                <a:gd name="T42" fmla="*/ 770 w 876"/>
                <a:gd name="T43" fmla="*/ 125 h 868"/>
                <a:gd name="T44" fmla="*/ 853 w 876"/>
                <a:gd name="T45" fmla="*/ 278 h 868"/>
                <a:gd name="T46" fmla="*/ 867 w 876"/>
                <a:gd name="T47" fmla="*/ 498 h 868"/>
                <a:gd name="T48" fmla="*/ 186 w 876"/>
                <a:gd name="T49" fmla="*/ 353 h 868"/>
                <a:gd name="T50" fmla="*/ 186 w 876"/>
                <a:gd name="T51" fmla="*/ 353 h 868"/>
                <a:gd name="T52" fmla="*/ 698 w 876"/>
                <a:gd name="T53" fmla="*/ 353 h 868"/>
                <a:gd name="T54" fmla="*/ 623 w 876"/>
                <a:gd name="T55" fmla="*/ 203 h 868"/>
                <a:gd name="T56" fmla="*/ 448 w 876"/>
                <a:gd name="T57" fmla="*/ 153 h 868"/>
                <a:gd name="T58" fmla="*/ 278 w 876"/>
                <a:gd name="T59" fmla="*/ 203 h 868"/>
                <a:gd name="T60" fmla="*/ 186 w 876"/>
                <a:gd name="T61" fmla="*/ 353 h 868"/>
                <a:gd name="T62" fmla="*/ 867 w 876"/>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8">
                  <a:moveTo>
                    <a:pt x="867" y="498"/>
                  </a:moveTo>
                  <a:lnTo>
                    <a:pt x="867" y="498"/>
                  </a:lnTo>
                  <a:cubicBezTo>
                    <a:pt x="184" y="498"/>
                    <a:pt x="184" y="498"/>
                    <a:pt x="184" y="498"/>
                  </a:cubicBezTo>
                  <a:cubicBezTo>
                    <a:pt x="192" y="562"/>
                    <a:pt x="220" y="611"/>
                    <a:pt x="270" y="650"/>
                  </a:cubicBezTo>
                  <a:cubicBezTo>
                    <a:pt x="317" y="686"/>
                    <a:pt x="381" y="706"/>
                    <a:pt x="459" y="706"/>
                  </a:cubicBezTo>
                  <a:cubicBezTo>
                    <a:pt x="503" y="706"/>
                    <a:pt x="547" y="698"/>
                    <a:pt x="595" y="684"/>
                  </a:cubicBezTo>
                  <a:cubicBezTo>
                    <a:pt x="639" y="667"/>
                    <a:pt x="675" y="645"/>
                    <a:pt x="703" y="617"/>
                  </a:cubicBezTo>
                  <a:cubicBezTo>
                    <a:pt x="817" y="725"/>
                    <a:pt x="817" y="725"/>
                    <a:pt x="817" y="725"/>
                  </a:cubicBezTo>
                  <a:cubicBezTo>
                    <a:pt x="795" y="750"/>
                    <a:pt x="770" y="770"/>
                    <a:pt x="742" y="786"/>
                  </a:cubicBezTo>
                  <a:cubicBezTo>
                    <a:pt x="714" y="806"/>
                    <a:pt x="684" y="820"/>
                    <a:pt x="653" y="831"/>
                  </a:cubicBezTo>
                  <a:cubicBezTo>
                    <a:pt x="620" y="845"/>
                    <a:pt x="589" y="853"/>
                    <a:pt x="553" y="859"/>
                  </a:cubicBezTo>
                  <a:cubicBezTo>
                    <a:pt x="520" y="864"/>
                    <a:pt x="486" y="867"/>
                    <a:pt x="456" y="867"/>
                  </a:cubicBezTo>
                  <a:cubicBezTo>
                    <a:pt x="386" y="867"/>
                    <a:pt x="323" y="856"/>
                    <a:pt x="267" y="836"/>
                  </a:cubicBezTo>
                  <a:cubicBezTo>
                    <a:pt x="211" y="814"/>
                    <a:pt x="164" y="786"/>
                    <a:pt x="125" y="748"/>
                  </a:cubicBezTo>
                  <a:cubicBezTo>
                    <a:pt x="86" y="709"/>
                    <a:pt x="56" y="664"/>
                    <a:pt x="34" y="609"/>
                  </a:cubicBezTo>
                  <a:cubicBezTo>
                    <a:pt x="11" y="556"/>
                    <a:pt x="0" y="495"/>
                    <a:pt x="0" y="431"/>
                  </a:cubicBezTo>
                  <a:cubicBezTo>
                    <a:pt x="0" y="367"/>
                    <a:pt x="11" y="309"/>
                    <a:pt x="34" y="256"/>
                  </a:cubicBezTo>
                  <a:cubicBezTo>
                    <a:pt x="56" y="203"/>
                    <a:pt x="86" y="159"/>
                    <a:pt x="125" y="120"/>
                  </a:cubicBezTo>
                  <a:cubicBezTo>
                    <a:pt x="161" y="84"/>
                    <a:pt x="209" y="53"/>
                    <a:pt x="264" y="31"/>
                  </a:cubicBezTo>
                  <a:cubicBezTo>
                    <a:pt x="317" y="12"/>
                    <a:pt x="378" y="0"/>
                    <a:pt x="442" y="0"/>
                  </a:cubicBezTo>
                  <a:cubicBezTo>
                    <a:pt x="511" y="0"/>
                    <a:pt x="573" y="12"/>
                    <a:pt x="628" y="31"/>
                  </a:cubicBezTo>
                  <a:cubicBezTo>
                    <a:pt x="684" y="53"/>
                    <a:pt x="731" y="84"/>
                    <a:pt x="770" y="125"/>
                  </a:cubicBezTo>
                  <a:cubicBezTo>
                    <a:pt x="806" y="164"/>
                    <a:pt x="834" y="217"/>
                    <a:pt x="853" y="278"/>
                  </a:cubicBezTo>
                  <a:cubicBezTo>
                    <a:pt x="870" y="342"/>
                    <a:pt x="875" y="414"/>
                    <a:pt x="867" y="498"/>
                  </a:cubicBezTo>
                  <a:lnTo>
                    <a:pt x="186" y="353"/>
                  </a:lnTo>
                  <a:lnTo>
                    <a:pt x="186" y="353"/>
                  </a:lnTo>
                  <a:cubicBezTo>
                    <a:pt x="698" y="353"/>
                    <a:pt x="698" y="353"/>
                    <a:pt x="698" y="353"/>
                  </a:cubicBezTo>
                  <a:cubicBezTo>
                    <a:pt x="692" y="287"/>
                    <a:pt x="667" y="236"/>
                    <a:pt x="623" y="203"/>
                  </a:cubicBezTo>
                  <a:cubicBezTo>
                    <a:pt x="578" y="170"/>
                    <a:pt x="520" y="153"/>
                    <a:pt x="448" y="153"/>
                  </a:cubicBezTo>
                  <a:cubicBezTo>
                    <a:pt x="384" y="153"/>
                    <a:pt x="328" y="170"/>
                    <a:pt x="278" y="203"/>
                  </a:cubicBezTo>
                  <a:cubicBezTo>
                    <a:pt x="231" y="236"/>
                    <a:pt x="200" y="287"/>
                    <a:pt x="186" y="353"/>
                  </a:cubicBezTo>
                  <a:lnTo>
                    <a:pt x="867"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6" name="Freeform 13">
              <a:extLst>
                <a:ext uri="{FF2B5EF4-FFF2-40B4-BE49-F238E27FC236}">
                  <a16:creationId xmlns:a16="http://schemas.microsoft.com/office/drawing/2014/main" id="{B56F7B07-2A5C-5740-9E94-CE949459735B}"/>
                </a:ext>
              </a:extLst>
            </p:cNvPr>
            <p:cNvSpPr>
              <a:spLocks noChangeArrowheads="1"/>
            </p:cNvSpPr>
            <p:nvPr userDrawn="1"/>
          </p:nvSpPr>
          <p:spPr bwMode="auto">
            <a:xfrm>
              <a:off x="6305550" y="3141663"/>
              <a:ext cx="228600" cy="303212"/>
            </a:xfrm>
            <a:custGeom>
              <a:avLst/>
              <a:gdLst>
                <a:gd name="T0" fmla="*/ 164 w 634"/>
                <a:gd name="T1" fmla="*/ 20 h 843"/>
                <a:gd name="T2" fmla="*/ 164 w 634"/>
                <a:gd name="T3" fmla="*/ 20 h 843"/>
                <a:gd name="T4" fmla="*/ 177 w 634"/>
                <a:gd name="T5" fmla="*/ 128 h 843"/>
                <a:gd name="T6" fmla="*/ 289 w 634"/>
                <a:gd name="T7" fmla="*/ 25 h 843"/>
                <a:gd name="T8" fmla="*/ 425 w 634"/>
                <a:gd name="T9" fmla="*/ 0 h 843"/>
                <a:gd name="T10" fmla="*/ 541 w 634"/>
                <a:gd name="T11" fmla="*/ 20 h 843"/>
                <a:gd name="T12" fmla="*/ 633 w 634"/>
                <a:gd name="T13" fmla="*/ 70 h 843"/>
                <a:gd name="T14" fmla="*/ 552 w 634"/>
                <a:gd name="T15" fmla="*/ 222 h 843"/>
                <a:gd name="T16" fmla="*/ 486 w 634"/>
                <a:gd name="T17" fmla="*/ 184 h 843"/>
                <a:gd name="T18" fmla="*/ 405 w 634"/>
                <a:gd name="T19" fmla="*/ 172 h 843"/>
                <a:gd name="T20" fmla="*/ 316 w 634"/>
                <a:gd name="T21" fmla="*/ 186 h 843"/>
                <a:gd name="T22" fmla="*/ 244 w 634"/>
                <a:gd name="T23" fmla="*/ 228 h 843"/>
                <a:gd name="T24" fmla="*/ 197 w 634"/>
                <a:gd name="T25" fmla="*/ 297 h 843"/>
                <a:gd name="T26" fmla="*/ 177 w 634"/>
                <a:gd name="T27" fmla="*/ 397 h 843"/>
                <a:gd name="T28" fmla="*/ 177 w 634"/>
                <a:gd name="T29" fmla="*/ 842 h 843"/>
                <a:gd name="T30" fmla="*/ 0 w 634"/>
                <a:gd name="T31" fmla="*/ 842 h 843"/>
                <a:gd name="T32" fmla="*/ 0 w 634"/>
                <a:gd name="T33" fmla="*/ 20 h 843"/>
                <a:gd name="T34" fmla="*/ 164 w 634"/>
                <a:gd name="T35" fmla="*/ 2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4" h="843">
                  <a:moveTo>
                    <a:pt x="164" y="20"/>
                  </a:moveTo>
                  <a:lnTo>
                    <a:pt x="164" y="20"/>
                  </a:lnTo>
                  <a:cubicBezTo>
                    <a:pt x="177" y="128"/>
                    <a:pt x="177" y="128"/>
                    <a:pt x="177" y="128"/>
                  </a:cubicBezTo>
                  <a:cubicBezTo>
                    <a:pt x="208" y="75"/>
                    <a:pt x="244" y="42"/>
                    <a:pt x="289" y="25"/>
                  </a:cubicBezTo>
                  <a:cubicBezTo>
                    <a:pt x="333" y="9"/>
                    <a:pt x="380" y="0"/>
                    <a:pt x="425" y="0"/>
                  </a:cubicBezTo>
                  <a:cubicBezTo>
                    <a:pt x="466" y="0"/>
                    <a:pt x="505" y="9"/>
                    <a:pt x="541" y="20"/>
                  </a:cubicBezTo>
                  <a:cubicBezTo>
                    <a:pt x="577" y="34"/>
                    <a:pt x="608" y="50"/>
                    <a:pt x="633" y="70"/>
                  </a:cubicBezTo>
                  <a:cubicBezTo>
                    <a:pt x="552" y="222"/>
                    <a:pt x="552" y="222"/>
                    <a:pt x="552" y="222"/>
                  </a:cubicBezTo>
                  <a:cubicBezTo>
                    <a:pt x="530" y="206"/>
                    <a:pt x="508" y="192"/>
                    <a:pt x="486" y="184"/>
                  </a:cubicBezTo>
                  <a:cubicBezTo>
                    <a:pt x="464" y="175"/>
                    <a:pt x="436" y="172"/>
                    <a:pt x="405" y="172"/>
                  </a:cubicBezTo>
                  <a:cubicBezTo>
                    <a:pt x="372" y="172"/>
                    <a:pt x="344" y="175"/>
                    <a:pt x="316" y="186"/>
                  </a:cubicBezTo>
                  <a:cubicBezTo>
                    <a:pt x="289" y="195"/>
                    <a:pt x="266" y="209"/>
                    <a:pt x="244" y="228"/>
                  </a:cubicBezTo>
                  <a:cubicBezTo>
                    <a:pt x="225" y="245"/>
                    <a:pt x="208" y="270"/>
                    <a:pt x="197" y="297"/>
                  </a:cubicBezTo>
                  <a:cubicBezTo>
                    <a:pt x="183" y="325"/>
                    <a:pt x="177" y="359"/>
                    <a:pt x="177" y="397"/>
                  </a:cubicBezTo>
                  <a:cubicBezTo>
                    <a:pt x="177" y="842"/>
                    <a:pt x="177" y="842"/>
                    <a:pt x="177" y="842"/>
                  </a:cubicBezTo>
                  <a:cubicBezTo>
                    <a:pt x="0" y="842"/>
                    <a:pt x="0" y="842"/>
                    <a:pt x="0" y="842"/>
                  </a:cubicBezTo>
                  <a:cubicBezTo>
                    <a:pt x="0" y="20"/>
                    <a:pt x="0" y="20"/>
                    <a:pt x="0" y="20"/>
                  </a:cubicBezTo>
                  <a:lnTo>
                    <a:pt x="164" y="2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7" name="Freeform 14">
              <a:extLst>
                <a:ext uri="{FF2B5EF4-FFF2-40B4-BE49-F238E27FC236}">
                  <a16:creationId xmlns:a16="http://schemas.microsoft.com/office/drawing/2014/main" id="{A106F4E9-EEB2-DC41-A93F-38BD6AC491A0}"/>
                </a:ext>
              </a:extLst>
            </p:cNvPr>
            <p:cNvSpPr>
              <a:spLocks noChangeArrowheads="1"/>
            </p:cNvSpPr>
            <p:nvPr userDrawn="1"/>
          </p:nvSpPr>
          <p:spPr bwMode="auto">
            <a:xfrm>
              <a:off x="6577013" y="3148013"/>
              <a:ext cx="63500" cy="296862"/>
            </a:xfrm>
            <a:custGeom>
              <a:avLst/>
              <a:gdLst>
                <a:gd name="T0" fmla="*/ 175 w 176"/>
                <a:gd name="T1" fmla="*/ 825 h 826"/>
                <a:gd name="T2" fmla="*/ 0 w 176"/>
                <a:gd name="T3" fmla="*/ 825 h 826"/>
                <a:gd name="T4" fmla="*/ 0 w 176"/>
                <a:gd name="T5" fmla="*/ 0 h 826"/>
                <a:gd name="T6" fmla="*/ 175 w 176"/>
                <a:gd name="T7" fmla="*/ 0 h 826"/>
                <a:gd name="T8" fmla="*/ 175 w 176"/>
                <a:gd name="T9" fmla="*/ 825 h 826"/>
              </a:gdLst>
              <a:ahLst/>
              <a:cxnLst>
                <a:cxn ang="0">
                  <a:pos x="T0" y="T1"/>
                </a:cxn>
                <a:cxn ang="0">
                  <a:pos x="T2" y="T3"/>
                </a:cxn>
                <a:cxn ang="0">
                  <a:pos x="T4" y="T5"/>
                </a:cxn>
                <a:cxn ang="0">
                  <a:pos x="T6" y="T7"/>
                </a:cxn>
                <a:cxn ang="0">
                  <a:pos x="T8" y="T9"/>
                </a:cxn>
              </a:cxnLst>
              <a:rect l="0" t="0" r="r" b="b"/>
              <a:pathLst>
                <a:path w="176" h="826">
                  <a:moveTo>
                    <a:pt x="175" y="825"/>
                  </a:moveTo>
                  <a:lnTo>
                    <a:pt x="0" y="825"/>
                  </a:lnTo>
                  <a:lnTo>
                    <a:pt x="0" y="0"/>
                  </a:lnTo>
                  <a:lnTo>
                    <a:pt x="175" y="0"/>
                  </a:lnTo>
                  <a:lnTo>
                    <a:pt x="175" y="82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8" name="Freeform 15">
              <a:extLst>
                <a:ext uri="{FF2B5EF4-FFF2-40B4-BE49-F238E27FC236}">
                  <a16:creationId xmlns:a16="http://schemas.microsoft.com/office/drawing/2014/main" id="{7C174984-9E4C-8940-ACB5-80FD2A6E2308}"/>
                </a:ext>
              </a:extLst>
            </p:cNvPr>
            <p:cNvSpPr>
              <a:spLocks noChangeArrowheads="1"/>
            </p:cNvSpPr>
            <p:nvPr userDrawn="1"/>
          </p:nvSpPr>
          <p:spPr bwMode="auto">
            <a:xfrm>
              <a:off x="6707188" y="3141663"/>
              <a:ext cx="314325" cy="312737"/>
            </a:xfrm>
            <a:custGeom>
              <a:avLst/>
              <a:gdLst>
                <a:gd name="T0" fmla="*/ 864 w 873"/>
                <a:gd name="T1" fmla="*/ 498 h 868"/>
                <a:gd name="T2" fmla="*/ 864 w 873"/>
                <a:gd name="T3" fmla="*/ 498 h 868"/>
                <a:gd name="T4" fmla="*/ 184 w 873"/>
                <a:gd name="T5" fmla="*/ 498 h 868"/>
                <a:gd name="T6" fmla="*/ 267 w 873"/>
                <a:gd name="T7" fmla="*/ 650 h 868"/>
                <a:gd name="T8" fmla="*/ 459 w 873"/>
                <a:gd name="T9" fmla="*/ 706 h 868"/>
                <a:gd name="T10" fmla="*/ 592 w 873"/>
                <a:gd name="T11" fmla="*/ 684 h 868"/>
                <a:gd name="T12" fmla="*/ 700 w 873"/>
                <a:gd name="T13" fmla="*/ 617 h 868"/>
                <a:gd name="T14" fmla="*/ 817 w 873"/>
                <a:gd name="T15" fmla="*/ 725 h 868"/>
                <a:gd name="T16" fmla="*/ 742 w 873"/>
                <a:gd name="T17" fmla="*/ 786 h 868"/>
                <a:gd name="T18" fmla="*/ 650 w 873"/>
                <a:gd name="T19" fmla="*/ 831 h 868"/>
                <a:gd name="T20" fmla="*/ 553 w 873"/>
                <a:gd name="T21" fmla="*/ 859 h 868"/>
                <a:gd name="T22" fmla="*/ 453 w 873"/>
                <a:gd name="T23" fmla="*/ 867 h 868"/>
                <a:gd name="T24" fmla="*/ 267 w 873"/>
                <a:gd name="T25" fmla="*/ 836 h 868"/>
                <a:gd name="T26" fmla="*/ 123 w 873"/>
                <a:gd name="T27" fmla="*/ 748 h 868"/>
                <a:gd name="T28" fmla="*/ 34 w 873"/>
                <a:gd name="T29" fmla="*/ 609 h 868"/>
                <a:gd name="T30" fmla="*/ 0 w 873"/>
                <a:gd name="T31" fmla="*/ 431 h 868"/>
                <a:gd name="T32" fmla="*/ 34 w 873"/>
                <a:gd name="T33" fmla="*/ 256 h 868"/>
                <a:gd name="T34" fmla="*/ 123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7 w 873"/>
                <a:gd name="T53" fmla="*/ 353 h 868"/>
                <a:gd name="T54" fmla="*/ 622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4" y="498"/>
                    <a:pt x="184" y="498"/>
                    <a:pt x="184" y="498"/>
                  </a:cubicBezTo>
                  <a:cubicBezTo>
                    <a:pt x="189" y="562"/>
                    <a:pt x="220" y="611"/>
                    <a:pt x="267" y="650"/>
                  </a:cubicBezTo>
                  <a:cubicBezTo>
                    <a:pt x="317" y="686"/>
                    <a:pt x="381" y="706"/>
                    <a:pt x="459" y="706"/>
                  </a:cubicBezTo>
                  <a:cubicBezTo>
                    <a:pt x="500" y="706"/>
                    <a:pt x="545" y="698"/>
                    <a:pt x="592" y="684"/>
                  </a:cubicBezTo>
                  <a:cubicBezTo>
                    <a:pt x="639" y="667"/>
                    <a:pt x="675" y="645"/>
                    <a:pt x="700" y="617"/>
                  </a:cubicBezTo>
                  <a:cubicBezTo>
                    <a:pt x="817" y="725"/>
                    <a:pt x="817" y="725"/>
                    <a:pt x="817" y="725"/>
                  </a:cubicBezTo>
                  <a:cubicBezTo>
                    <a:pt x="795" y="750"/>
                    <a:pt x="770" y="770"/>
                    <a:pt x="742" y="786"/>
                  </a:cubicBezTo>
                  <a:cubicBezTo>
                    <a:pt x="711" y="806"/>
                    <a:pt x="684" y="820"/>
                    <a:pt x="650" y="831"/>
                  </a:cubicBezTo>
                  <a:cubicBezTo>
                    <a:pt x="620" y="845"/>
                    <a:pt x="586" y="853"/>
                    <a:pt x="553" y="859"/>
                  </a:cubicBezTo>
                  <a:cubicBezTo>
                    <a:pt x="520" y="864"/>
                    <a:pt x="486" y="867"/>
                    <a:pt x="453" y="867"/>
                  </a:cubicBezTo>
                  <a:cubicBezTo>
                    <a:pt x="384" y="867"/>
                    <a:pt x="322" y="856"/>
                    <a:pt x="267" y="836"/>
                  </a:cubicBezTo>
                  <a:cubicBezTo>
                    <a:pt x="211" y="814"/>
                    <a:pt x="164" y="786"/>
                    <a:pt x="123" y="748"/>
                  </a:cubicBezTo>
                  <a:cubicBezTo>
                    <a:pt x="84" y="709"/>
                    <a:pt x="53" y="664"/>
                    <a:pt x="34" y="609"/>
                  </a:cubicBezTo>
                  <a:cubicBezTo>
                    <a:pt x="11" y="556"/>
                    <a:pt x="0" y="495"/>
                    <a:pt x="0" y="431"/>
                  </a:cubicBezTo>
                  <a:cubicBezTo>
                    <a:pt x="0" y="367"/>
                    <a:pt x="11" y="309"/>
                    <a:pt x="34" y="256"/>
                  </a:cubicBezTo>
                  <a:cubicBezTo>
                    <a:pt x="53" y="203"/>
                    <a:pt x="84" y="159"/>
                    <a:pt x="123" y="120"/>
                  </a:cubicBezTo>
                  <a:cubicBezTo>
                    <a:pt x="161" y="84"/>
                    <a:pt x="209" y="53"/>
                    <a:pt x="261" y="31"/>
                  </a:cubicBezTo>
                  <a:cubicBezTo>
                    <a:pt x="317" y="12"/>
                    <a:pt x="375" y="0"/>
                    <a:pt x="442" y="0"/>
                  </a:cubicBezTo>
                  <a:cubicBezTo>
                    <a:pt x="511" y="0"/>
                    <a:pt x="572" y="12"/>
                    <a:pt x="628" y="31"/>
                  </a:cubicBezTo>
                  <a:cubicBezTo>
                    <a:pt x="684" y="53"/>
                    <a:pt x="728" y="84"/>
                    <a:pt x="767" y="125"/>
                  </a:cubicBezTo>
                  <a:cubicBezTo>
                    <a:pt x="806" y="164"/>
                    <a:pt x="834" y="217"/>
                    <a:pt x="850" y="278"/>
                  </a:cubicBezTo>
                  <a:cubicBezTo>
                    <a:pt x="870" y="342"/>
                    <a:pt x="872" y="414"/>
                    <a:pt x="864" y="498"/>
                  </a:cubicBezTo>
                  <a:lnTo>
                    <a:pt x="186" y="353"/>
                  </a:lnTo>
                  <a:lnTo>
                    <a:pt x="186" y="353"/>
                  </a:lnTo>
                  <a:cubicBezTo>
                    <a:pt x="697" y="353"/>
                    <a:pt x="697" y="353"/>
                    <a:pt x="697" y="353"/>
                  </a:cubicBezTo>
                  <a:cubicBezTo>
                    <a:pt x="692" y="287"/>
                    <a:pt x="667" y="236"/>
                    <a:pt x="622" y="203"/>
                  </a:cubicBezTo>
                  <a:cubicBezTo>
                    <a:pt x="578" y="170"/>
                    <a:pt x="520" y="153"/>
                    <a:pt x="447" y="153"/>
                  </a:cubicBezTo>
                  <a:cubicBezTo>
                    <a:pt x="384" y="153"/>
                    <a:pt x="325" y="170"/>
                    <a:pt x="278" y="203"/>
                  </a:cubicBezTo>
                  <a:cubicBezTo>
                    <a:pt x="231" y="236"/>
                    <a:pt x="200" y="287"/>
                    <a:pt x="186" y="353"/>
                  </a:cubicBezTo>
                  <a:lnTo>
                    <a:pt x="864"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49" name="Freeform 16">
              <a:extLst>
                <a:ext uri="{FF2B5EF4-FFF2-40B4-BE49-F238E27FC236}">
                  <a16:creationId xmlns:a16="http://schemas.microsoft.com/office/drawing/2014/main" id="{11920894-A1A1-2741-ADAA-8275C1F38D3D}"/>
                </a:ext>
              </a:extLst>
            </p:cNvPr>
            <p:cNvSpPr>
              <a:spLocks noChangeArrowheads="1"/>
            </p:cNvSpPr>
            <p:nvPr userDrawn="1"/>
          </p:nvSpPr>
          <p:spPr bwMode="auto">
            <a:xfrm>
              <a:off x="7083425" y="3144838"/>
              <a:ext cx="293688" cy="301625"/>
            </a:xfrm>
            <a:custGeom>
              <a:avLst/>
              <a:gdLst>
                <a:gd name="T0" fmla="*/ 638 w 817"/>
                <a:gd name="T1" fmla="*/ 836 h 837"/>
                <a:gd name="T2" fmla="*/ 638 w 817"/>
                <a:gd name="T3" fmla="*/ 836 h 837"/>
                <a:gd name="T4" fmla="*/ 638 w 817"/>
                <a:gd name="T5" fmla="*/ 397 h 837"/>
                <a:gd name="T6" fmla="*/ 580 w 817"/>
                <a:gd name="T7" fmla="*/ 225 h 837"/>
                <a:gd name="T8" fmla="*/ 411 w 817"/>
                <a:gd name="T9" fmla="*/ 161 h 837"/>
                <a:gd name="T10" fmla="*/ 313 w 817"/>
                <a:gd name="T11" fmla="*/ 180 h 837"/>
                <a:gd name="T12" fmla="*/ 241 w 817"/>
                <a:gd name="T13" fmla="*/ 233 h 837"/>
                <a:gd name="T14" fmla="*/ 194 w 817"/>
                <a:gd name="T15" fmla="*/ 311 h 837"/>
                <a:gd name="T16" fmla="*/ 175 w 817"/>
                <a:gd name="T17" fmla="*/ 408 h 837"/>
                <a:gd name="T18" fmla="*/ 175 w 817"/>
                <a:gd name="T19" fmla="*/ 836 h 837"/>
                <a:gd name="T20" fmla="*/ 0 w 817"/>
                <a:gd name="T21" fmla="*/ 836 h 837"/>
                <a:gd name="T22" fmla="*/ 0 w 817"/>
                <a:gd name="T23" fmla="*/ 11 h 837"/>
                <a:gd name="T24" fmla="*/ 161 w 817"/>
                <a:gd name="T25" fmla="*/ 11 h 837"/>
                <a:gd name="T26" fmla="*/ 172 w 817"/>
                <a:gd name="T27" fmla="*/ 133 h 837"/>
                <a:gd name="T28" fmla="*/ 455 w 817"/>
                <a:gd name="T29" fmla="*/ 0 h 837"/>
                <a:gd name="T30" fmla="*/ 597 w 817"/>
                <a:gd name="T31" fmla="*/ 25 h 837"/>
                <a:gd name="T32" fmla="*/ 711 w 817"/>
                <a:gd name="T33" fmla="*/ 103 h 837"/>
                <a:gd name="T34" fmla="*/ 788 w 817"/>
                <a:gd name="T35" fmla="*/ 225 h 837"/>
                <a:gd name="T36" fmla="*/ 816 w 817"/>
                <a:gd name="T37" fmla="*/ 394 h 837"/>
                <a:gd name="T38" fmla="*/ 816 w 817"/>
                <a:gd name="T39" fmla="*/ 836 h 837"/>
                <a:gd name="T40" fmla="*/ 638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8" y="836"/>
                  </a:moveTo>
                  <a:lnTo>
                    <a:pt x="638" y="836"/>
                  </a:lnTo>
                  <a:cubicBezTo>
                    <a:pt x="638" y="397"/>
                    <a:pt x="638" y="397"/>
                    <a:pt x="638" y="397"/>
                  </a:cubicBezTo>
                  <a:cubicBezTo>
                    <a:pt x="638" y="325"/>
                    <a:pt x="619" y="269"/>
                    <a:pt x="580" y="225"/>
                  </a:cubicBezTo>
                  <a:cubicBezTo>
                    <a:pt x="541" y="183"/>
                    <a:pt x="483" y="161"/>
                    <a:pt x="411" y="161"/>
                  </a:cubicBezTo>
                  <a:cubicBezTo>
                    <a:pt x="375" y="161"/>
                    <a:pt x="344" y="166"/>
                    <a:pt x="313" y="180"/>
                  </a:cubicBezTo>
                  <a:cubicBezTo>
                    <a:pt x="286" y="191"/>
                    <a:pt x="261" y="211"/>
                    <a:pt x="241" y="233"/>
                  </a:cubicBezTo>
                  <a:cubicBezTo>
                    <a:pt x="219" y="255"/>
                    <a:pt x="205" y="283"/>
                    <a:pt x="194" y="311"/>
                  </a:cubicBezTo>
                  <a:cubicBezTo>
                    <a:pt x="180" y="341"/>
                    <a:pt x="175" y="375"/>
                    <a:pt x="175" y="408"/>
                  </a:cubicBezTo>
                  <a:cubicBezTo>
                    <a:pt x="175" y="836"/>
                    <a:pt x="175" y="836"/>
                    <a:pt x="175" y="836"/>
                  </a:cubicBezTo>
                  <a:cubicBezTo>
                    <a:pt x="0" y="836"/>
                    <a:pt x="0" y="836"/>
                    <a:pt x="0" y="836"/>
                  </a:cubicBezTo>
                  <a:cubicBezTo>
                    <a:pt x="0" y="11"/>
                    <a:pt x="0" y="11"/>
                    <a:pt x="0" y="11"/>
                  </a:cubicBezTo>
                  <a:cubicBezTo>
                    <a:pt x="161" y="11"/>
                    <a:pt x="161" y="11"/>
                    <a:pt x="161" y="11"/>
                  </a:cubicBezTo>
                  <a:cubicBezTo>
                    <a:pt x="172" y="133"/>
                    <a:pt x="172" y="133"/>
                    <a:pt x="172" y="133"/>
                  </a:cubicBezTo>
                  <a:cubicBezTo>
                    <a:pt x="250" y="44"/>
                    <a:pt x="344" y="0"/>
                    <a:pt x="455" y="0"/>
                  </a:cubicBezTo>
                  <a:cubicBezTo>
                    <a:pt x="505" y="0"/>
                    <a:pt x="552" y="8"/>
                    <a:pt x="597" y="25"/>
                  </a:cubicBezTo>
                  <a:cubicBezTo>
                    <a:pt x="641" y="44"/>
                    <a:pt x="677" y="69"/>
                    <a:pt x="711" y="103"/>
                  </a:cubicBezTo>
                  <a:cubicBezTo>
                    <a:pt x="744" y="136"/>
                    <a:pt x="769" y="178"/>
                    <a:pt x="788" y="225"/>
                  </a:cubicBezTo>
                  <a:cubicBezTo>
                    <a:pt x="808" y="275"/>
                    <a:pt x="816" y="330"/>
                    <a:pt x="816" y="394"/>
                  </a:cubicBezTo>
                  <a:cubicBezTo>
                    <a:pt x="816" y="836"/>
                    <a:pt x="816" y="836"/>
                    <a:pt x="816" y="836"/>
                  </a:cubicBezTo>
                  <a:lnTo>
                    <a:pt x="638" y="83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0" name="Freeform 17">
              <a:extLst>
                <a:ext uri="{FF2B5EF4-FFF2-40B4-BE49-F238E27FC236}">
                  <a16:creationId xmlns:a16="http://schemas.microsoft.com/office/drawing/2014/main" id="{1C889C22-C97B-7F4B-838F-9C019CF80E6F}"/>
                </a:ext>
              </a:extLst>
            </p:cNvPr>
            <p:cNvSpPr>
              <a:spLocks noChangeArrowheads="1"/>
            </p:cNvSpPr>
            <p:nvPr userDrawn="1"/>
          </p:nvSpPr>
          <p:spPr bwMode="auto">
            <a:xfrm>
              <a:off x="7440613" y="3141663"/>
              <a:ext cx="274637" cy="311150"/>
            </a:xfrm>
            <a:custGeom>
              <a:avLst/>
              <a:gdLst>
                <a:gd name="T0" fmla="*/ 761 w 762"/>
                <a:gd name="T1" fmla="*/ 736 h 865"/>
                <a:gd name="T2" fmla="*/ 761 w 762"/>
                <a:gd name="T3" fmla="*/ 736 h 865"/>
                <a:gd name="T4" fmla="*/ 614 w 762"/>
                <a:gd name="T5" fmla="*/ 833 h 865"/>
                <a:gd name="T6" fmla="*/ 442 w 762"/>
                <a:gd name="T7" fmla="*/ 864 h 865"/>
                <a:gd name="T8" fmla="*/ 272 w 762"/>
                <a:gd name="T9" fmla="*/ 836 h 865"/>
                <a:gd name="T10" fmla="*/ 131 w 762"/>
                <a:gd name="T11" fmla="*/ 756 h 865"/>
                <a:gd name="T12" fmla="*/ 34 w 762"/>
                <a:gd name="T13" fmla="*/ 620 h 865"/>
                <a:gd name="T14" fmla="*/ 0 w 762"/>
                <a:gd name="T15" fmla="*/ 431 h 865"/>
                <a:gd name="T16" fmla="*/ 34 w 762"/>
                <a:gd name="T17" fmla="*/ 245 h 865"/>
                <a:gd name="T18" fmla="*/ 131 w 762"/>
                <a:gd name="T19" fmla="*/ 109 h 865"/>
                <a:gd name="T20" fmla="*/ 270 w 762"/>
                <a:gd name="T21" fmla="*/ 28 h 865"/>
                <a:gd name="T22" fmla="*/ 442 w 762"/>
                <a:gd name="T23" fmla="*/ 0 h 865"/>
                <a:gd name="T24" fmla="*/ 603 w 762"/>
                <a:gd name="T25" fmla="*/ 28 h 865"/>
                <a:gd name="T26" fmla="*/ 747 w 762"/>
                <a:gd name="T27" fmla="*/ 122 h 865"/>
                <a:gd name="T28" fmla="*/ 633 w 762"/>
                <a:gd name="T29" fmla="*/ 236 h 865"/>
                <a:gd name="T30" fmla="*/ 545 w 762"/>
                <a:gd name="T31" fmla="*/ 181 h 865"/>
                <a:gd name="T32" fmla="*/ 445 w 762"/>
                <a:gd name="T33" fmla="*/ 164 h 865"/>
                <a:gd name="T34" fmla="*/ 339 w 762"/>
                <a:gd name="T35" fmla="*/ 181 h 865"/>
                <a:gd name="T36" fmla="*/ 253 w 762"/>
                <a:gd name="T37" fmla="*/ 236 h 865"/>
                <a:gd name="T38" fmla="*/ 195 w 762"/>
                <a:gd name="T39" fmla="*/ 320 h 865"/>
                <a:gd name="T40" fmla="*/ 175 w 762"/>
                <a:gd name="T41" fmla="*/ 431 h 865"/>
                <a:gd name="T42" fmla="*/ 197 w 762"/>
                <a:gd name="T43" fmla="*/ 547 h 865"/>
                <a:gd name="T44" fmla="*/ 253 w 762"/>
                <a:gd name="T45" fmla="*/ 631 h 865"/>
                <a:gd name="T46" fmla="*/ 339 w 762"/>
                <a:gd name="T47" fmla="*/ 681 h 865"/>
                <a:gd name="T48" fmla="*/ 442 w 762"/>
                <a:gd name="T49" fmla="*/ 697 h 865"/>
                <a:gd name="T50" fmla="*/ 550 w 762"/>
                <a:gd name="T51" fmla="*/ 681 h 865"/>
                <a:gd name="T52" fmla="*/ 642 w 762"/>
                <a:gd name="T53" fmla="*/ 620 h 865"/>
                <a:gd name="T54" fmla="*/ 761 w 762"/>
                <a:gd name="T55" fmla="*/ 736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62" h="865">
                  <a:moveTo>
                    <a:pt x="761" y="736"/>
                  </a:moveTo>
                  <a:lnTo>
                    <a:pt x="761" y="736"/>
                  </a:lnTo>
                  <a:cubicBezTo>
                    <a:pt x="714" y="781"/>
                    <a:pt x="664" y="814"/>
                    <a:pt x="614" y="833"/>
                  </a:cubicBezTo>
                  <a:cubicBezTo>
                    <a:pt x="561" y="856"/>
                    <a:pt x="503" y="864"/>
                    <a:pt x="442" y="864"/>
                  </a:cubicBezTo>
                  <a:cubicBezTo>
                    <a:pt x="383" y="864"/>
                    <a:pt x="325" y="856"/>
                    <a:pt x="272" y="836"/>
                  </a:cubicBezTo>
                  <a:cubicBezTo>
                    <a:pt x="217" y="820"/>
                    <a:pt x="170" y="792"/>
                    <a:pt x="131" y="756"/>
                  </a:cubicBezTo>
                  <a:cubicBezTo>
                    <a:pt x="89" y="720"/>
                    <a:pt x="58" y="675"/>
                    <a:pt x="34" y="620"/>
                  </a:cubicBezTo>
                  <a:cubicBezTo>
                    <a:pt x="11" y="567"/>
                    <a:pt x="0" y="503"/>
                    <a:pt x="0" y="431"/>
                  </a:cubicBezTo>
                  <a:cubicBezTo>
                    <a:pt x="0" y="361"/>
                    <a:pt x="11" y="297"/>
                    <a:pt x="34" y="245"/>
                  </a:cubicBezTo>
                  <a:cubicBezTo>
                    <a:pt x="58" y="189"/>
                    <a:pt x="89" y="145"/>
                    <a:pt x="131" y="109"/>
                  </a:cubicBezTo>
                  <a:cubicBezTo>
                    <a:pt x="170" y="72"/>
                    <a:pt x="217" y="45"/>
                    <a:pt x="270" y="28"/>
                  </a:cubicBezTo>
                  <a:cubicBezTo>
                    <a:pt x="325" y="9"/>
                    <a:pt x="381" y="0"/>
                    <a:pt x="442" y="0"/>
                  </a:cubicBezTo>
                  <a:cubicBezTo>
                    <a:pt x="500" y="0"/>
                    <a:pt x="556" y="9"/>
                    <a:pt x="603" y="28"/>
                  </a:cubicBezTo>
                  <a:cubicBezTo>
                    <a:pt x="653" y="47"/>
                    <a:pt x="700" y="78"/>
                    <a:pt x="747" y="122"/>
                  </a:cubicBezTo>
                  <a:cubicBezTo>
                    <a:pt x="633" y="236"/>
                    <a:pt x="633" y="236"/>
                    <a:pt x="633" y="236"/>
                  </a:cubicBezTo>
                  <a:cubicBezTo>
                    <a:pt x="608" y="211"/>
                    <a:pt x="578" y="192"/>
                    <a:pt x="545" y="181"/>
                  </a:cubicBezTo>
                  <a:cubicBezTo>
                    <a:pt x="511" y="170"/>
                    <a:pt x="478" y="164"/>
                    <a:pt x="445" y="164"/>
                  </a:cubicBezTo>
                  <a:cubicBezTo>
                    <a:pt x="406" y="164"/>
                    <a:pt x="372" y="170"/>
                    <a:pt x="339" y="181"/>
                  </a:cubicBezTo>
                  <a:cubicBezTo>
                    <a:pt x="306" y="195"/>
                    <a:pt x="278" y="214"/>
                    <a:pt x="253" y="236"/>
                  </a:cubicBezTo>
                  <a:cubicBezTo>
                    <a:pt x="228" y="259"/>
                    <a:pt x="209" y="289"/>
                    <a:pt x="195" y="320"/>
                  </a:cubicBezTo>
                  <a:cubicBezTo>
                    <a:pt x="181" y="353"/>
                    <a:pt x="175" y="392"/>
                    <a:pt x="175" y="431"/>
                  </a:cubicBezTo>
                  <a:cubicBezTo>
                    <a:pt x="175" y="475"/>
                    <a:pt x="181" y="514"/>
                    <a:pt x="197" y="547"/>
                  </a:cubicBezTo>
                  <a:cubicBezTo>
                    <a:pt x="211" y="578"/>
                    <a:pt x="231" y="606"/>
                    <a:pt x="253" y="631"/>
                  </a:cubicBezTo>
                  <a:cubicBezTo>
                    <a:pt x="278" y="653"/>
                    <a:pt x="309" y="670"/>
                    <a:pt x="339" y="681"/>
                  </a:cubicBezTo>
                  <a:cubicBezTo>
                    <a:pt x="372" y="692"/>
                    <a:pt x="406" y="697"/>
                    <a:pt x="442" y="697"/>
                  </a:cubicBezTo>
                  <a:cubicBezTo>
                    <a:pt x="478" y="697"/>
                    <a:pt x="514" y="692"/>
                    <a:pt x="550" y="681"/>
                  </a:cubicBezTo>
                  <a:cubicBezTo>
                    <a:pt x="583" y="670"/>
                    <a:pt x="614" y="647"/>
                    <a:pt x="642" y="620"/>
                  </a:cubicBezTo>
                  <a:lnTo>
                    <a:pt x="761" y="73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1" name="Freeform 18">
              <a:extLst>
                <a:ext uri="{FF2B5EF4-FFF2-40B4-BE49-F238E27FC236}">
                  <a16:creationId xmlns:a16="http://schemas.microsoft.com/office/drawing/2014/main" id="{923E9F78-DC24-3F43-9DC2-655AF0EC2C2B}"/>
                </a:ext>
              </a:extLst>
            </p:cNvPr>
            <p:cNvSpPr>
              <a:spLocks noChangeArrowheads="1"/>
            </p:cNvSpPr>
            <p:nvPr userDrawn="1"/>
          </p:nvSpPr>
          <p:spPr bwMode="auto">
            <a:xfrm>
              <a:off x="7747000" y="3141663"/>
              <a:ext cx="314325" cy="312737"/>
            </a:xfrm>
            <a:custGeom>
              <a:avLst/>
              <a:gdLst>
                <a:gd name="T0" fmla="*/ 864 w 873"/>
                <a:gd name="T1" fmla="*/ 498 h 868"/>
                <a:gd name="T2" fmla="*/ 864 w 873"/>
                <a:gd name="T3" fmla="*/ 498 h 868"/>
                <a:gd name="T4" fmla="*/ 181 w 873"/>
                <a:gd name="T5" fmla="*/ 498 h 868"/>
                <a:gd name="T6" fmla="*/ 267 w 873"/>
                <a:gd name="T7" fmla="*/ 650 h 868"/>
                <a:gd name="T8" fmla="*/ 456 w 873"/>
                <a:gd name="T9" fmla="*/ 706 h 868"/>
                <a:gd name="T10" fmla="*/ 592 w 873"/>
                <a:gd name="T11" fmla="*/ 684 h 868"/>
                <a:gd name="T12" fmla="*/ 700 w 873"/>
                <a:gd name="T13" fmla="*/ 617 h 868"/>
                <a:gd name="T14" fmla="*/ 817 w 873"/>
                <a:gd name="T15" fmla="*/ 725 h 868"/>
                <a:gd name="T16" fmla="*/ 739 w 873"/>
                <a:gd name="T17" fmla="*/ 786 h 868"/>
                <a:gd name="T18" fmla="*/ 650 w 873"/>
                <a:gd name="T19" fmla="*/ 831 h 868"/>
                <a:gd name="T20" fmla="*/ 553 w 873"/>
                <a:gd name="T21" fmla="*/ 859 h 868"/>
                <a:gd name="T22" fmla="*/ 453 w 873"/>
                <a:gd name="T23" fmla="*/ 867 h 868"/>
                <a:gd name="T24" fmla="*/ 267 w 873"/>
                <a:gd name="T25" fmla="*/ 836 h 868"/>
                <a:gd name="T26" fmla="*/ 122 w 873"/>
                <a:gd name="T27" fmla="*/ 748 h 868"/>
                <a:gd name="T28" fmla="*/ 31 w 873"/>
                <a:gd name="T29" fmla="*/ 609 h 868"/>
                <a:gd name="T30" fmla="*/ 0 w 873"/>
                <a:gd name="T31" fmla="*/ 431 h 868"/>
                <a:gd name="T32" fmla="*/ 31 w 873"/>
                <a:gd name="T33" fmla="*/ 256 h 868"/>
                <a:gd name="T34" fmla="*/ 122 w 873"/>
                <a:gd name="T35" fmla="*/ 120 h 868"/>
                <a:gd name="T36" fmla="*/ 261 w 873"/>
                <a:gd name="T37" fmla="*/ 31 h 868"/>
                <a:gd name="T38" fmla="*/ 442 w 873"/>
                <a:gd name="T39" fmla="*/ 0 h 868"/>
                <a:gd name="T40" fmla="*/ 628 w 873"/>
                <a:gd name="T41" fmla="*/ 31 h 868"/>
                <a:gd name="T42" fmla="*/ 767 w 873"/>
                <a:gd name="T43" fmla="*/ 125 h 868"/>
                <a:gd name="T44" fmla="*/ 850 w 873"/>
                <a:gd name="T45" fmla="*/ 278 h 868"/>
                <a:gd name="T46" fmla="*/ 864 w 873"/>
                <a:gd name="T47" fmla="*/ 498 h 868"/>
                <a:gd name="T48" fmla="*/ 186 w 873"/>
                <a:gd name="T49" fmla="*/ 353 h 868"/>
                <a:gd name="T50" fmla="*/ 186 w 873"/>
                <a:gd name="T51" fmla="*/ 353 h 868"/>
                <a:gd name="T52" fmla="*/ 694 w 873"/>
                <a:gd name="T53" fmla="*/ 353 h 868"/>
                <a:gd name="T54" fmla="*/ 619 w 873"/>
                <a:gd name="T55" fmla="*/ 203 h 868"/>
                <a:gd name="T56" fmla="*/ 447 w 873"/>
                <a:gd name="T57" fmla="*/ 153 h 868"/>
                <a:gd name="T58" fmla="*/ 278 w 873"/>
                <a:gd name="T59" fmla="*/ 203 h 868"/>
                <a:gd name="T60" fmla="*/ 186 w 873"/>
                <a:gd name="T61" fmla="*/ 353 h 868"/>
                <a:gd name="T62" fmla="*/ 864 w 873"/>
                <a:gd name="T63" fmla="*/ 49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3" h="868">
                  <a:moveTo>
                    <a:pt x="864" y="498"/>
                  </a:moveTo>
                  <a:lnTo>
                    <a:pt x="864" y="498"/>
                  </a:lnTo>
                  <a:cubicBezTo>
                    <a:pt x="181" y="498"/>
                    <a:pt x="181" y="498"/>
                    <a:pt x="181" y="498"/>
                  </a:cubicBezTo>
                  <a:cubicBezTo>
                    <a:pt x="189" y="562"/>
                    <a:pt x="219" y="611"/>
                    <a:pt x="267" y="650"/>
                  </a:cubicBezTo>
                  <a:cubicBezTo>
                    <a:pt x="317" y="686"/>
                    <a:pt x="381" y="706"/>
                    <a:pt x="456" y="706"/>
                  </a:cubicBezTo>
                  <a:cubicBezTo>
                    <a:pt x="500" y="706"/>
                    <a:pt x="544" y="698"/>
                    <a:pt x="592" y="684"/>
                  </a:cubicBezTo>
                  <a:cubicBezTo>
                    <a:pt x="639" y="667"/>
                    <a:pt x="675" y="645"/>
                    <a:pt x="700" y="617"/>
                  </a:cubicBezTo>
                  <a:cubicBezTo>
                    <a:pt x="817" y="725"/>
                    <a:pt x="817" y="725"/>
                    <a:pt x="817" y="725"/>
                  </a:cubicBezTo>
                  <a:cubicBezTo>
                    <a:pt x="794" y="750"/>
                    <a:pt x="769" y="770"/>
                    <a:pt x="739" y="786"/>
                  </a:cubicBezTo>
                  <a:cubicBezTo>
                    <a:pt x="711" y="806"/>
                    <a:pt x="681" y="820"/>
                    <a:pt x="650" y="831"/>
                  </a:cubicBezTo>
                  <a:cubicBezTo>
                    <a:pt x="619" y="845"/>
                    <a:pt x="586" y="853"/>
                    <a:pt x="553" y="859"/>
                  </a:cubicBezTo>
                  <a:cubicBezTo>
                    <a:pt x="519" y="864"/>
                    <a:pt x="486" y="867"/>
                    <a:pt x="453" y="867"/>
                  </a:cubicBezTo>
                  <a:cubicBezTo>
                    <a:pt x="383" y="867"/>
                    <a:pt x="322" y="856"/>
                    <a:pt x="267" y="836"/>
                  </a:cubicBezTo>
                  <a:cubicBezTo>
                    <a:pt x="208" y="814"/>
                    <a:pt x="161" y="786"/>
                    <a:pt x="122" y="748"/>
                  </a:cubicBezTo>
                  <a:cubicBezTo>
                    <a:pt x="83" y="709"/>
                    <a:pt x="53" y="664"/>
                    <a:pt x="31" y="609"/>
                  </a:cubicBezTo>
                  <a:cubicBezTo>
                    <a:pt x="11" y="556"/>
                    <a:pt x="0" y="495"/>
                    <a:pt x="0" y="431"/>
                  </a:cubicBezTo>
                  <a:cubicBezTo>
                    <a:pt x="0" y="367"/>
                    <a:pt x="11" y="309"/>
                    <a:pt x="31" y="256"/>
                  </a:cubicBezTo>
                  <a:cubicBezTo>
                    <a:pt x="53" y="203"/>
                    <a:pt x="83" y="159"/>
                    <a:pt x="122" y="120"/>
                  </a:cubicBezTo>
                  <a:cubicBezTo>
                    <a:pt x="161" y="84"/>
                    <a:pt x="208" y="53"/>
                    <a:pt x="261" y="31"/>
                  </a:cubicBezTo>
                  <a:cubicBezTo>
                    <a:pt x="314" y="12"/>
                    <a:pt x="375" y="0"/>
                    <a:pt x="442" y="0"/>
                  </a:cubicBezTo>
                  <a:cubicBezTo>
                    <a:pt x="508" y="0"/>
                    <a:pt x="572" y="12"/>
                    <a:pt x="628" y="31"/>
                  </a:cubicBezTo>
                  <a:cubicBezTo>
                    <a:pt x="681" y="53"/>
                    <a:pt x="728" y="84"/>
                    <a:pt x="767" y="125"/>
                  </a:cubicBezTo>
                  <a:cubicBezTo>
                    <a:pt x="806" y="164"/>
                    <a:pt x="833" y="217"/>
                    <a:pt x="850" y="278"/>
                  </a:cubicBezTo>
                  <a:cubicBezTo>
                    <a:pt x="867" y="342"/>
                    <a:pt x="872" y="414"/>
                    <a:pt x="864" y="498"/>
                  </a:cubicBezTo>
                  <a:lnTo>
                    <a:pt x="186" y="353"/>
                  </a:lnTo>
                  <a:lnTo>
                    <a:pt x="186" y="353"/>
                  </a:lnTo>
                  <a:cubicBezTo>
                    <a:pt x="694" y="353"/>
                    <a:pt x="694" y="353"/>
                    <a:pt x="694" y="353"/>
                  </a:cubicBezTo>
                  <a:cubicBezTo>
                    <a:pt x="689" y="287"/>
                    <a:pt x="664" y="236"/>
                    <a:pt x="619" y="203"/>
                  </a:cubicBezTo>
                  <a:cubicBezTo>
                    <a:pt x="575" y="170"/>
                    <a:pt x="519" y="153"/>
                    <a:pt x="447" y="153"/>
                  </a:cubicBezTo>
                  <a:cubicBezTo>
                    <a:pt x="381" y="153"/>
                    <a:pt x="325" y="170"/>
                    <a:pt x="278" y="203"/>
                  </a:cubicBezTo>
                  <a:cubicBezTo>
                    <a:pt x="231" y="236"/>
                    <a:pt x="200" y="287"/>
                    <a:pt x="186" y="353"/>
                  </a:cubicBezTo>
                  <a:lnTo>
                    <a:pt x="864" y="4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2" name="Freeform 19">
              <a:extLst>
                <a:ext uri="{FF2B5EF4-FFF2-40B4-BE49-F238E27FC236}">
                  <a16:creationId xmlns:a16="http://schemas.microsoft.com/office/drawing/2014/main" id="{48AA1122-1D63-FD44-9DBD-CC8788004DA8}"/>
                </a:ext>
              </a:extLst>
            </p:cNvPr>
            <p:cNvSpPr>
              <a:spLocks noChangeArrowheads="1"/>
            </p:cNvSpPr>
            <p:nvPr userDrawn="1"/>
          </p:nvSpPr>
          <p:spPr bwMode="auto">
            <a:xfrm>
              <a:off x="1828800" y="3743325"/>
              <a:ext cx="323850" cy="311150"/>
            </a:xfrm>
            <a:custGeom>
              <a:avLst/>
              <a:gdLst>
                <a:gd name="T0" fmla="*/ 722 w 901"/>
                <a:gd name="T1" fmla="*/ 147 h 865"/>
                <a:gd name="T2" fmla="*/ 722 w 901"/>
                <a:gd name="T3" fmla="*/ 147 h 865"/>
                <a:gd name="T4" fmla="*/ 728 w 901"/>
                <a:gd name="T5" fmla="*/ 17 h 865"/>
                <a:gd name="T6" fmla="*/ 900 w 901"/>
                <a:gd name="T7" fmla="*/ 17 h 865"/>
                <a:gd name="T8" fmla="*/ 900 w 901"/>
                <a:gd name="T9" fmla="*/ 842 h 865"/>
                <a:gd name="T10" fmla="*/ 731 w 901"/>
                <a:gd name="T11" fmla="*/ 842 h 865"/>
                <a:gd name="T12" fmla="*/ 722 w 901"/>
                <a:gd name="T13" fmla="*/ 709 h 865"/>
                <a:gd name="T14" fmla="*/ 669 w 901"/>
                <a:gd name="T15" fmla="*/ 778 h 865"/>
                <a:gd name="T16" fmla="*/ 597 w 901"/>
                <a:gd name="T17" fmla="*/ 825 h 865"/>
                <a:gd name="T18" fmla="*/ 514 w 901"/>
                <a:gd name="T19" fmla="*/ 856 h 865"/>
                <a:gd name="T20" fmla="*/ 433 w 901"/>
                <a:gd name="T21" fmla="*/ 864 h 865"/>
                <a:gd name="T22" fmla="*/ 261 w 901"/>
                <a:gd name="T23" fmla="*/ 836 h 865"/>
                <a:gd name="T24" fmla="*/ 125 w 901"/>
                <a:gd name="T25" fmla="*/ 753 h 865"/>
                <a:gd name="T26" fmla="*/ 33 w 901"/>
                <a:gd name="T27" fmla="*/ 617 h 865"/>
                <a:gd name="T28" fmla="*/ 0 w 901"/>
                <a:gd name="T29" fmla="*/ 428 h 865"/>
                <a:gd name="T30" fmla="*/ 36 w 901"/>
                <a:gd name="T31" fmla="*/ 245 h 865"/>
                <a:gd name="T32" fmla="*/ 128 w 901"/>
                <a:gd name="T33" fmla="*/ 111 h 865"/>
                <a:gd name="T34" fmla="*/ 267 w 901"/>
                <a:gd name="T35" fmla="*/ 28 h 865"/>
                <a:gd name="T36" fmla="*/ 436 w 901"/>
                <a:gd name="T37" fmla="*/ 0 h 865"/>
                <a:gd name="T38" fmla="*/ 606 w 901"/>
                <a:gd name="T39" fmla="*/ 39 h 865"/>
                <a:gd name="T40" fmla="*/ 722 w 901"/>
                <a:gd name="T41" fmla="*/ 147 h 865"/>
                <a:gd name="T42" fmla="*/ 450 w 901"/>
                <a:gd name="T43" fmla="*/ 156 h 865"/>
                <a:gd name="T44" fmla="*/ 450 w 901"/>
                <a:gd name="T45" fmla="*/ 156 h 865"/>
                <a:gd name="T46" fmla="*/ 344 w 901"/>
                <a:gd name="T47" fmla="*/ 175 h 865"/>
                <a:gd name="T48" fmla="*/ 258 w 901"/>
                <a:gd name="T49" fmla="*/ 231 h 865"/>
                <a:gd name="T50" fmla="*/ 197 w 901"/>
                <a:gd name="T51" fmla="*/ 317 h 865"/>
                <a:gd name="T52" fmla="*/ 178 w 901"/>
                <a:gd name="T53" fmla="*/ 428 h 865"/>
                <a:gd name="T54" fmla="*/ 197 w 901"/>
                <a:gd name="T55" fmla="*/ 545 h 865"/>
                <a:gd name="T56" fmla="*/ 258 w 901"/>
                <a:gd name="T57" fmla="*/ 631 h 865"/>
                <a:gd name="T58" fmla="*/ 344 w 901"/>
                <a:gd name="T59" fmla="*/ 684 h 865"/>
                <a:gd name="T60" fmla="*/ 450 w 901"/>
                <a:gd name="T61" fmla="*/ 703 h 865"/>
                <a:gd name="T62" fmla="*/ 600 w 901"/>
                <a:gd name="T63" fmla="*/ 664 h 865"/>
                <a:gd name="T64" fmla="*/ 692 w 901"/>
                <a:gd name="T65" fmla="*/ 561 h 865"/>
                <a:gd name="T66" fmla="*/ 722 w 901"/>
                <a:gd name="T67" fmla="*/ 431 h 865"/>
                <a:gd name="T68" fmla="*/ 692 w 901"/>
                <a:gd name="T69" fmla="*/ 298 h 865"/>
                <a:gd name="T70" fmla="*/ 600 w 901"/>
                <a:gd name="T71" fmla="*/ 198 h 865"/>
                <a:gd name="T72" fmla="*/ 450 w 901"/>
                <a:gd name="T73" fmla="*/ 156 h 865"/>
                <a:gd name="T74" fmla="*/ 722 w 901"/>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1" h="865">
                  <a:moveTo>
                    <a:pt x="722" y="147"/>
                  </a:moveTo>
                  <a:lnTo>
                    <a:pt x="722" y="147"/>
                  </a:lnTo>
                  <a:cubicBezTo>
                    <a:pt x="728" y="17"/>
                    <a:pt x="728" y="17"/>
                    <a:pt x="728" y="17"/>
                  </a:cubicBezTo>
                  <a:cubicBezTo>
                    <a:pt x="900" y="17"/>
                    <a:pt x="900" y="17"/>
                    <a:pt x="900" y="17"/>
                  </a:cubicBezTo>
                  <a:cubicBezTo>
                    <a:pt x="900" y="842"/>
                    <a:pt x="900" y="842"/>
                    <a:pt x="900" y="842"/>
                  </a:cubicBezTo>
                  <a:cubicBezTo>
                    <a:pt x="731" y="842"/>
                    <a:pt x="731" y="842"/>
                    <a:pt x="731" y="842"/>
                  </a:cubicBezTo>
                  <a:cubicBezTo>
                    <a:pt x="722" y="709"/>
                    <a:pt x="722" y="709"/>
                    <a:pt x="722" y="709"/>
                  </a:cubicBezTo>
                  <a:cubicBezTo>
                    <a:pt x="708" y="736"/>
                    <a:pt x="692" y="759"/>
                    <a:pt x="669" y="778"/>
                  </a:cubicBezTo>
                  <a:cubicBezTo>
                    <a:pt x="647" y="797"/>
                    <a:pt x="622" y="814"/>
                    <a:pt x="597" y="825"/>
                  </a:cubicBezTo>
                  <a:cubicBezTo>
                    <a:pt x="569" y="839"/>
                    <a:pt x="542" y="847"/>
                    <a:pt x="514" y="856"/>
                  </a:cubicBezTo>
                  <a:cubicBezTo>
                    <a:pt x="486" y="861"/>
                    <a:pt x="458" y="864"/>
                    <a:pt x="433" y="864"/>
                  </a:cubicBezTo>
                  <a:cubicBezTo>
                    <a:pt x="372" y="864"/>
                    <a:pt x="314" y="853"/>
                    <a:pt x="261" y="836"/>
                  </a:cubicBezTo>
                  <a:cubicBezTo>
                    <a:pt x="208" y="817"/>
                    <a:pt x="164" y="789"/>
                    <a:pt x="125" y="753"/>
                  </a:cubicBezTo>
                  <a:cubicBezTo>
                    <a:pt x="86" y="714"/>
                    <a:pt x="56" y="670"/>
                    <a:pt x="33" y="617"/>
                  </a:cubicBezTo>
                  <a:cubicBezTo>
                    <a:pt x="11" y="561"/>
                    <a:pt x="0" y="500"/>
                    <a:pt x="0" y="428"/>
                  </a:cubicBezTo>
                  <a:cubicBezTo>
                    <a:pt x="0" y="361"/>
                    <a:pt x="11" y="300"/>
                    <a:pt x="36" y="245"/>
                  </a:cubicBezTo>
                  <a:cubicBezTo>
                    <a:pt x="58" y="192"/>
                    <a:pt x="89" y="147"/>
                    <a:pt x="128" y="111"/>
                  </a:cubicBezTo>
                  <a:cubicBezTo>
                    <a:pt x="167" y="75"/>
                    <a:pt x="214" y="48"/>
                    <a:pt x="267" y="28"/>
                  </a:cubicBezTo>
                  <a:cubicBezTo>
                    <a:pt x="319" y="9"/>
                    <a:pt x="375" y="0"/>
                    <a:pt x="436" y="0"/>
                  </a:cubicBezTo>
                  <a:cubicBezTo>
                    <a:pt x="497" y="0"/>
                    <a:pt x="553" y="14"/>
                    <a:pt x="606" y="39"/>
                  </a:cubicBezTo>
                  <a:cubicBezTo>
                    <a:pt x="658" y="64"/>
                    <a:pt x="697" y="103"/>
                    <a:pt x="722" y="147"/>
                  </a:cubicBezTo>
                  <a:lnTo>
                    <a:pt x="450" y="156"/>
                  </a:lnTo>
                  <a:lnTo>
                    <a:pt x="450" y="156"/>
                  </a:lnTo>
                  <a:cubicBezTo>
                    <a:pt x="414" y="156"/>
                    <a:pt x="378" y="164"/>
                    <a:pt x="344" y="175"/>
                  </a:cubicBezTo>
                  <a:cubicBezTo>
                    <a:pt x="311" y="189"/>
                    <a:pt x="283" y="206"/>
                    <a:pt x="258" y="231"/>
                  </a:cubicBezTo>
                  <a:cubicBezTo>
                    <a:pt x="233" y="253"/>
                    <a:pt x="211" y="284"/>
                    <a:pt x="197" y="317"/>
                  </a:cubicBezTo>
                  <a:cubicBezTo>
                    <a:pt x="183" y="350"/>
                    <a:pt x="178" y="386"/>
                    <a:pt x="178" y="428"/>
                  </a:cubicBezTo>
                  <a:cubicBezTo>
                    <a:pt x="178" y="472"/>
                    <a:pt x="183" y="509"/>
                    <a:pt x="197" y="545"/>
                  </a:cubicBezTo>
                  <a:cubicBezTo>
                    <a:pt x="211" y="578"/>
                    <a:pt x="233" y="606"/>
                    <a:pt x="258" y="631"/>
                  </a:cubicBezTo>
                  <a:cubicBezTo>
                    <a:pt x="283" y="653"/>
                    <a:pt x="311" y="672"/>
                    <a:pt x="344" y="684"/>
                  </a:cubicBezTo>
                  <a:cubicBezTo>
                    <a:pt x="378" y="698"/>
                    <a:pt x="414" y="703"/>
                    <a:pt x="450" y="703"/>
                  </a:cubicBezTo>
                  <a:cubicBezTo>
                    <a:pt x="511" y="703"/>
                    <a:pt x="561" y="689"/>
                    <a:pt x="600" y="664"/>
                  </a:cubicBezTo>
                  <a:cubicBezTo>
                    <a:pt x="642" y="636"/>
                    <a:pt x="672" y="603"/>
                    <a:pt x="692" y="561"/>
                  </a:cubicBezTo>
                  <a:cubicBezTo>
                    <a:pt x="714" y="522"/>
                    <a:pt x="722" y="478"/>
                    <a:pt x="722" y="431"/>
                  </a:cubicBezTo>
                  <a:cubicBezTo>
                    <a:pt x="722" y="384"/>
                    <a:pt x="714" y="339"/>
                    <a:pt x="692" y="298"/>
                  </a:cubicBezTo>
                  <a:cubicBezTo>
                    <a:pt x="672" y="259"/>
                    <a:pt x="642" y="223"/>
                    <a:pt x="600" y="198"/>
                  </a:cubicBezTo>
                  <a:cubicBezTo>
                    <a:pt x="561" y="170"/>
                    <a:pt x="511" y="156"/>
                    <a:pt x="450" y="156"/>
                  </a:cubicBezTo>
                  <a:lnTo>
                    <a:pt x="722" y="14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3" name="Freeform 20">
              <a:extLst>
                <a:ext uri="{FF2B5EF4-FFF2-40B4-BE49-F238E27FC236}">
                  <a16:creationId xmlns:a16="http://schemas.microsoft.com/office/drawing/2014/main" id="{2E9B9610-9A08-0447-AD11-5AAA13296216}"/>
                </a:ext>
              </a:extLst>
            </p:cNvPr>
            <p:cNvSpPr>
              <a:spLocks noChangeArrowheads="1"/>
            </p:cNvSpPr>
            <p:nvPr userDrawn="1"/>
          </p:nvSpPr>
          <p:spPr bwMode="auto">
            <a:xfrm>
              <a:off x="2214563" y="3743325"/>
              <a:ext cx="266700" cy="312738"/>
            </a:xfrm>
            <a:custGeom>
              <a:avLst/>
              <a:gdLst>
                <a:gd name="T0" fmla="*/ 603 w 743"/>
                <a:gd name="T1" fmla="*/ 222 h 870"/>
                <a:gd name="T2" fmla="*/ 603 w 743"/>
                <a:gd name="T3" fmla="*/ 222 h 870"/>
                <a:gd name="T4" fmla="*/ 500 w 743"/>
                <a:gd name="T5" fmla="*/ 161 h 870"/>
                <a:gd name="T6" fmla="*/ 381 w 743"/>
                <a:gd name="T7" fmla="*/ 147 h 870"/>
                <a:gd name="T8" fmla="*/ 250 w 743"/>
                <a:gd name="T9" fmla="*/ 169 h 870"/>
                <a:gd name="T10" fmla="*/ 203 w 743"/>
                <a:gd name="T11" fmla="*/ 244 h 870"/>
                <a:gd name="T12" fmla="*/ 253 w 743"/>
                <a:gd name="T13" fmla="*/ 319 h 870"/>
                <a:gd name="T14" fmla="*/ 386 w 743"/>
                <a:gd name="T15" fmla="*/ 349 h 870"/>
                <a:gd name="T16" fmla="*/ 506 w 743"/>
                <a:gd name="T17" fmla="*/ 366 h 870"/>
                <a:gd name="T18" fmla="*/ 622 w 743"/>
                <a:gd name="T19" fmla="*/ 405 h 870"/>
                <a:gd name="T20" fmla="*/ 708 w 743"/>
                <a:gd name="T21" fmla="*/ 480 h 870"/>
                <a:gd name="T22" fmla="*/ 742 w 743"/>
                <a:gd name="T23" fmla="*/ 608 h 870"/>
                <a:gd name="T24" fmla="*/ 717 w 743"/>
                <a:gd name="T25" fmla="*/ 713 h 870"/>
                <a:gd name="T26" fmla="*/ 645 w 743"/>
                <a:gd name="T27" fmla="*/ 797 h 870"/>
                <a:gd name="T28" fmla="*/ 531 w 743"/>
                <a:gd name="T29" fmla="*/ 849 h 870"/>
                <a:gd name="T30" fmla="*/ 383 w 743"/>
                <a:gd name="T31" fmla="*/ 869 h 870"/>
                <a:gd name="T32" fmla="*/ 184 w 743"/>
                <a:gd name="T33" fmla="*/ 838 h 870"/>
                <a:gd name="T34" fmla="*/ 0 w 743"/>
                <a:gd name="T35" fmla="*/ 716 h 870"/>
                <a:gd name="T36" fmla="*/ 92 w 743"/>
                <a:gd name="T37" fmla="*/ 597 h 870"/>
                <a:gd name="T38" fmla="*/ 231 w 743"/>
                <a:gd name="T39" fmla="*/ 688 h 870"/>
                <a:gd name="T40" fmla="*/ 386 w 743"/>
                <a:gd name="T41" fmla="*/ 719 h 870"/>
                <a:gd name="T42" fmla="*/ 450 w 743"/>
                <a:gd name="T43" fmla="*/ 713 h 870"/>
                <a:gd name="T44" fmla="*/ 506 w 743"/>
                <a:gd name="T45" fmla="*/ 694 h 870"/>
                <a:gd name="T46" fmla="*/ 550 w 743"/>
                <a:gd name="T47" fmla="*/ 661 h 870"/>
                <a:gd name="T48" fmla="*/ 567 w 743"/>
                <a:gd name="T49" fmla="*/ 611 h 870"/>
                <a:gd name="T50" fmla="*/ 517 w 743"/>
                <a:gd name="T51" fmla="*/ 530 h 870"/>
                <a:gd name="T52" fmla="*/ 372 w 743"/>
                <a:gd name="T53" fmla="*/ 497 h 870"/>
                <a:gd name="T54" fmla="*/ 250 w 743"/>
                <a:gd name="T55" fmla="*/ 477 h 870"/>
                <a:gd name="T56" fmla="*/ 142 w 743"/>
                <a:gd name="T57" fmla="*/ 436 h 870"/>
                <a:gd name="T58" fmla="*/ 61 w 743"/>
                <a:gd name="T59" fmla="*/ 363 h 870"/>
                <a:gd name="T60" fmla="*/ 28 w 743"/>
                <a:gd name="T61" fmla="*/ 249 h 870"/>
                <a:gd name="T62" fmla="*/ 61 w 743"/>
                <a:gd name="T63" fmla="*/ 133 h 870"/>
                <a:gd name="T64" fmla="*/ 145 w 743"/>
                <a:gd name="T65" fmla="*/ 55 h 870"/>
                <a:gd name="T66" fmla="*/ 258 w 743"/>
                <a:gd name="T67" fmla="*/ 11 h 870"/>
                <a:gd name="T68" fmla="*/ 378 w 743"/>
                <a:gd name="T69" fmla="*/ 0 h 870"/>
                <a:gd name="T70" fmla="*/ 553 w 743"/>
                <a:gd name="T71" fmla="*/ 22 h 870"/>
                <a:gd name="T72" fmla="*/ 703 w 743"/>
                <a:gd name="T73" fmla="*/ 108 h 870"/>
                <a:gd name="T74" fmla="*/ 603 w 743"/>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3" h="870">
                  <a:moveTo>
                    <a:pt x="603" y="222"/>
                  </a:moveTo>
                  <a:lnTo>
                    <a:pt x="603" y="222"/>
                  </a:lnTo>
                  <a:cubicBezTo>
                    <a:pt x="572" y="191"/>
                    <a:pt x="536" y="172"/>
                    <a:pt x="500" y="161"/>
                  </a:cubicBezTo>
                  <a:cubicBezTo>
                    <a:pt x="464" y="149"/>
                    <a:pt x="425" y="147"/>
                    <a:pt x="381" y="147"/>
                  </a:cubicBezTo>
                  <a:cubicBezTo>
                    <a:pt x="328" y="144"/>
                    <a:pt x="284" y="152"/>
                    <a:pt x="250" y="169"/>
                  </a:cubicBezTo>
                  <a:cubicBezTo>
                    <a:pt x="220" y="188"/>
                    <a:pt x="203" y="211"/>
                    <a:pt x="203" y="244"/>
                  </a:cubicBezTo>
                  <a:cubicBezTo>
                    <a:pt x="203" y="280"/>
                    <a:pt x="220" y="302"/>
                    <a:pt x="253" y="319"/>
                  </a:cubicBezTo>
                  <a:cubicBezTo>
                    <a:pt x="286" y="333"/>
                    <a:pt x="331" y="344"/>
                    <a:pt x="386" y="349"/>
                  </a:cubicBezTo>
                  <a:cubicBezTo>
                    <a:pt x="425" y="352"/>
                    <a:pt x="464" y="358"/>
                    <a:pt x="506" y="366"/>
                  </a:cubicBezTo>
                  <a:cubicBezTo>
                    <a:pt x="550" y="372"/>
                    <a:pt x="586" y="386"/>
                    <a:pt x="622" y="405"/>
                  </a:cubicBezTo>
                  <a:cubicBezTo>
                    <a:pt x="658" y="422"/>
                    <a:pt x="686" y="447"/>
                    <a:pt x="708" y="480"/>
                  </a:cubicBezTo>
                  <a:cubicBezTo>
                    <a:pt x="731" y="513"/>
                    <a:pt x="742" y="555"/>
                    <a:pt x="742" y="608"/>
                  </a:cubicBezTo>
                  <a:cubicBezTo>
                    <a:pt x="742" y="647"/>
                    <a:pt x="733" y="683"/>
                    <a:pt x="717" y="713"/>
                  </a:cubicBezTo>
                  <a:cubicBezTo>
                    <a:pt x="700" y="747"/>
                    <a:pt x="675" y="774"/>
                    <a:pt x="645" y="797"/>
                  </a:cubicBezTo>
                  <a:cubicBezTo>
                    <a:pt x="614" y="819"/>
                    <a:pt x="575" y="838"/>
                    <a:pt x="531" y="849"/>
                  </a:cubicBezTo>
                  <a:cubicBezTo>
                    <a:pt x="486" y="863"/>
                    <a:pt x="439" y="869"/>
                    <a:pt x="383" y="869"/>
                  </a:cubicBezTo>
                  <a:cubicBezTo>
                    <a:pt x="317" y="869"/>
                    <a:pt x="247" y="858"/>
                    <a:pt x="184" y="838"/>
                  </a:cubicBezTo>
                  <a:cubicBezTo>
                    <a:pt x="117" y="819"/>
                    <a:pt x="56" y="777"/>
                    <a:pt x="0" y="716"/>
                  </a:cubicBezTo>
                  <a:cubicBezTo>
                    <a:pt x="92" y="597"/>
                    <a:pt x="92" y="597"/>
                    <a:pt x="92" y="597"/>
                  </a:cubicBezTo>
                  <a:cubicBezTo>
                    <a:pt x="131" y="638"/>
                    <a:pt x="178" y="669"/>
                    <a:pt x="231" y="688"/>
                  </a:cubicBezTo>
                  <a:cubicBezTo>
                    <a:pt x="286" y="708"/>
                    <a:pt x="336" y="719"/>
                    <a:pt x="386" y="719"/>
                  </a:cubicBezTo>
                  <a:cubicBezTo>
                    <a:pt x="408" y="719"/>
                    <a:pt x="428" y="716"/>
                    <a:pt x="450" y="713"/>
                  </a:cubicBezTo>
                  <a:cubicBezTo>
                    <a:pt x="470" y="708"/>
                    <a:pt x="489" y="702"/>
                    <a:pt x="506" y="694"/>
                  </a:cubicBezTo>
                  <a:cubicBezTo>
                    <a:pt x="522" y="686"/>
                    <a:pt x="539" y="674"/>
                    <a:pt x="550" y="661"/>
                  </a:cubicBezTo>
                  <a:cubicBezTo>
                    <a:pt x="561" y="647"/>
                    <a:pt x="567" y="630"/>
                    <a:pt x="567" y="611"/>
                  </a:cubicBezTo>
                  <a:cubicBezTo>
                    <a:pt x="567" y="574"/>
                    <a:pt x="550" y="547"/>
                    <a:pt x="517" y="530"/>
                  </a:cubicBezTo>
                  <a:cubicBezTo>
                    <a:pt x="483" y="513"/>
                    <a:pt x="433" y="502"/>
                    <a:pt x="372" y="497"/>
                  </a:cubicBezTo>
                  <a:cubicBezTo>
                    <a:pt x="331" y="494"/>
                    <a:pt x="292" y="486"/>
                    <a:pt x="250" y="477"/>
                  </a:cubicBezTo>
                  <a:cubicBezTo>
                    <a:pt x="211" y="469"/>
                    <a:pt x="175" y="455"/>
                    <a:pt x="142" y="436"/>
                  </a:cubicBezTo>
                  <a:cubicBezTo>
                    <a:pt x="109" y="416"/>
                    <a:pt x="81" y="394"/>
                    <a:pt x="61" y="363"/>
                  </a:cubicBezTo>
                  <a:cubicBezTo>
                    <a:pt x="39" y="333"/>
                    <a:pt x="28" y="294"/>
                    <a:pt x="28" y="249"/>
                  </a:cubicBezTo>
                  <a:cubicBezTo>
                    <a:pt x="28" y="202"/>
                    <a:pt x="39" y="166"/>
                    <a:pt x="61" y="133"/>
                  </a:cubicBezTo>
                  <a:cubicBezTo>
                    <a:pt x="84" y="102"/>
                    <a:pt x="111" y="74"/>
                    <a:pt x="145" y="55"/>
                  </a:cubicBezTo>
                  <a:cubicBezTo>
                    <a:pt x="178" y="36"/>
                    <a:pt x="217" y="22"/>
                    <a:pt x="258" y="11"/>
                  </a:cubicBezTo>
                  <a:cubicBezTo>
                    <a:pt x="297" y="2"/>
                    <a:pt x="339" y="0"/>
                    <a:pt x="378" y="0"/>
                  </a:cubicBezTo>
                  <a:cubicBezTo>
                    <a:pt x="445" y="0"/>
                    <a:pt x="503" y="8"/>
                    <a:pt x="553" y="22"/>
                  </a:cubicBezTo>
                  <a:cubicBezTo>
                    <a:pt x="606" y="38"/>
                    <a:pt x="656" y="66"/>
                    <a:pt x="703" y="108"/>
                  </a:cubicBezTo>
                  <a:lnTo>
                    <a:pt x="603" y="22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4" name="Freeform 21">
              <a:extLst>
                <a:ext uri="{FF2B5EF4-FFF2-40B4-BE49-F238E27FC236}">
                  <a16:creationId xmlns:a16="http://schemas.microsoft.com/office/drawing/2014/main" id="{E70BD038-26E5-9A48-804A-252A946F509E}"/>
                </a:ext>
              </a:extLst>
            </p:cNvPr>
            <p:cNvSpPr>
              <a:spLocks noChangeArrowheads="1"/>
            </p:cNvSpPr>
            <p:nvPr userDrawn="1"/>
          </p:nvSpPr>
          <p:spPr bwMode="auto">
            <a:xfrm>
              <a:off x="2698750" y="3749675"/>
              <a:ext cx="63500" cy="298450"/>
            </a:xfrm>
            <a:custGeom>
              <a:avLst/>
              <a:gdLst>
                <a:gd name="T0" fmla="*/ 175 w 176"/>
                <a:gd name="T1" fmla="*/ 828 h 829"/>
                <a:gd name="T2" fmla="*/ 0 w 176"/>
                <a:gd name="T3" fmla="*/ 828 h 829"/>
                <a:gd name="T4" fmla="*/ 0 w 176"/>
                <a:gd name="T5" fmla="*/ 0 h 829"/>
                <a:gd name="T6" fmla="*/ 175 w 176"/>
                <a:gd name="T7" fmla="*/ 0 h 829"/>
                <a:gd name="T8" fmla="*/ 175 w 176"/>
                <a:gd name="T9" fmla="*/ 828 h 829"/>
              </a:gdLst>
              <a:ahLst/>
              <a:cxnLst>
                <a:cxn ang="0">
                  <a:pos x="T0" y="T1"/>
                </a:cxn>
                <a:cxn ang="0">
                  <a:pos x="T2" y="T3"/>
                </a:cxn>
                <a:cxn ang="0">
                  <a:pos x="T4" y="T5"/>
                </a:cxn>
                <a:cxn ang="0">
                  <a:pos x="T6" y="T7"/>
                </a:cxn>
                <a:cxn ang="0">
                  <a:pos x="T8" y="T9"/>
                </a:cxn>
              </a:cxnLst>
              <a:rect l="0" t="0" r="r" b="b"/>
              <a:pathLst>
                <a:path w="176" h="829">
                  <a:moveTo>
                    <a:pt x="175" y="828"/>
                  </a:moveTo>
                  <a:lnTo>
                    <a:pt x="0" y="828"/>
                  </a:lnTo>
                  <a:lnTo>
                    <a:pt x="0" y="0"/>
                  </a:lnTo>
                  <a:lnTo>
                    <a:pt x="175" y="0"/>
                  </a:lnTo>
                  <a:lnTo>
                    <a:pt x="175" y="82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5" name="Freeform 22">
              <a:extLst>
                <a:ext uri="{FF2B5EF4-FFF2-40B4-BE49-F238E27FC236}">
                  <a16:creationId xmlns:a16="http://schemas.microsoft.com/office/drawing/2014/main" id="{EC45D851-8B05-F549-BB5A-3E56A84A68CF}"/>
                </a:ext>
              </a:extLst>
            </p:cNvPr>
            <p:cNvSpPr>
              <a:spLocks noChangeArrowheads="1"/>
            </p:cNvSpPr>
            <p:nvPr userDrawn="1"/>
          </p:nvSpPr>
          <p:spPr bwMode="auto">
            <a:xfrm>
              <a:off x="2822575" y="3665538"/>
              <a:ext cx="223838" cy="385762"/>
            </a:xfrm>
            <a:custGeom>
              <a:avLst/>
              <a:gdLst>
                <a:gd name="T0" fmla="*/ 342 w 620"/>
                <a:gd name="T1" fmla="*/ 0 h 1073"/>
                <a:gd name="T2" fmla="*/ 342 w 620"/>
                <a:gd name="T3" fmla="*/ 0 h 1073"/>
                <a:gd name="T4" fmla="*/ 342 w 620"/>
                <a:gd name="T5" fmla="*/ 239 h 1073"/>
                <a:gd name="T6" fmla="*/ 586 w 620"/>
                <a:gd name="T7" fmla="*/ 239 h 1073"/>
                <a:gd name="T8" fmla="*/ 586 w 620"/>
                <a:gd name="T9" fmla="*/ 389 h 1073"/>
                <a:gd name="T10" fmla="*/ 339 w 620"/>
                <a:gd name="T11" fmla="*/ 389 h 1073"/>
                <a:gd name="T12" fmla="*/ 339 w 620"/>
                <a:gd name="T13" fmla="*/ 780 h 1073"/>
                <a:gd name="T14" fmla="*/ 369 w 620"/>
                <a:gd name="T15" fmla="*/ 880 h 1073"/>
                <a:gd name="T16" fmla="*/ 461 w 620"/>
                <a:gd name="T17" fmla="*/ 917 h 1073"/>
                <a:gd name="T18" fmla="*/ 514 w 620"/>
                <a:gd name="T19" fmla="*/ 908 h 1073"/>
                <a:gd name="T20" fmla="*/ 566 w 620"/>
                <a:gd name="T21" fmla="*/ 886 h 1073"/>
                <a:gd name="T22" fmla="*/ 619 w 620"/>
                <a:gd name="T23" fmla="*/ 1033 h 1073"/>
                <a:gd name="T24" fmla="*/ 533 w 620"/>
                <a:gd name="T25" fmla="*/ 1061 h 1073"/>
                <a:gd name="T26" fmla="*/ 450 w 620"/>
                <a:gd name="T27" fmla="*/ 1072 h 1073"/>
                <a:gd name="T28" fmla="*/ 236 w 620"/>
                <a:gd name="T29" fmla="*/ 1000 h 1073"/>
                <a:gd name="T30" fmla="*/ 164 w 620"/>
                <a:gd name="T31" fmla="*/ 780 h 1073"/>
                <a:gd name="T32" fmla="*/ 164 w 620"/>
                <a:gd name="T33" fmla="*/ 389 h 1073"/>
                <a:gd name="T34" fmla="*/ 0 w 620"/>
                <a:gd name="T35" fmla="*/ 389 h 1073"/>
                <a:gd name="T36" fmla="*/ 0 w 620"/>
                <a:gd name="T37" fmla="*/ 239 h 1073"/>
                <a:gd name="T38" fmla="*/ 164 w 620"/>
                <a:gd name="T39" fmla="*/ 239 h 1073"/>
                <a:gd name="T40" fmla="*/ 164 w 620"/>
                <a:gd name="T41" fmla="*/ 19 h 1073"/>
                <a:gd name="T42" fmla="*/ 342 w 620"/>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0" h="1073">
                  <a:moveTo>
                    <a:pt x="342" y="0"/>
                  </a:moveTo>
                  <a:lnTo>
                    <a:pt x="342" y="0"/>
                  </a:lnTo>
                  <a:cubicBezTo>
                    <a:pt x="342" y="239"/>
                    <a:pt x="342" y="239"/>
                    <a:pt x="342" y="239"/>
                  </a:cubicBezTo>
                  <a:cubicBezTo>
                    <a:pt x="586" y="239"/>
                    <a:pt x="586" y="239"/>
                    <a:pt x="586" y="239"/>
                  </a:cubicBezTo>
                  <a:cubicBezTo>
                    <a:pt x="586" y="389"/>
                    <a:pt x="586" y="389"/>
                    <a:pt x="586" y="389"/>
                  </a:cubicBezTo>
                  <a:cubicBezTo>
                    <a:pt x="339" y="389"/>
                    <a:pt x="339" y="389"/>
                    <a:pt x="339" y="389"/>
                  </a:cubicBezTo>
                  <a:cubicBezTo>
                    <a:pt x="339" y="780"/>
                    <a:pt x="339" y="780"/>
                    <a:pt x="339" y="780"/>
                  </a:cubicBezTo>
                  <a:cubicBezTo>
                    <a:pt x="339" y="825"/>
                    <a:pt x="350" y="858"/>
                    <a:pt x="369" y="880"/>
                  </a:cubicBezTo>
                  <a:cubicBezTo>
                    <a:pt x="389" y="905"/>
                    <a:pt x="419" y="917"/>
                    <a:pt x="461" y="917"/>
                  </a:cubicBezTo>
                  <a:cubicBezTo>
                    <a:pt x="478" y="917"/>
                    <a:pt x="494" y="914"/>
                    <a:pt x="514" y="908"/>
                  </a:cubicBezTo>
                  <a:cubicBezTo>
                    <a:pt x="533" y="903"/>
                    <a:pt x="550" y="897"/>
                    <a:pt x="566" y="886"/>
                  </a:cubicBezTo>
                  <a:cubicBezTo>
                    <a:pt x="619" y="1033"/>
                    <a:pt x="619" y="1033"/>
                    <a:pt x="619" y="1033"/>
                  </a:cubicBezTo>
                  <a:cubicBezTo>
                    <a:pt x="589" y="1047"/>
                    <a:pt x="561" y="1055"/>
                    <a:pt x="533" y="1061"/>
                  </a:cubicBezTo>
                  <a:cubicBezTo>
                    <a:pt x="508" y="1069"/>
                    <a:pt x="480" y="1072"/>
                    <a:pt x="450" y="1072"/>
                  </a:cubicBezTo>
                  <a:cubicBezTo>
                    <a:pt x="358" y="1072"/>
                    <a:pt x="286" y="1050"/>
                    <a:pt x="236" y="1000"/>
                  </a:cubicBezTo>
                  <a:cubicBezTo>
                    <a:pt x="189" y="953"/>
                    <a:pt x="164" y="878"/>
                    <a:pt x="164" y="780"/>
                  </a:cubicBezTo>
                  <a:cubicBezTo>
                    <a:pt x="164" y="389"/>
                    <a:pt x="164" y="389"/>
                    <a:pt x="164" y="389"/>
                  </a:cubicBezTo>
                  <a:cubicBezTo>
                    <a:pt x="0" y="389"/>
                    <a:pt x="0" y="389"/>
                    <a:pt x="0" y="389"/>
                  </a:cubicBezTo>
                  <a:cubicBezTo>
                    <a:pt x="0" y="239"/>
                    <a:pt x="0" y="239"/>
                    <a:pt x="0" y="239"/>
                  </a:cubicBezTo>
                  <a:cubicBezTo>
                    <a:pt x="164" y="239"/>
                    <a:pt x="164" y="239"/>
                    <a:pt x="164" y="239"/>
                  </a:cubicBezTo>
                  <a:cubicBezTo>
                    <a:pt x="164" y="19"/>
                    <a:pt x="164" y="19"/>
                    <a:pt x="164" y="19"/>
                  </a:cubicBezTo>
                  <a:lnTo>
                    <a:pt x="34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6" name="Freeform 23">
              <a:extLst>
                <a:ext uri="{FF2B5EF4-FFF2-40B4-BE49-F238E27FC236}">
                  <a16:creationId xmlns:a16="http://schemas.microsoft.com/office/drawing/2014/main" id="{AA995A18-2D95-0E43-B94A-3DA3DCDB513C}"/>
                </a:ext>
              </a:extLst>
            </p:cNvPr>
            <p:cNvSpPr>
              <a:spLocks noChangeArrowheads="1"/>
            </p:cNvSpPr>
            <p:nvPr userDrawn="1"/>
          </p:nvSpPr>
          <p:spPr bwMode="auto">
            <a:xfrm>
              <a:off x="3208338" y="3749675"/>
              <a:ext cx="492125" cy="298450"/>
            </a:xfrm>
            <a:custGeom>
              <a:avLst/>
              <a:gdLst>
                <a:gd name="T0" fmla="*/ 761 w 1368"/>
                <a:gd name="T1" fmla="*/ 0 h 829"/>
                <a:gd name="T2" fmla="*/ 961 w 1368"/>
                <a:gd name="T3" fmla="*/ 647 h 829"/>
                <a:gd name="T4" fmla="*/ 1169 w 1368"/>
                <a:gd name="T5" fmla="*/ 0 h 829"/>
                <a:gd name="T6" fmla="*/ 1367 w 1368"/>
                <a:gd name="T7" fmla="*/ 0 h 829"/>
                <a:gd name="T8" fmla="*/ 1072 w 1368"/>
                <a:gd name="T9" fmla="*/ 828 h 829"/>
                <a:gd name="T10" fmla="*/ 867 w 1368"/>
                <a:gd name="T11" fmla="*/ 828 h 829"/>
                <a:gd name="T12" fmla="*/ 767 w 1368"/>
                <a:gd name="T13" fmla="*/ 555 h 829"/>
                <a:gd name="T14" fmla="*/ 686 w 1368"/>
                <a:gd name="T15" fmla="*/ 267 h 829"/>
                <a:gd name="T16" fmla="*/ 603 w 1368"/>
                <a:gd name="T17" fmla="*/ 555 h 829"/>
                <a:gd name="T18" fmla="*/ 503 w 1368"/>
                <a:gd name="T19" fmla="*/ 828 h 829"/>
                <a:gd name="T20" fmla="*/ 297 w 1368"/>
                <a:gd name="T21" fmla="*/ 828 h 829"/>
                <a:gd name="T22" fmla="*/ 0 w 1368"/>
                <a:gd name="T23" fmla="*/ 0 h 829"/>
                <a:gd name="T24" fmla="*/ 200 w 1368"/>
                <a:gd name="T25" fmla="*/ 0 h 829"/>
                <a:gd name="T26" fmla="*/ 408 w 1368"/>
                <a:gd name="T27" fmla="*/ 647 h 829"/>
                <a:gd name="T28" fmla="*/ 608 w 1368"/>
                <a:gd name="T29" fmla="*/ 0 h 829"/>
                <a:gd name="T30" fmla="*/ 761 w 1368"/>
                <a:gd name="T31" fmla="*/ 0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8" h="829">
                  <a:moveTo>
                    <a:pt x="761" y="0"/>
                  </a:moveTo>
                  <a:lnTo>
                    <a:pt x="961" y="647"/>
                  </a:lnTo>
                  <a:lnTo>
                    <a:pt x="1169" y="0"/>
                  </a:lnTo>
                  <a:lnTo>
                    <a:pt x="1367" y="0"/>
                  </a:lnTo>
                  <a:lnTo>
                    <a:pt x="1072" y="828"/>
                  </a:lnTo>
                  <a:lnTo>
                    <a:pt x="867" y="828"/>
                  </a:lnTo>
                  <a:lnTo>
                    <a:pt x="767" y="555"/>
                  </a:lnTo>
                  <a:lnTo>
                    <a:pt x="686" y="267"/>
                  </a:lnTo>
                  <a:lnTo>
                    <a:pt x="603" y="555"/>
                  </a:lnTo>
                  <a:lnTo>
                    <a:pt x="503" y="828"/>
                  </a:lnTo>
                  <a:lnTo>
                    <a:pt x="297" y="828"/>
                  </a:lnTo>
                  <a:lnTo>
                    <a:pt x="0" y="0"/>
                  </a:lnTo>
                  <a:lnTo>
                    <a:pt x="200" y="0"/>
                  </a:lnTo>
                  <a:lnTo>
                    <a:pt x="408" y="647"/>
                  </a:lnTo>
                  <a:lnTo>
                    <a:pt x="608" y="0"/>
                  </a:lnTo>
                  <a:lnTo>
                    <a:pt x="761"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7" name="Freeform 24">
              <a:extLst>
                <a:ext uri="{FF2B5EF4-FFF2-40B4-BE49-F238E27FC236}">
                  <a16:creationId xmlns:a16="http://schemas.microsoft.com/office/drawing/2014/main" id="{70EEA587-2306-EB49-8FE3-42EBD34E90A9}"/>
                </a:ext>
              </a:extLst>
            </p:cNvPr>
            <p:cNvSpPr>
              <a:spLocks noChangeArrowheads="1"/>
            </p:cNvSpPr>
            <p:nvPr userDrawn="1"/>
          </p:nvSpPr>
          <p:spPr bwMode="auto">
            <a:xfrm>
              <a:off x="37322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3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8" y="147"/>
                    <a:pt x="127" y="111"/>
                  </a:cubicBezTo>
                  <a:cubicBezTo>
                    <a:pt x="166" y="75"/>
                    <a:pt x="211" y="48"/>
                    <a:pt x="263"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38" y="636"/>
                    <a:pt x="669" y="603"/>
                    <a:pt x="691" y="561"/>
                  </a:cubicBezTo>
                  <a:cubicBezTo>
                    <a:pt x="711" y="522"/>
                    <a:pt x="722" y="478"/>
                    <a:pt x="722" y="431"/>
                  </a:cubicBezTo>
                  <a:cubicBezTo>
                    <a:pt x="722" y="384"/>
                    <a:pt x="711" y="339"/>
                    <a:pt x="691" y="298"/>
                  </a:cubicBezTo>
                  <a:cubicBezTo>
                    <a:pt x="669" y="259"/>
                    <a:pt x="638" y="223"/>
                    <a:pt x="600" y="198"/>
                  </a:cubicBezTo>
                  <a:cubicBezTo>
                    <a:pt x="558" y="170"/>
                    <a:pt x="508" y="156"/>
                    <a:pt x="450" y="156"/>
                  </a:cubicBezTo>
                  <a:lnTo>
                    <a:pt x="722" y="14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8" name="Freeform 25">
              <a:extLst>
                <a:ext uri="{FF2B5EF4-FFF2-40B4-BE49-F238E27FC236}">
                  <a16:creationId xmlns:a16="http://schemas.microsoft.com/office/drawing/2014/main" id="{72CD9F3A-AD63-334C-8F13-F68D61A86EBC}"/>
                </a:ext>
              </a:extLst>
            </p:cNvPr>
            <p:cNvSpPr>
              <a:spLocks noChangeArrowheads="1"/>
            </p:cNvSpPr>
            <p:nvPr userDrawn="1"/>
          </p:nvSpPr>
          <p:spPr bwMode="auto">
            <a:xfrm>
              <a:off x="4116388" y="3743325"/>
              <a:ext cx="268287" cy="312738"/>
            </a:xfrm>
            <a:custGeom>
              <a:avLst/>
              <a:gdLst>
                <a:gd name="T0" fmla="*/ 605 w 745"/>
                <a:gd name="T1" fmla="*/ 222 h 870"/>
                <a:gd name="T2" fmla="*/ 605 w 745"/>
                <a:gd name="T3" fmla="*/ 222 h 870"/>
                <a:gd name="T4" fmla="*/ 500 w 745"/>
                <a:gd name="T5" fmla="*/ 161 h 870"/>
                <a:gd name="T6" fmla="*/ 383 w 745"/>
                <a:gd name="T7" fmla="*/ 147 h 870"/>
                <a:gd name="T8" fmla="*/ 253 w 745"/>
                <a:gd name="T9" fmla="*/ 169 h 870"/>
                <a:gd name="T10" fmla="*/ 203 w 745"/>
                <a:gd name="T11" fmla="*/ 244 h 870"/>
                <a:gd name="T12" fmla="*/ 256 w 745"/>
                <a:gd name="T13" fmla="*/ 319 h 870"/>
                <a:gd name="T14" fmla="*/ 386 w 745"/>
                <a:gd name="T15" fmla="*/ 349 h 870"/>
                <a:gd name="T16" fmla="*/ 508 w 745"/>
                <a:gd name="T17" fmla="*/ 366 h 870"/>
                <a:gd name="T18" fmla="*/ 625 w 745"/>
                <a:gd name="T19" fmla="*/ 405 h 870"/>
                <a:gd name="T20" fmla="*/ 711 w 745"/>
                <a:gd name="T21" fmla="*/ 480 h 870"/>
                <a:gd name="T22" fmla="*/ 744 w 745"/>
                <a:gd name="T23" fmla="*/ 608 h 870"/>
                <a:gd name="T24" fmla="*/ 717 w 745"/>
                <a:gd name="T25" fmla="*/ 713 h 870"/>
                <a:gd name="T26" fmla="*/ 644 w 745"/>
                <a:gd name="T27" fmla="*/ 797 h 870"/>
                <a:gd name="T28" fmla="*/ 533 w 745"/>
                <a:gd name="T29" fmla="*/ 849 h 870"/>
                <a:gd name="T30" fmla="*/ 386 w 745"/>
                <a:gd name="T31" fmla="*/ 869 h 870"/>
                <a:gd name="T32" fmla="*/ 183 w 745"/>
                <a:gd name="T33" fmla="*/ 838 h 870"/>
                <a:gd name="T34" fmla="*/ 0 w 745"/>
                <a:gd name="T35" fmla="*/ 716 h 870"/>
                <a:gd name="T36" fmla="*/ 92 w 745"/>
                <a:gd name="T37" fmla="*/ 597 h 870"/>
                <a:gd name="T38" fmla="*/ 233 w 745"/>
                <a:gd name="T39" fmla="*/ 688 h 870"/>
                <a:gd name="T40" fmla="*/ 389 w 745"/>
                <a:gd name="T41" fmla="*/ 719 h 870"/>
                <a:gd name="T42" fmla="*/ 450 w 745"/>
                <a:gd name="T43" fmla="*/ 713 h 870"/>
                <a:gd name="T44" fmla="*/ 508 w 745"/>
                <a:gd name="T45" fmla="*/ 694 h 870"/>
                <a:gd name="T46" fmla="*/ 550 w 745"/>
                <a:gd name="T47" fmla="*/ 661 h 870"/>
                <a:gd name="T48" fmla="*/ 567 w 745"/>
                <a:gd name="T49" fmla="*/ 611 h 870"/>
                <a:gd name="T50" fmla="*/ 519 w 745"/>
                <a:gd name="T51" fmla="*/ 530 h 870"/>
                <a:gd name="T52" fmla="*/ 372 w 745"/>
                <a:gd name="T53" fmla="*/ 497 h 870"/>
                <a:gd name="T54" fmla="*/ 253 w 745"/>
                <a:gd name="T55" fmla="*/ 477 h 870"/>
                <a:gd name="T56" fmla="*/ 142 w 745"/>
                <a:gd name="T57" fmla="*/ 436 h 870"/>
                <a:gd name="T58" fmla="*/ 61 w 745"/>
                <a:gd name="T59" fmla="*/ 363 h 870"/>
                <a:gd name="T60" fmla="*/ 30 w 745"/>
                <a:gd name="T61" fmla="*/ 249 h 870"/>
                <a:gd name="T62" fmla="*/ 61 w 745"/>
                <a:gd name="T63" fmla="*/ 133 h 870"/>
                <a:gd name="T64" fmla="*/ 147 w 745"/>
                <a:gd name="T65" fmla="*/ 55 h 870"/>
                <a:gd name="T66" fmla="*/ 258 w 745"/>
                <a:gd name="T67" fmla="*/ 11 h 870"/>
                <a:gd name="T68" fmla="*/ 381 w 745"/>
                <a:gd name="T69" fmla="*/ 0 h 870"/>
                <a:gd name="T70" fmla="*/ 556 w 745"/>
                <a:gd name="T71" fmla="*/ 22 h 870"/>
                <a:gd name="T72" fmla="*/ 705 w 745"/>
                <a:gd name="T73" fmla="*/ 108 h 870"/>
                <a:gd name="T74" fmla="*/ 605 w 745"/>
                <a:gd name="T75" fmla="*/ 22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5" h="870">
                  <a:moveTo>
                    <a:pt x="605" y="222"/>
                  </a:moveTo>
                  <a:lnTo>
                    <a:pt x="605" y="222"/>
                  </a:lnTo>
                  <a:cubicBezTo>
                    <a:pt x="572" y="191"/>
                    <a:pt x="536" y="172"/>
                    <a:pt x="500" y="161"/>
                  </a:cubicBezTo>
                  <a:cubicBezTo>
                    <a:pt x="464" y="149"/>
                    <a:pt x="425" y="147"/>
                    <a:pt x="383" y="147"/>
                  </a:cubicBezTo>
                  <a:cubicBezTo>
                    <a:pt x="328" y="144"/>
                    <a:pt x="286" y="152"/>
                    <a:pt x="253" y="169"/>
                  </a:cubicBezTo>
                  <a:cubicBezTo>
                    <a:pt x="219" y="188"/>
                    <a:pt x="203" y="211"/>
                    <a:pt x="203" y="244"/>
                  </a:cubicBezTo>
                  <a:cubicBezTo>
                    <a:pt x="206" y="280"/>
                    <a:pt x="222" y="302"/>
                    <a:pt x="256" y="319"/>
                  </a:cubicBezTo>
                  <a:cubicBezTo>
                    <a:pt x="289" y="333"/>
                    <a:pt x="333" y="344"/>
                    <a:pt x="386" y="349"/>
                  </a:cubicBezTo>
                  <a:cubicBezTo>
                    <a:pt x="425" y="352"/>
                    <a:pt x="467" y="358"/>
                    <a:pt x="508" y="366"/>
                  </a:cubicBezTo>
                  <a:cubicBezTo>
                    <a:pt x="550" y="372"/>
                    <a:pt x="589" y="386"/>
                    <a:pt x="625" y="405"/>
                  </a:cubicBezTo>
                  <a:cubicBezTo>
                    <a:pt x="658" y="422"/>
                    <a:pt x="689" y="447"/>
                    <a:pt x="711" y="480"/>
                  </a:cubicBezTo>
                  <a:cubicBezTo>
                    <a:pt x="733" y="513"/>
                    <a:pt x="744" y="555"/>
                    <a:pt x="744" y="608"/>
                  </a:cubicBezTo>
                  <a:cubicBezTo>
                    <a:pt x="744" y="647"/>
                    <a:pt x="736" y="683"/>
                    <a:pt x="717" y="713"/>
                  </a:cubicBezTo>
                  <a:cubicBezTo>
                    <a:pt x="700" y="747"/>
                    <a:pt x="678" y="774"/>
                    <a:pt x="644" y="797"/>
                  </a:cubicBezTo>
                  <a:cubicBezTo>
                    <a:pt x="614" y="819"/>
                    <a:pt x="578" y="838"/>
                    <a:pt x="533" y="849"/>
                  </a:cubicBezTo>
                  <a:cubicBezTo>
                    <a:pt x="489" y="863"/>
                    <a:pt x="439" y="869"/>
                    <a:pt x="386" y="869"/>
                  </a:cubicBezTo>
                  <a:cubicBezTo>
                    <a:pt x="317" y="869"/>
                    <a:pt x="250" y="858"/>
                    <a:pt x="183" y="838"/>
                  </a:cubicBezTo>
                  <a:cubicBezTo>
                    <a:pt x="117" y="819"/>
                    <a:pt x="56" y="777"/>
                    <a:pt x="0" y="716"/>
                  </a:cubicBezTo>
                  <a:cubicBezTo>
                    <a:pt x="92" y="597"/>
                    <a:pt x="92" y="597"/>
                    <a:pt x="92" y="597"/>
                  </a:cubicBezTo>
                  <a:cubicBezTo>
                    <a:pt x="133" y="638"/>
                    <a:pt x="181" y="669"/>
                    <a:pt x="233" y="688"/>
                  </a:cubicBezTo>
                  <a:cubicBezTo>
                    <a:pt x="286" y="708"/>
                    <a:pt x="339" y="719"/>
                    <a:pt x="389" y="719"/>
                  </a:cubicBezTo>
                  <a:cubicBezTo>
                    <a:pt x="408" y="719"/>
                    <a:pt x="430" y="716"/>
                    <a:pt x="450" y="713"/>
                  </a:cubicBezTo>
                  <a:cubicBezTo>
                    <a:pt x="472" y="708"/>
                    <a:pt x="492" y="702"/>
                    <a:pt x="508" y="694"/>
                  </a:cubicBezTo>
                  <a:cubicBezTo>
                    <a:pt x="525" y="686"/>
                    <a:pt x="539" y="674"/>
                    <a:pt x="550" y="661"/>
                  </a:cubicBezTo>
                  <a:cubicBezTo>
                    <a:pt x="561" y="647"/>
                    <a:pt x="567" y="630"/>
                    <a:pt x="567" y="611"/>
                  </a:cubicBezTo>
                  <a:cubicBezTo>
                    <a:pt x="569" y="574"/>
                    <a:pt x="553" y="547"/>
                    <a:pt x="519" y="530"/>
                  </a:cubicBezTo>
                  <a:cubicBezTo>
                    <a:pt x="483" y="513"/>
                    <a:pt x="436" y="502"/>
                    <a:pt x="372" y="497"/>
                  </a:cubicBezTo>
                  <a:cubicBezTo>
                    <a:pt x="333" y="494"/>
                    <a:pt x="292" y="486"/>
                    <a:pt x="253" y="477"/>
                  </a:cubicBezTo>
                  <a:cubicBezTo>
                    <a:pt x="211" y="469"/>
                    <a:pt x="175" y="455"/>
                    <a:pt x="142" y="436"/>
                  </a:cubicBezTo>
                  <a:cubicBezTo>
                    <a:pt x="108" y="416"/>
                    <a:pt x="83" y="394"/>
                    <a:pt x="61" y="363"/>
                  </a:cubicBezTo>
                  <a:cubicBezTo>
                    <a:pt x="42" y="333"/>
                    <a:pt x="30" y="294"/>
                    <a:pt x="30" y="249"/>
                  </a:cubicBezTo>
                  <a:cubicBezTo>
                    <a:pt x="30" y="202"/>
                    <a:pt x="42" y="166"/>
                    <a:pt x="61" y="133"/>
                  </a:cubicBezTo>
                  <a:cubicBezTo>
                    <a:pt x="83" y="102"/>
                    <a:pt x="111" y="74"/>
                    <a:pt x="147" y="55"/>
                  </a:cubicBezTo>
                  <a:cubicBezTo>
                    <a:pt x="181" y="36"/>
                    <a:pt x="217" y="22"/>
                    <a:pt x="258" y="11"/>
                  </a:cubicBezTo>
                  <a:cubicBezTo>
                    <a:pt x="300" y="2"/>
                    <a:pt x="339" y="0"/>
                    <a:pt x="381" y="0"/>
                  </a:cubicBezTo>
                  <a:cubicBezTo>
                    <a:pt x="444" y="0"/>
                    <a:pt x="503" y="8"/>
                    <a:pt x="556" y="22"/>
                  </a:cubicBezTo>
                  <a:cubicBezTo>
                    <a:pt x="605" y="38"/>
                    <a:pt x="656" y="66"/>
                    <a:pt x="705" y="108"/>
                  </a:cubicBezTo>
                  <a:lnTo>
                    <a:pt x="605" y="22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59" name="Freeform 26">
              <a:extLst>
                <a:ext uri="{FF2B5EF4-FFF2-40B4-BE49-F238E27FC236}">
                  <a16:creationId xmlns:a16="http://schemas.microsoft.com/office/drawing/2014/main" id="{4AA9266C-9A95-AC43-A5B1-6FB5289A6E70}"/>
                </a:ext>
              </a:extLst>
            </p:cNvPr>
            <p:cNvSpPr>
              <a:spLocks noChangeArrowheads="1"/>
            </p:cNvSpPr>
            <p:nvPr userDrawn="1"/>
          </p:nvSpPr>
          <p:spPr bwMode="auto">
            <a:xfrm>
              <a:off x="4600575" y="3744913"/>
              <a:ext cx="476250" cy="301625"/>
            </a:xfrm>
            <a:custGeom>
              <a:avLst/>
              <a:gdLst>
                <a:gd name="T0" fmla="*/ 575 w 1322"/>
                <a:gd name="T1" fmla="*/ 839 h 840"/>
                <a:gd name="T2" fmla="*/ 575 w 1322"/>
                <a:gd name="T3" fmla="*/ 839 h 840"/>
                <a:gd name="T4" fmla="*/ 575 w 1322"/>
                <a:gd name="T5" fmla="*/ 386 h 840"/>
                <a:gd name="T6" fmla="*/ 564 w 1322"/>
                <a:gd name="T7" fmla="*/ 300 h 840"/>
                <a:gd name="T8" fmla="*/ 525 w 1322"/>
                <a:gd name="T9" fmla="*/ 228 h 840"/>
                <a:gd name="T10" fmla="*/ 461 w 1322"/>
                <a:gd name="T11" fmla="*/ 178 h 840"/>
                <a:gd name="T12" fmla="*/ 381 w 1322"/>
                <a:gd name="T13" fmla="*/ 161 h 840"/>
                <a:gd name="T14" fmla="*/ 295 w 1322"/>
                <a:gd name="T15" fmla="*/ 178 h 840"/>
                <a:gd name="T16" fmla="*/ 231 w 1322"/>
                <a:gd name="T17" fmla="*/ 228 h 840"/>
                <a:gd name="T18" fmla="*/ 192 w 1322"/>
                <a:gd name="T19" fmla="*/ 300 h 840"/>
                <a:gd name="T20" fmla="*/ 175 w 1322"/>
                <a:gd name="T21" fmla="*/ 386 h 840"/>
                <a:gd name="T22" fmla="*/ 175 w 1322"/>
                <a:gd name="T23" fmla="*/ 839 h 840"/>
                <a:gd name="T24" fmla="*/ 0 w 1322"/>
                <a:gd name="T25" fmla="*/ 839 h 840"/>
                <a:gd name="T26" fmla="*/ 0 w 1322"/>
                <a:gd name="T27" fmla="*/ 14 h 840"/>
                <a:gd name="T28" fmla="*/ 164 w 1322"/>
                <a:gd name="T29" fmla="*/ 14 h 840"/>
                <a:gd name="T30" fmla="*/ 175 w 1322"/>
                <a:gd name="T31" fmla="*/ 125 h 840"/>
                <a:gd name="T32" fmla="*/ 278 w 1322"/>
                <a:gd name="T33" fmla="*/ 28 h 840"/>
                <a:gd name="T34" fmla="*/ 411 w 1322"/>
                <a:gd name="T35" fmla="*/ 0 h 840"/>
                <a:gd name="T36" fmla="*/ 492 w 1322"/>
                <a:gd name="T37" fmla="*/ 8 h 840"/>
                <a:gd name="T38" fmla="*/ 567 w 1322"/>
                <a:gd name="T39" fmla="*/ 36 h 840"/>
                <a:gd name="T40" fmla="*/ 631 w 1322"/>
                <a:gd name="T41" fmla="*/ 89 h 840"/>
                <a:gd name="T42" fmla="*/ 675 w 1322"/>
                <a:gd name="T43" fmla="*/ 167 h 840"/>
                <a:gd name="T44" fmla="*/ 803 w 1322"/>
                <a:gd name="T45" fmla="*/ 39 h 840"/>
                <a:gd name="T46" fmla="*/ 964 w 1322"/>
                <a:gd name="T47" fmla="*/ 3 h 840"/>
                <a:gd name="T48" fmla="*/ 1230 w 1322"/>
                <a:gd name="T49" fmla="*/ 103 h 840"/>
                <a:gd name="T50" fmla="*/ 1321 w 1322"/>
                <a:gd name="T51" fmla="*/ 383 h 840"/>
                <a:gd name="T52" fmla="*/ 1321 w 1322"/>
                <a:gd name="T53" fmla="*/ 839 h 840"/>
                <a:gd name="T54" fmla="*/ 1145 w 1322"/>
                <a:gd name="T55" fmla="*/ 839 h 840"/>
                <a:gd name="T56" fmla="*/ 1145 w 1322"/>
                <a:gd name="T57" fmla="*/ 381 h 840"/>
                <a:gd name="T58" fmla="*/ 1134 w 1322"/>
                <a:gd name="T59" fmla="*/ 297 h 840"/>
                <a:gd name="T60" fmla="*/ 1097 w 1322"/>
                <a:gd name="T61" fmla="*/ 225 h 840"/>
                <a:gd name="T62" fmla="*/ 1039 w 1322"/>
                <a:gd name="T63" fmla="*/ 178 h 840"/>
                <a:gd name="T64" fmla="*/ 959 w 1322"/>
                <a:gd name="T65" fmla="*/ 161 h 840"/>
                <a:gd name="T66" fmla="*/ 872 w 1322"/>
                <a:gd name="T67" fmla="*/ 181 h 840"/>
                <a:gd name="T68" fmla="*/ 809 w 1322"/>
                <a:gd name="T69" fmla="*/ 228 h 840"/>
                <a:gd name="T70" fmla="*/ 767 w 1322"/>
                <a:gd name="T71" fmla="*/ 300 h 840"/>
                <a:gd name="T72" fmla="*/ 753 w 1322"/>
                <a:gd name="T73" fmla="*/ 386 h 840"/>
                <a:gd name="T74" fmla="*/ 753 w 1322"/>
                <a:gd name="T75" fmla="*/ 839 h 840"/>
                <a:gd name="T76" fmla="*/ 575 w 1322"/>
                <a:gd name="T77" fmla="*/ 83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2" h="840">
                  <a:moveTo>
                    <a:pt x="575" y="839"/>
                  </a:moveTo>
                  <a:lnTo>
                    <a:pt x="575" y="839"/>
                  </a:lnTo>
                  <a:cubicBezTo>
                    <a:pt x="575" y="386"/>
                    <a:pt x="575" y="386"/>
                    <a:pt x="575" y="386"/>
                  </a:cubicBezTo>
                  <a:cubicBezTo>
                    <a:pt x="575" y="356"/>
                    <a:pt x="572" y="325"/>
                    <a:pt x="564" y="300"/>
                  </a:cubicBezTo>
                  <a:cubicBezTo>
                    <a:pt x="556" y="272"/>
                    <a:pt x="542" y="247"/>
                    <a:pt x="525" y="228"/>
                  </a:cubicBezTo>
                  <a:cubicBezTo>
                    <a:pt x="509" y="206"/>
                    <a:pt x="486" y="189"/>
                    <a:pt x="461" y="178"/>
                  </a:cubicBezTo>
                  <a:cubicBezTo>
                    <a:pt x="436" y="167"/>
                    <a:pt x="411" y="161"/>
                    <a:pt x="381" y="161"/>
                  </a:cubicBezTo>
                  <a:cubicBezTo>
                    <a:pt x="347" y="161"/>
                    <a:pt x="320" y="167"/>
                    <a:pt x="295" y="178"/>
                  </a:cubicBezTo>
                  <a:cubicBezTo>
                    <a:pt x="270" y="189"/>
                    <a:pt x="250" y="206"/>
                    <a:pt x="231" y="228"/>
                  </a:cubicBezTo>
                  <a:cubicBezTo>
                    <a:pt x="214" y="247"/>
                    <a:pt x="200" y="272"/>
                    <a:pt x="192" y="300"/>
                  </a:cubicBezTo>
                  <a:cubicBezTo>
                    <a:pt x="181" y="325"/>
                    <a:pt x="175" y="356"/>
                    <a:pt x="175" y="386"/>
                  </a:cubicBezTo>
                  <a:cubicBezTo>
                    <a:pt x="175" y="839"/>
                    <a:pt x="175" y="839"/>
                    <a:pt x="175" y="839"/>
                  </a:cubicBezTo>
                  <a:cubicBezTo>
                    <a:pt x="0" y="839"/>
                    <a:pt x="0" y="839"/>
                    <a:pt x="0" y="839"/>
                  </a:cubicBezTo>
                  <a:cubicBezTo>
                    <a:pt x="0" y="14"/>
                    <a:pt x="0" y="14"/>
                    <a:pt x="0" y="14"/>
                  </a:cubicBezTo>
                  <a:cubicBezTo>
                    <a:pt x="164" y="14"/>
                    <a:pt x="164" y="14"/>
                    <a:pt x="164" y="14"/>
                  </a:cubicBezTo>
                  <a:cubicBezTo>
                    <a:pt x="175" y="125"/>
                    <a:pt x="175" y="125"/>
                    <a:pt x="175" y="125"/>
                  </a:cubicBezTo>
                  <a:cubicBezTo>
                    <a:pt x="200" y="78"/>
                    <a:pt x="234" y="47"/>
                    <a:pt x="278" y="28"/>
                  </a:cubicBezTo>
                  <a:cubicBezTo>
                    <a:pt x="323" y="8"/>
                    <a:pt x="367" y="0"/>
                    <a:pt x="411" y="0"/>
                  </a:cubicBezTo>
                  <a:cubicBezTo>
                    <a:pt x="439" y="0"/>
                    <a:pt x="467" y="3"/>
                    <a:pt x="492" y="8"/>
                  </a:cubicBezTo>
                  <a:cubicBezTo>
                    <a:pt x="520" y="14"/>
                    <a:pt x="542" y="22"/>
                    <a:pt x="567" y="36"/>
                  </a:cubicBezTo>
                  <a:cubicBezTo>
                    <a:pt x="589" y="50"/>
                    <a:pt x="611" y="67"/>
                    <a:pt x="631" y="89"/>
                  </a:cubicBezTo>
                  <a:cubicBezTo>
                    <a:pt x="647" y="111"/>
                    <a:pt x="664" y="136"/>
                    <a:pt x="675" y="167"/>
                  </a:cubicBezTo>
                  <a:cubicBezTo>
                    <a:pt x="711" y="106"/>
                    <a:pt x="753" y="61"/>
                    <a:pt x="803" y="39"/>
                  </a:cubicBezTo>
                  <a:cubicBezTo>
                    <a:pt x="853" y="14"/>
                    <a:pt x="906" y="3"/>
                    <a:pt x="964" y="3"/>
                  </a:cubicBezTo>
                  <a:cubicBezTo>
                    <a:pt x="1084" y="3"/>
                    <a:pt x="1172" y="36"/>
                    <a:pt x="1230" y="103"/>
                  </a:cubicBezTo>
                  <a:cubicBezTo>
                    <a:pt x="1291" y="169"/>
                    <a:pt x="1321" y="264"/>
                    <a:pt x="1321" y="383"/>
                  </a:cubicBezTo>
                  <a:cubicBezTo>
                    <a:pt x="1321" y="839"/>
                    <a:pt x="1321" y="839"/>
                    <a:pt x="1321" y="839"/>
                  </a:cubicBezTo>
                  <a:cubicBezTo>
                    <a:pt x="1145" y="839"/>
                    <a:pt x="1145" y="839"/>
                    <a:pt x="1145" y="839"/>
                  </a:cubicBezTo>
                  <a:cubicBezTo>
                    <a:pt x="1145" y="381"/>
                    <a:pt x="1145" y="381"/>
                    <a:pt x="1145" y="381"/>
                  </a:cubicBezTo>
                  <a:cubicBezTo>
                    <a:pt x="1145" y="353"/>
                    <a:pt x="1139" y="322"/>
                    <a:pt x="1134" y="297"/>
                  </a:cubicBezTo>
                  <a:cubicBezTo>
                    <a:pt x="1125" y="269"/>
                    <a:pt x="1114" y="247"/>
                    <a:pt x="1097" y="225"/>
                  </a:cubicBezTo>
                  <a:cubicBezTo>
                    <a:pt x="1081" y="206"/>
                    <a:pt x="1061" y="189"/>
                    <a:pt x="1039" y="178"/>
                  </a:cubicBezTo>
                  <a:cubicBezTo>
                    <a:pt x="1017" y="167"/>
                    <a:pt x="989" y="161"/>
                    <a:pt x="959" y="161"/>
                  </a:cubicBezTo>
                  <a:cubicBezTo>
                    <a:pt x="928" y="161"/>
                    <a:pt x="900" y="169"/>
                    <a:pt x="872" y="181"/>
                  </a:cubicBezTo>
                  <a:cubicBezTo>
                    <a:pt x="847" y="192"/>
                    <a:pt x="825" y="208"/>
                    <a:pt x="809" y="228"/>
                  </a:cubicBezTo>
                  <a:cubicBezTo>
                    <a:pt x="792" y="247"/>
                    <a:pt x="778" y="272"/>
                    <a:pt x="767" y="300"/>
                  </a:cubicBezTo>
                  <a:cubicBezTo>
                    <a:pt x="759" y="325"/>
                    <a:pt x="753" y="356"/>
                    <a:pt x="753" y="386"/>
                  </a:cubicBezTo>
                  <a:cubicBezTo>
                    <a:pt x="753" y="839"/>
                    <a:pt x="753" y="839"/>
                    <a:pt x="753" y="839"/>
                  </a:cubicBezTo>
                  <a:lnTo>
                    <a:pt x="575" y="83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0" name="Freeform 27">
              <a:extLst>
                <a:ext uri="{FF2B5EF4-FFF2-40B4-BE49-F238E27FC236}">
                  <a16:creationId xmlns:a16="http://schemas.microsoft.com/office/drawing/2014/main" id="{6745A430-6FAE-ED4D-A55A-AD8B18569B1C}"/>
                </a:ext>
              </a:extLst>
            </p:cNvPr>
            <p:cNvSpPr>
              <a:spLocks noChangeArrowheads="1"/>
            </p:cNvSpPr>
            <p:nvPr userDrawn="1"/>
          </p:nvSpPr>
          <p:spPr bwMode="auto">
            <a:xfrm>
              <a:off x="5138738" y="3743325"/>
              <a:ext cx="315912"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2 w 876"/>
                <a:gd name="T11" fmla="*/ 680 h 864"/>
                <a:gd name="T12" fmla="*/ 703 w 876"/>
                <a:gd name="T13" fmla="*/ 616 h 864"/>
                <a:gd name="T14" fmla="*/ 817 w 876"/>
                <a:gd name="T15" fmla="*/ 724 h 864"/>
                <a:gd name="T16" fmla="*/ 742 w 876"/>
                <a:gd name="T17" fmla="*/ 786 h 864"/>
                <a:gd name="T18" fmla="*/ 653 w 876"/>
                <a:gd name="T19" fmla="*/ 830 h 864"/>
                <a:gd name="T20" fmla="*/ 553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3 w 876"/>
                <a:gd name="T35" fmla="*/ 119 h 864"/>
                <a:gd name="T36" fmla="*/ 261 w 876"/>
                <a:gd name="T37" fmla="*/ 30 h 864"/>
                <a:gd name="T38" fmla="*/ 442 w 876"/>
                <a:gd name="T39" fmla="*/ 0 h 864"/>
                <a:gd name="T40" fmla="*/ 628 w 876"/>
                <a:gd name="T41" fmla="*/ 30 h 864"/>
                <a:gd name="T42" fmla="*/ 767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2 w 876"/>
                <a:gd name="T55" fmla="*/ 202 h 864"/>
                <a:gd name="T56" fmla="*/ 448 w 876"/>
                <a:gd name="T57" fmla="*/ 152 h 864"/>
                <a:gd name="T58" fmla="*/ 278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17" y="686"/>
                    <a:pt x="381" y="705"/>
                    <a:pt x="459" y="705"/>
                  </a:cubicBezTo>
                  <a:cubicBezTo>
                    <a:pt x="500" y="705"/>
                    <a:pt x="548" y="697"/>
                    <a:pt x="592" y="680"/>
                  </a:cubicBezTo>
                  <a:cubicBezTo>
                    <a:pt x="639" y="666"/>
                    <a:pt x="675" y="644"/>
                    <a:pt x="703" y="616"/>
                  </a:cubicBezTo>
                  <a:cubicBezTo>
                    <a:pt x="817" y="724"/>
                    <a:pt x="817" y="724"/>
                    <a:pt x="817" y="724"/>
                  </a:cubicBezTo>
                  <a:cubicBezTo>
                    <a:pt x="795" y="747"/>
                    <a:pt x="770" y="769"/>
                    <a:pt x="742" y="786"/>
                  </a:cubicBezTo>
                  <a:cubicBezTo>
                    <a:pt x="714" y="802"/>
                    <a:pt x="684" y="819"/>
                    <a:pt x="653" y="830"/>
                  </a:cubicBezTo>
                  <a:cubicBezTo>
                    <a:pt x="620" y="841"/>
                    <a:pt x="589" y="849"/>
                    <a:pt x="553" y="855"/>
                  </a:cubicBezTo>
                  <a:cubicBezTo>
                    <a:pt x="520" y="861"/>
                    <a:pt x="486" y="863"/>
                    <a:pt x="456" y="863"/>
                  </a:cubicBezTo>
                  <a:cubicBezTo>
                    <a:pt x="386" y="863"/>
                    <a:pt x="323" y="855"/>
                    <a:pt x="267" y="833"/>
                  </a:cubicBezTo>
                  <a:cubicBezTo>
                    <a:pt x="211" y="813"/>
                    <a:pt x="164" y="783"/>
                    <a:pt x="125" y="747"/>
                  </a:cubicBezTo>
                  <a:cubicBezTo>
                    <a:pt x="86" y="708"/>
                    <a:pt x="56" y="661"/>
                    <a:pt x="34" y="608"/>
                  </a:cubicBezTo>
                  <a:cubicBezTo>
                    <a:pt x="11" y="552"/>
                    <a:pt x="0" y="494"/>
                    <a:pt x="0" y="427"/>
                  </a:cubicBezTo>
                  <a:cubicBezTo>
                    <a:pt x="0" y="366"/>
                    <a:pt x="11" y="308"/>
                    <a:pt x="34" y="255"/>
                  </a:cubicBezTo>
                  <a:cubicBezTo>
                    <a:pt x="56" y="202"/>
                    <a:pt x="84" y="158"/>
                    <a:pt x="123" y="119"/>
                  </a:cubicBezTo>
                  <a:cubicBezTo>
                    <a:pt x="161" y="80"/>
                    <a:pt x="209" y="52"/>
                    <a:pt x="261" y="30"/>
                  </a:cubicBezTo>
                  <a:cubicBezTo>
                    <a:pt x="317" y="8"/>
                    <a:pt x="378" y="0"/>
                    <a:pt x="442" y="0"/>
                  </a:cubicBezTo>
                  <a:cubicBezTo>
                    <a:pt x="511" y="0"/>
                    <a:pt x="573" y="8"/>
                    <a:pt x="628" y="30"/>
                  </a:cubicBezTo>
                  <a:cubicBezTo>
                    <a:pt x="684" y="50"/>
                    <a:pt x="731" y="80"/>
                    <a:pt x="767" y="122"/>
                  </a:cubicBezTo>
                  <a:cubicBezTo>
                    <a:pt x="806" y="163"/>
                    <a:pt x="834" y="216"/>
                    <a:pt x="853" y="277"/>
                  </a:cubicBezTo>
                  <a:cubicBezTo>
                    <a:pt x="870" y="341"/>
                    <a:pt x="875" y="413"/>
                    <a:pt x="867" y="497"/>
                  </a:cubicBezTo>
                  <a:lnTo>
                    <a:pt x="186" y="352"/>
                  </a:lnTo>
                  <a:lnTo>
                    <a:pt x="186" y="352"/>
                  </a:lnTo>
                  <a:cubicBezTo>
                    <a:pt x="698" y="352"/>
                    <a:pt x="698" y="352"/>
                    <a:pt x="698" y="352"/>
                  </a:cubicBezTo>
                  <a:cubicBezTo>
                    <a:pt x="692" y="286"/>
                    <a:pt x="667" y="236"/>
                    <a:pt x="622" y="202"/>
                  </a:cubicBezTo>
                  <a:cubicBezTo>
                    <a:pt x="578" y="169"/>
                    <a:pt x="520" y="152"/>
                    <a:pt x="448" y="152"/>
                  </a:cubicBezTo>
                  <a:cubicBezTo>
                    <a:pt x="384" y="152"/>
                    <a:pt x="328" y="169"/>
                    <a:pt x="278" y="202"/>
                  </a:cubicBezTo>
                  <a:cubicBezTo>
                    <a:pt x="231" y="236"/>
                    <a:pt x="200" y="286"/>
                    <a:pt x="186" y="352"/>
                  </a:cubicBezTo>
                  <a:lnTo>
                    <a:pt x="867" y="49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1" name="Freeform 28">
              <a:extLst>
                <a:ext uri="{FF2B5EF4-FFF2-40B4-BE49-F238E27FC236}">
                  <a16:creationId xmlns:a16="http://schemas.microsoft.com/office/drawing/2014/main" id="{E3E2DFF6-D44B-5F42-95C1-7E783E653E68}"/>
                </a:ext>
              </a:extLst>
            </p:cNvPr>
            <p:cNvSpPr>
              <a:spLocks noChangeArrowheads="1"/>
            </p:cNvSpPr>
            <p:nvPr userDrawn="1"/>
          </p:nvSpPr>
          <p:spPr bwMode="auto">
            <a:xfrm>
              <a:off x="5497513" y="3743325"/>
              <a:ext cx="323850" cy="311150"/>
            </a:xfrm>
            <a:custGeom>
              <a:avLst/>
              <a:gdLst>
                <a:gd name="T0" fmla="*/ 722 w 898"/>
                <a:gd name="T1" fmla="*/ 147 h 865"/>
                <a:gd name="T2" fmla="*/ 722 w 898"/>
                <a:gd name="T3" fmla="*/ 147 h 865"/>
                <a:gd name="T4" fmla="*/ 727 w 898"/>
                <a:gd name="T5" fmla="*/ 17 h 865"/>
                <a:gd name="T6" fmla="*/ 897 w 898"/>
                <a:gd name="T7" fmla="*/ 17 h 865"/>
                <a:gd name="T8" fmla="*/ 897 w 898"/>
                <a:gd name="T9" fmla="*/ 842 h 865"/>
                <a:gd name="T10" fmla="*/ 730 w 898"/>
                <a:gd name="T11" fmla="*/ 842 h 865"/>
                <a:gd name="T12" fmla="*/ 722 w 898"/>
                <a:gd name="T13" fmla="*/ 709 h 865"/>
                <a:gd name="T14" fmla="*/ 669 w 898"/>
                <a:gd name="T15" fmla="*/ 778 h 865"/>
                <a:gd name="T16" fmla="*/ 594 w 898"/>
                <a:gd name="T17" fmla="*/ 825 h 865"/>
                <a:gd name="T18" fmla="*/ 514 w 898"/>
                <a:gd name="T19" fmla="*/ 856 h 865"/>
                <a:gd name="T20" fmla="*/ 430 w 898"/>
                <a:gd name="T21" fmla="*/ 864 h 865"/>
                <a:gd name="T22" fmla="*/ 261 w 898"/>
                <a:gd name="T23" fmla="*/ 836 h 865"/>
                <a:gd name="T24" fmla="*/ 122 w 898"/>
                <a:gd name="T25" fmla="*/ 753 h 865"/>
                <a:gd name="T26" fmla="*/ 33 w 898"/>
                <a:gd name="T27" fmla="*/ 617 h 865"/>
                <a:gd name="T28" fmla="*/ 0 w 898"/>
                <a:gd name="T29" fmla="*/ 428 h 865"/>
                <a:gd name="T30" fmla="*/ 33 w 898"/>
                <a:gd name="T31" fmla="*/ 245 h 865"/>
                <a:gd name="T32" fmla="*/ 127 w 898"/>
                <a:gd name="T33" fmla="*/ 111 h 865"/>
                <a:gd name="T34" fmla="*/ 264 w 898"/>
                <a:gd name="T35" fmla="*/ 28 h 865"/>
                <a:gd name="T36" fmla="*/ 436 w 898"/>
                <a:gd name="T37" fmla="*/ 0 h 865"/>
                <a:gd name="T38" fmla="*/ 602 w 898"/>
                <a:gd name="T39" fmla="*/ 39 h 865"/>
                <a:gd name="T40" fmla="*/ 722 w 898"/>
                <a:gd name="T41" fmla="*/ 147 h 865"/>
                <a:gd name="T42" fmla="*/ 450 w 898"/>
                <a:gd name="T43" fmla="*/ 156 h 865"/>
                <a:gd name="T44" fmla="*/ 450 w 898"/>
                <a:gd name="T45" fmla="*/ 156 h 865"/>
                <a:gd name="T46" fmla="*/ 341 w 898"/>
                <a:gd name="T47" fmla="*/ 175 h 865"/>
                <a:gd name="T48" fmla="*/ 255 w 898"/>
                <a:gd name="T49" fmla="*/ 231 h 865"/>
                <a:gd name="T50" fmla="*/ 197 w 898"/>
                <a:gd name="T51" fmla="*/ 317 h 865"/>
                <a:gd name="T52" fmla="*/ 175 w 898"/>
                <a:gd name="T53" fmla="*/ 428 h 865"/>
                <a:gd name="T54" fmla="*/ 197 w 898"/>
                <a:gd name="T55" fmla="*/ 545 h 865"/>
                <a:gd name="T56" fmla="*/ 255 w 898"/>
                <a:gd name="T57" fmla="*/ 631 h 865"/>
                <a:gd name="T58" fmla="*/ 341 w 898"/>
                <a:gd name="T59" fmla="*/ 684 h 865"/>
                <a:gd name="T60" fmla="*/ 450 w 898"/>
                <a:gd name="T61" fmla="*/ 703 h 865"/>
                <a:gd name="T62" fmla="*/ 600 w 898"/>
                <a:gd name="T63" fmla="*/ 664 h 865"/>
                <a:gd name="T64" fmla="*/ 691 w 898"/>
                <a:gd name="T65" fmla="*/ 561 h 865"/>
                <a:gd name="T66" fmla="*/ 722 w 898"/>
                <a:gd name="T67" fmla="*/ 431 h 865"/>
                <a:gd name="T68" fmla="*/ 691 w 898"/>
                <a:gd name="T69" fmla="*/ 298 h 865"/>
                <a:gd name="T70" fmla="*/ 600 w 898"/>
                <a:gd name="T71" fmla="*/ 198 h 865"/>
                <a:gd name="T72" fmla="*/ 450 w 898"/>
                <a:gd name="T73" fmla="*/ 156 h 865"/>
                <a:gd name="T74" fmla="*/ 722 w 898"/>
                <a:gd name="T75" fmla="*/ 14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8" h="865">
                  <a:moveTo>
                    <a:pt x="722" y="147"/>
                  </a:moveTo>
                  <a:lnTo>
                    <a:pt x="722" y="147"/>
                  </a:lnTo>
                  <a:cubicBezTo>
                    <a:pt x="727" y="17"/>
                    <a:pt x="727" y="17"/>
                    <a:pt x="727" y="17"/>
                  </a:cubicBezTo>
                  <a:cubicBezTo>
                    <a:pt x="897" y="17"/>
                    <a:pt x="897" y="17"/>
                    <a:pt x="897" y="17"/>
                  </a:cubicBezTo>
                  <a:cubicBezTo>
                    <a:pt x="897" y="842"/>
                    <a:pt x="897" y="842"/>
                    <a:pt x="897" y="842"/>
                  </a:cubicBezTo>
                  <a:cubicBezTo>
                    <a:pt x="730" y="842"/>
                    <a:pt x="730" y="842"/>
                    <a:pt x="730" y="842"/>
                  </a:cubicBezTo>
                  <a:cubicBezTo>
                    <a:pt x="722" y="709"/>
                    <a:pt x="722" y="709"/>
                    <a:pt x="722" y="709"/>
                  </a:cubicBezTo>
                  <a:cubicBezTo>
                    <a:pt x="708" y="736"/>
                    <a:pt x="691" y="759"/>
                    <a:pt x="669" y="778"/>
                  </a:cubicBezTo>
                  <a:cubicBezTo>
                    <a:pt x="647" y="797"/>
                    <a:pt x="622" y="814"/>
                    <a:pt x="594" y="825"/>
                  </a:cubicBezTo>
                  <a:cubicBezTo>
                    <a:pt x="566" y="839"/>
                    <a:pt x="541" y="847"/>
                    <a:pt x="514" y="856"/>
                  </a:cubicBezTo>
                  <a:cubicBezTo>
                    <a:pt x="486" y="861"/>
                    <a:pt x="458" y="864"/>
                    <a:pt x="430" y="864"/>
                  </a:cubicBezTo>
                  <a:cubicBezTo>
                    <a:pt x="369" y="864"/>
                    <a:pt x="314" y="853"/>
                    <a:pt x="261" y="836"/>
                  </a:cubicBezTo>
                  <a:cubicBezTo>
                    <a:pt x="208" y="817"/>
                    <a:pt x="161" y="789"/>
                    <a:pt x="122" y="753"/>
                  </a:cubicBezTo>
                  <a:cubicBezTo>
                    <a:pt x="86" y="714"/>
                    <a:pt x="55" y="670"/>
                    <a:pt x="33" y="617"/>
                  </a:cubicBezTo>
                  <a:cubicBezTo>
                    <a:pt x="11" y="561"/>
                    <a:pt x="0" y="500"/>
                    <a:pt x="0" y="428"/>
                  </a:cubicBezTo>
                  <a:cubicBezTo>
                    <a:pt x="0" y="361"/>
                    <a:pt x="11" y="300"/>
                    <a:pt x="33" y="245"/>
                  </a:cubicBezTo>
                  <a:cubicBezTo>
                    <a:pt x="55" y="192"/>
                    <a:pt x="89" y="147"/>
                    <a:pt x="127" y="111"/>
                  </a:cubicBezTo>
                  <a:cubicBezTo>
                    <a:pt x="166" y="75"/>
                    <a:pt x="211" y="48"/>
                    <a:pt x="264" y="28"/>
                  </a:cubicBezTo>
                  <a:cubicBezTo>
                    <a:pt x="319" y="9"/>
                    <a:pt x="375" y="0"/>
                    <a:pt x="436" y="0"/>
                  </a:cubicBezTo>
                  <a:cubicBezTo>
                    <a:pt x="494" y="0"/>
                    <a:pt x="552" y="14"/>
                    <a:pt x="602" y="39"/>
                  </a:cubicBezTo>
                  <a:cubicBezTo>
                    <a:pt x="655" y="64"/>
                    <a:pt x="694" y="103"/>
                    <a:pt x="722" y="147"/>
                  </a:cubicBezTo>
                  <a:lnTo>
                    <a:pt x="450" y="156"/>
                  </a:lnTo>
                  <a:lnTo>
                    <a:pt x="450" y="156"/>
                  </a:lnTo>
                  <a:cubicBezTo>
                    <a:pt x="411" y="156"/>
                    <a:pt x="375" y="164"/>
                    <a:pt x="341" y="175"/>
                  </a:cubicBezTo>
                  <a:cubicBezTo>
                    <a:pt x="311" y="189"/>
                    <a:pt x="280" y="206"/>
                    <a:pt x="255" y="231"/>
                  </a:cubicBezTo>
                  <a:cubicBezTo>
                    <a:pt x="230" y="253"/>
                    <a:pt x="211" y="284"/>
                    <a:pt x="197" y="317"/>
                  </a:cubicBezTo>
                  <a:cubicBezTo>
                    <a:pt x="183" y="350"/>
                    <a:pt x="175" y="386"/>
                    <a:pt x="175" y="428"/>
                  </a:cubicBezTo>
                  <a:cubicBezTo>
                    <a:pt x="175" y="472"/>
                    <a:pt x="183" y="509"/>
                    <a:pt x="197" y="545"/>
                  </a:cubicBezTo>
                  <a:cubicBezTo>
                    <a:pt x="211" y="578"/>
                    <a:pt x="230" y="606"/>
                    <a:pt x="255" y="631"/>
                  </a:cubicBezTo>
                  <a:cubicBezTo>
                    <a:pt x="280" y="653"/>
                    <a:pt x="311" y="672"/>
                    <a:pt x="341" y="684"/>
                  </a:cubicBezTo>
                  <a:cubicBezTo>
                    <a:pt x="375" y="698"/>
                    <a:pt x="411" y="703"/>
                    <a:pt x="450" y="703"/>
                  </a:cubicBezTo>
                  <a:cubicBezTo>
                    <a:pt x="508" y="703"/>
                    <a:pt x="558" y="689"/>
                    <a:pt x="600" y="664"/>
                  </a:cubicBezTo>
                  <a:cubicBezTo>
                    <a:pt x="641" y="636"/>
                    <a:pt x="669" y="603"/>
                    <a:pt x="691" y="561"/>
                  </a:cubicBezTo>
                  <a:cubicBezTo>
                    <a:pt x="711" y="522"/>
                    <a:pt x="722" y="478"/>
                    <a:pt x="722" y="431"/>
                  </a:cubicBezTo>
                  <a:cubicBezTo>
                    <a:pt x="722" y="384"/>
                    <a:pt x="711" y="339"/>
                    <a:pt x="691" y="298"/>
                  </a:cubicBezTo>
                  <a:cubicBezTo>
                    <a:pt x="669" y="259"/>
                    <a:pt x="641" y="223"/>
                    <a:pt x="600" y="198"/>
                  </a:cubicBezTo>
                  <a:cubicBezTo>
                    <a:pt x="558" y="170"/>
                    <a:pt x="508" y="156"/>
                    <a:pt x="450" y="156"/>
                  </a:cubicBezTo>
                  <a:lnTo>
                    <a:pt x="722" y="14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2" name="Freeform 29">
              <a:extLst>
                <a:ext uri="{FF2B5EF4-FFF2-40B4-BE49-F238E27FC236}">
                  <a16:creationId xmlns:a16="http://schemas.microsoft.com/office/drawing/2014/main" id="{F1F0A8F6-9229-D949-BA1A-AC62C4C5F933}"/>
                </a:ext>
              </a:extLst>
            </p:cNvPr>
            <p:cNvSpPr>
              <a:spLocks noChangeArrowheads="1"/>
            </p:cNvSpPr>
            <p:nvPr userDrawn="1"/>
          </p:nvSpPr>
          <p:spPr bwMode="auto">
            <a:xfrm>
              <a:off x="5905500" y="3746500"/>
              <a:ext cx="293688" cy="301625"/>
            </a:xfrm>
            <a:custGeom>
              <a:avLst/>
              <a:gdLst>
                <a:gd name="T0" fmla="*/ 639 w 817"/>
                <a:gd name="T1" fmla="*/ 836 h 837"/>
                <a:gd name="T2" fmla="*/ 639 w 817"/>
                <a:gd name="T3" fmla="*/ 836 h 837"/>
                <a:gd name="T4" fmla="*/ 639 w 817"/>
                <a:gd name="T5" fmla="*/ 397 h 837"/>
                <a:gd name="T6" fmla="*/ 580 w 817"/>
                <a:gd name="T7" fmla="*/ 225 h 837"/>
                <a:gd name="T8" fmla="*/ 411 w 817"/>
                <a:gd name="T9" fmla="*/ 158 h 837"/>
                <a:gd name="T10" fmla="*/ 316 w 817"/>
                <a:gd name="T11" fmla="*/ 178 h 837"/>
                <a:gd name="T12" fmla="*/ 241 w 817"/>
                <a:gd name="T13" fmla="*/ 230 h 837"/>
                <a:gd name="T14" fmla="*/ 194 w 817"/>
                <a:gd name="T15" fmla="*/ 311 h 837"/>
                <a:gd name="T16" fmla="*/ 177 w 817"/>
                <a:gd name="T17" fmla="*/ 405 h 837"/>
                <a:gd name="T18" fmla="*/ 177 w 817"/>
                <a:gd name="T19" fmla="*/ 836 h 837"/>
                <a:gd name="T20" fmla="*/ 0 w 817"/>
                <a:gd name="T21" fmla="*/ 836 h 837"/>
                <a:gd name="T22" fmla="*/ 0 w 817"/>
                <a:gd name="T23" fmla="*/ 11 h 837"/>
                <a:gd name="T24" fmla="*/ 161 w 817"/>
                <a:gd name="T25" fmla="*/ 11 h 837"/>
                <a:gd name="T26" fmla="*/ 172 w 817"/>
                <a:gd name="T27" fmla="*/ 130 h 837"/>
                <a:gd name="T28" fmla="*/ 455 w 817"/>
                <a:gd name="T29" fmla="*/ 0 h 837"/>
                <a:gd name="T30" fmla="*/ 597 w 817"/>
                <a:gd name="T31" fmla="*/ 25 h 837"/>
                <a:gd name="T32" fmla="*/ 711 w 817"/>
                <a:gd name="T33" fmla="*/ 100 h 837"/>
                <a:gd name="T34" fmla="*/ 789 w 817"/>
                <a:gd name="T35" fmla="*/ 225 h 837"/>
                <a:gd name="T36" fmla="*/ 816 w 817"/>
                <a:gd name="T37" fmla="*/ 394 h 837"/>
                <a:gd name="T38" fmla="*/ 816 w 817"/>
                <a:gd name="T39" fmla="*/ 836 h 837"/>
                <a:gd name="T40" fmla="*/ 639 w 817"/>
                <a:gd name="T41" fmla="*/ 83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7" h="837">
                  <a:moveTo>
                    <a:pt x="639" y="836"/>
                  </a:moveTo>
                  <a:lnTo>
                    <a:pt x="639" y="836"/>
                  </a:lnTo>
                  <a:cubicBezTo>
                    <a:pt x="639" y="397"/>
                    <a:pt x="639" y="397"/>
                    <a:pt x="639" y="397"/>
                  </a:cubicBezTo>
                  <a:cubicBezTo>
                    <a:pt x="639" y="325"/>
                    <a:pt x="619" y="266"/>
                    <a:pt x="580" y="225"/>
                  </a:cubicBezTo>
                  <a:cubicBezTo>
                    <a:pt x="541" y="180"/>
                    <a:pt x="486" y="158"/>
                    <a:pt x="411" y="158"/>
                  </a:cubicBezTo>
                  <a:cubicBezTo>
                    <a:pt x="377" y="158"/>
                    <a:pt x="344" y="166"/>
                    <a:pt x="316" y="178"/>
                  </a:cubicBezTo>
                  <a:cubicBezTo>
                    <a:pt x="286" y="192"/>
                    <a:pt x="261" y="208"/>
                    <a:pt x="241" y="230"/>
                  </a:cubicBezTo>
                  <a:cubicBezTo>
                    <a:pt x="222" y="255"/>
                    <a:pt x="205" y="280"/>
                    <a:pt x="194" y="311"/>
                  </a:cubicBezTo>
                  <a:cubicBezTo>
                    <a:pt x="183" y="341"/>
                    <a:pt x="177" y="372"/>
                    <a:pt x="177" y="405"/>
                  </a:cubicBezTo>
                  <a:cubicBezTo>
                    <a:pt x="177" y="836"/>
                    <a:pt x="177" y="836"/>
                    <a:pt x="177" y="836"/>
                  </a:cubicBezTo>
                  <a:cubicBezTo>
                    <a:pt x="0" y="836"/>
                    <a:pt x="0" y="836"/>
                    <a:pt x="0" y="836"/>
                  </a:cubicBezTo>
                  <a:cubicBezTo>
                    <a:pt x="0" y="11"/>
                    <a:pt x="0" y="11"/>
                    <a:pt x="0" y="11"/>
                  </a:cubicBezTo>
                  <a:cubicBezTo>
                    <a:pt x="161" y="11"/>
                    <a:pt x="161" y="11"/>
                    <a:pt x="161" y="11"/>
                  </a:cubicBezTo>
                  <a:cubicBezTo>
                    <a:pt x="172" y="130"/>
                    <a:pt x="172" y="130"/>
                    <a:pt x="172" y="130"/>
                  </a:cubicBezTo>
                  <a:cubicBezTo>
                    <a:pt x="250" y="42"/>
                    <a:pt x="344" y="0"/>
                    <a:pt x="455" y="0"/>
                  </a:cubicBezTo>
                  <a:cubicBezTo>
                    <a:pt x="505" y="0"/>
                    <a:pt x="552" y="8"/>
                    <a:pt x="597" y="25"/>
                  </a:cubicBezTo>
                  <a:cubicBezTo>
                    <a:pt x="641" y="42"/>
                    <a:pt x="680" y="66"/>
                    <a:pt x="711" y="100"/>
                  </a:cubicBezTo>
                  <a:cubicBezTo>
                    <a:pt x="744" y="133"/>
                    <a:pt x="769" y="175"/>
                    <a:pt x="789" y="225"/>
                  </a:cubicBezTo>
                  <a:cubicBezTo>
                    <a:pt x="808" y="275"/>
                    <a:pt x="816" y="330"/>
                    <a:pt x="816" y="394"/>
                  </a:cubicBezTo>
                  <a:cubicBezTo>
                    <a:pt x="816" y="836"/>
                    <a:pt x="816" y="836"/>
                    <a:pt x="816" y="836"/>
                  </a:cubicBezTo>
                  <a:lnTo>
                    <a:pt x="639" y="83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3" name="Freeform 30">
              <a:extLst>
                <a:ext uri="{FF2B5EF4-FFF2-40B4-BE49-F238E27FC236}">
                  <a16:creationId xmlns:a16="http://schemas.microsoft.com/office/drawing/2014/main" id="{B16A197B-0E17-EF43-80AA-BFBCB40AC761}"/>
                </a:ext>
              </a:extLst>
            </p:cNvPr>
            <p:cNvSpPr>
              <a:spLocks noChangeArrowheads="1"/>
            </p:cNvSpPr>
            <p:nvPr userDrawn="1"/>
          </p:nvSpPr>
          <p:spPr bwMode="auto">
            <a:xfrm>
              <a:off x="6251575"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4" name="Freeform 31">
              <a:extLst>
                <a:ext uri="{FF2B5EF4-FFF2-40B4-BE49-F238E27FC236}">
                  <a16:creationId xmlns:a16="http://schemas.microsoft.com/office/drawing/2014/main" id="{575F5FA7-2A68-E247-8A62-204B7962F005}"/>
                </a:ext>
              </a:extLst>
            </p:cNvPr>
            <p:cNvSpPr>
              <a:spLocks noChangeArrowheads="1"/>
            </p:cNvSpPr>
            <p:nvPr userDrawn="1"/>
          </p:nvSpPr>
          <p:spPr bwMode="auto">
            <a:xfrm>
              <a:off x="6643688" y="3665538"/>
              <a:ext cx="222250" cy="385762"/>
            </a:xfrm>
            <a:custGeom>
              <a:avLst/>
              <a:gdLst>
                <a:gd name="T0" fmla="*/ 339 w 617"/>
                <a:gd name="T1" fmla="*/ 0 h 1073"/>
                <a:gd name="T2" fmla="*/ 339 w 617"/>
                <a:gd name="T3" fmla="*/ 0 h 1073"/>
                <a:gd name="T4" fmla="*/ 339 w 617"/>
                <a:gd name="T5" fmla="*/ 239 h 1073"/>
                <a:gd name="T6" fmla="*/ 586 w 617"/>
                <a:gd name="T7" fmla="*/ 239 h 1073"/>
                <a:gd name="T8" fmla="*/ 586 w 617"/>
                <a:gd name="T9" fmla="*/ 389 h 1073"/>
                <a:gd name="T10" fmla="*/ 336 w 617"/>
                <a:gd name="T11" fmla="*/ 389 h 1073"/>
                <a:gd name="T12" fmla="*/ 336 w 617"/>
                <a:gd name="T13" fmla="*/ 780 h 1073"/>
                <a:gd name="T14" fmla="*/ 366 w 617"/>
                <a:gd name="T15" fmla="*/ 880 h 1073"/>
                <a:gd name="T16" fmla="*/ 458 w 617"/>
                <a:gd name="T17" fmla="*/ 917 h 1073"/>
                <a:gd name="T18" fmla="*/ 511 w 617"/>
                <a:gd name="T19" fmla="*/ 908 h 1073"/>
                <a:gd name="T20" fmla="*/ 566 w 617"/>
                <a:gd name="T21" fmla="*/ 886 h 1073"/>
                <a:gd name="T22" fmla="*/ 616 w 617"/>
                <a:gd name="T23" fmla="*/ 1033 h 1073"/>
                <a:gd name="T24" fmla="*/ 533 w 617"/>
                <a:gd name="T25" fmla="*/ 1061 h 1073"/>
                <a:gd name="T26" fmla="*/ 447 w 617"/>
                <a:gd name="T27" fmla="*/ 1072 h 1073"/>
                <a:gd name="T28" fmla="*/ 236 w 617"/>
                <a:gd name="T29" fmla="*/ 1000 h 1073"/>
                <a:gd name="T30" fmla="*/ 161 w 617"/>
                <a:gd name="T31" fmla="*/ 780 h 1073"/>
                <a:gd name="T32" fmla="*/ 161 w 617"/>
                <a:gd name="T33" fmla="*/ 389 h 1073"/>
                <a:gd name="T34" fmla="*/ 0 w 617"/>
                <a:gd name="T35" fmla="*/ 389 h 1073"/>
                <a:gd name="T36" fmla="*/ 0 w 617"/>
                <a:gd name="T37" fmla="*/ 239 h 1073"/>
                <a:gd name="T38" fmla="*/ 161 w 617"/>
                <a:gd name="T39" fmla="*/ 239 h 1073"/>
                <a:gd name="T40" fmla="*/ 161 w 617"/>
                <a:gd name="T41" fmla="*/ 19 h 1073"/>
                <a:gd name="T42" fmla="*/ 339 w 617"/>
                <a:gd name="T43"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7" h="1073">
                  <a:moveTo>
                    <a:pt x="339" y="0"/>
                  </a:moveTo>
                  <a:lnTo>
                    <a:pt x="339" y="0"/>
                  </a:lnTo>
                  <a:cubicBezTo>
                    <a:pt x="339" y="239"/>
                    <a:pt x="339" y="239"/>
                    <a:pt x="339" y="239"/>
                  </a:cubicBezTo>
                  <a:cubicBezTo>
                    <a:pt x="586" y="239"/>
                    <a:pt x="586" y="239"/>
                    <a:pt x="586" y="239"/>
                  </a:cubicBezTo>
                  <a:cubicBezTo>
                    <a:pt x="586" y="389"/>
                    <a:pt x="586" y="389"/>
                    <a:pt x="586" y="389"/>
                  </a:cubicBezTo>
                  <a:cubicBezTo>
                    <a:pt x="336" y="389"/>
                    <a:pt x="336" y="389"/>
                    <a:pt x="336" y="389"/>
                  </a:cubicBezTo>
                  <a:cubicBezTo>
                    <a:pt x="336" y="780"/>
                    <a:pt x="336" y="780"/>
                    <a:pt x="336" y="780"/>
                  </a:cubicBezTo>
                  <a:cubicBezTo>
                    <a:pt x="336" y="825"/>
                    <a:pt x="347" y="858"/>
                    <a:pt x="366" y="880"/>
                  </a:cubicBezTo>
                  <a:cubicBezTo>
                    <a:pt x="386" y="905"/>
                    <a:pt x="416" y="917"/>
                    <a:pt x="458" y="917"/>
                  </a:cubicBezTo>
                  <a:cubicBezTo>
                    <a:pt x="475" y="917"/>
                    <a:pt x="494" y="914"/>
                    <a:pt x="511" y="908"/>
                  </a:cubicBezTo>
                  <a:cubicBezTo>
                    <a:pt x="530" y="903"/>
                    <a:pt x="550" y="897"/>
                    <a:pt x="566" y="886"/>
                  </a:cubicBezTo>
                  <a:cubicBezTo>
                    <a:pt x="616" y="1033"/>
                    <a:pt x="616" y="1033"/>
                    <a:pt x="616" y="1033"/>
                  </a:cubicBezTo>
                  <a:cubicBezTo>
                    <a:pt x="589" y="1047"/>
                    <a:pt x="558" y="1055"/>
                    <a:pt x="533" y="1061"/>
                  </a:cubicBezTo>
                  <a:cubicBezTo>
                    <a:pt x="505" y="1069"/>
                    <a:pt x="477" y="1072"/>
                    <a:pt x="447" y="1072"/>
                  </a:cubicBezTo>
                  <a:cubicBezTo>
                    <a:pt x="355" y="1072"/>
                    <a:pt x="286" y="1050"/>
                    <a:pt x="236" y="1000"/>
                  </a:cubicBezTo>
                  <a:cubicBezTo>
                    <a:pt x="186" y="953"/>
                    <a:pt x="161" y="878"/>
                    <a:pt x="161" y="780"/>
                  </a:cubicBezTo>
                  <a:cubicBezTo>
                    <a:pt x="161" y="389"/>
                    <a:pt x="161" y="389"/>
                    <a:pt x="161" y="389"/>
                  </a:cubicBezTo>
                  <a:cubicBezTo>
                    <a:pt x="0" y="389"/>
                    <a:pt x="0" y="389"/>
                    <a:pt x="0" y="389"/>
                  </a:cubicBezTo>
                  <a:cubicBezTo>
                    <a:pt x="0" y="239"/>
                    <a:pt x="0" y="239"/>
                    <a:pt x="0" y="239"/>
                  </a:cubicBezTo>
                  <a:cubicBezTo>
                    <a:pt x="161" y="239"/>
                    <a:pt x="161" y="239"/>
                    <a:pt x="161" y="239"/>
                  </a:cubicBezTo>
                  <a:cubicBezTo>
                    <a:pt x="161" y="19"/>
                    <a:pt x="161" y="19"/>
                    <a:pt x="161" y="19"/>
                  </a:cubicBezTo>
                  <a:lnTo>
                    <a:pt x="33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5" name="Freeform 32">
              <a:extLst>
                <a:ext uri="{FF2B5EF4-FFF2-40B4-BE49-F238E27FC236}">
                  <a16:creationId xmlns:a16="http://schemas.microsoft.com/office/drawing/2014/main" id="{34C098E7-184C-504A-8792-AF18A8E97AEC}"/>
                </a:ext>
              </a:extLst>
            </p:cNvPr>
            <p:cNvSpPr>
              <a:spLocks noChangeArrowheads="1"/>
            </p:cNvSpPr>
            <p:nvPr userDrawn="1"/>
          </p:nvSpPr>
          <p:spPr bwMode="auto">
            <a:xfrm>
              <a:off x="6897688" y="3743325"/>
              <a:ext cx="314325" cy="309563"/>
            </a:xfrm>
            <a:custGeom>
              <a:avLst/>
              <a:gdLst>
                <a:gd name="T0" fmla="*/ 436 w 873"/>
                <a:gd name="T1" fmla="*/ 0 h 860"/>
                <a:gd name="T2" fmla="*/ 436 w 873"/>
                <a:gd name="T3" fmla="*/ 0 h 860"/>
                <a:gd name="T4" fmla="*/ 611 w 873"/>
                <a:gd name="T5" fmla="*/ 34 h 860"/>
                <a:gd name="T6" fmla="*/ 750 w 873"/>
                <a:gd name="T7" fmla="*/ 125 h 860"/>
                <a:gd name="T8" fmla="*/ 842 w 873"/>
                <a:gd name="T9" fmla="*/ 261 h 860"/>
                <a:gd name="T10" fmla="*/ 872 w 873"/>
                <a:gd name="T11" fmla="*/ 431 h 860"/>
                <a:gd name="T12" fmla="*/ 842 w 873"/>
                <a:gd name="T13" fmla="*/ 600 h 860"/>
                <a:gd name="T14" fmla="*/ 753 w 873"/>
                <a:gd name="T15" fmla="*/ 736 h 860"/>
                <a:gd name="T16" fmla="*/ 614 w 873"/>
                <a:gd name="T17" fmla="*/ 825 h 860"/>
                <a:gd name="T18" fmla="*/ 436 w 873"/>
                <a:gd name="T19" fmla="*/ 859 h 860"/>
                <a:gd name="T20" fmla="*/ 256 w 873"/>
                <a:gd name="T21" fmla="*/ 825 h 860"/>
                <a:gd name="T22" fmla="*/ 119 w 873"/>
                <a:gd name="T23" fmla="*/ 736 h 860"/>
                <a:gd name="T24" fmla="*/ 31 w 873"/>
                <a:gd name="T25" fmla="*/ 600 h 860"/>
                <a:gd name="T26" fmla="*/ 0 w 873"/>
                <a:gd name="T27" fmla="*/ 431 h 860"/>
                <a:gd name="T28" fmla="*/ 31 w 873"/>
                <a:gd name="T29" fmla="*/ 261 h 860"/>
                <a:gd name="T30" fmla="*/ 119 w 873"/>
                <a:gd name="T31" fmla="*/ 125 h 860"/>
                <a:gd name="T32" fmla="*/ 258 w 873"/>
                <a:gd name="T33" fmla="*/ 34 h 860"/>
                <a:gd name="T34" fmla="*/ 436 w 873"/>
                <a:gd name="T35" fmla="*/ 0 h 860"/>
                <a:gd name="T36" fmla="*/ 436 w 873"/>
                <a:gd name="T37" fmla="*/ 161 h 860"/>
                <a:gd name="T38" fmla="*/ 436 w 873"/>
                <a:gd name="T39" fmla="*/ 161 h 860"/>
                <a:gd name="T40" fmla="*/ 328 w 873"/>
                <a:gd name="T41" fmla="*/ 184 h 860"/>
                <a:gd name="T42" fmla="*/ 247 w 873"/>
                <a:gd name="T43" fmla="*/ 242 h 860"/>
                <a:gd name="T44" fmla="*/ 194 w 873"/>
                <a:gd name="T45" fmla="*/ 328 h 860"/>
                <a:gd name="T46" fmla="*/ 178 w 873"/>
                <a:gd name="T47" fmla="*/ 431 h 860"/>
                <a:gd name="T48" fmla="*/ 194 w 873"/>
                <a:gd name="T49" fmla="*/ 536 h 860"/>
                <a:gd name="T50" fmla="*/ 247 w 873"/>
                <a:gd name="T51" fmla="*/ 620 h 860"/>
                <a:gd name="T52" fmla="*/ 328 w 873"/>
                <a:gd name="T53" fmla="*/ 678 h 860"/>
                <a:gd name="T54" fmla="*/ 436 w 873"/>
                <a:gd name="T55" fmla="*/ 698 h 860"/>
                <a:gd name="T56" fmla="*/ 544 w 873"/>
                <a:gd name="T57" fmla="*/ 678 h 860"/>
                <a:gd name="T58" fmla="*/ 625 w 873"/>
                <a:gd name="T59" fmla="*/ 620 h 860"/>
                <a:gd name="T60" fmla="*/ 678 w 873"/>
                <a:gd name="T61" fmla="*/ 536 h 860"/>
                <a:gd name="T62" fmla="*/ 694 w 873"/>
                <a:gd name="T63" fmla="*/ 431 h 860"/>
                <a:gd name="T64" fmla="*/ 675 w 873"/>
                <a:gd name="T65" fmla="*/ 328 h 860"/>
                <a:gd name="T66" fmla="*/ 622 w 873"/>
                <a:gd name="T67" fmla="*/ 242 h 860"/>
                <a:gd name="T68" fmla="*/ 542 w 873"/>
                <a:gd name="T69" fmla="*/ 184 h 860"/>
                <a:gd name="T70" fmla="*/ 436 w 873"/>
                <a:gd name="T71" fmla="*/ 161 h 860"/>
                <a:gd name="T72" fmla="*/ 436 w 873"/>
                <a:gd name="T73"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60">
                  <a:moveTo>
                    <a:pt x="436" y="0"/>
                  </a:moveTo>
                  <a:lnTo>
                    <a:pt x="436" y="0"/>
                  </a:lnTo>
                  <a:cubicBezTo>
                    <a:pt x="500" y="0"/>
                    <a:pt x="558" y="11"/>
                    <a:pt x="611" y="34"/>
                  </a:cubicBezTo>
                  <a:cubicBezTo>
                    <a:pt x="667" y="59"/>
                    <a:pt x="711" y="86"/>
                    <a:pt x="750" y="125"/>
                  </a:cubicBezTo>
                  <a:cubicBezTo>
                    <a:pt x="789" y="164"/>
                    <a:pt x="819" y="209"/>
                    <a:pt x="842" y="261"/>
                  </a:cubicBezTo>
                  <a:cubicBezTo>
                    <a:pt x="861" y="314"/>
                    <a:pt x="872" y="370"/>
                    <a:pt x="872" y="431"/>
                  </a:cubicBezTo>
                  <a:cubicBezTo>
                    <a:pt x="872" y="492"/>
                    <a:pt x="861" y="547"/>
                    <a:pt x="842" y="600"/>
                  </a:cubicBezTo>
                  <a:cubicBezTo>
                    <a:pt x="819" y="653"/>
                    <a:pt x="792" y="698"/>
                    <a:pt x="753" y="736"/>
                  </a:cubicBezTo>
                  <a:cubicBezTo>
                    <a:pt x="714" y="775"/>
                    <a:pt x="669" y="806"/>
                    <a:pt x="614" y="825"/>
                  </a:cubicBezTo>
                  <a:cubicBezTo>
                    <a:pt x="561" y="847"/>
                    <a:pt x="500" y="859"/>
                    <a:pt x="436" y="859"/>
                  </a:cubicBezTo>
                  <a:cubicBezTo>
                    <a:pt x="369" y="859"/>
                    <a:pt x="308" y="847"/>
                    <a:pt x="256" y="825"/>
                  </a:cubicBezTo>
                  <a:cubicBezTo>
                    <a:pt x="203" y="806"/>
                    <a:pt x="156" y="775"/>
                    <a:pt x="119" y="736"/>
                  </a:cubicBezTo>
                  <a:cubicBezTo>
                    <a:pt x="80" y="698"/>
                    <a:pt x="53" y="653"/>
                    <a:pt x="31" y="600"/>
                  </a:cubicBezTo>
                  <a:cubicBezTo>
                    <a:pt x="11" y="547"/>
                    <a:pt x="0" y="492"/>
                    <a:pt x="0" y="431"/>
                  </a:cubicBezTo>
                  <a:cubicBezTo>
                    <a:pt x="0" y="370"/>
                    <a:pt x="11" y="314"/>
                    <a:pt x="31" y="261"/>
                  </a:cubicBezTo>
                  <a:cubicBezTo>
                    <a:pt x="53" y="209"/>
                    <a:pt x="80" y="164"/>
                    <a:pt x="119" y="125"/>
                  </a:cubicBezTo>
                  <a:cubicBezTo>
                    <a:pt x="158" y="86"/>
                    <a:pt x="203" y="59"/>
                    <a:pt x="258" y="34"/>
                  </a:cubicBezTo>
                  <a:cubicBezTo>
                    <a:pt x="311" y="11"/>
                    <a:pt x="369" y="0"/>
                    <a:pt x="436" y="0"/>
                  </a:cubicBezTo>
                  <a:lnTo>
                    <a:pt x="436" y="161"/>
                  </a:lnTo>
                  <a:lnTo>
                    <a:pt x="436" y="161"/>
                  </a:lnTo>
                  <a:cubicBezTo>
                    <a:pt x="394" y="161"/>
                    <a:pt x="358" y="170"/>
                    <a:pt x="328" y="184"/>
                  </a:cubicBezTo>
                  <a:cubicBezTo>
                    <a:pt x="294" y="198"/>
                    <a:pt x="269" y="217"/>
                    <a:pt x="247" y="242"/>
                  </a:cubicBezTo>
                  <a:cubicBezTo>
                    <a:pt x="225" y="267"/>
                    <a:pt x="206" y="298"/>
                    <a:pt x="194" y="328"/>
                  </a:cubicBezTo>
                  <a:cubicBezTo>
                    <a:pt x="183" y="361"/>
                    <a:pt x="178" y="395"/>
                    <a:pt x="178" y="431"/>
                  </a:cubicBezTo>
                  <a:cubicBezTo>
                    <a:pt x="178" y="470"/>
                    <a:pt x="183" y="503"/>
                    <a:pt x="194" y="536"/>
                  </a:cubicBezTo>
                  <a:cubicBezTo>
                    <a:pt x="206" y="567"/>
                    <a:pt x="225" y="595"/>
                    <a:pt x="247" y="620"/>
                  </a:cubicBezTo>
                  <a:cubicBezTo>
                    <a:pt x="269" y="645"/>
                    <a:pt x="294" y="664"/>
                    <a:pt x="328" y="678"/>
                  </a:cubicBezTo>
                  <a:cubicBezTo>
                    <a:pt x="358" y="692"/>
                    <a:pt x="394" y="698"/>
                    <a:pt x="436" y="698"/>
                  </a:cubicBezTo>
                  <a:cubicBezTo>
                    <a:pt x="475" y="698"/>
                    <a:pt x="511" y="692"/>
                    <a:pt x="544" y="678"/>
                  </a:cubicBezTo>
                  <a:cubicBezTo>
                    <a:pt x="575" y="664"/>
                    <a:pt x="603" y="645"/>
                    <a:pt x="625" y="620"/>
                  </a:cubicBezTo>
                  <a:cubicBezTo>
                    <a:pt x="647" y="595"/>
                    <a:pt x="664" y="567"/>
                    <a:pt x="678" y="536"/>
                  </a:cubicBezTo>
                  <a:cubicBezTo>
                    <a:pt x="689" y="503"/>
                    <a:pt x="694" y="470"/>
                    <a:pt x="694" y="431"/>
                  </a:cubicBezTo>
                  <a:cubicBezTo>
                    <a:pt x="694" y="395"/>
                    <a:pt x="689" y="361"/>
                    <a:pt x="675" y="328"/>
                  </a:cubicBezTo>
                  <a:cubicBezTo>
                    <a:pt x="664" y="298"/>
                    <a:pt x="644" y="267"/>
                    <a:pt x="622" y="242"/>
                  </a:cubicBezTo>
                  <a:cubicBezTo>
                    <a:pt x="600" y="217"/>
                    <a:pt x="572" y="198"/>
                    <a:pt x="542" y="184"/>
                  </a:cubicBezTo>
                  <a:cubicBezTo>
                    <a:pt x="508" y="170"/>
                    <a:pt x="472" y="161"/>
                    <a:pt x="436" y="161"/>
                  </a:cubicBezTo>
                  <a:lnTo>
                    <a:pt x="43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6" name="Freeform 33">
              <a:extLst>
                <a:ext uri="{FF2B5EF4-FFF2-40B4-BE49-F238E27FC236}">
                  <a16:creationId xmlns:a16="http://schemas.microsoft.com/office/drawing/2014/main" id="{B6A67FDD-10A8-4D43-9C49-154E07D6EE85}"/>
                </a:ext>
              </a:extLst>
            </p:cNvPr>
            <p:cNvSpPr>
              <a:spLocks noChangeArrowheads="1"/>
            </p:cNvSpPr>
            <p:nvPr userDrawn="1"/>
          </p:nvSpPr>
          <p:spPr bwMode="auto">
            <a:xfrm>
              <a:off x="7431088" y="3627438"/>
              <a:ext cx="323850" cy="427037"/>
            </a:xfrm>
            <a:custGeom>
              <a:avLst/>
              <a:gdLst>
                <a:gd name="T0" fmla="*/ 175 w 898"/>
                <a:gd name="T1" fmla="*/ 0 h 1185"/>
                <a:gd name="T2" fmla="*/ 175 w 898"/>
                <a:gd name="T3" fmla="*/ 0 h 1185"/>
                <a:gd name="T4" fmla="*/ 175 w 898"/>
                <a:gd name="T5" fmla="*/ 472 h 1185"/>
                <a:gd name="T6" fmla="*/ 231 w 898"/>
                <a:gd name="T7" fmla="*/ 409 h 1185"/>
                <a:gd name="T8" fmla="*/ 306 w 898"/>
                <a:gd name="T9" fmla="*/ 361 h 1185"/>
                <a:gd name="T10" fmla="*/ 389 w 898"/>
                <a:gd name="T11" fmla="*/ 334 h 1185"/>
                <a:gd name="T12" fmla="*/ 472 w 898"/>
                <a:gd name="T13" fmla="*/ 325 h 1185"/>
                <a:gd name="T14" fmla="*/ 639 w 898"/>
                <a:gd name="T15" fmla="*/ 353 h 1185"/>
                <a:gd name="T16" fmla="*/ 775 w 898"/>
                <a:gd name="T17" fmla="*/ 434 h 1185"/>
                <a:gd name="T18" fmla="*/ 867 w 898"/>
                <a:gd name="T19" fmla="*/ 570 h 1185"/>
                <a:gd name="T20" fmla="*/ 897 w 898"/>
                <a:gd name="T21" fmla="*/ 753 h 1185"/>
                <a:gd name="T22" fmla="*/ 864 w 898"/>
                <a:gd name="T23" fmla="*/ 936 h 1185"/>
                <a:gd name="T24" fmla="*/ 775 w 898"/>
                <a:gd name="T25" fmla="*/ 1072 h 1185"/>
                <a:gd name="T26" fmla="*/ 639 w 898"/>
                <a:gd name="T27" fmla="*/ 1156 h 1185"/>
                <a:gd name="T28" fmla="*/ 467 w 898"/>
                <a:gd name="T29" fmla="*/ 1184 h 1185"/>
                <a:gd name="T30" fmla="*/ 303 w 898"/>
                <a:gd name="T31" fmla="*/ 1150 h 1185"/>
                <a:gd name="T32" fmla="*/ 175 w 898"/>
                <a:gd name="T33" fmla="*/ 1036 h 1185"/>
                <a:gd name="T34" fmla="*/ 167 w 898"/>
                <a:gd name="T35" fmla="*/ 1167 h 1185"/>
                <a:gd name="T36" fmla="*/ 0 w 898"/>
                <a:gd name="T37" fmla="*/ 1167 h 1185"/>
                <a:gd name="T38" fmla="*/ 0 w 898"/>
                <a:gd name="T39" fmla="*/ 0 h 1185"/>
                <a:gd name="T40" fmla="*/ 175 w 898"/>
                <a:gd name="T41" fmla="*/ 0 h 1185"/>
                <a:gd name="T42" fmla="*/ 456 w 898"/>
                <a:gd name="T43" fmla="*/ 486 h 1185"/>
                <a:gd name="T44" fmla="*/ 456 w 898"/>
                <a:gd name="T45" fmla="*/ 486 h 1185"/>
                <a:gd name="T46" fmla="*/ 353 w 898"/>
                <a:gd name="T47" fmla="*/ 506 h 1185"/>
                <a:gd name="T48" fmla="*/ 267 w 898"/>
                <a:gd name="T49" fmla="*/ 559 h 1185"/>
                <a:gd name="T50" fmla="*/ 208 w 898"/>
                <a:gd name="T51" fmla="*/ 645 h 1185"/>
                <a:gd name="T52" fmla="*/ 186 w 898"/>
                <a:gd name="T53" fmla="*/ 753 h 1185"/>
                <a:gd name="T54" fmla="*/ 208 w 898"/>
                <a:gd name="T55" fmla="*/ 864 h 1185"/>
                <a:gd name="T56" fmla="*/ 267 w 898"/>
                <a:gd name="T57" fmla="*/ 950 h 1185"/>
                <a:gd name="T58" fmla="*/ 350 w 898"/>
                <a:gd name="T59" fmla="*/ 1003 h 1185"/>
                <a:gd name="T60" fmla="*/ 456 w 898"/>
                <a:gd name="T61" fmla="*/ 1023 h 1185"/>
                <a:gd name="T62" fmla="*/ 558 w 898"/>
                <a:gd name="T63" fmla="*/ 1006 h 1185"/>
                <a:gd name="T64" fmla="*/ 645 w 898"/>
                <a:gd name="T65" fmla="*/ 950 h 1185"/>
                <a:gd name="T66" fmla="*/ 700 w 898"/>
                <a:gd name="T67" fmla="*/ 867 h 1185"/>
                <a:gd name="T68" fmla="*/ 722 w 898"/>
                <a:gd name="T69" fmla="*/ 753 h 1185"/>
                <a:gd name="T70" fmla="*/ 700 w 898"/>
                <a:gd name="T71" fmla="*/ 639 h 1185"/>
                <a:gd name="T72" fmla="*/ 645 w 898"/>
                <a:gd name="T73" fmla="*/ 556 h 1185"/>
                <a:gd name="T74" fmla="*/ 558 w 898"/>
                <a:gd name="T75" fmla="*/ 503 h 1185"/>
                <a:gd name="T76" fmla="*/ 456 w 898"/>
                <a:gd name="T77" fmla="*/ 48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8" h="1185">
                  <a:moveTo>
                    <a:pt x="175" y="0"/>
                  </a:moveTo>
                  <a:lnTo>
                    <a:pt x="175" y="0"/>
                  </a:lnTo>
                  <a:cubicBezTo>
                    <a:pt x="175" y="472"/>
                    <a:pt x="175" y="472"/>
                    <a:pt x="175" y="472"/>
                  </a:cubicBezTo>
                  <a:cubicBezTo>
                    <a:pt x="189" y="448"/>
                    <a:pt x="208" y="425"/>
                    <a:pt x="231" y="409"/>
                  </a:cubicBezTo>
                  <a:cubicBezTo>
                    <a:pt x="253" y="389"/>
                    <a:pt x="278" y="373"/>
                    <a:pt x="306" y="361"/>
                  </a:cubicBezTo>
                  <a:cubicBezTo>
                    <a:pt x="334" y="350"/>
                    <a:pt x="361" y="339"/>
                    <a:pt x="389" y="334"/>
                  </a:cubicBezTo>
                  <a:cubicBezTo>
                    <a:pt x="417" y="328"/>
                    <a:pt x="445" y="325"/>
                    <a:pt x="472" y="325"/>
                  </a:cubicBezTo>
                  <a:cubicBezTo>
                    <a:pt x="531" y="325"/>
                    <a:pt x="589" y="334"/>
                    <a:pt x="639" y="353"/>
                  </a:cubicBezTo>
                  <a:cubicBezTo>
                    <a:pt x="692" y="370"/>
                    <a:pt x="739" y="397"/>
                    <a:pt x="775" y="434"/>
                  </a:cubicBezTo>
                  <a:cubicBezTo>
                    <a:pt x="814" y="470"/>
                    <a:pt x="845" y="514"/>
                    <a:pt x="867" y="570"/>
                  </a:cubicBezTo>
                  <a:cubicBezTo>
                    <a:pt x="886" y="623"/>
                    <a:pt x="897" y="684"/>
                    <a:pt x="897" y="753"/>
                  </a:cubicBezTo>
                  <a:cubicBezTo>
                    <a:pt x="897" y="823"/>
                    <a:pt x="886" y="884"/>
                    <a:pt x="864" y="936"/>
                  </a:cubicBezTo>
                  <a:cubicBezTo>
                    <a:pt x="842" y="989"/>
                    <a:pt x="811" y="1036"/>
                    <a:pt x="775" y="1072"/>
                  </a:cubicBezTo>
                  <a:cubicBezTo>
                    <a:pt x="736" y="1109"/>
                    <a:pt x="692" y="1136"/>
                    <a:pt x="639" y="1156"/>
                  </a:cubicBezTo>
                  <a:cubicBezTo>
                    <a:pt x="586" y="1175"/>
                    <a:pt x="531" y="1184"/>
                    <a:pt x="467" y="1184"/>
                  </a:cubicBezTo>
                  <a:cubicBezTo>
                    <a:pt x="411" y="1184"/>
                    <a:pt x="356" y="1172"/>
                    <a:pt x="303" y="1150"/>
                  </a:cubicBezTo>
                  <a:cubicBezTo>
                    <a:pt x="253" y="1128"/>
                    <a:pt x="208" y="1089"/>
                    <a:pt x="175" y="1036"/>
                  </a:cubicBezTo>
                  <a:cubicBezTo>
                    <a:pt x="167" y="1167"/>
                    <a:pt x="167" y="1167"/>
                    <a:pt x="167" y="1167"/>
                  </a:cubicBezTo>
                  <a:cubicBezTo>
                    <a:pt x="0" y="1167"/>
                    <a:pt x="0" y="1167"/>
                    <a:pt x="0" y="1167"/>
                  </a:cubicBezTo>
                  <a:cubicBezTo>
                    <a:pt x="0" y="0"/>
                    <a:pt x="0" y="0"/>
                    <a:pt x="0" y="0"/>
                  </a:cubicBezTo>
                  <a:lnTo>
                    <a:pt x="175" y="0"/>
                  </a:lnTo>
                  <a:close/>
                  <a:moveTo>
                    <a:pt x="456" y="486"/>
                  </a:moveTo>
                  <a:lnTo>
                    <a:pt x="456" y="486"/>
                  </a:lnTo>
                  <a:cubicBezTo>
                    <a:pt x="420" y="486"/>
                    <a:pt x="383" y="492"/>
                    <a:pt x="353" y="506"/>
                  </a:cubicBezTo>
                  <a:cubicBezTo>
                    <a:pt x="320" y="517"/>
                    <a:pt x="289" y="536"/>
                    <a:pt x="267" y="559"/>
                  </a:cubicBezTo>
                  <a:cubicBezTo>
                    <a:pt x="242" y="584"/>
                    <a:pt x="222" y="611"/>
                    <a:pt x="208" y="645"/>
                  </a:cubicBezTo>
                  <a:cubicBezTo>
                    <a:pt x="195" y="678"/>
                    <a:pt x="186" y="714"/>
                    <a:pt x="186" y="753"/>
                  </a:cubicBezTo>
                  <a:cubicBezTo>
                    <a:pt x="186" y="795"/>
                    <a:pt x="195" y="831"/>
                    <a:pt x="208" y="864"/>
                  </a:cubicBezTo>
                  <a:cubicBezTo>
                    <a:pt x="222" y="897"/>
                    <a:pt x="242" y="925"/>
                    <a:pt x="267" y="950"/>
                  </a:cubicBezTo>
                  <a:cubicBezTo>
                    <a:pt x="289" y="972"/>
                    <a:pt x="320" y="992"/>
                    <a:pt x="350" y="1003"/>
                  </a:cubicBezTo>
                  <a:cubicBezTo>
                    <a:pt x="383" y="1017"/>
                    <a:pt x="420" y="1023"/>
                    <a:pt x="456" y="1023"/>
                  </a:cubicBezTo>
                  <a:cubicBezTo>
                    <a:pt x="492" y="1023"/>
                    <a:pt x="528" y="1017"/>
                    <a:pt x="558" y="1006"/>
                  </a:cubicBezTo>
                  <a:cubicBezTo>
                    <a:pt x="592" y="992"/>
                    <a:pt x="620" y="975"/>
                    <a:pt x="645" y="950"/>
                  </a:cubicBezTo>
                  <a:cubicBezTo>
                    <a:pt x="667" y="928"/>
                    <a:pt x="686" y="900"/>
                    <a:pt x="700" y="867"/>
                  </a:cubicBezTo>
                  <a:cubicBezTo>
                    <a:pt x="714" y="834"/>
                    <a:pt x="722" y="795"/>
                    <a:pt x="722" y="753"/>
                  </a:cubicBezTo>
                  <a:cubicBezTo>
                    <a:pt x="722" y="711"/>
                    <a:pt x="714" y="672"/>
                    <a:pt x="700" y="639"/>
                  </a:cubicBezTo>
                  <a:cubicBezTo>
                    <a:pt x="686" y="609"/>
                    <a:pt x="667" y="581"/>
                    <a:pt x="645" y="556"/>
                  </a:cubicBezTo>
                  <a:cubicBezTo>
                    <a:pt x="620" y="534"/>
                    <a:pt x="592" y="517"/>
                    <a:pt x="558" y="503"/>
                  </a:cubicBezTo>
                  <a:cubicBezTo>
                    <a:pt x="528" y="492"/>
                    <a:pt x="492" y="486"/>
                    <a:pt x="456" y="4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7" name="Freeform 34">
              <a:extLst>
                <a:ext uri="{FF2B5EF4-FFF2-40B4-BE49-F238E27FC236}">
                  <a16:creationId xmlns:a16="http://schemas.microsoft.com/office/drawing/2014/main" id="{176176EE-7085-B647-A980-50C6B722CB76}"/>
                </a:ext>
              </a:extLst>
            </p:cNvPr>
            <p:cNvSpPr>
              <a:spLocks noChangeArrowheads="1"/>
            </p:cNvSpPr>
            <p:nvPr userDrawn="1"/>
          </p:nvSpPr>
          <p:spPr bwMode="auto">
            <a:xfrm>
              <a:off x="7804150" y="3743325"/>
              <a:ext cx="315913" cy="311150"/>
            </a:xfrm>
            <a:custGeom>
              <a:avLst/>
              <a:gdLst>
                <a:gd name="T0" fmla="*/ 867 w 876"/>
                <a:gd name="T1" fmla="*/ 497 h 864"/>
                <a:gd name="T2" fmla="*/ 867 w 876"/>
                <a:gd name="T3" fmla="*/ 497 h 864"/>
                <a:gd name="T4" fmla="*/ 184 w 876"/>
                <a:gd name="T5" fmla="*/ 497 h 864"/>
                <a:gd name="T6" fmla="*/ 270 w 876"/>
                <a:gd name="T7" fmla="*/ 647 h 864"/>
                <a:gd name="T8" fmla="*/ 459 w 876"/>
                <a:gd name="T9" fmla="*/ 705 h 864"/>
                <a:gd name="T10" fmla="*/ 595 w 876"/>
                <a:gd name="T11" fmla="*/ 680 h 864"/>
                <a:gd name="T12" fmla="*/ 703 w 876"/>
                <a:gd name="T13" fmla="*/ 616 h 864"/>
                <a:gd name="T14" fmla="*/ 817 w 876"/>
                <a:gd name="T15" fmla="*/ 724 h 864"/>
                <a:gd name="T16" fmla="*/ 742 w 876"/>
                <a:gd name="T17" fmla="*/ 786 h 864"/>
                <a:gd name="T18" fmla="*/ 653 w 876"/>
                <a:gd name="T19" fmla="*/ 830 h 864"/>
                <a:gd name="T20" fmla="*/ 556 w 876"/>
                <a:gd name="T21" fmla="*/ 855 h 864"/>
                <a:gd name="T22" fmla="*/ 456 w 876"/>
                <a:gd name="T23" fmla="*/ 863 h 864"/>
                <a:gd name="T24" fmla="*/ 267 w 876"/>
                <a:gd name="T25" fmla="*/ 833 h 864"/>
                <a:gd name="T26" fmla="*/ 125 w 876"/>
                <a:gd name="T27" fmla="*/ 747 h 864"/>
                <a:gd name="T28" fmla="*/ 34 w 876"/>
                <a:gd name="T29" fmla="*/ 608 h 864"/>
                <a:gd name="T30" fmla="*/ 0 w 876"/>
                <a:gd name="T31" fmla="*/ 427 h 864"/>
                <a:gd name="T32" fmla="*/ 34 w 876"/>
                <a:gd name="T33" fmla="*/ 255 h 864"/>
                <a:gd name="T34" fmla="*/ 125 w 876"/>
                <a:gd name="T35" fmla="*/ 119 h 864"/>
                <a:gd name="T36" fmla="*/ 264 w 876"/>
                <a:gd name="T37" fmla="*/ 30 h 864"/>
                <a:gd name="T38" fmla="*/ 445 w 876"/>
                <a:gd name="T39" fmla="*/ 0 h 864"/>
                <a:gd name="T40" fmla="*/ 628 w 876"/>
                <a:gd name="T41" fmla="*/ 30 h 864"/>
                <a:gd name="T42" fmla="*/ 770 w 876"/>
                <a:gd name="T43" fmla="*/ 122 h 864"/>
                <a:gd name="T44" fmla="*/ 853 w 876"/>
                <a:gd name="T45" fmla="*/ 277 h 864"/>
                <a:gd name="T46" fmla="*/ 867 w 876"/>
                <a:gd name="T47" fmla="*/ 497 h 864"/>
                <a:gd name="T48" fmla="*/ 186 w 876"/>
                <a:gd name="T49" fmla="*/ 352 h 864"/>
                <a:gd name="T50" fmla="*/ 186 w 876"/>
                <a:gd name="T51" fmla="*/ 352 h 864"/>
                <a:gd name="T52" fmla="*/ 698 w 876"/>
                <a:gd name="T53" fmla="*/ 352 h 864"/>
                <a:gd name="T54" fmla="*/ 623 w 876"/>
                <a:gd name="T55" fmla="*/ 202 h 864"/>
                <a:gd name="T56" fmla="*/ 450 w 876"/>
                <a:gd name="T57" fmla="*/ 152 h 864"/>
                <a:gd name="T58" fmla="*/ 281 w 876"/>
                <a:gd name="T59" fmla="*/ 202 h 864"/>
                <a:gd name="T60" fmla="*/ 186 w 876"/>
                <a:gd name="T61" fmla="*/ 352 h 864"/>
                <a:gd name="T62" fmla="*/ 867 w 876"/>
                <a:gd name="T63" fmla="*/ 49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6" h="864">
                  <a:moveTo>
                    <a:pt x="867" y="497"/>
                  </a:moveTo>
                  <a:lnTo>
                    <a:pt x="867" y="497"/>
                  </a:lnTo>
                  <a:cubicBezTo>
                    <a:pt x="184" y="497"/>
                    <a:pt x="184" y="497"/>
                    <a:pt x="184" y="497"/>
                  </a:cubicBezTo>
                  <a:cubicBezTo>
                    <a:pt x="192" y="561"/>
                    <a:pt x="220" y="611"/>
                    <a:pt x="270" y="647"/>
                  </a:cubicBezTo>
                  <a:cubicBezTo>
                    <a:pt x="320" y="686"/>
                    <a:pt x="381" y="705"/>
                    <a:pt x="459" y="705"/>
                  </a:cubicBezTo>
                  <a:cubicBezTo>
                    <a:pt x="503" y="705"/>
                    <a:pt x="548" y="697"/>
                    <a:pt x="595" y="680"/>
                  </a:cubicBezTo>
                  <a:cubicBezTo>
                    <a:pt x="642" y="666"/>
                    <a:pt x="678" y="644"/>
                    <a:pt x="703" y="616"/>
                  </a:cubicBezTo>
                  <a:cubicBezTo>
                    <a:pt x="817" y="724"/>
                    <a:pt x="817" y="724"/>
                    <a:pt x="817" y="724"/>
                  </a:cubicBezTo>
                  <a:cubicBezTo>
                    <a:pt x="798" y="747"/>
                    <a:pt x="770" y="769"/>
                    <a:pt x="742" y="786"/>
                  </a:cubicBezTo>
                  <a:cubicBezTo>
                    <a:pt x="714" y="802"/>
                    <a:pt x="684" y="819"/>
                    <a:pt x="653" y="830"/>
                  </a:cubicBezTo>
                  <a:cubicBezTo>
                    <a:pt x="623" y="841"/>
                    <a:pt x="589" y="849"/>
                    <a:pt x="556" y="855"/>
                  </a:cubicBezTo>
                  <a:cubicBezTo>
                    <a:pt x="520" y="861"/>
                    <a:pt x="486" y="863"/>
                    <a:pt x="456" y="863"/>
                  </a:cubicBezTo>
                  <a:cubicBezTo>
                    <a:pt x="386" y="863"/>
                    <a:pt x="323" y="855"/>
                    <a:pt x="267" y="833"/>
                  </a:cubicBezTo>
                  <a:cubicBezTo>
                    <a:pt x="212" y="813"/>
                    <a:pt x="164" y="783"/>
                    <a:pt x="125" y="747"/>
                  </a:cubicBezTo>
                  <a:cubicBezTo>
                    <a:pt x="86" y="708"/>
                    <a:pt x="56" y="661"/>
                    <a:pt x="34" y="608"/>
                  </a:cubicBezTo>
                  <a:cubicBezTo>
                    <a:pt x="12" y="552"/>
                    <a:pt x="0" y="494"/>
                    <a:pt x="0" y="427"/>
                  </a:cubicBezTo>
                  <a:cubicBezTo>
                    <a:pt x="0" y="366"/>
                    <a:pt x="12" y="308"/>
                    <a:pt x="34" y="255"/>
                  </a:cubicBezTo>
                  <a:cubicBezTo>
                    <a:pt x="56" y="202"/>
                    <a:pt x="86" y="158"/>
                    <a:pt x="125" y="119"/>
                  </a:cubicBezTo>
                  <a:cubicBezTo>
                    <a:pt x="164" y="80"/>
                    <a:pt x="209" y="52"/>
                    <a:pt x="264" y="30"/>
                  </a:cubicBezTo>
                  <a:cubicBezTo>
                    <a:pt x="317" y="8"/>
                    <a:pt x="378" y="0"/>
                    <a:pt x="445" y="0"/>
                  </a:cubicBezTo>
                  <a:cubicBezTo>
                    <a:pt x="511" y="0"/>
                    <a:pt x="573" y="8"/>
                    <a:pt x="628" y="30"/>
                  </a:cubicBezTo>
                  <a:cubicBezTo>
                    <a:pt x="684" y="50"/>
                    <a:pt x="731" y="80"/>
                    <a:pt x="770" y="122"/>
                  </a:cubicBezTo>
                  <a:cubicBezTo>
                    <a:pt x="809" y="163"/>
                    <a:pt x="836" y="216"/>
                    <a:pt x="853" y="277"/>
                  </a:cubicBezTo>
                  <a:cubicBezTo>
                    <a:pt x="870" y="341"/>
                    <a:pt x="875" y="413"/>
                    <a:pt x="867" y="497"/>
                  </a:cubicBezTo>
                  <a:lnTo>
                    <a:pt x="186" y="352"/>
                  </a:lnTo>
                  <a:lnTo>
                    <a:pt x="186" y="352"/>
                  </a:lnTo>
                  <a:cubicBezTo>
                    <a:pt x="698" y="352"/>
                    <a:pt x="698" y="352"/>
                    <a:pt x="698" y="352"/>
                  </a:cubicBezTo>
                  <a:cubicBezTo>
                    <a:pt x="692" y="286"/>
                    <a:pt x="667" y="236"/>
                    <a:pt x="623" y="202"/>
                  </a:cubicBezTo>
                  <a:cubicBezTo>
                    <a:pt x="578" y="169"/>
                    <a:pt x="520" y="152"/>
                    <a:pt x="450" y="152"/>
                  </a:cubicBezTo>
                  <a:cubicBezTo>
                    <a:pt x="384" y="152"/>
                    <a:pt x="328" y="169"/>
                    <a:pt x="281" y="202"/>
                  </a:cubicBezTo>
                  <a:cubicBezTo>
                    <a:pt x="231" y="236"/>
                    <a:pt x="200" y="286"/>
                    <a:pt x="186" y="352"/>
                  </a:cubicBezTo>
                  <a:lnTo>
                    <a:pt x="867" y="49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69" name="Freeform 36">
              <a:extLst>
                <a:ext uri="{FF2B5EF4-FFF2-40B4-BE49-F238E27FC236}">
                  <a16:creationId xmlns:a16="http://schemas.microsoft.com/office/drawing/2014/main" id="{1D65CA47-B9DB-0E42-A6A7-78C35913AE91}"/>
                </a:ext>
              </a:extLst>
            </p:cNvPr>
            <p:cNvSpPr>
              <a:spLocks noChangeArrowheads="1"/>
            </p:cNvSpPr>
            <p:nvPr userDrawn="1"/>
          </p:nvSpPr>
          <p:spPr bwMode="auto">
            <a:xfrm>
              <a:off x="6570663" y="3024188"/>
              <a:ext cx="77787" cy="76200"/>
            </a:xfrm>
            <a:custGeom>
              <a:avLst/>
              <a:gdLst>
                <a:gd name="T0" fmla="*/ 0 w 218"/>
                <a:gd name="T1" fmla="*/ 106 h 213"/>
                <a:gd name="T2" fmla="*/ 0 w 218"/>
                <a:gd name="T3" fmla="*/ 106 h 213"/>
                <a:gd name="T4" fmla="*/ 33 w 218"/>
                <a:gd name="T5" fmla="*/ 25 h 213"/>
                <a:gd name="T6" fmla="*/ 108 w 218"/>
                <a:gd name="T7" fmla="*/ 0 h 213"/>
                <a:gd name="T8" fmla="*/ 183 w 218"/>
                <a:gd name="T9" fmla="*/ 25 h 213"/>
                <a:gd name="T10" fmla="*/ 217 w 218"/>
                <a:gd name="T11" fmla="*/ 106 h 213"/>
                <a:gd name="T12" fmla="*/ 183 w 218"/>
                <a:gd name="T13" fmla="*/ 184 h 213"/>
                <a:gd name="T14" fmla="*/ 108 w 218"/>
                <a:gd name="T15" fmla="*/ 212 h 213"/>
                <a:gd name="T16" fmla="*/ 33 w 218"/>
                <a:gd name="T17" fmla="*/ 184 h 213"/>
                <a:gd name="T18" fmla="*/ 0 w 218"/>
                <a:gd name="T19" fmla="*/ 10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3">
                  <a:moveTo>
                    <a:pt x="0" y="106"/>
                  </a:moveTo>
                  <a:lnTo>
                    <a:pt x="0" y="106"/>
                  </a:lnTo>
                  <a:cubicBezTo>
                    <a:pt x="0" y="70"/>
                    <a:pt x="11" y="42"/>
                    <a:pt x="33" y="25"/>
                  </a:cubicBezTo>
                  <a:cubicBezTo>
                    <a:pt x="56" y="9"/>
                    <a:pt x="80" y="0"/>
                    <a:pt x="108" y="0"/>
                  </a:cubicBezTo>
                  <a:cubicBezTo>
                    <a:pt x="136" y="0"/>
                    <a:pt x="161" y="9"/>
                    <a:pt x="183" y="25"/>
                  </a:cubicBezTo>
                  <a:cubicBezTo>
                    <a:pt x="206" y="42"/>
                    <a:pt x="217" y="70"/>
                    <a:pt x="217" y="106"/>
                  </a:cubicBezTo>
                  <a:cubicBezTo>
                    <a:pt x="217" y="139"/>
                    <a:pt x="206" y="167"/>
                    <a:pt x="183" y="184"/>
                  </a:cubicBezTo>
                  <a:cubicBezTo>
                    <a:pt x="161" y="203"/>
                    <a:pt x="136" y="212"/>
                    <a:pt x="108" y="212"/>
                  </a:cubicBezTo>
                  <a:cubicBezTo>
                    <a:pt x="80" y="212"/>
                    <a:pt x="56" y="203"/>
                    <a:pt x="33" y="184"/>
                  </a:cubicBezTo>
                  <a:cubicBezTo>
                    <a:pt x="11" y="167"/>
                    <a:pt x="0" y="139"/>
                    <a:pt x="0" y="10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sp>
          <p:nvSpPr>
            <p:cNvPr id="70" name="Freeform 37">
              <a:extLst>
                <a:ext uri="{FF2B5EF4-FFF2-40B4-BE49-F238E27FC236}">
                  <a16:creationId xmlns:a16="http://schemas.microsoft.com/office/drawing/2014/main" id="{8BD4A525-070F-7441-85C2-C1097D7DCD5F}"/>
                </a:ext>
              </a:extLst>
            </p:cNvPr>
            <p:cNvSpPr>
              <a:spLocks noChangeArrowheads="1"/>
            </p:cNvSpPr>
            <p:nvPr userDrawn="1"/>
          </p:nvSpPr>
          <p:spPr bwMode="auto">
            <a:xfrm>
              <a:off x="2690813" y="3625850"/>
              <a:ext cx="79375" cy="77788"/>
            </a:xfrm>
            <a:custGeom>
              <a:avLst/>
              <a:gdLst>
                <a:gd name="T0" fmla="*/ 0 w 221"/>
                <a:gd name="T1" fmla="*/ 105 h 215"/>
                <a:gd name="T2" fmla="*/ 0 w 221"/>
                <a:gd name="T3" fmla="*/ 105 h 215"/>
                <a:gd name="T4" fmla="*/ 34 w 221"/>
                <a:gd name="T5" fmla="*/ 28 h 215"/>
                <a:gd name="T6" fmla="*/ 111 w 221"/>
                <a:gd name="T7" fmla="*/ 0 h 215"/>
                <a:gd name="T8" fmla="*/ 186 w 221"/>
                <a:gd name="T9" fmla="*/ 28 h 215"/>
                <a:gd name="T10" fmla="*/ 220 w 221"/>
                <a:gd name="T11" fmla="*/ 105 h 215"/>
                <a:gd name="T12" fmla="*/ 186 w 221"/>
                <a:gd name="T13" fmla="*/ 186 h 215"/>
                <a:gd name="T14" fmla="*/ 111 w 221"/>
                <a:gd name="T15" fmla="*/ 214 h 215"/>
                <a:gd name="T16" fmla="*/ 34 w 221"/>
                <a:gd name="T17" fmla="*/ 186 h 215"/>
                <a:gd name="T18" fmla="*/ 0 w 221"/>
                <a:gd name="T19" fmla="*/ 10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215">
                  <a:moveTo>
                    <a:pt x="0" y="105"/>
                  </a:moveTo>
                  <a:lnTo>
                    <a:pt x="0" y="105"/>
                  </a:lnTo>
                  <a:cubicBezTo>
                    <a:pt x="0" y="69"/>
                    <a:pt x="11" y="44"/>
                    <a:pt x="34" y="28"/>
                  </a:cubicBezTo>
                  <a:cubicBezTo>
                    <a:pt x="59" y="8"/>
                    <a:pt x="84" y="0"/>
                    <a:pt x="111" y="0"/>
                  </a:cubicBezTo>
                  <a:cubicBezTo>
                    <a:pt x="136" y="0"/>
                    <a:pt x="161" y="8"/>
                    <a:pt x="186" y="28"/>
                  </a:cubicBezTo>
                  <a:cubicBezTo>
                    <a:pt x="209" y="44"/>
                    <a:pt x="220" y="69"/>
                    <a:pt x="220" y="105"/>
                  </a:cubicBezTo>
                  <a:cubicBezTo>
                    <a:pt x="220" y="141"/>
                    <a:pt x="209" y="169"/>
                    <a:pt x="186" y="186"/>
                  </a:cubicBezTo>
                  <a:cubicBezTo>
                    <a:pt x="161" y="202"/>
                    <a:pt x="136" y="214"/>
                    <a:pt x="111" y="214"/>
                  </a:cubicBezTo>
                  <a:cubicBezTo>
                    <a:pt x="84" y="214"/>
                    <a:pt x="59" y="202"/>
                    <a:pt x="34" y="186"/>
                  </a:cubicBezTo>
                  <a:cubicBezTo>
                    <a:pt x="11" y="169"/>
                    <a:pt x="0" y="141"/>
                    <a:pt x="0" y="10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p>
          </p:txBody>
        </p:sp>
      </p:grpSp>
      <p:sp>
        <p:nvSpPr>
          <p:cNvPr id="71" name="Text Placeholder 19">
            <a:extLst>
              <a:ext uri="{FF2B5EF4-FFF2-40B4-BE49-F238E27FC236}">
                <a16:creationId xmlns:a16="http://schemas.microsoft.com/office/drawing/2014/main" id="{9CE7F073-4B4F-DE4A-B3A0-AF386249A910}"/>
              </a:ext>
            </a:extLst>
          </p:cNvPr>
          <p:cNvSpPr>
            <a:spLocks noGrp="1"/>
          </p:cNvSpPr>
          <p:nvPr>
            <p:ph type="body" sz="quarter" idx="10" hasCustomPrompt="1"/>
          </p:nvPr>
        </p:nvSpPr>
        <p:spPr>
          <a:xfrm>
            <a:off x="1" y="2696007"/>
            <a:ext cx="3455988" cy="455087"/>
          </a:xfrm>
          <a:prstGeom prst="rect">
            <a:avLst/>
          </a:prstGeom>
        </p:spPr>
        <p:txBody>
          <a:bodyPr lIns="432000"/>
          <a:lstStyle>
            <a:lvl1pPr>
              <a:defRPr sz="1200">
                <a:solidFill>
                  <a:schemeClr val="accent2"/>
                </a:solidFill>
              </a:defRPr>
            </a:lvl1pPr>
            <a:lvl2pPr marL="270272" indent="0">
              <a:buNone/>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noProof="0"/>
              <a:t>Subtitle</a:t>
            </a:r>
          </a:p>
        </p:txBody>
      </p:sp>
      <p:sp>
        <p:nvSpPr>
          <p:cNvPr id="72" name="Freeform 2">
            <a:extLst>
              <a:ext uri="{FF2B5EF4-FFF2-40B4-BE49-F238E27FC236}">
                <a16:creationId xmlns:a16="http://schemas.microsoft.com/office/drawing/2014/main" id="{3B38822D-F7AA-0145-9017-B4C6C76150F4}"/>
              </a:ext>
            </a:extLst>
          </p:cNvPr>
          <p:cNvSpPr>
            <a:spLocks noChangeArrowheads="1"/>
          </p:cNvSpPr>
          <p:nvPr userDrawn="1"/>
        </p:nvSpPr>
        <p:spPr bwMode="auto">
          <a:xfrm>
            <a:off x="3397136" y="1013043"/>
            <a:ext cx="5367399" cy="5255074"/>
          </a:xfrm>
          <a:custGeom>
            <a:avLst/>
            <a:gdLst>
              <a:gd name="T0" fmla="*/ 4926324 w 17968"/>
              <a:gd name="T1" fmla="*/ 2836957 h 17585"/>
              <a:gd name="T2" fmla="*/ 4926324 w 17968"/>
              <a:gd name="T3" fmla="*/ 2836957 h 17585"/>
              <a:gd name="T4" fmla="*/ 4953686 w 17968"/>
              <a:gd name="T5" fmla="*/ 3165295 h 17585"/>
              <a:gd name="T6" fmla="*/ 3234892 w 17968"/>
              <a:gd name="T7" fmla="*/ 4961794 h 17585"/>
              <a:gd name="T8" fmla="*/ 1515377 w 17968"/>
              <a:gd name="T9" fmla="*/ 3165295 h 17585"/>
              <a:gd name="T10" fmla="*/ 3234892 w 17968"/>
              <a:gd name="T11" fmla="*/ 1368436 h 17585"/>
              <a:gd name="T12" fmla="*/ 3314459 w 17968"/>
              <a:gd name="T13" fmla="*/ 1372396 h 17585"/>
              <a:gd name="T14" fmla="*/ 3314459 w 17968"/>
              <a:gd name="T15" fmla="*/ 1800 h 17585"/>
              <a:gd name="T16" fmla="*/ 3234892 w 17968"/>
              <a:gd name="T17" fmla="*/ 0 h 17585"/>
              <a:gd name="T18" fmla="*/ 0 w 17968"/>
              <a:gd name="T19" fmla="*/ 3165295 h 17585"/>
              <a:gd name="T20" fmla="*/ 3234892 w 17968"/>
              <a:gd name="T21" fmla="*/ 6330590 h 17585"/>
              <a:gd name="T22" fmla="*/ 6468703 w 17968"/>
              <a:gd name="T23" fmla="*/ 3165295 h 17585"/>
              <a:gd name="T24" fmla="*/ 6452141 w 17968"/>
              <a:gd name="T25" fmla="*/ 2836957 h 17585"/>
              <a:gd name="T26" fmla="*/ 4926324 w 17968"/>
              <a:gd name="T27" fmla="*/ 2836957 h 175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968" h="17585">
                <a:moveTo>
                  <a:pt x="13683" y="7880"/>
                </a:moveTo>
                <a:lnTo>
                  <a:pt x="13683" y="7880"/>
                </a:lnTo>
                <a:cubicBezTo>
                  <a:pt x="13730" y="8175"/>
                  <a:pt x="13759" y="8480"/>
                  <a:pt x="13759" y="8792"/>
                </a:cubicBezTo>
                <a:cubicBezTo>
                  <a:pt x="13759" y="11651"/>
                  <a:pt x="11674" y="13782"/>
                  <a:pt x="8985" y="13782"/>
                </a:cubicBezTo>
                <a:cubicBezTo>
                  <a:pt x="6293" y="13782"/>
                  <a:pt x="4209" y="11651"/>
                  <a:pt x="4209" y="8792"/>
                </a:cubicBezTo>
                <a:cubicBezTo>
                  <a:pt x="4209" y="6046"/>
                  <a:pt x="6145" y="3801"/>
                  <a:pt x="8985" y="3801"/>
                </a:cubicBezTo>
                <a:cubicBezTo>
                  <a:pt x="9059" y="3801"/>
                  <a:pt x="9132" y="3809"/>
                  <a:pt x="9206" y="3812"/>
                </a:cubicBezTo>
                <a:cubicBezTo>
                  <a:pt x="9206" y="5"/>
                  <a:pt x="9206" y="5"/>
                  <a:pt x="9206" y="5"/>
                </a:cubicBezTo>
                <a:cubicBezTo>
                  <a:pt x="9133" y="4"/>
                  <a:pt x="9059" y="0"/>
                  <a:pt x="8985" y="0"/>
                </a:cubicBezTo>
                <a:cubicBezTo>
                  <a:pt x="3854" y="0"/>
                  <a:pt x="0" y="3936"/>
                  <a:pt x="0" y="8792"/>
                </a:cubicBezTo>
                <a:cubicBezTo>
                  <a:pt x="0" y="13897"/>
                  <a:pt x="3868" y="17584"/>
                  <a:pt x="8985" y="17584"/>
                </a:cubicBezTo>
                <a:cubicBezTo>
                  <a:pt x="14099" y="17584"/>
                  <a:pt x="17967" y="13897"/>
                  <a:pt x="17967" y="8792"/>
                </a:cubicBezTo>
                <a:cubicBezTo>
                  <a:pt x="17967" y="8484"/>
                  <a:pt x="17951" y="8179"/>
                  <a:pt x="17921" y="7880"/>
                </a:cubicBezTo>
                <a:lnTo>
                  <a:pt x="13683" y="7880"/>
                </a:lnTo>
              </a:path>
            </a:pathLst>
          </a:custGeom>
          <a:solidFill>
            <a:schemeClr val="tx1"/>
          </a:solidFill>
          <a:ln>
            <a:noFill/>
          </a:ln>
          <a:effectLst/>
        </p:spPr>
        <p:txBody>
          <a:bodyPr wrap="none" anchor="ctr"/>
          <a:lstStyle/>
          <a:p>
            <a:endParaRPr lang="en-US" noProof="0"/>
          </a:p>
        </p:txBody>
      </p:sp>
    </p:spTree>
    <p:extLst>
      <p:ext uri="{BB962C8B-B14F-4D97-AF65-F5344CB8AC3E}">
        <p14:creationId xmlns:p14="http://schemas.microsoft.com/office/powerpoint/2010/main" val="359325974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ags" Target="../tags/tag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vmlDrawing" Target="../drawings/vmlDrawing2.vml"/><Relationship Id="rId5" Type="http://schemas.openxmlformats.org/officeDocument/2006/relationships/slideLayout" Target="../slideLayouts/slideLayout17.xml"/><Relationship Id="rId10"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34" Type="http://schemas.openxmlformats.org/officeDocument/2006/relationships/tags" Target="../tags/tag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vmlDrawing" Target="../drawings/vmlDrawing3.v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theme" Target="../theme/theme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36" Type="http://schemas.openxmlformats.org/officeDocument/2006/relationships/image" Target="../media/image1.emf"/><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slideLayout" Target="../slideLayouts/slideLayout5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 Id="rId35" Type="http://schemas.openxmlformats.org/officeDocument/2006/relationships/oleObject" Target="../embeddings/oleObject1.bin"/><Relationship Id="rId8"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5.xml"/><Relationship Id="rId7" Type="http://schemas.openxmlformats.org/officeDocument/2006/relationships/oleObject" Target="../embeddings/oleObject1.bin"/><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tags" Target="../tags/tag5.xml"/><Relationship Id="rId5" Type="http://schemas.openxmlformats.org/officeDocument/2006/relationships/vmlDrawing" Target="../drawings/vmlDrawing4.v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5"/>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spid="_x0000_s1027" name="think-cell Slide" r:id="rId16" imgW="270" imgH="270" progId="TCLayout.ActiveDocument.1">
                  <p:embed/>
                </p:oleObj>
              </mc:Choice>
              <mc:Fallback>
                <p:oleObj name="think-cell Slide" r:id="rId16" imgW="270" imgH="270" progId="TCLayout.ActiveDocument.1">
                  <p:embed/>
                  <p:pic>
                    <p:nvPicPr>
                      <p:cNvPr id="21" name="Object 20"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250101296"/>
      </p:ext>
    </p:extLst>
  </p:cSld>
  <p:clrMap bg1="lt1" tx1="dk1" bg2="lt2" tx2="dk2" accent1="accent1" accent2="accent2" accent3="accent3" accent4="accent4" accent5="accent5" accent6="accent6" hlink="hlink" folHlink="folHlink"/>
  <p:sldLayoutIdLst>
    <p:sldLayoutId id="2147483959" r:id="rId1"/>
    <p:sldLayoutId id="2147484012" r:id="rId2"/>
    <p:sldLayoutId id="2147483975" r:id="rId3"/>
    <p:sldLayoutId id="2147483973" r:id="rId4"/>
    <p:sldLayoutId id="2147484013" r:id="rId5"/>
    <p:sldLayoutId id="2147483976" r:id="rId6"/>
    <p:sldLayoutId id="2147483974" r:id="rId7"/>
    <p:sldLayoutId id="2147484014" r:id="rId8"/>
    <p:sldLayoutId id="2147483977" r:id="rId9"/>
    <p:sldLayoutId id="2147483978" r:id="rId10"/>
    <p:sldLayoutId id="2147484015" r:id="rId11"/>
    <p:sldLayoutId id="2147483980" r:id="rId12"/>
  </p:sldLayoutIdLst>
  <p:hf hdr="0"/>
  <p:txStyles>
    <p:titleStyle>
      <a:lvl1pPr marL="0" marR="0" indent="0" algn="l" defTabSz="685800" rtl="0" eaLnBrk="1" fontAlgn="auto" latinLnBrk="0" hangingPunct="1">
        <a:lnSpc>
          <a:spcPct val="90000"/>
        </a:lnSpc>
        <a:spcBef>
          <a:spcPct val="0"/>
        </a:spcBef>
        <a:spcAft>
          <a:spcPts val="0"/>
        </a:spcAft>
        <a:buClrTx/>
        <a:buSzTx/>
        <a:buFontTx/>
        <a:buNone/>
        <a:tabLst/>
        <a:defRPr kumimoji="0" lang="pl-PL" sz="3200" b="0" i="0" u="none" strike="noStrike" kern="1200" cap="none" spc="0" normalizeH="0" baseline="0" noProof="0" smtClean="0">
          <a:ln>
            <a:noFill/>
          </a:ln>
          <a:solidFill>
            <a:schemeClr val="tx2"/>
          </a:solidFill>
          <a:effectLst/>
          <a:uLnTx/>
          <a:uFillTx/>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72" userDrawn="1">
          <p15:clr>
            <a:srgbClr val="F26B43"/>
          </p15:clr>
        </p15:guide>
        <p15:guide id="3" pos="5488" userDrawn="1">
          <p15:clr>
            <a:srgbClr val="F26B43"/>
          </p15:clr>
        </p15:guide>
        <p15:guide id="4" orient="horz" pos="259" userDrawn="1">
          <p15:clr>
            <a:srgbClr val="F26B43"/>
          </p15:clr>
        </p15:guide>
        <p15:guide id="5" orient="horz" pos="2981" userDrawn="1">
          <p15:clr>
            <a:srgbClr val="F26B43"/>
          </p15:clr>
        </p15:guide>
        <p15:guide id="6" orient="horz" pos="1257" userDrawn="1">
          <p15:clr>
            <a:srgbClr val="F26B43"/>
          </p15:clr>
        </p15:guide>
        <p15:guide id="7" orient="horz" pos="1983" userDrawn="1">
          <p15:clr>
            <a:srgbClr val="F26B43"/>
          </p15:clr>
        </p15:guide>
        <p15:guide id="8" pos="2177" userDrawn="1">
          <p15:clr>
            <a:srgbClr val="F26B43"/>
          </p15:clr>
        </p15:guide>
        <p15:guide id="9" pos="3583" userDrawn="1">
          <p15:clr>
            <a:srgbClr val="F26B43"/>
          </p15:clr>
        </p15:guide>
        <p15:guide id="10" orient="horz" pos="327" userDrawn="1">
          <p15:clr>
            <a:srgbClr val="F26B43"/>
          </p15:clr>
        </p15:guide>
        <p15:guide id="11" orient="horz" pos="509" userDrawn="1">
          <p15:clr>
            <a:srgbClr val="F26B43"/>
          </p15:clr>
        </p15:guide>
        <p15:guide id="12" pos="4649" userDrawn="1">
          <p15:clr>
            <a:srgbClr val="F26B43"/>
          </p15:clr>
        </p15:guide>
        <p15:guide id="13" pos="440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spid="_x0000_s2051"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57985890"/>
      </p:ext>
    </p:extLst>
  </p:cSld>
  <p:clrMap bg1="lt1" tx1="dk1" bg2="lt2" tx2="dk2" accent1="accent1" accent2="accent2" accent3="accent3" accent4="accent4" accent5="accent5" accent6="accent6" hlink="hlink" folHlink="folHlink"/>
  <p:sldLayoutIdLst>
    <p:sldLayoutId id="2147483983" r:id="rId1"/>
    <p:sldLayoutId id="2147484016" r:id="rId2"/>
    <p:sldLayoutId id="2147483984" r:id="rId3"/>
    <p:sldLayoutId id="2147483987" r:id="rId4"/>
    <p:sldLayoutId id="2147484017" r:id="rId5"/>
    <p:sldLayoutId id="2147483988" r:id="rId6"/>
    <p:sldLayoutId id="2147483985" r:id="rId7"/>
    <p:sldLayoutId id="2147484018" r:id="rId8"/>
    <p:sldLayoutId id="2147483986" r:id="rId9"/>
  </p:sldLayoutIdLst>
  <p:hf hdr="0"/>
  <p:txStyles>
    <p:titleStyle>
      <a:lvl1pPr marL="0" marR="0" indent="0" algn="l" defTabSz="685800" rtl="0" eaLnBrk="1" fontAlgn="auto" latinLnBrk="0" hangingPunct="1">
        <a:lnSpc>
          <a:spcPct val="90000"/>
        </a:lnSpc>
        <a:spcBef>
          <a:spcPct val="0"/>
        </a:spcBef>
        <a:spcAft>
          <a:spcPts val="0"/>
        </a:spcAft>
        <a:buClrTx/>
        <a:buSzTx/>
        <a:buFontTx/>
        <a:buNone/>
        <a:tabLst/>
        <a:defRPr kumimoji="0" lang="pl-PL" sz="3200" b="0" i="0" u="none" strike="noStrike" kern="1200" cap="none" spc="0" normalizeH="0" baseline="0" noProof="0" smtClean="0">
          <a:ln>
            <a:noFill/>
          </a:ln>
          <a:solidFill>
            <a:schemeClr val="tx2"/>
          </a:solidFill>
          <a:effectLst/>
          <a:uLnTx/>
          <a:uFillTx/>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72">
          <p15:clr>
            <a:srgbClr val="F26B43"/>
          </p15:clr>
        </p15:guide>
        <p15:guide id="3" pos="5488">
          <p15:clr>
            <a:srgbClr val="F26B43"/>
          </p15:clr>
        </p15:guide>
        <p15:guide id="4" orient="horz" pos="259">
          <p15:clr>
            <a:srgbClr val="F26B43"/>
          </p15:clr>
        </p15:guide>
        <p15:guide id="5" orient="horz" pos="2981">
          <p15:clr>
            <a:srgbClr val="F26B43"/>
          </p15:clr>
        </p15:guide>
        <p15:guide id="6" orient="horz" pos="1257">
          <p15:clr>
            <a:srgbClr val="F26B43"/>
          </p15:clr>
        </p15:guide>
        <p15:guide id="7" orient="horz" pos="1983">
          <p15:clr>
            <a:srgbClr val="F26B43"/>
          </p15:clr>
        </p15:guide>
        <p15:guide id="8" pos="2177">
          <p15:clr>
            <a:srgbClr val="F26B43"/>
          </p15:clr>
        </p15:guide>
        <p15:guide id="9" pos="35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4"/>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spid="_x0000_s3075" name="think-cell Slide" r:id="rId35" imgW="270" imgH="270" progId="TCLayout.ActiveDocument.1">
                  <p:embed/>
                </p:oleObj>
              </mc:Choice>
              <mc:Fallback>
                <p:oleObj name="think-cell Slide" r:id="rId35" imgW="270" imgH="270" progId="TCLayout.ActiveDocument.1">
                  <p:embed/>
                  <p:pic>
                    <p:nvPicPr>
                      <p:cNvPr id="21" name="Object 20"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ooter Placeholder 13">
            <a:extLst>
              <a:ext uri="{FF2B5EF4-FFF2-40B4-BE49-F238E27FC236}">
                <a16:creationId xmlns:a16="http://schemas.microsoft.com/office/drawing/2014/main" id="{1AFD1E54-92DE-BA42-9AE8-24C9FE36E2EC}"/>
              </a:ext>
            </a:extLst>
          </p:cNvPr>
          <p:cNvSpPr txBox="1">
            <a:spLocks/>
          </p:cNvSpPr>
          <p:nvPr userDrawn="1"/>
        </p:nvSpPr>
        <p:spPr>
          <a:xfrm>
            <a:off x="10090" y="4731750"/>
            <a:ext cx="3461514" cy="402001"/>
          </a:xfrm>
          <a:prstGeom prst="rect">
            <a:avLst/>
          </a:prstGeom>
        </p:spPr>
        <p:txBody>
          <a:bodyPr vert="horz" wrap="none" lIns="432000" tIns="0" rIns="0" bIns="180000" anchor="b" anchorCtr="0">
            <a:noAutofit/>
          </a:bodyPr>
          <a:lstStyle>
            <a:defPPr>
              <a:defRPr lang="pt-PT"/>
            </a:defPPr>
            <a:lvl1pPr marL="0" algn="l" defTabSz="685800" rtl="0" eaLnBrk="1" latinLnBrk="0" hangingPunct="1">
              <a:defRPr lang="pl-PL" sz="600" kern="1200" dirty="0">
                <a:solidFill>
                  <a:schemeClr val="accent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400">
              <a:spcBef>
                <a:spcPts val="1000"/>
              </a:spcBef>
              <a:buFont typeface="Arial" panose="020B0604020202020204" pitchFamily="34" charset="0"/>
              <a:buNone/>
            </a:pPr>
            <a:r>
              <a:rPr lang="en-US" noProof="0" dirty="0" err="1">
                <a:solidFill>
                  <a:srgbClr val="FF3466"/>
                </a:solidFill>
                <a:latin typeface="Verdana"/>
              </a:rPr>
              <a:t>Dialogflow</a:t>
            </a:r>
            <a:r>
              <a:rPr lang="en-US" noProof="0" dirty="0">
                <a:solidFill>
                  <a:srgbClr val="FF3466"/>
                </a:solidFill>
                <a:latin typeface="Verdana"/>
              </a:rPr>
              <a:t> Training | Eric </a:t>
            </a:r>
            <a:r>
              <a:rPr lang="en-US" noProof="0" dirty="0" err="1">
                <a:solidFill>
                  <a:srgbClr val="FF3466"/>
                </a:solidFill>
                <a:latin typeface="Verdana"/>
              </a:rPr>
              <a:t>Ginouillac</a:t>
            </a:r>
            <a:r>
              <a:rPr lang="en-US" noProof="0" dirty="0">
                <a:solidFill>
                  <a:srgbClr val="FF3466"/>
                </a:solidFill>
                <a:latin typeface="Verdana"/>
              </a:rPr>
              <a:t> | </a:t>
            </a:r>
            <a:r>
              <a:rPr lang="en-US" noProof="0" dirty="0" err="1">
                <a:solidFill>
                  <a:srgbClr val="FF3466"/>
                </a:solidFill>
                <a:latin typeface="Verdana"/>
              </a:rPr>
              <a:t>Novembre</a:t>
            </a:r>
            <a:r>
              <a:rPr lang="en-US" noProof="0" dirty="0">
                <a:solidFill>
                  <a:srgbClr val="FF3466"/>
                </a:solidFill>
                <a:latin typeface="Verdana"/>
              </a:rPr>
              <a:t> 2021</a:t>
            </a:r>
          </a:p>
        </p:txBody>
      </p:sp>
      <p:sp>
        <p:nvSpPr>
          <p:cNvPr id="13" name="Slide Number Placeholder 14">
            <a:extLst>
              <a:ext uri="{FF2B5EF4-FFF2-40B4-BE49-F238E27FC236}">
                <a16:creationId xmlns:a16="http://schemas.microsoft.com/office/drawing/2014/main" id="{5242E0AA-71CE-4C40-A090-5B9D9D4B0EF3}"/>
              </a:ext>
            </a:extLst>
          </p:cNvPr>
          <p:cNvSpPr txBox="1">
            <a:spLocks/>
          </p:cNvSpPr>
          <p:nvPr userDrawn="1"/>
        </p:nvSpPr>
        <p:spPr>
          <a:xfrm>
            <a:off x="6979136" y="4731750"/>
            <a:ext cx="2163409" cy="406875"/>
          </a:xfrm>
          <a:prstGeom prst="rect">
            <a:avLst/>
          </a:prstGeom>
        </p:spPr>
        <p:txBody>
          <a:bodyPr lIns="0" tIns="0" rIns="432000" bIns="180000" anchor="b" anchorCtr="0">
            <a:noAutofit/>
          </a:bodyPr>
          <a:lstStyle>
            <a:defPPr>
              <a:defRPr lang="pt-PT"/>
            </a:defPPr>
            <a:lvl1pPr marL="0" algn="l" defTabSz="685800" rtl="0" eaLnBrk="1" latinLnBrk="0" hangingPunct="1">
              <a:defRPr lang="pl-PL" sz="600" kern="1200" smtClean="0">
                <a:solidFill>
                  <a:schemeClr val="accent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defTabSz="180000">
              <a:spcBef>
                <a:spcPts val="750"/>
              </a:spcBef>
            </a:pPr>
            <a:r>
              <a:rPr lang="en-US" noProof="0">
                <a:solidFill>
                  <a:srgbClr val="2A3045"/>
                </a:solidFill>
                <a:latin typeface="Verdana"/>
              </a:rPr>
              <a:t>© Odigo 2018. All rights reserved  |	</a:t>
            </a:r>
            <a:fld id="{B5D91C59-F2C4-3A40-B252-C7A31DDDAFEA}" type="slidenum">
              <a:rPr lang="en-US" noProof="0" smtClean="0">
                <a:solidFill>
                  <a:srgbClr val="2A3045"/>
                </a:solidFill>
                <a:latin typeface="Verdana"/>
              </a:rPr>
              <a:pPr algn="r" defTabSz="180000">
                <a:spcBef>
                  <a:spcPts val="750"/>
                </a:spcBef>
              </a:pPr>
              <a:t>‹N°›</a:t>
            </a:fld>
            <a:endParaRPr lang="en-US" noProof="0">
              <a:solidFill>
                <a:srgbClr val="2A3045"/>
              </a:solidFill>
              <a:latin typeface="Verdana"/>
            </a:endParaRPr>
          </a:p>
        </p:txBody>
      </p:sp>
      <p:sp>
        <p:nvSpPr>
          <p:cNvPr id="19" name="Freeform 1">
            <a:extLst>
              <a:ext uri="{FF2B5EF4-FFF2-40B4-BE49-F238E27FC236}">
                <a16:creationId xmlns:a16="http://schemas.microsoft.com/office/drawing/2014/main" id="{AF2A9F6D-3880-2C48-9733-DC15C3D48FE1}"/>
              </a:ext>
            </a:extLst>
          </p:cNvPr>
          <p:cNvSpPr>
            <a:spLocks noChangeArrowheads="1"/>
          </p:cNvSpPr>
          <p:nvPr userDrawn="1"/>
        </p:nvSpPr>
        <p:spPr bwMode="auto">
          <a:xfrm>
            <a:off x="8294198" y="0"/>
            <a:ext cx="849802" cy="808038"/>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noProof="0">
              <a:solidFill>
                <a:schemeClr val="accent2"/>
              </a:solidFill>
            </a:endParaRPr>
          </a:p>
        </p:txBody>
      </p:sp>
    </p:spTree>
    <p:extLst>
      <p:ext uri="{BB962C8B-B14F-4D97-AF65-F5344CB8AC3E}">
        <p14:creationId xmlns:p14="http://schemas.microsoft.com/office/powerpoint/2010/main" val="533125741"/>
      </p:ext>
    </p:extLst>
  </p:cSld>
  <p:clrMap bg1="lt1" tx1="dk1" bg2="lt2" tx2="dk2" accent1="accent1" accent2="accent2" accent3="accent3" accent4="accent4" accent5="accent5" accent6="accent6" hlink="hlink" folHlink="folHlink"/>
  <p:sldLayoutIdLst>
    <p:sldLayoutId id="2147483961" r:id="rId1"/>
    <p:sldLayoutId id="2147484034" r:id="rId2"/>
    <p:sldLayoutId id="2147484032" r:id="rId3"/>
    <p:sldLayoutId id="2147484033" r:id="rId4"/>
    <p:sldLayoutId id="2147483991" r:id="rId5"/>
    <p:sldLayoutId id="2147484019" r:id="rId6"/>
    <p:sldLayoutId id="2147483990" r:id="rId7"/>
    <p:sldLayoutId id="2147484020" r:id="rId8"/>
    <p:sldLayoutId id="2147483972" r:id="rId9"/>
    <p:sldLayoutId id="2147484021" r:id="rId10"/>
    <p:sldLayoutId id="2147483964" r:id="rId11"/>
    <p:sldLayoutId id="2147484022" r:id="rId12"/>
    <p:sldLayoutId id="2147483965" r:id="rId13"/>
    <p:sldLayoutId id="2147484023" r:id="rId14"/>
    <p:sldLayoutId id="2147483981" r:id="rId15"/>
    <p:sldLayoutId id="2147484024" r:id="rId16"/>
    <p:sldLayoutId id="2147483966" r:id="rId17"/>
    <p:sldLayoutId id="2147484025" r:id="rId18"/>
    <p:sldLayoutId id="2147483967" r:id="rId19"/>
    <p:sldLayoutId id="2147484026" r:id="rId20"/>
    <p:sldLayoutId id="2147483971" r:id="rId21"/>
    <p:sldLayoutId id="2147484027" r:id="rId22"/>
    <p:sldLayoutId id="2147483989" r:id="rId23"/>
    <p:sldLayoutId id="2147484028" r:id="rId24"/>
    <p:sldLayoutId id="2147483968" r:id="rId25"/>
    <p:sldLayoutId id="2147484029" r:id="rId26"/>
    <p:sldLayoutId id="2147483969" r:id="rId27"/>
    <p:sldLayoutId id="2147484030" r:id="rId28"/>
    <p:sldLayoutId id="2147484035" r:id="rId29"/>
    <p:sldLayoutId id="2147484036" r:id="rId30"/>
    <p:sldLayoutId id="2147484037" r:id="rId31"/>
  </p:sldLayoutIdLst>
  <p:hf hdr="0"/>
  <p:txStyles>
    <p:titleStyle>
      <a:lvl1pPr marL="0" marR="0" indent="0" algn="l" defTabSz="685800" rtl="0" eaLnBrk="1" fontAlgn="auto" latinLnBrk="0" hangingPunct="1">
        <a:lnSpc>
          <a:spcPct val="90000"/>
        </a:lnSpc>
        <a:spcBef>
          <a:spcPct val="0"/>
        </a:spcBef>
        <a:spcAft>
          <a:spcPts val="0"/>
        </a:spcAft>
        <a:buClrTx/>
        <a:buSzTx/>
        <a:buFontTx/>
        <a:buNone/>
        <a:tabLst/>
        <a:defRPr kumimoji="0" lang="pl-PL" sz="2000" b="0" i="0" u="none" strike="noStrike" kern="1200" cap="none" spc="0" normalizeH="0" baseline="0" noProof="0" dirty="0" smtClean="0">
          <a:ln>
            <a:noFill/>
          </a:ln>
          <a:solidFill>
            <a:schemeClr val="accent2"/>
          </a:solidFill>
          <a:effectLst/>
          <a:uLnTx/>
          <a:uFillTx/>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2" userDrawn="1">
          <p15:clr>
            <a:srgbClr val="F26B43"/>
          </p15:clr>
        </p15:guide>
        <p15:guide id="2" pos="5488" userDrawn="1">
          <p15:clr>
            <a:srgbClr val="F26B43"/>
          </p15:clr>
        </p15:guide>
        <p15:guide id="3" orient="horz" pos="509" userDrawn="1">
          <p15:clr>
            <a:srgbClr val="F26B43"/>
          </p15:clr>
        </p15:guide>
        <p15:guide id="4" orient="horz" pos="2981" userDrawn="1">
          <p15:clr>
            <a:srgbClr val="F26B43"/>
          </p15:clr>
        </p15:guide>
        <p15:guide id="5" pos="4400" userDrawn="1">
          <p15:clr>
            <a:srgbClr val="F26B43"/>
          </p15:clr>
        </p15:guide>
        <p15:guide id="6" pos="3583" userDrawn="1">
          <p15:clr>
            <a:srgbClr val="F26B43"/>
          </p15:clr>
        </p15:guide>
        <p15:guide id="7" pos="2177" userDrawn="1">
          <p15:clr>
            <a:srgbClr val="F26B43"/>
          </p15:clr>
        </p15:guide>
        <p15:guide id="8" orient="horz" pos="1257" userDrawn="1">
          <p15:clr>
            <a:srgbClr val="F26B43"/>
          </p15:clr>
        </p15:guide>
        <p15:guide id="9" orient="horz" pos="1983" userDrawn="1">
          <p15:clr>
            <a:srgbClr val="F26B43"/>
          </p15:clr>
        </p15:guide>
        <p15:guide id="10" orient="horz" pos="3117" userDrawn="1">
          <p15:clr>
            <a:srgbClr val="F26B43"/>
          </p15:clr>
        </p15:guide>
        <p15:guide id="11" orient="horz" pos="214" userDrawn="1">
          <p15:clr>
            <a:srgbClr val="F26B43"/>
          </p15:clr>
        </p15:guide>
        <p15:guide id="12" orient="horz" pos="849" userDrawn="1">
          <p15:clr>
            <a:srgbClr val="F26B43"/>
          </p15:clr>
        </p15:guide>
        <p15:guide id="13" orient="horz" pos="100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spid="_x0000_s4099"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58245397"/>
      </p:ext>
    </p:extLst>
  </p:cSld>
  <p:clrMap bg1="lt1" tx1="dk1" bg2="lt2" tx2="dk2" accent1="accent1" accent2="accent2" accent3="accent3" accent4="accent4" accent5="accent5" accent6="accent6" hlink="hlink" folHlink="folHlink"/>
  <p:sldLayoutIdLst>
    <p:sldLayoutId id="2147484010" r:id="rId1"/>
    <p:sldLayoutId id="2147484031" r:id="rId2"/>
    <p:sldLayoutId id="2147484011" r:id="rId3"/>
  </p:sldLayoutIdLst>
  <p:hf hdr="0"/>
  <p:txStyles>
    <p:titleStyle>
      <a:lvl1pPr marL="0" marR="0" indent="0" algn="l" defTabSz="685800" rtl="0" eaLnBrk="1" fontAlgn="auto" latinLnBrk="0" hangingPunct="1">
        <a:lnSpc>
          <a:spcPct val="90000"/>
        </a:lnSpc>
        <a:spcBef>
          <a:spcPct val="0"/>
        </a:spcBef>
        <a:spcAft>
          <a:spcPts val="0"/>
        </a:spcAft>
        <a:buClrTx/>
        <a:buSzTx/>
        <a:buFontTx/>
        <a:buNone/>
        <a:tabLst/>
        <a:defRPr kumimoji="0" lang="pl-PL" sz="2000" b="0" i="0" u="none" strike="noStrike" kern="1200" cap="none" spc="0" normalizeH="0" baseline="0" noProof="0" dirty="0" smtClean="0">
          <a:ln>
            <a:noFill/>
          </a:ln>
          <a:solidFill>
            <a:schemeClr val="accent2"/>
          </a:solidFill>
          <a:effectLst/>
          <a:uLnTx/>
          <a:uFillTx/>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2">
          <p15:clr>
            <a:srgbClr val="F26B43"/>
          </p15:clr>
        </p15:guide>
        <p15:guide id="2" pos="5488">
          <p15:clr>
            <a:srgbClr val="F26B43"/>
          </p15:clr>
        </p15:guide>
        <p15:guide id="3" orient="horz" pos="509">
          <p15:clr>
            <a:srgbClr val="F26B43"/>
          </p15:clr>
        </p15:guide>
        <p15:guide id="4" orient="horz" pos="2981">
          <p15:clr>
            <a:srgbClr val="F26B43"/>
          </p15:clr>
        </p15:guide>
        <p15:guide id="5" pos="4400">
          <p15:clr>
            <a:srgbClr val="F26B43"/>
          </p15:clr>
        </p15:guide>
        <p15:guide id="6" pos="3583">
          <p15:clr>
            <a:srgbClr val="F26B43"/>
          </p15:clr>
        </p15:guide>
        <p15:guide id="7" pos="2177">
          <p15:clr>
            <a:srgbClr val="F26B43"/>
          </p15:clr>
        </p15:guide>
        <p15:guide id="8" orient="horz" pos="1257">
          <p15:clr>
            <a:srgbClr val="F26B43"/>
          </p15:clr>
        </p15:guide>
        <p15:guide id="9" orient="horz" pos="1983">
          <p15:clr>
            <a:srgbClr val="F26B43"/>
          </p15:clr>
        </p15:guide>
        <p15:guide id="10" orient="horz" pos="3117">
          <p15:clr>
            <a:srgbClr val="F26B43"/>
          </p15:clr>
        </p15:guide>
        <p15:guide id="11" orient="horz" pos="214">
          <p15:clr>
            <a:srgbClr val="F26B43"/>
          </p15:clr>
        </p15:guide>
        <p15:guide id="12" orient="horz" pos="849">
          <p15:clr>
            <a:srgbClr val="F26B43"/>
          </p15:clr>
        </p15:guide>
        <p15:guide id="13" orient="horz" pos="1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52.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4.xml"/></Relationships>
</file>

<file path=ppt/slides/_rels/slide10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7.xml"/><Relationship Id="rId1" Type="http://schemas.openxmlformats.org/officeDocument/2006/relationships/slideLayout" Target="../slideLayouts/slideLayout34.xml"/><Relationship Id="rId4" Type="http://schemas.openxmlformats.org/officeDocument/2006/relationships/image" Target="../media/image112.png"/></Relationships>
</file>

<file path=ppt/slides/_rels/slide10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34.xml"/></Relationships>
</file>

<file path=ppt/slides/_rels/slide10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hyperlink" Target="https://status.firebase.google.com/" TargetMode="External"/><Relationship Id="rId1" Type="http://schemas.openxmlformats.org/officeDocument/2006/relationships/slideLayout" Target="../slideLayouts/slideLayout34.xml"/></Relationships>
</file>

<file path=ppt/slides/_rels/slide1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51.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05.xml.rels><?xml version="1.0" encoding="UTF-8" standalone="yes"?>
<Relationships xmlns="http://schemas.openxmlformats.org/package/2006/relationships"><Relationship Id="rId3" Type="http://schemas.openxmlformats.org/officeDocument/2006/relationships/image" Target="../media/image117.svg"/><Relationship Id="rId2" Type="http://schemas.openxmlformats.org/officeDocument/2006/relationships/image" Target="../media/image116.png"/><Relationship Id="rId1" Type="http://schemas.openxmlformats.org/officeDocument/2006/relationships/slideLayout" Target="../slideLayouts/slideLayout34.xml"/></Relationships>
</file>

<file path=ppt/slides/_rels/slide106.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34.xml"/></Relationships>
</file>

<file path=ppt/slides/_rels/slide10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9.xml"/><Relationship Id="rId1" Type="http://schemas.openxmlformats.org/officeDocument/2006/relationships/slideLayout" Target="../slideLayouts/slideLayout34.xml"/></Relationships>
</file>

<file path=ppt/slides/_rels/slide108.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34.xml"/></Relationships>
</file>

<file path=ppt/slides/_rels/slide109.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Layout" Target="../slideLayouts/slideLayout34.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s>
</file>

<file path=ppt/slides/_rels/slide110.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34.xml"/></Relationships>
</file>

<file path=ppt/slides/_rels/slide111.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34.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4.xml"/></Relationships>
</file>

<file path=ppt/slides/_rels/slide11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Layout" Target="../slideLayouts/slideLayout34.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1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34.xml"/><Relationship Id="rId4" Type="http://schemas.openxmlformats.org/officeDocument/2006/relationships/image" Target="../media/image128.png"/></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xml"/><Relationship Id="rId1" Type="http://schemas.openxmlformats.org/officeDocument/2006/relationships/slideLayout" Target="../slideLayouts/slideLayout51.xml"/></Relationships>
</file>

<file path=ppt/slides/_rels/slide119.xml.rels><?xml version="1.0" encoding="UTF-8" standalone="yes"?>
<Relationships xmlns="http://schemas.openxmlformats.org/package/2006/relationships"><Relationship Id="rId2" Type="http://schemas.openxmlformats.org/officeDocument/2006/relationships/hyperlink" Target="https://cloud.google.com/natural-language/?hl=en" TargetMode="Externa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120.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34.xml"/></Relationships>
</file>

<file path=ppt/slides/_rels/slide121.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34.xml"/></Relationships>
</file>

<file path=ppt/slides/_rels/slide122.xml.rels><?xml version="1.0" encoding="UTF-8" standalone="yes"?>
<Relationships xmlns="http://schemas.openxmlformats.org/package/2006/relationships"><Relationship Id="rId2" Type="http://schemas.openxmlformats.org/officeDocument/2006/relationships/hyperlink" Target="https://cloud.google.com/natural-language/?hl=en" TargetMode="External"/><Relationship Id="rId1" Type="http://schemas.openxmlformats.org/officeDocument/2006/relationships/slideLayout" Target="../slideLayouts/slideLayout34.xml"/></Relationships>
</file>

<file path=ppt/slides/_rels/slide123.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34.xml"/></Relationships>
</file>

<file path=ppt/slides/_rels/slide124.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34.xml"/></Relationships>
</file>

<file path=ppt/slides/_rels/slide125.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hyperlink" Target="https://cloud.google.com/dlp/?hl=en" TargetMode="External"/><Relationship Id="rId1" Type="http://schemas.openxmlformats.org/officeDocument/2006/relationships/slideLayout" Target="../slideLayouts/slideLayout34.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27.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34.xml"/></Relationships>
</file>

<file path=ppt/slides/_rels/slide1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2.xml"/><Relationship Id="rId1" Type="http://schemas.openxmlformats.org/officeDocument/2006/relationships/slideLayout" Target="../slideLayouts/slideLayout51.xml"/></Relationships>
</file>

<file path=ppt/slides/_rels/slide12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Layout" Target="../slideLayouts/slideLayout34.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4.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32.xml.rels><?xml version="1.0" encoding="UTF-8" standalone="yes"?>
<Relationships xmlns="http://schemas.openxmlformats.org/package/2006/relationships"><Relationship Id="rId3" Type="http://schemas.openxmlformats.org/officeDocument/2006/relationships/hyperlink" Target="https://concierge-demodigitale.prosodie.com/concierge-discover-ui/home/" TargetMode="External"/><Relationship Id="rId2" Type="http://schemas.openxmlformats.org/officeDocument/2006/relationships/notesSlide" Target="../notesSlides/notesSlide23.xml"/><Relationship Id="rId1" Type="http://schemas.openxmlformats.org/officeDocument/2006/relationships/slideLayout" Target="../slideLayouts/slideLayout34.xml"/><Relationship Id="rId4" Type="http://schemas.openxmlformats.org/officeDocument/2006/relationships/image" Target="../media/image136.png"/></Relationships>
</file>

<file path=ppt/slides/_rels/slide133.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hyperlink" Target="https://console.cloud.google.com/" TargetMode="External"/><Relationship Id="rId1" Type="http://schemas.openxmlformats.org/officeDocument/2006/relationships/slideLayout" Target="../slideLayouts/slideLayout34.xml"/><Relationship Id="rId4" Type="http://schemas.openxmlformats.org/officeDocument/2006/relationships/image" Target="../media/image138.png"/></Relationships>
</file>

<file path=ppt/slides/_rels/slide134.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24.xml"/><Relationship Id="rId1" Type="http://schemas.openxmlformats.org/officeDocument/2006/relationships/slideLayout" Target="../slideLayouts/slideLayout34.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139.png"/></Relationships>
</file>

<file path=ppt/slides/_rels/slide135.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34.xml"/></Relationships>
</file>

<file path=ppt/slides/_rels/slide136.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34.xml"/></Relationships>
</file>

<file path=ppt/slides/_rels/slide1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5.xml"/><Relationship Id="rId1" Type="http://schemas.openxmlformats.org/officeDocument/2006/relationships/slideLayout" Target="../slideLayouts/slideLayout51.xml"/></Relationships>
</file>

<file path=ppt/slides/_rels/slide138.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34.xml"/></Relationships>
</file>

<file path=ppt/slides/_rels/slide139.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4.xml"/></Relationships>
</file>

<file path=ppt/slides/_rels/slide140.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34.xml"/></Relationships>
</file>

<file path=ppt/slides/_rels/slide141.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34.xml"/></Relationships>
</file>

<file path=ppt/slides/_rels/slide142.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34.xml"/></Relationships>
</file>

<file path=ppt/slides/_rels/slide143.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png"/><Relationship Id="rId1" Type="http://schemas.openxmlformats.org/officeDocument/2006/relationships/slideLayout" Target="../slideLayouts/slideLayout34.xml"/></Relationships>
</file>

<file path=ppt/slides/_rels/slide144.xml.rels><?xml version="1.0" encoding="UTF-8" standalone="yes"?>
<Relationships xmlns="http://schemas.openxmlformats.org/package/2006/relationships"><Relationship Id="rId3" Type="http://schemas.openxmlformats.org/officeDocument/2006/relationships/hyperlink" Target="https://rules.prosodie.com/assets/voice_chat/conversations_V2.html" TargetMode="External"/><Relationship Id="rId2" Type="http://schemas.openxmlformats.org/officeDocument/2006/relationships/notesSlide" Target="../notesSlides/notesSlide26.xml"/><Relationship Id="rId1" Type="http://schemas.openxmlformats.org/officeDocument/2006/relationships/slideLayout" Target="../slideLayouts/slideLayout34.xml"/><Relationship Id="rId6" Type="http://schemas.openxmlformats.org/officeDocument/2006/relationships/image" Target="../media/image152.png"/><Relationship Id="rId5" Type="http://schemas.openxmlformats.org/officeDocument/2006/relationships/image" Target="../media/image151.png"/><Relationship Id="rId4" Type="http://schemas.openxmlformats.org/officeDocument/2006/relationships/image" Target="../media/image150.png"/></Relationships>
</file>

<file path=ppt/slides/_rels/slide145.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34.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7.xml"/><Relationship Id="rId1" Type="http://schemas.openxmlformats.org/officeDocument/2006/relationships/slideLayout" Target="../slideLayouts/slideLayout51.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4.xml"/></Relationships>
</file>

<file path=ppt/slides/_rels/slide150.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image" Target="../media/image153.png"/><Relationship Id="rId1" Type="http://schemas.openxmlformats.org/officeDocument/2006/relationships/slideLayout" Target="../slideLayouts/slideLayout34.xml"/></Relationships>
</file>

<file path=ppt/slides/_rels/slide151.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34.xml"/></Relationships>
</file>

<file path=ppt/slides/_rels/slide152.xml.rels><?xml version="1.0" encoding="UTF-8" standalone="yes"?>
<Relationships xmlns="http://schemas.openxmlformats.org/package/2006/relationships"><Relationship Id="rId3" Type="http://schemas.openxmlformats.org/officeDocument/2006/relationships/hyperlink" Target="https://status.cloud.google.com/" TargetMode="External"/><Relationship Id="rId7" Type="http://schemas.openxmlformats.org/officeDocument/2006/relationships/hyperlink" Target="https://developers.google.com/assistant/actions/reference/ssml" TargetMode="External"/><Relationship Id="rId2" Type="http://schemas.openxmlformats.org/officeDocument/2006/relationships/notesSlide" Target="../notesSlides/notesSlide28.xml"/><Relationship Id="rId1" Type="http://schemas.openxmlformats.org/officeDocument/2006/relationships/slideLayout" Target="../slideLayouts/slideLayout34.xml"/><Relationship Id="rId6" Type="http://schemas.openxmlformats.org/officeDocument/2006/relationships/hyperlink" Target="https://cloud.google.com/solutions/assessing-the-quality-of-training-phrases-in-dialogflow-intents" TargetMode="External"/><Relationship Id="rId5" Type="http://schemas.openxmlformats.org/officeDocument/2006/relationships/hyperlink" Target="https://github.com/dialogflow" TargetMode="External"/><Relationship Id="rId4" Type="http://schemas.openxmlformats.org/officeDocument/2006/relationships/hyperlink" Target="https://status.firebase.google.com/" TargetMode="Externa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1.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34.xml"/><Relationship Id="rId6" Type="http://schemas.openxmlformats.org/officeDocument/2006/relationships/image" Target="../media/image25.png"/><Relationship Id="rId5" Type="http://schemas.openxmlformats.org/officeDocument/2006/relationships/hyperlink" Target="https://cloud.google.com/text-to-speech" TargetMode="External"/><Relationship Id="rId4" Type="http://schemas.openxmlformats.org/officeDocument/2006/relationships/hyperlink" Target="https://cloud.google.com/speech-to-text" TargetMode="Externa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4.xml"/></Relationships>
</file>

<file path=ppt/slides/_rels/slide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34.xml"/><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3" Type="http://schemas.openxmlformats.org/officeDocument/2006/relationships/hyperlink" Target="https://cloud.google.com/text-to-speech/docs/voices" TargetMode="External"/><Relationship Id="rId2" Type="http://schemas.openxmlformats.org/officeDocument/2006/relationships/image" Target="../media/image29.png"/><Relationship Id="rId1" Type="http://schemas.openxmlformats.org/officeDocument/2006/relationships/slideLayout" Target="../slideLayouts/slideLayout34.xml"/></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_rels/slide24.xml.rels><?xml version="1.0" encoding="UTF-8" standalone="yes"?>
<Relationships xmlns="http://schemas.openxmlformats.org/package/2006/relationships"><Relationship Id="rId3" Type="http://schemas.openxmlformats.org/officeDocument/2006/relationships/hyperlink" Target="https://cloud.google.com/text-to-speech/docs/ssml" TargetMode="External"/><Relationship Id="rId2" Type="http://schemas.openxmlformats.org/officeDocument/2006/relationships/notesSlide" Target="../notesSlides/notesSlide9.xml"/><Relationship Id="rId1" Type="http://schemas.openxmlformats.org/officeDocument/2006/relationships/slideLayout" Target="../slideLayouts/slideLayout34.xml"/><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4.xml"/></Relationships>
</file>

<file path=ppt/slides/_rels/slide3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4.xml"/></Relationships>
</file>

<file path=ppt/slides/_rels/slide3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1.xml"/></Relationships>
</file>

<file path=ppt/slides/_rels/slide3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34.xml"/></Relationships>
</file>

<file path=ppt/slides/_rels/slide3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xml"/></Relationships>
</file>

<file path=ppt/slides/_rels/slide3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34.xml"/><Relationship Id="rId4" Type="http://schemas.openxmlformats.org/officeDocument/2006/relationships/image" Target="../media/image4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0.png"/><Relationship Id="rId1" Type="http://schemas.openxmlformats.org/officeDocument/2006/relationships/slideLayout" Target="../slideLayouts/slideLayout34.xml"/></Relationships>
</file>

<file path=ppt/slides/_rels/slide4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34.xml"/><Relationship Id="rId4" Type="http://schemas.openxmlformats.org/officeDocument/2006/relationships/image" Target="../media/image46.png"/></Relationships>
</file>

<file path=ppt/slides/_rels/slide4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34.xml"/><Relationship Id="rId4" Type="http://schemas.openxmlformats.org/officeDocument/2006/relationships/image" Target="../media/image49.png"/></Relationships>
</file>

<file path=ppt/slides/_rels/slide4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4.xml"/></Relationships>
</file>

<file path=ppt/slides/_rels/slide4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34.xml"/></Relationships>
</file>

<file path=ppt/slides/_rels/slide4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4.xml"/><Relationship Id="rId4" Type="http://schemas.openxmlformats.org/officeDocument/2006/relationships/image" Target="../media/image56.png"/></Relationships>
</file>

<file path=ppt/slides/_rels/slide4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34.xml"/><Relationship Id="rId4" Type="http://schemas.openxmlformats.org/officeDocument/2006/relationships/image" Target="../media/image5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4.xml"/></Relationships>
</file>

<file path=ppt/slides/_rels/slide4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hyperlink" Target="https://www.hsbc.com.tr/en/frequently-asked-questions-faq/cards/hsbc-advantage-credit-cards" TargetMode="Externa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1.xml"/></Relationships>
</file>

<file path=ppt/slides/_rels/slide5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4.xml"/></Relationships>
</file>

<file path=ppt/slides/_rels/slide5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4.xml"/></Relationships>
</file>

<file path=ppt/slides/_rels/slide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1.xml"/></Relationships>
</file>

<file path=ppt/slides/_rels/slide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34.xml"/><Relationship Id="rId4" Type="http://schemas.openxmlformats.org/officeDocument/2006/relationships/image" Target="../media/image66.png"/></Relationships>
</file>

<file path=ppt/slides/_rels/slide5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34.xml"/></Relationships>
</file>

<file path=ppt/slides/_rels/slide5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4.xml"/></Relationships>
</file>

<file path=ppt/slides/_rels/slide5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34.xml"/><Relationship Id="rId4" Type="http://schemas.openxmlformats.org/officeDocument/2006/relationships/image" Target="../media/image72.png"/></Relationships>
</file>

<file path=ppt/slides/_rels/slide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34.xml"/></Relationships>
</file>

<file path=ppt/slides/_rels/slide6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4.xml"/></Relationships>
</file>

<file path=ppt/slides/_rels/slide61.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4.xml"/></Relationships>
</file>

<file path=ppt/slides/_rels/slide6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6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34.xml"/><Relationship Id="rId4" Type="http://schemas.openxmlformats.org/officeDocument/2006/relationships/image" Target="../media/image78.png"/></Relationships>
</file>

<file path=ppt/slides/_rels/slide6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34.xml"/></Relationships>
</file>

<file path=ppt/slides/_rels/slide6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34.xml"/></Relationships>
</file>

<file path=ppt/slides/_rels/slide6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4.xml"/></Relationships>
</file>

<file path=ppt/slides/_rels/slide6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34.xml"/></Relationships>
</file>

<file path=ppt/slides/_rels/slide69.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4.xml"/><Relationship Id="rId5" Type="http://schemas.openxmlformats.org/officeDocument/2006/relationships/image" Target="../media/image9.png"/><Relationship Id="rId4" Type="http://schemas.openxmlformats.org/officeDocument/2006/relationships/image" Target="../media/image8.svg"/></Relationships>
</file>

<file path=ppt/slides/_rels/slide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51.xml"/></Relationships>
</file>

<file path=ppt/slides/_rels/slide7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4.xml"/></Relationships>
</file>

<file path=ppt/slides/_rels/slide7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35.xml"/></Relationships>
</file>

<file path=ppt/slides/_rels/slide7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34.xml"/></Relationships>
</file>

<file path=ppt/slides/_rels/slide7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34.xml"/></Relationships>
</file>

<file path=ppt/slides/_rels/slide75.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34.xml"/></Relationships>
</file>

<file path=ppt/slides/_rels/slide76.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34.xml"/></Relationships>
</file>

<file path=ppt/slides/_rels/slide7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34.xml"/></Relationships>
</file>

<file path=ppt/slides/_rels/slide78.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34.xml"/></Relationships>
</file>

<file path=ppt/slides/_rels/slide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5.xml"/><Relationship Id="rId1" Type="http://schemas.openxmlformats.org/officeDocument/2006/relationships/slideLayout" Target="../slideLayouts/slideLayout51.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4.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8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34.xml"/></Relationships>
</file>

<file path=ppt/slides/_rels/slide84.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4.xml"/></Relationships>
</file>

<file path=ppt/slides/_rels/slide85.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3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8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34.xml"/></Relationships>
</file>

<file path=ppt/slides/_rels/slide8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34.xml"/><Relationship Id="rId4" Type="http://schemas.openxmlformats.org/officeDocument/2006/relationships/image" Target="../media/image100.png"/></Relationships>
</file>

<file path=ppt/slides/_rels/slide89.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4.xml"/></Relationships>
</file>

<file path=ppt/slides/_rels/slide9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34.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51.xml"/></Relationships>
</file>

<file path=ppt/slides/_rels/slide94.xml.rels><?xml version="1.0" encoding="UTF-8" standalone="yes"?>
<Relationships xmlns="http://schemas.openxmlformats.org/package/2006/relationships"><Relationship Id="rId2" Type="http://schemas.openxmlformats.org/officeDocument/2006/relationships/hyperlink" Target="https://firebase.google.com/docs/functions" TargetMode="External"/><Relationship Id="rId1" Type="http://schemas.openxmlformats.org/officeDocument/2006/relationships/slideLayout" Target="../slideLayouts/slideLayout34.xml"/></Relationships>
</file>

<file path=ppt/slides/_rels/slide95.xml.rels><?xml version="1.0" encoding="UTF-8" standalone="yes"?>
<Relationships xmlns="http://schemas.openxmlformats.org/package/2006/relationships"><Relationship Id="rId2" Type="http://schemas.openxmlformats.org/officeDocument/2006/relationships/hyperlink" Target="https://nodejs.dev/" TargetMode="External"/><Relationship Id="rId1" Type="http://schemas.openxmlformats.org/officeDocument/2006/relationships/slideLayout" Target="../slideLayouts/slideLayout34.xml"/></Relationships>
</file>

<file path=ppt/slides/_rels/slide9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34.xml"/></Relationships>
</file>

<file path=ppt/slides/_rels/slide97.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34.xml"/></Relationships>
</file>

<file path=ppt/slides/_rels/slide9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34.xml"/></Relationships>
</file>

<file path=ppt/slides/_rels/slide9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C940D27-A61B-4749-BA87-EAECF5E0A063}"/>
              </a:ext>
            </a:extLst>
          </p:cNvPr>
          <p:cNvSpPr>
            <a:spLocks noGrp="1"/>
          </p:cNvSpPr>
          <p:nvPr>
            <p:ph type="title"/>
          </p:nvPr>
        </p:nvSpPr>
        <p:spPr/>
        <p:txBody>
          <a:bodyPr/>
          <a:lstStyle/>
          <a:p>
            <a:r>
              <a:rPr lang="en-US" dirty="0" err="1"/>
              <a:t>Dialogflow</a:t>
            </a:r>
            <a:r>
              <a:rPr lang="en-US" dirty="0"/>
              <a:t> Training</a:t>
            </a:r>
          </a:p>
        </p:txBody>
      </p:sp>
      <p:sp>
        <p:nvSpPr>
          <p:cNvPr id="4" name="Text Placeholder 3">
            <a:extLst>
              <a:ext uri="{FF2B5EF4-FFF2-40B4-BE49-F238E27FC236}">
                <a16:creationId xmlns:a16="http://schemas.microsoft.com/office/drawing/2014/main" id="{8DD4B2D6-4285-5E48-AE64-2FEDBD2EE731}"/>
              </a:ext>
            </a:extLst>
          </p:cNvPr>
          <p:cNvSpPr>
            <a:spLocks noGrp="1"/>
          </p:cNvSpPr>
          <p:nvPr>
            <p:ph type="body" sz="quarter" idx="10"/>
          </p:nvPr>
        </p:nvSpPr>
        <p:spPr/>
        <p:txBody>
          <a:bodyPr/>
          <a:lstStyle/>
          <a:p>
            <a:r>
              <a:rPr lang="en-US" dirty="0"/>
              <a:t>November 2021</a:t>
            </a:r>
          </a:p>
        </p:txBody>
      </p:sp>
      <p:grpSp>
        <p:nvGrpSpPr>
          <p:cNvPr id="5" name="Group 4">
            <a:extLst>
              <a:ext uri="{FF2B5EF4-FFF2-40B4-BE49-F238E27FC236}">
                <a16:creationId xmlns:a16="http://schemas.microsoft.com/office/drawing/2014/main" id="{48B4F909-1B3A-7C4F-9BBA-662C57405513}"/>
              </a:ext>
            </a:extLst>
          </p:cNvPr>
          <p:cNvGrpSpPr/>
          <p:nvPr/>
        </p:nvGrpSpPr>
        <p:grpSpPr>
          <a:xfrm>
            <a:off x="3395133" y="0"/>
            <a:ext cx="6153424" cy="6270857"/>
            <a:chOff x="-7522973" y="-3600474"/>
            <a:chExt cx="13210986" cy="13463104"/>
          </a:xfrm>
        </p:grpSpPr>
        <p:sp>
          <p:nvSpPr>
            <p:cNvPr id="6" name="Freeform 1">
              <a:extLst>
                <a:ext uri="{FF2B5EF4-FFF2-40B4-BE49-F238E27FC236}">
                  <a16:creationId xmlns:a16="http://schemas.microsoft.com/office/drawing/2014/main" id="{F59B530F-556A-164A-BDF2-B95980CA1BFD}"/>
                </a:ext>
              </a:extLst>
            </p:cNvPr>
            <p:cNvSpPr>
              <a:spLocks noChangeArrowheads="1"/>
            </p:cNvSpPr>
            <p:nvPr userDrawn="1"/>
          </p:nvSpPr>
          <p:spPr bwMode="auto">
            <a:xfrm>
              <a:off x="-211549" y="-3600474"/>
              <a:ext cx="5899562" cy="5609623"/>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 name="Freeform 7">
              <a:extLst>
                <a:ext uri="{FF2B5EF4-FFF2-40B4-BE49-F238E27FC236}">
                  <a16:creationId xmlns:a16="http://schemas.microsoft.com/office/drawing/2014/main" id="{54775030-1C1C-3C45-88A3-2BD851125A48}"/>
                </a:ext>
              </a:extLst>
            </p:cNvPr>
            <p:cNvSpPr>
              <a:spLocks noChangeArrowheads="1"/>
            </p:cNvSpPr>
            <p:nvPr userDrawn="1"/>
          </p:nvSpPr>
          <p:spPr bwMode="auto">
            <a:xfrm>
              <a:off x="-7522973" y="-1419657"/>
              <a:ext cx="11534405" cy="11282287"/>
            </a:xfrm>
            <a:custGeom>
              <a:avLst/>
              <a:gdLst>
                <a:gd name="T0" fmla="*/ 3076 w 4036"/>
                <a:gd name="T1" fmla="*/ 1764 h 3948"/>
                <a:gd name="T2" fmla="*/ 3076 w 4036"/>
                <a:gd name="T3" fmla="*/ 1764 h 3948"/>
                <a:gd name="T4" fmla="*/ 3076 w 4036"/>
                <a:gd name="T5" fmla="*/ 1974 h 3948"/>
                <a:gd name="T6" fmla="*/ 2007 w 4036"/>
                <a:gd name="T7" fmla="*/ 3087 h 3948"/>
                <a:gd name="T8" fmla="*/ 959 w 4036"/>
                <a:gd name="T9" fmla="*/ 1974 h 3948"/>
                <a:gd name="T10" fmla="*/ 2007 w 4036"/>
                <a:gd name="T11" fmla="*/ 871 h 3948"/>
                <a:gd name="T12" fmla="*/ 2062 w 4036"/>
                <a:gd name="T13" fmla="*/ 871 h 3948"/>
                <a:gd name="T14" fmla="*/ 2062 w 4036"/>
                <a:gd name="T15" fmla="*/ 0 h 3948"/>
                <a:gd name="T16" fmla="*/ 2007 w 4036"/>
                <a:gd name="T17" fmla="*/ 0 h 3948"/>
                <a:gd name="T18" fmla="*/ 0 w 4036"/>
                <a:gd name="T19" fmla="*/ 1974 h 3948"/>
                <a:gd name="T20" fmla="*/ 2007 w 4036"/>
                <a:gd name="T21" fmla="*/ 3947 h 3948"/>
                <a:gd name="T22" fmla="*/ 4035 w 4036"/>
                <a:gd name="T23" fmla="*/ 1974 h 3948"/>
                <a:gd name="T24" fmla="*/ 4002 w 4036"/>
                <a:gd name="T25" fmla="*/ 1764 h 3948"/>
                <a:gd name="T26" fmla="*/ 3076 w 4036"/>
                <a:gd name="T27" fmla="*/ 1764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6" h="3948">
                  <a:moveTo>
                    <a:pt x="3076" y="1764"/>
                  </a:moveTo>
                  <a:lnTo>
                    <a:pt x="3076" y="1764"/>
                  </a:lnTo>
                  <a:cubicBezTo>
                    <a:pt x="3076" y="1852"/>
                    <a:pt x="3076" y="1907"/>
                    <a:pt x="3076" y="1974"/>
                  </a:cubicBezTo>
                  <a:cubicBezTo>
                    <a:pt x="3076" y="2624"/>
                    <a:pt x="2624" y="3087"/>
                    <a:pt x="2007" y="3087"/>
                  </a:cubicBezTo>
                  <a:cubicBezTo>
                    <a:pt x="1422" y="3087"/>
                    <a:pt x="959" y="2624"/>
                    <a:pt x="959" y="1974"/>
                  </a:cubicBezTo>
                  <a:cubicBezTo>
                    <a:pt x="959" y="1356"/>
                    <a:pt x="1389" y="871"/>
                    <a:pt x="2007" y="871"/>
                  </a:cubicBezTo>
                  <a:cubicBezTo>
                    <a:pt x="2040" y="871"/>
                    <a:pt x="2040" y="871"/>
                    <a:pt x="2062" y="871"/>
                  </a:cubicBezTo>
                  <a:cubicBezTo>
                    <a:pt x="2062" y="0"/>
                    <a:pt x="2062" y="0"/>
                    <a:pt x="2062" y="0"/>
                  </a:cubicBezTo>
                  <a:cubicBezTo>
                    <a:pt x="2040" y="0"/>
                    <a:pt x="2040" y="0"/>
                    <a:pt x="2007" y="0"/>
                  </a:cubicBezTo>
                  <a:cubicBezTo>
                    <a:pt x="871" y="0"/>
                    <a:pt x="0" y="893"/>
                    <a:pt x="0" y="1974"/>
                  </a:cubicBezTo>
                  <a:cubicBezTo>
                    <a:pt x="0" y="3109"/>
                    <a:pt x="871" y="3947"/>
                    <a:pt x="2007" y="3947"/>
                  </a:cubicBezTo>
                  <a:cubicBezTo>
                    <a:pt x="3175" y="3947"/>
                    <a:pt x="4035" y="3109"/>
                    <a:pt x="4035" y="1974"/>
                  </a:cubicBezTo>
                  <a:cubicBezTo>
                    <a:pt x="4035" y="1907"/>
                    <a:pt x="4035" y="1852"/>
                    <a:pt x="4002" y="1764"/>
                  </a:cubicBezTo>
                  <a:lnTo>
                    <a:pt x="3076" y="1764"/>
                  </a:lnTo>
                </a:path>
              </a:pathLst>
            </a:custGeom>
            <a:solidFill>
              <a:srgbClr val="2A30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grpSp>
        <p:nvGrpSpPr>
          <p:cNvPr id="14" name="Group 13">
            <a:extLst>
              <a:ext uri="{FF2B5EF4-FFF2-40B4-BE49-F238E27FC236}">
                <a16:creationId xmlns:a16="http://schemas.microsoft.com/office/drawing/2014/main" id="{FE9EE9F6-B64D-2D4D-8380-7999D93AB97C}"/>
              </a:ext>
            </a:extLst>
          </p:cNvPr>
          <p:cNvGrpSpPr/>
          <p:nvPr/>
        </p:nvGrpSpPr>
        <p:grpSpPr>
          <a:xfrm>
            <a:off x="3395133" y="0"/>
            <a:ext cx="6153424" cy="6270857"/>
            <a:chOff x="-7522973" y="-3600474"/>
            <a:chExt cx="13210986" cy="13463104"/>
          </a:xfrm>
        </p:grpSpPr>
        <p:sp>
          <p:nvSpPr>
            <p:cNvPr id="15" name="Freeform 1">
              <a:extLst>
                <a:ext uri="{FF2B5EF4-FFF2-40B4-BE49-F238E27FC236}">
                  <a16:creationId xmlns:a16="http://schemas.microsoft.com/office/drawing/2014/main" id="{CAACB00E-0483-CE49-B146-E4A263BEFED2}"/>
                </a:ext>
              </a:extLst>
            </p:cNvPr>
            <p:cNvSpPr>
              <a:spLocks noChangeArrowheads="1"/>
            </p:cNvSpPr>
            <p:nvPr userDrawn="1"/>
          </p:nvSpPr>
          <p:spPr bwMode="auto">
            <a:xfrm>
              <a:off x="-211549" y="-3600474"/>
              <a:ext cx="5899562" cy="5609623"/>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6" name="Freeform 7">
              <a:extLst>
                <a:ext uri="{FF2B5EF4-FFF2-40B4-BE49-F238E27FC236}">
                  <a16:creationId xmlns:a16="http://schemas.microsoft.com/office/drawing/2014/main" id="{6BE1A8DE-E5FF-F34E-91BF-E3DC6ABEC34F}"/>
                </a:ext>
              </a:extLst>
            </p:cNvPr>
            <p:cNvSpPr>
              <a:spLocks noChangeArrowheads="1"/>
            </p:cNvSpPr>
            <p:nvPr userDrawn="1"/>
          </p:nvSpPr>
          <p:spPr bwMode="auto">
            <a:xfrm>
              <a:off x="-7522973" y="-1419657"/>
              <a:ext cx="11534405" cy="11282287"/>
            </a:xfrm>
            <a:custGeom>
              <a:avLst/>
              <a:gdLst>
                <a:gd name="T0" fmla="*/ 3076 w 4036"/>
                <a:gd name="T1" fmla="*/ 1764 h 3948"/>
                <a:gd name="T2" fmla="*/ 3076 w 4036"/>
                <a:gd name="T3" fmla="*/ 1764 h 3948"/>
                <a:gd name="T4" fmla="*/ 3076 w 4036"/>
                <a:gd name="T5" fmla="*/ 1974 h 3948"/>
                <a:gd name="T6" fmla="*/ 2007 w 4036"/>
                <a:gd name="T7" fmla="*/ 3087 h 3948"/>
                <a:gd name="T8" fmla="*/ 959 w 4036"/>
                <a:gd name="T9" fmla="*/ 1974 h 3948"/>
                <a:gd name="T10" fmla="*/ 2007 w 4036"/>
                <a:gd name="T11" fmla="*/ 871 h 3948"/>
                <a:gd name="T12" fmla="*/ 2062 w 4036"/>
                <a:gd name="T13" fmla="*/ 871 h 3948"/>
                <a:gd name="T14" fmla="*/ 2062 w 4036"/>
                <a:gd name="T15" fmla="*/ 0 h 3948"/>
                <a:gd name="T16" fmla="*/ 2007 w 4036"/>
                <a:gd name="T17" fmla="*/ 0 h 3948"/>
                <a:gd name="T18" fmla="*/ 0 w 4036"/>
                <a:gd name="T19" fmla="*/ 1974 h 3948"/>
                <a:gd name="T20" fmla="*/ 2007 w 4036"/>
                <a:gd name="T21" fmla="*/ 3947 h 3948"/>
                <a:gd name="T22" fmla="*/ 4035 w 4036"/>
                <a:gd name="T23" fmla="*/ 1974 h 3948"/>
                <a:gd name="T24" fmla="*/ 4002 w 4036"/>
                <a:gd name="T25" fmla="*/ 1764 h 3948"/>
                <a:gd name="T26" fmla="*/ 3076 w 4036"/>
                <a:gd name="T27" fmla="*/ 1764 h 3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6" h="3948">
                  <a:moveTo>
                    <a:pt x="3076" y="1764"/>
                  </a:moveTo>
                  <a:lnTo>
                    <a:pt x="3076" y="1764"/>
                  </a:lnTo>
                  <a:cubicBezTo>
                    <a:pt x="3076" y="1852"/>
                    <a:pt x="3076" y="1907"/>
                    <a:pt x="3076" y="1974"/>
                  </a:cubicBezTo>
                  <a:cubicBezTo>
                    <a:pt x="3076" y="2624"/>
                    <a:pt x="2624" y="3087"/>
                    <a:pt x="2007" y="3087"/>
                  </a:cubicBezTo>
                  <a:cubicBezTo>
                    <a:pt x="1422" y="3087"/>
                    <a:pt x="959" y="2624"/>
                    <a:pt x="959" y="1974"/>
                  </a:cubicBezTo>
                  <a:cubicBezTo>
                    <a:pt x="959" y="1356"/>
                    <a:pt x="1389" y="871"/>
                    <a:pt x="2007" y="871"/>
                  </a:cubicBezTo>
                  <a:cubicBezTo>
                    <a:pt x="2040" y="871"/>
                    <a:pt x="2040" y="871"/>
                    <a:pt x="2062" y="871"/>
                  </a:cubicBezTo>
                  <a:cubicBezTo>
                    <a:pt x="2062" y="0"/>
                    <a:pt x="2062" y="0"/>
                    <a:pt x="2062" y="0"/>
                  </a:cubicBezTo>
                  <a:cubicBezTo>
                    <a:pt x="2040" y="0"/>
                    <a:pt x="2040" y="0"/>
                    <a:pt x="2007" y="0"/>
                  </a:cubicBezTo>
                  <a:cubicBezTo>
                    <a:pt x="871" y="0"/>
                    <a:pt x="0" y="893"/>
                    <a:pt x="0" y="1974"/>
                  </a:cubicBezTo>
                  <a:cubicBezTo>
                    <a:pt x="0" y="3109"/>
                    <a:pt x="871" y="3947"/>
                    <a:pt x="2007" y="3947"/>
                  </a:cubicBezTo>
                  <a:cubicBezTo>
                    <a:pt x="3175" y="3947"/>
                    <a:pt x="4035" y="3109"/>
                    <a:pt x="4035" y="1974"/>
                  </a:cubicBezTo>
                  <a:cubicBezTo>
                    <a:pt x="4035" y="1907"/>
                    <a:pt x="4035" y="1852"/>
                    <a:pt x="4002" y="1764"/>
                  </a:cubicBezTo>
                  <a:lnTo>
                    <a:pt x="3076" y="1764"/>
                  </a:lnTo>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pic>
        <p:nvPicPr>
          <p:cNvPr id="21" name="Espace réservé pour une image  20" descr="Une image contenant intérieur, assis&#10;&#10;Description générée automatiquement">
            <a:extLst>
              <a:ext uri="{FF2B5EF4-FFF2-40B4-BE49-F238E27FC236}">
                <a16:creationId xmlns:a16="http://schemas.microsoft.com/office/drawing/2014/main" id="{BE0B4F20-7090-4509-B62F-22675489FED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31634" r="31634"/>
          <a:stretch>
            <a:fillRect/>
          </a:stretch>
        </p:blipFill>
        <p:spPr/>
      </p:pic>
    </p:spTree>
    <p:extLst>
      <p:ext uri="{BB962C8B-B14F-4D97-AF65-F5344CB8AC3E}">
        <p14:creationId xmlns:p14="http://schemas.microsoft.com/office/powerpoint/2010/main" val="1442821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E1A33BD-03E4-4D88-91C2-201D270F2E65}"/>
              </a:ext>
            </a:extLst>
          </p:cNvPr>
          <p:cNvSpPr>
            <a:spLocks noGrp="1"/>
          </p:cNvSpPr>
          <p:nvPr>
            <p:ph type="title"/>
          </p:nvPr>
        </p:nvSpPr>
        <p:spPr/>
        <p:txBody>
          <a:bodyPr/>
          <a:lstStyle/>
          <a:p>
            <a:r>
              <a:rPr lang="fr-FR" dirty="0" err="1"/>
              <a:t>Dialogflow</a:t>
            </a:r>
            <a:r>
              <a:rPr lang="fr-FR" dirty="0"/>
              <a:t> + Odigo IVR</a:t>
            </a:r>
          </a:p>
        </p:txBody>
      </p:sp>
      <p:pic>
        <p:nvPicPr>
          <p:cNvPr id="3" name="Image 2">
            <a:extLst>
              <a:ext uri="{FF2B5EF4-FFF2-40B4-BE49-F238E27FC236}">
                <a16:creationId xmlns:a16="http://schemas.microsoft.com/office/drawing/2014/main" id="{75E606F0-A60A-438B-98A9-DFF902F75DE7}"/>
              </a:ext>
            </a:extLst>
          </p:cNvPr>
          <p:cNvPicPr>
            <a:picLocks noChangeAspect="1"/>
          </p:cNvPicPr>
          <p:nvPr/>
        </p:nvPicPr>
        <p:blipFill>
          <a:blip r:embed="rId2"/>
          <a:stretch>
            <a:fillRect/>
          </a:stretch>
        </p:blipFill>
        <p:spPr>
          <a:xfrm>
            <a:off x="650928" y="808038"/>
            <a:ext cx="8087463" cy="3825225"/>
          </a:xfrm>
          <a:prstGeom prst="rect">
            <a:avLst/>
          </a:prstGeom>
          <a:solidFill>
            <a:schemeClr val="bg1"/>
          </a:solidFill>
        </p:spPr>
      </p:pic>
    </p:spTree>
    <p:extLst>
      <p:ext uri="{BB962C8B-B14F-4D97-AF65-F5344CB8AC3E}">
        <p14:creationId xmlns:p14="http://schemas.microsoft.com/office/powerpoint/2010/main" val="1752977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25AE9D7-51EE-4CE7-8ABC-6A566407C7C7}"/>
              </a:ext>
            </a:extLst>
          </p:cNvPr>
          <p:cNvSpPr>
            <a:spLocks noGrp="1"/>
          </p:cNvSpPr>
          <p:nvPr>
            <p:ph type="title"/>
          </p:nvPr>
        </p:nvSpPr>
        <p:spPr/>
        <p:txBody>
          <a:bodyPr/>
          <a:lstStyle/>
          <a:p>
            <a:r>
              <a:rPr lang="fr-FR" dirty="0"/>
              <a:t>Focus on </a:t>
            </a:r>
            <a:r>
              <a:rPr lang="fr-FR" dirty="0" err="1"/>
              <a:t>dependencies</a:t>
            </a:r>
            <a:endParaRPr lang="fr-FR" dirty="0"/>
          </a:p>
        </p:txBody>
      </p:sp>
      <p:pic>
        <p:nvPicPr>
          <p:cNvPr id="3" name="Image 2">
            <a:extLst>
              <a:ext uri="{FF2B5EF4-FFF2-40B4-BE49-F238E27FC236}">
                <a16:creationId xmlns:a16="http://schemas.microsoft.com/office/drawing/2014/main" id="{134FC65F-7B25-4D6F-B11E-28307AF9DDFF}"/>
              </a:ext>
            </a:extLst>
          </p:cNvPr>
          <p:cNvPicPr>
            <a:picLocks noChangeAspect="1"/>
          </p:cNvPicPr>
          <p:nvPr/>
        </p:nvPicPr>
        <p:blipFill>
          <a:blip r:embed="rId3"/>
          <a:stretch>
            <a:fillRect/>
          </a:stretch>
        </p:blipFill>
        <p:spPr>
          <a:xfrm>
            <a:off x="660590" y="1937185"/>
            <a:ext cx="2048385" cy="1424964"/>
          </a:xfrm>
          <a:prstGeom prst="rect">
            <a:avLst/>
          </a:prstGeom>
        </p:spPr>
      </p:pic>
      <p:sp>
        <p:nvSpPr>
          <p:cNvPr id="4" name="Rectangle 3">
            <a:extLst>
              <a:ext uri="{FF2B5EF4-FFF2-40B4-BE49-F238E27FC236}">
                <a16:creationId xmlns:a16="http://schemas.microsoft.com/office/drawing/2014/main" id="{DB33D323-6B49-4E4D-9BFF-2F0FA03EA980}"/>
              </a:ext>
            </a:extLst>
          </p:cNvPr>
          <p:cNvSpPr/>
          <p:nvPr/>
        </p:nvSpPr>
        <p:spPr>
          <a:xfrm>
            <a:off x="5564372" y="2775659"/>
            <a:ext cx="2428723" cy="3869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solidFill>
              </a:rPr>
              <a:t>actions-on-google</a:t>
            </a:r>
          </a:p>
        </p:txBody>
      </p:sp>
      <p:sp>
        <p:nvSpPr>
          <p:cNvPr id="5" name="Rectangle 4">
            <a:extLst>
              <a:ext uri="{FF2B5EF4-FFF2-40B4-BE49-F238E27FC236}">
                <a16:creationId xmlns:a16="http://schemas.microsoft.com/office/drawing/2014/main" id="{22C2A66D-DE82-48B5-B727-205196DF0FC8}"/>
              </a:ext>
            </a:extLst>
          </p:cNvPr>
          <p:cNvSpPr/>
          <p:nvPr/>
        </p:nvSpPr>
        <p:spPr>
          <a:xfrm>
            <a:off x="4763387" y="2024292"/>
            <a:ext cx="2695830" cy="3869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err="1">
                <a:solidFill>
                  <a:schemeClr val="bg1"/>
                </a:solidFill>
              </a:rPr>
              <a:t>dialogflow-fulfillment</a:t>
            </a:r>
            <a:endParaRPr lang="fr-FR" sz="1200" dirty="0">
              <a:solidFill>
                <a:schemeClr val="bg1"/>
              </a:solidFill>
            </a:endParaRPr>
          </a:p>
        </p:txBody>
      </p:sp>
      <p:cxnSp>
        <p:nvCxnSpPr>
          <p:cNvPr id="6" name="Connecteur droit avec flèche 5">
            <a:extLst>
              <a:ext uri="{FF2B5EF4-FFF2-40B4-BE49-F238E27FC236}">
                <a16:creationId xmlns:a16="http://schemas.microsoft.com/office/drawing/2014/main" id="{88448A18-018A-4BE2-9A0E-990790BC3779}"/>
              </a:ext>
            </a:extLst>
          </p:cNvPr>
          <p:cNvCxnSpPr>
            <a:cxnSpLocks/>
          </p:cNvCxnSpPr>
          <p:nvPr/>
        </p:nvCxnSpPr>
        <p:spPr>
          <a:xfrm flipV="1">
            <a:off x="6542711" y="2429543"/>
            <a:ext cx="1" cy="327795"/>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cxnSp>
        <p:nvCxnSpPr>
          <p:cNvPr id="8" name="Connecteur droit avec flèche 7">
            <a:extLst>
              <a:ext uri="{FF2B5EF4-FFF2-40B4-BE49-F238E27FC236}">
                <a16:creationId xmlns:a16="http://schemas.microsoft.com/office/drawing/2014/main" id="{5A3D449D-DD2B-45D7-87C5-A2D9FEF86DE9}"/>
              </a:ext>
            </a:extLst>
          </p:cNvPr>
          <p:cNvCxnSpPr>
            <a:cxnSpLocks/>
          </p:cNvCxnSpPr>
          <p:nvPr/>
        </p:nvCxnSpPr>
        <p:spPr>
          <a:xfrm flipV="1">
            <a:off x="7861148" y="1637414"/>
            <a:ext cx="0" cy="1137023"/>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pic>
        <p:nvPicPr>
          <p:cNvPr id="9" name="Image 8">
            <a:extLst>
              <a:ext uri="{FF2B5EF4-FFF2-40B4-BE49-F238E27FC236}">
                <a16:creationId xmlns:a16="http://schemas.microsoft.com/office/drawing/2014/main" id="{4B919CDF-8945-49A6-8A32-023CA6982F8F}"/>
              </a:ext>
            </a:extLst>
          </p:cNvPr>
          <p:cNvPicPr>
            <a:picLocks noChangeAspect="1"/>
          </p:cNvPicPr>
          <p:nvPr/>
        </p:nvPicPr>
        <p:blipFill>
          <a:blip r:embed="rId4"/>
          <a:stretch>
            <a:fillRect/>
          </a:stretch>
        </p:blipFill>
        <p:spPr>
          <a:xfrm>
            <a:off x="5663613" y="184614"/>
            <a:ext cx="2966095" cy="1364303"/>
          </a:xfrm>
          <a:prstGeom prst="rect">
            <a:avLst/>
          </a:prstGeom>
        </p:spPr>
      </p:pic>
      <p:cxnSp>
        <p:nvCxnSpPr>
          <p:cNvPr id="11" name="Connecteur droit avec flèche 10">
            <a:extLst>
              <a:ext uri="{FF2B5EF4-FFF2-40B4-BE49-F238E27FC236}">
                <a16:creationId xmlns:a16="http://schemas.microsoft.com/office/drawing/2014/main" id="{A0FDE444-56A9-460F-B679-5F67FDF44DAD}"/>
              </a:ext>
            </a:extLst>
          </p:cNvPr>
          <p:cNvCxnSpPr>
            <a:cxnSpLocks/>
          </p:cNvCxnSpPr>
          <p:nvPr/>
        </p:nvCxnSpPr>
        <p:spPr>
          <a:xfrm flipV="1">
            <a:off x="6542711" y="1637414"/>
            <a:ext cx="0" cy="371069"/>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cxnSp>
        <p:nvCxnSpPr>
          <p:cNvPr id="18" name="Connecteur droit avec flèche 17">
            <a:extLst>
              <a:ext uri="{FF2B5EF4-FFF2-40B4-BE49-F238E27FC236}">
                <a16:creationId xmlns:a16="http://schemas.microsoft.com/office/drawing/2014/main" id="{E20D82A4-A3CF-4AA9-806E-3648C4A1B421}"/>
              </a:ext>
            </a:extLst>
          </p:cNvPr>
          <p:cNvCxnSpPr>
            <a:cxnSpLocks/>
          </p:cNvCxnSpPr>
          <p:nvPr/>
        </p:nvCxnSpPr>
        <p:spPr>
          <a:xfrm flipH="1">
            <a:off x="2622841" y="2262737"/>
            <a:ext cx="2048385" cy="386931"/>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cxnSp>
        <p:nvCxnSpPr>
          <p:cNvPr id="20" name="Connecteur droit avec flèche 19">
            <a:extLst>
              <a:ext uri="{FF2B5EF4-FFF2-40B4-BE49-F238E27FC236}">
                <a16:creationId xmlns:a16="http://schemas.microsoft.com/office/drawing/2014/main" id="{A9878610-BC13-4B76-AFA3-E3EA2B5EB020}"/>
              </a:ext>
            </a:extLst>
          </p:cNvPr>
          <p:cNvCxnSpPr>
            <a:cxnSpLocks/>
            <a:stCxn id="4" idx="1"/>
          </p:cNvCxnSpPr>
          <p:nvPr/>
        </p:nvCxnSpPr>
        <p:spPr>
          <a:xfrm flipH="1" flipV="1">
            <a:off x="2403710" y="2127879"/>
            <a:ext cx="3160662" cy="841246"/>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23" name="Rectangle 22">
            <a:extLst>
              <a:ext uri="{FF2B5EF4-FFF2-40B4-BE49-F238E27FC236}">
                <a16:creationId xmlns:a16="http://schemas.microsoft.com/office/drawing/2014/main" id="{5C9A67AB-6BEA-4BFF-8915-8A78ED426AC8}"/>
              </a:ext>
            </a:extLst>
          </p:cNvPr>
          <p:cNvSpPr/>
          <p:nvPr/>
        </p:nvSpPr>
        <p:spPr>
          <a:xfrm>
            <a:off x="528084" y="3775715"/>
            <a:ext cx="8275674" cy="923330"/>
          </a:xfrm>
          <a:prstGeom prst="rect">
            <a:avLst/>
          </a:prstGeom>
        </p:spPr>
        <p:txBody>
          <a:bodyPr wrap="square">
            <a:spAutoFit/>
          </a:bodyPr>
          <a:lstStyle/>
          <a:p>
            <a:pPr marL="342900" indent="-342900">
              <a:buClr>
                <a:schemeClr val="accent2"/>
              </a:buClr>
              <a:buFont typeface="Arial" panose="020B0604020202020204" pitchFamily="34" charset="0"/>
              <a:buChar char="•"/>
            </a:pPr>
            <a:r>
              <a:rPr lang="en-US" b="1" dirty="0" err="1">
                <a:solidFill>
                  <a:schemeClr val="accent2"/>
                </a:solidFill>
              </a:rPr>
              <a:t>Dialogflow</a:t>
            </a:r>
            <a:r>
              <a:rPr lang="en-US" b="1" dirty="0">
                <a:solidFill>
                  <a:schemeClr val="accent2"/>
                </a:solidFill>
              </a:rPr>
              <a:t> Fulfillment </a:t>
            </a:r>
            <a:r>
              <a:rPr lang="en-US" dirty="0"/>
              <a:t>makes creating fulfillment for </a:t>
            </a:r>
            <a:r>
              <a:rPr lang="en-US" dirty="0" err="1"/>
              <a:t>Dialogflow</a:t>
            </a:r>
            <a:r>
              <a:rPr lang="en-US" dirty="0"/>
              <a:t> agents </a:t>
            </a:r>
            <a:r>
              <a:rPr lang="en-US"/>
              <a:t>for chat </a:t>
            </a:r>
            <a:r>
              <a:rPr lang="en-US" dirty="0"/>
              <a:t>and voice platforms on Node. </a:t>
            </a:r>
            <a:r>
              <a:rPr lang="en-US" dirty="0" err="1"/>
              <a:t>Dialogflow</a:t>
            </a:r>
            <a:r>
              <a:rPr lang="en-US" dirty="0"/>
              <a:t> Fulfillment also manages the context functions.</a:t>
            </a:r>
          </a:p>
          <a:p>
            <a:pPr marL="342900" indent="-342900">
              <a:buClr>
                <a:schemeClr val="accent2"/>
              </a:buClr>
              <a:buFont typeface="Arial" panose="020B0604020202020204" pitchFamily="34" charset="0"/>
              <a:buChar char="•"/>
            </a:pPr>
            <a:r>
              <a:rPr lang="en-US" b="1" dirty="0">
                <a:solidFill>
                  <a:schemeClr val="accent2"/>
                </a:solidFill>
              </a:rPr>
              <a:t>Actions on Google </a:t>
            </a:r>
            <a:r>
              <a:rPr lang="en-US" dirty="0"/>
              <a:t>manages Actions for the Google Assistant only. </a:t>
            </a:r>
            <a:r>
              <a:rPr lang="en-US" dirty="0" err="1"/>
              <a:t>Dialogflow</a:t>
            </a:r>
            <a:r>
              <a:rPr lang="en-US" dirty="0"/>
              <a:t>-fulfillment uses actions-on-google.</a:t>
            </a:r>
            <a:endParaRPr lang="fr-FR" dirty="0"/>
          </a:p>
        </p:txBody>
      </p:sp>
      <p:sp>
        <p:nvSpPr>
          <p:cNvPr id="27" name="ZoneTexte 26">
            <a:extLst>
              <a:ext uri="{FF2B5EF4-FFF2-40B4-BE49-F238E27FC236}">
                <a16:creationId xmlns:a16="http://schemas.microsoft.com/office/drawing/2014/main" id="{6E6E17E7-5864-4830-AE7B-9FDF00697253}"/>
              </a:ext>
            </a:extLst>
          </p:cNvPr>
          <p:cNvSpPr txBox="1"/>
          <p:nvPr/>
        </p:nvSpPr>
        <p:spPr>
          <a:xfrm>
            <a:off x="660590" y="3303624"/>
            <a:ext cx="2048385" cy="310516"/>
          </a:xfrm>
          <a:prstGeom prst="rect">
            <a:avLst/>
          </a:prstGeom>
        </p:spPr>
        <p:txBody>
          <a:bodyPr wrap="square" lIns="72000" tIns="72000" rIns="72000" bIns="72000" rtlCol="0">
            <a:spAutoFit/>
          </a:bodyPr>
          <a:lstStyle/>
          <a:p>
            <a:pPr algn="ctr">
              <a:lnSpc>
                <a:spcPct val="120000"/>
              </a:lnSpc>
              <a:spcAft>
                <a:spcPts val="600"/>
              </a:spcAft>
            </a:pPr>
            <a:r>
              <a:rPr lang="fr-FR" sz="1000" i="1" dirty="0" err="1">
                <a:solidFill>
                  <a:schemeClr val="tx2"/>
                </a:solidFill>
              </a:rPr>
              <a:t>package.json</a:t>
            </a:r>
            <a:endParaRPr lang="fr-FR" sz="1000" i="1" dirty="0">
              <a:solidFill>
                <a:schemeClr val="tx2"/>
              </a:solidFill>
            </a:endParaRPr>
          </a:p>
        </p:txBody>
      </p:sp>
      <p:sp>
        <p:nvSpPr>
          <p:cNvPr id="28" name="ZoneTexte 27">
            <a:extLst>
              <a:ext uri="{FF2B5EF4-FFF2-40B4-BE49-F238E27FC236}">
                <a16:creationId xmlns:a16="http://schemas.microsoft.com/office/drawing/2014/main" id="{29E2DE21-76E4-474F-87F4-4FC7EDC73720}"/>
              </a:ext>
            </a:extLst>
          </p:cNvPr>
          <p:cNvSpPr txBox="1"/>
          <p:nvPr/>
        </p:nvSpPr>
        <p:spPr>
          <a:xfrm>
            <a:off x="6189520" y="1504598"/>
            <a:ext cx="2048385" cy="310516"/>
          </a:xfrm>
          <a:prstGeom prst="rect">
            <a:avLst/>
          </a:prstGeom>
        </p:spPr>
        <p:txBody>
          <a:bodyPr wrap="square" lIns="72000" tIns="72000" rIns="72000" bIns="72000" rtlCol="0">
            <a:spAutoFit/>
          </a:bodyPr>
          <a:lstStyle/>
          <a:p>
            <a:pPr algn="ctr">
              <a:lnSpc>
                <a:spcPct val="120000"/>
              </a:lnSpc>
              <a:spcAft>
                <a:spcPts val="600"/>
              </a:spcAft>
            </a:pPr>
            <a:r>
              <a:rPr lang="fr-FR" sz="1000" i="1" dirty="0">
                <a:solidFill>
                  <a:schemeClr val="tx2"/>
                </a:solidFill>
              </a:rPr>
              <a:t>index.js</a:t>
            </a:r>
          </a:p>
        </p:txBody>
      </p:sp>
    </p:spTree>
    <p:extLst>
      <p:ext uri="{BB962C8B-B14F-4D97-AF65-F5344CB8AC3E}">
        <p14:creationId xmlns:p14="http://schemas.microsoft.com/office/powerpoint/2010/main" val="400392909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ABF40B-6FBD-43B7-8F77-CF9594AF18B6}"/>
              </a:ext>
            </a:extLst>
          </p:cNvPr>
          <p:cNvSpPr>
            <a:spLocks noGrp="1"/>
          </p:cNvSpPr>
          <p:nvPr>
            <p:ph type="title"/>
          </p:nvPr>
        </p:nvSpPr>
        <p:spPr/>
        <p:txBody>
          <a:bodyPr/>
          <a:lstStyle/>
          <a:p>
            <a:r>
              <a:rPr lang="fr-FR" dirty="0"/>
              <a:t>Consulting the logs</a:t>
            </a:r>
          </a:p>
        </p:txBody>
      </p:sp>
      <p:pic>
        <p:nvPicPr>
          <p:cNvPr id="3" name="Image 2">
            <a:extLst>
              <a:ext uri="{FF2B5EF4-FFF2-40B4-BE49-F238E27FC236}">
                <a16:creationId xmlns:a16="http://schemas.microsoft.com/office/drawing/2014/main" id="{8531D916-A9BC-4218-86BE-1733559F2D80}"/>
              </a:ext>
            </a:extLst>
          </p:cNvPr>
          <p:cNvPicPr>
            <a:picLocks noChangeAspect="1"/>
          </p:cNvPicPr>
          <p:nvPr/>
        </p:nvPicPr>
        <p:blipFill>
          <a:blip r:embed="rId2"/>
          <a:stretch>
            <a:fillRect/>
          </a:stretch>
        </p:blipFill>
        <p:spPr>
          <a:xfrm>
            <a:off x="176029" y="808039"/>
            <a:ext cx="5891645" cy="2928640"/>
          </a:xfrm>
          <a:prstGeom prst="rect">
            <a:avLst/>
          </a:prstGeom>
        </p:spPr>
      </p:pic>
      <p:pic>
        <p:nvPicPr>
          <p:cNvPr id="4" name="Image 3">
            <a:extLst>
              <a:ext uri="{FF2B5EF4-FFF2-40B4-BE49-F238E27FC236}">
                <a16:creationId xmlns:a16="http://schemas.microsoft.com/office/drawing/2014/main" id="{3E781F5E-ED3F-456C-B22F-D1654A1BFEC0}"/>
              </a:ext>
            </a:extLst>
          </p:cNvPr>
          <p:cNvPicPr>
            <a:picLocks noChangeAspect="1"/>
          </p:cNvPicPr>
          <p:nvPr/>
        </p:nvPicPr>
        <p:blipFill>
          <a:blip r:embed="rId3"/>
          <a:stretch>
            <a:fillRect/>
          </a:stretch>
        </p:blipFill>
        <p:spPr>
          <a:xfrm>
            <a:off x="3252354" y="2015837"/>
            <a:ext cx="5534323" cy="2778752"/>
          </a:xfrm>
          <a:prstGeom prst="rect">
            <a:avLst/>
          </a:prstGeom>
          <a:ln>
            <a:solidFill>
              <a:srgbClr val="0070C0"/>
            </a:solidFill>
          </a:ln>
        </p:spPr>
      </p:pic>
      <p:sp>
        <p:nvSpPr>
          <p:cNvPr id="5" name="Ellipse 4">
            <a:extLst>
              <a:ext uri="{FF2B5EF4-FFF2-40B4-BE49-F238E27FC236}">
                <a16:creationId xmlns:a16="http://schemas.microsoft.com/office/drawing/2014/main" id="{A1BC666C-E7BD-49A8-B04D-0EF030D94C01}"/>
              </a:ext>
            </a:extLst>
          </p:cNvPr>
          <p:cNvSpPr/>
          <p:nvPr/>
        </p:nvSpPr>
        <p:spPr>
          <a:xfrm>
            <a:off x="1222829" y="3235214"/>
            <a:ext cx="1769754" cy="584592"/>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6" name="Connecteur droit avec flèche 5">
            <a:extLst>
              <a:ext uri="{FF2B5EF4-FFF2-40B4-BE49-F238E27FC236}">
                <a16:creationId xmlns:a16="http://schemas.microsoft.com/office/drawing/2014/main" id="{56D04908-15DC-49D4-8D58-D81C27AC6962}"/>
              </a:ext>
            </a:extLst>
          </p:cNvPr>
          <p:cNvCxnSpPr>
            <a:cxnSpLocks/>
            <a:endCxn id="5" idx="5"/>
          </p:cNvCxnSpPr>
          <p:nvPr/>
        </p:nvCxnSpPr>
        <p:spPr>
          <a:xfrm flipH="1" flipV="1">
            <a:off x="2733409" y="3734194"/>
            <a:ext cx="518946" cy="235134"/>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596168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27BB8-D6EA-2A4B-9E29-4B163BA076AA}"/>
              </a:ext>
            </a:extLst>
          </p:cNvPr>
          <p:cNvSpPr>
            <a:spLocks noGrp="1"/>
          </p:cNvSpPr>
          <p:nvPr>
            <p:ph type="title"/>
          </p:nvPr>
        </p:nvSpPr>
        <p:spPr/>
        <p:txBody>
          <a:bodyPr/>
          <a:lstStyle/>
          <a:p>
            <a:r>
              <a:rPr lang="en-US" dirty="0"/>
              <a:t>Firebase status dashboard</a:t>
            </a:r>
          </a:p>
        </p:txBody>
      </p:sp>
      <p:sp>
        <p:nvSpPr>
          <p:cNvPr id="9" name="Text Placeholder 16">
            <a:extLst>
              <a:ext uri="{FF2B5EF4-FFF2-40B4-BE49-F238E27FC236}">
                <a16:creationId xmlns:a16="http://schemas.microsoft.com/office/drawing/2014/main" id="{3BB3A0CB-2068-448E-A87D-D6F4E55852EB}"/>
              </a:ext>
            </a:extLst>
          </p:cNvPr>
          <p:cNvSpPr txBox="1">
            <a:spLocks/>
          </p:cNvSpPr>
          <p:nvPr/>
        </p:nvSpPr>
        <p:spPr>
          <a:xfrm>
            <a:off x="288235" y="808037"/>
            <a:ext cx="3687417" cy="3913050"/>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solidFill>
                <a:srgbClr val="202124"/>
              </a:solidFill>
              <a:latin typeface="Roboto"/>
            </a:endParaRPr>
          </a:p>
          <a:p>
            <a:endParaRPr lang="en-US" dirty="0">
              <a:solidFill>
                <a:srgbClr val="202124"/>
              </a:solidFill>
              <a:latin typeface="Roboto"/>
            </a:endParaRPr>
          </a:p>
          <a:p>
            <a:r>
              <a:rPr lang="en-US" dirty="0" err="1">
                <a:solidFill>
                  <a:srgbClr val="202124"/>
                </a:solidFill>
                <a:latin typeface="Roboto"/>
              </a:rPr>
              <a:t>Usefull</a:t>
            </a:r>
            <a:r>
              <a:rPr lang="en-US" dirty="0">
                <a:solidFill>
                  <a:srgbClr val="202124"/>
                </a:solidFill>
                <a:latin typeface="Roboto"/>
              </a:rPr>
              <a:t> link, if :</a:t>
            </a:r>
          </a:p>
          <a:p>
            <a:pPr marL="285750" indent="-285750">
              <a:buClr>
                <a:schemeClr val="accent2"/>
              </a:buClr>
              <a:buFont typeface="Arial" panose="020B0604020202020204" pitchFamily="34" charset="0"/>
              <a:buChar char="•"/>
            </a:pPr>
            <a:r>
              <a:rPr lang="en-US" dirty="0">
                <a:solidFill>
                  <a:srgbClr val="202124"/>
                </a:solidFill>
                <a:latin typeface="Roboto"/>
              </a:rPr>
              <a:t>You can’t deploy a function,</a:t>
            </a:r>
          </a:p>
          <a:p>
            <a:pPr marL="285750" indent="-285750">
              <a:buClr>
                <a:schemeClr val="accent2"/>
              </a:buClr>
              <a:buFont typeface="Arial" panose="020B0604020202020204" pitchFamily="34" charset="0"/>
              <a:buChar char="•"/>
            </a:pPr>
            <a:r>
              <a:rPr lang="en-US" dirty="0">
                <a:solidFill>
                  <a:srgbClr val="202124"/>
                </a:solidFill>
                <a:latin typeface="Roboto"/>
              </a:rPr>
              <a:t>You can’t connect to console,</a:t>
            </a:r>
          </a:p>
          <a:p>
            <a:pPr marL="285750" indent="-285750">
              <a:buClr>
                <a:schemeClr val="accent2"/>
              </a:buClr>
              <a:buFont typeface="Arial" panose="020B0604020202020204" pitchFamily="34" charset="0"/>
              <a:buChar char="•"/>
            </a:pPr>
            <a:r>
              <a:rPr lang="en-US" dirty="0">
                <a:solidFill>
                  <a:srgbClr val="202124"/>
                </a:solidFill>
                <a:latin typeface="Roboto"/>
              </a:rPr>
              <a:t>You have a timeout…</a:t>
            </a:r>
          </a:p>
          <a:p>
            <a:endParaRPr lang="en-US" dirty="0">
              <a:solidFill>
                <a:srgbClr val="202124"/>
              </a:solidFill>
              <a:latin typeface="Roboto"/>
            </a:endParaRPr>
          </a:p>
          <a:p>
            <a:endParaRPr lang="en-US" dirty="0">
              <a:solidFill>
                <a:srgbClr val="202124"/>
              </a:solidFill>
              <a:latin typeface="Roboto"/>
            </a:endParaRPr>
          </a:p>
          <a:p>
            <a:pPr algn="r"/>
            <a:r>
              <a:rPr lang="fr-FR" dirty="0">
                <a:hlinkClick r:id="rId2"/>
              </a:rPr>
              <a:t>https://status.firebase.google.com/</a:t>
            </a:r>
            <a:endParaRPr lang="en-US" dirty="0"/>
          </a:p>
        </p:txBody>
      </p:sp>
      <p:pic>
        <p:nvPicPr>
          <p:cNvPr id="2" name="Image 1">
            <a:extLst>
              <a:ext uri="{FF2B5EF4-FFF2-40B4-BE49-F238E27FC236}">
                <a16:creationId xmlns:a16="http://schemas.microsoft.com/office/drawing/2014/main" id="{0E5E93E5-0C91-4E80-906B-58BEEB116A51}"/>
              </a:ext>
            </a:extLst>
          </p:cNvPr>
          <p:cNvPicPr>
            <a:picLocks noChangeAspect="1"/>
          </p:cNvPicPr>
          <p:nvPr/>
        </p:nvPicPr>
        <p:blipFill>
          <a:blip r:embed="rId3"/>
          <a:stretch>
            <a:fillRect/>
          </a:stretch>
        </p:blipFill>
        <p:spPr>
          <a:xfrm>
            <a:off x="4214191" y="561443"/>
            <a:ext cx="4361503" cy="4343518"/>
          </a:xfrm>
          <a:prstGeom prst="rect">
            <a:avLst/>
          </a:prstGeom>
          <a:ln>
            <a:solidFill>
              <a:schemeClr val="accent1">
                <a:shade val="50000"/>
              </a:schemeClr>
            </a:solidFill>
          </a:ln>
        </p:spPr>
      </p:pic>
    </p:spTree>
    <p:extLst>
      <p:ext uri="{BB962C8B-B14F-4D97-AF65-F5344CB8AC3E}">
        <p14:creationId xmlns:p14="http://schemas.microsoft.com/office/powerpoint/2010/main" val="1796751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llipse 5">
            <a:extLst>
              <a:ext uri="{FF2B5EF4-FFF2-40B4-BE49-F238E27FC236}">
                <a16:creationId xmlns:a16="http://schemas.microsoft.com/office/drawing/2014/main" id="{0C04EDAC-5594-49D9-A348-ADF93F2EC4EE}"/>
              </a:ext>
            </a:extLst>
          </p:cNvPr>
          <p:cNvSpPr/>
          <p:nvPr/>
        </p:nvSpPr>
        <p:spPr>
          <a:xfrm>
            <a:off x="3418087" y="1021162"/>
            <a:ext cx="5311361" cy="5254433"/>
          </a:xfrm>
          <a:prstGeom prst="ellipse">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A58C9069-A253-0946-846F-2D00A4204D95}"/>
              </a:ext>
            </a:extLst>
          </p:cNvPr>
          <p:cNvSpPr>
            <a:spLocks noGrp="1"/>
          </p:cNvSpPr>
          <p:nvPr>
            <p:ph type="title"/>
          </p:nvPr>
        </p:nvSpPr>
        <p:spPr/>
        <p:txBody>
          <a:bodyPr/>
          <a:lstStyle/>
          <a:p>
            <a:r>
              <a:rPr lang="en-US" dirty="0" err="1"/>
              <a:t>Dialogflow</a:t>
            </a:r>
            <a:br>
              <a:rPr lang="en-US" dirty="0"/>
            </a:br>
            <a:r>
              <a:rPr lang="en-US" dirty="0"/>
              <a:t>Training</a:t>
            </a:r>
          </a:p>
        </p:txBody>
      </p:sp>
      <p:sp>
        <p:nvSpPr>
          <p:cNvPr id="3" name="Text Placeholder 2">
            <a:extLst>
              <a:ext uri="{FF2B5EF4-FFF2-40B4-BE49-F238E27FC236}">
                <a16:creationId xmlns:a16="http://schemas.microsoft.com/office/drawing/2014/main" id="{F52F02E1-A4DC-B244-BCC1-26DDC889B5C3}"/>
              </a:ext>
            </a:extLst>
          </p:cNvPr>
          <p:cNvSpPr>
            <a:spLocks noGrp="1"/>
          </p:cNvSpPr>
          <p:nvPr>
            <p:ph type="body" sz="quarter" idx="10"/>
          </p:nvPr>
        </p:nvSpPr>
        <p:spPr/>
        <p:txBody>
          <a:bodyPr/>
          <a:lstStyle/>
          <a:p>
            <a:r>
              <a:rPr lang="en-US" dirty="0"/>
              <a:t>Module 9 : Fulfillments</a:t>
            </a:r>
          </a:p>
        </p:txBody>
      </p:sp>
      <p:sp>
        <p:nvSpPr>
          <p:cNvPr id="7" name="Freeform 1">
            <a:extLst>
              <a:ext uri="{FF2B5EF4-FFF2-40B4-BE49-F238E27FC236}">
                <a16:creationId xmlns:a16="http://schemas.microsoft.com/office/drawing/2014/main" id="{C009C2CB-0D45-244B-8254-95D0D9E3683C}"/>
              </a:ext>
            </a:extLst>
          </p:cNvPr>
          <p:cNvSpPr>
            <a:spLocks noChangeArrowheads="1"/>
          </p:cNvSpPr>
          <p:nvPr/>
        </p:nvSpPr>
        <p:spPr bwMode="auto">
          <a:xfrm>
            <a:off x="6799803" y="0"/>
            <a:ext cx="2747583" cy="2612551"/>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624689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DF91A2-0728-45B8-AEDE-C8AEFF8FA9BC}"/>
              </a:ext>
            </a:extLst>
          </p:cNvPr>
          <p:cNvSpPr>
            <a:spLocks noGrp="1"/>
          </p:cNvSpPr>
          <p:nvPr>
            <p:ph type="title"/>
          </p:nvPr>
        </p:nvSpPr>
        <p:spPr/>
        <p:txBody>
          <a:bodyPr/>
          <a:lstStyle/>
          <a:p>
            <a:r>
              <a:rPr lang="fr-FR" dirty="0" err="1"/>
              <a:t>Fulfillment</a:t>
            </a:r>
            <a:r>
              <a:rPr lang="fr-FR" dirty="0"/>
              <a:t> </a:t>
            </a:r>
            <a:r>
              <a:rPr lang="fr-FR" dirty="0" err="1"/>
              <a:t>definition</a:t>
            </a:r>
            <a:endParaRPr lang="fr-FR" dirty="0"/>
          </a:p>
        </p:txBody>
      </p:sp>
      <p:sp>
        <p:nvSpPr>
          <p:cNvPr id="3" name="Text Placeholder 16">
            <a:extLst>
              <a:ext uri="{FF2B5EF4-FFF2-40B4-BE49-F238E27FC236}">
                <a16:creationId xmlns:a16="http://schemas.microsoft.com/office/drawing/2014/main" id="{23D04FC7-8713-4AC8-BE16-56680A27207F}"/>
              </a:ext>
            </a:extLst>
          </p:cNvPr>
          <p:cNvSpPr txBox="1">
            <a:spLocks/>
          </p:cNvSpPr>
          <p:nvPr/>
        </p:nvSpPr>
        <p:spPr>
          <a:xfrm>
            <a:off x="228600" y="668889"/>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Clr>
                <a:schemeClr val="accent2"/>
              </a:buClr>
              <a:buFont typeface="Arial" panose="020B0604020202020204" pitchFamily="34" charset="0"/>
              <a:buChar char="•"/>
            </a:pPr>
            <a:r>
              <a:rPr lang="en-US" sz="1600" dirty="0"/>
              <a:t>If your agent needs more than static intent responses, you need to use </a:t>
            </a:r>
            <a:r>
              <a:rPr lang="en-US" sz="1600" i="1" dirty="0">
                <a:solidFill>
                  <a:schemeClr val="accent2"/>
                </a:solidFill>
              </a:rPr>
              <a:t>fulfillment</a:t>
            </a:r>
            <a:r>
              <a:rPr lang="en-US" sz="1600" dirty="0"/>
              <a:t> to connect your service to your agent. Connecting your service allows you to take actions based on end-user expressions and send dynamic responses back to the end-user. </a:t>
            </a:r>
          </a:p>
          <a:p>
            <a:pPr marL="285750" indent="-285750">
              <a:buClr>
                <a:schemeClr val="accent2"/>
              </a:buClr>
              <a:buFont typeface="Arial" panose="020B0604020202020204" pitchFamily="34" charset="0"/>
              <a:buChar char="•"/>
            </a:pPr>
            <a:r>
              <a:rPr lang="en-US" sz="1600" dirty="0"/>
              <a:t>For example, if an end-user wants to schedule a haircut on Friday, your service can check a database and respond to the end-user with availability information for Friday. </a:t>
            </a:r>
          </a:p>
          <a:p>
            <a:pPr marL="285750" indent="-285750">
              <a:buClr>
                <a:schemeClr val="accent2"/>
              </a:buClr>
              <a:buFont typeface="Arial" panose="020B0604020202020204" pitchFamily="34" charset="0"/>
              <a:buChar char="•"/>
            </a:pPr>
            <a:r>
              <a:rPr lang="en-US" sz="1600" dirty="0"/>
              <a:t>Each intent has a setting to enable fulfillment. If an intent requires some action by your system or a dynamic response, you should enable fulfillment for the intent. </a:t>
            </a:r>
          </a:p>
          <a:p>
            <a:pPr marL="285750" indent="-285750">
              <a:buClr>
                <a:schemeClr val="accent2"/>
              </a:buClr>
              <a:buFont typeface="Arial" panose="020B0604020202020204" pitchFamily="34" charset="0"/>
              <a:buChar char="•"/>
            </a:pPr>
            <a:r>
              <a:rPr lang="en-US" sz="1600" dirty="0"/>
              <a:t>When an intent with fulfillment enabled is matched, </a:t>
            </a:r>
            <a:r>
              <a:rPr lang="en-US" sz="1600" dirty="0" err="1"/>
              <a:t>Dialogflow</a:t>
            </a:r>
            <a:r>
              <a:rPr lang="en-US" sz="1600" dirty="0"/>
              <a:t> sends a request to your </a:t>
            </a:r>
            <a:r>
              <a:rPr lang="en-US" sz="1600" i="1" dirty="0"/>
              <a:t>webhook</a:t>
            </a:r>
            <a:r>
              <a:rPr lang="en-US" sz="1600" dirty="0"/>
              <a:t> service with information about the matched intent. Your system can perform any required actions and respond to </a:t>
            </a:r>
            <a:r>
              <a:rPr lang="en-US" sz="1600" dirty="0" err="1"/>
              <a:t>Dialogflow</a:t>
            </a:r>
            <a:r>
              <a:rPr lang="en-US" sz="1600" dirty="0"/>
              <a:t> with information for how to proceed. </a:t>
            </a:r>
          </a:p>
        </p:txBody>
      </p:sp>
    </p:spTree>
    <p:extLst>
      <p:ext uri="{BB962C8B-B14F-4D97-AF65-F5344CB8AC3E}">
        <p14:creationId xmlns:p14="http://schemas.microsoft.com/office/powerpoint/2010/main" val="2659446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E689308-3664-469C-B2D1-A5C98A53C918}"/>
              </a:ext>
            </a:extLst>
          </p:cNvPr>
          <p:cNvSpPr>
            <a:spLocks noGrp="1"/>
          </p:cNvSpPr>
          <p:nvPr>
            <p:ph type="title"/>
          </p:nvPr>
        </p:nvSpPr>
        <p:spPr/>
        <p:txBody>
          <a:bodyPr/>
          <a:lstStyle/>
          <a:p>
            <a:r>
              <a:rPr lang="fr-FR" dirty="0" err="1"/>
              <a:t>Fulfillment</a:t>
            </a:r>
            <a:r>
              <a:rPr lang="fr-FR" dirty="0"/>
              <a:t> </a:t>
            </a:r>
            <a:r>
              <a:rPr lang="fr-FR" dirty="0" err="1"/>
              <a:t>definition</a:t>
            </a:r>
            <a:endParaRPr lang="fr-FR" dirty="0"/>
          </a:p>
        </p:txBody>
      </p:sp>
      <p:pic>
        <p:nvPicPr>
          <p:cNvPr id="4" name="Graphique 3">
            <a:extLst>
              <a:ext uri="{FF2B5EF4-FFF2-40B4-BE49-F238E27FC236}">
                <a16:creationId xmlns:a16="http://schemas.microsoft.com/office/drawing/2014/main" id="{7A7ABA99-135B-4CA8-8537-07002481E28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14253" y="1089530"/>
            <a:ext cx="8069056" cy="3114482"/>
          </a:xfrm>
          <a:prstGeom prst="rect">
            <a:avLst/>
          </a:prstGeom>
        </p:spPr>
      </p:pic>
    </p:spTree>
    <p:extLst>
      <p:ext uri="{BB962C8B-B14F-4D97-AF65-F5344CB8AC3E}">
        <p14:creationId xmlns:p14="http://schemas.microsoft.com/office/powerpoint/2010/main" val="4124927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327B900-BE34-4783-B8B6-6A916305AAE6}"/>
              </a:ext>
            </a:extLst>
          </p:cNvPr>
          <p:cNvSpPr>
            <a:spLocks noGrp="1"/>
          </p:cNvSpPr>
          <p:nvPr>
            <p:ph type="title"/>
          </p:nvPr>
        </p:nvSpPr>
        <p:spPr/>
        <p:txBody>
          <a:bodyPr/>
          <a:lstStyle/>
          <a:p>
            <a:r>
              <a:rPr lang="fr-FR" dirty="0" err="1"/>
              <a:t>Enabling</a:t>
            </a:r>
            <a:r>
              <a:rPr lang="fr-FR" dirty="0"/>
              <a:t> </a:t>
            </a:r>
            <a:r>
              <a:rPr lang="fr-FR" dirty="0" err="1"/>
              <a:t>webhook</a:t>
            </a:r>
            <a:endParaRPr lang="fr-FR" dirty="0"/>
          </a:p>
        </p:txBody>
      </p:sp>
      <p:pic>
        <p:nvPicPr>
          <p:cNvPr id="3" name="Image 2">
            <a:extLst>
              <a:ext uri="{FF2B5EF4-FFF2-40B4-BE49-F238E27FC236}">
                <a16:creationId xmlns:a16="http://schemas.microsoft.com/office/drawing/2014/main" id="{A4153267-1529-48AF-B712-E318421D20F9}"/>
              </a:ext>
            </a:extLst>
          </p:cNvPr>
          <p:cNvPicPr>
            <a:picLocks noChangeAspect="1"/>
          </p:cNvPicPr>
          <p:nvPr/>
        </p:nvPicPr>
        <p:blipFill>
          <a:blip r:embed="rId2"/>
          <a:stretch>
            <a:fillRect/>
          </a:stretch>
        </p:blipFill>
        <p:spPr>
          <a:xfrm>
            <a:off x="374832" y="1064086"/>
            <a:ext cx="6244860" cy="3015328"/>
          </a:xfrm>
          <a:prstGeom prst="rect">
            <a:avLst/>
          </a:prstGeom>
        </p:spPr>
      </p:pic>
      <p:sp>
        <p:nvSpPr>
          <p:cNvPr id="4" name="Text Placeholder 16">
            <a:extLst>
              <a:ext uri="{FF2B5EF4-FFF2-40B4-BE49-F238E27FC236}">
                <a16:creationId xmlns:a16="http://schemas.microsoft.com/office/drawing/2014/main" id="{C70F1349-9030-4236-9AF7-5F72C3F02448}"/>
              </a:ext>
            </a:extLst>
          </p:cNvPr>
          <p:cNvSpPr txBox="1">
            <a:spLocks/>
          </p:cNvSpPr>
          <p:nvPr/>
        </p:nvSpPr>
        <p:spPr>
          <a:xfrm>
            <a:off x="6714906" y="1131656"/>
            <a:ext cx="2370404" cy="513219"/>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00" dirty="0"/>
              <a:t>Each intent has a setting to enable fulfillment.</a:t>
            </a:r>
          </a:p>
          <a:p>
            <a:endParaRPr lang="en-US" sz="1400" dirty="0"/>
          </a:p>
          <a:p>
            <a:r>
              <a:rPr lang="en-US" sz="1400" dirty="0"/>
              <a:t>When webhook is enabled, the default text response is only used is case or error in the webhook.</a:t>
            </a:r>
          </a:p>
          <a:p>
            <a:endParaRPr lang="en-US" sz="1400" dirty="0"/>
          </a:p>
          <a:p>
            <a:r>
              <a:rPr lang="en-US" sz="1400" dirty="0"/>
              <a:t>It’s a good idea to use a specific default text response to detect easily errors.</a:t>
            </a:r>
          </a:p>
          <a:p>
            <a:pPr marL="285750" indent="-285750">
              <a:buFont typeface="Arial" panose="020B0604020202020204" pitchFamily="34" charset="0"/>
              <a:buChar char="•"/>
            </a:pPr>
            <a:endParaRPr lang="en-US" sz="1600" dirty="0"/>
          </a:p>
        </p:txBody>
      </p:sp>
      <p:sp>
        <p:nvSpPr>
          <p:cNvPr id="5" name="Ellipse 4">
            <a:extLst>
              <a:ext uri="{FF2B5EF4-FFF2-40B4-BE49-F238E27FC236}">
                <a16:creationId xmlns:a16="http://schemas.microsoft.com/office/drawing/2014/main" id="{877B5D5C-EEAC-432E-9DEA-A4152B439D12}"/>
              </a:ext>
            </a:extLst>
          </p:cNvPr>
          <p:cNvSpPr/>
          <p:nvPr/>
        </p:nvSpPr>
        <p:spPr>
          <a:xfrm>
            <a:off x="432770" y="3471753"/>
            <a:ext cx="1570533" cy="353371"/>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180680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327B900-BE34-4783-B8B6-6A916305AAE6}"/>
              </a:ext>
            </a:extLst>
          </p:cNvPr>
          <p:cNvSpPr>
            <a:spLocks noGrp="1"/>
          </p:cNvSpPr>
          <p:nvPr>
            <p:ph type="title"/>
          </p:nvPr>
        </p:nvSpPr>
        <p:spPr/>
        <p:txBody>
          <a:bodyPr/>
          <a:lstStyle/>
          <a:p>
            <a:r>
              <a:rPr lang="fr-FR" dirty="0" err="1"/>
              <a:t>Enabling</a:t>
            </a:r>
            <a:r>
              <a:rPr lang="fr-FR" dirty="0"/>
              <a:t> </a:t>
            </a:r>
            <a:r>
              <a:rPr lang="fr-FR" dirty="0" err="1"/>
              <a:t>inline</a:t>
            </a:r>
            <a:r>
              <a:rPr lang="fr-FR" dirty="0"/>
              <a:t> editor</a:t>
            </a:r>
          </a:p>
        </p:txBody>
      </p:sp>
      <p:sp>
        <p:nvSpPr>
          <p:cNvPr id="4" name="Text Placeholder 16">
            <a:extLst>
              <a:ext uri="{FF2B5EF4-FFF2-40B4-BE49-F238E27FC236}">
                <a16:creationId xmlns:a16="http://schemas.microsoft.com/office/drawing/2014/main" id="{C70F1349-9030-4236-9AF7-5F72C3F02448}"/>
              </a:ext>
            </a:extLst>
          </p:cNvPr>
          <p:cNvSpPr txBox="1">
            <a:spLocks/>
          </p:cNvSpPr>
          <p:nvPr/>
        </p:nvSpPr>
        <p:spPr>
          <a:xfrm>
            <a:off x="342025" y="551428"/>
            <a:ext cx="8194701" cy="513219"/>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t>You can use :</a:t>
            </a:r>
          </a:p>
          <a:p>
            <a:pPr marL="285750" indent="-285750">
              <a:buClr>
                <a:schemeClr val="accent2"/>
              </a:buClr>
              <a:buFont typeface="Arial" panose="020B0604020202020204" pitchFamily="34" charset="0"/>
              <a:buChar char="•"/>
            </a:pPr>
            <a:r>
              <a:rPr lang="en-US" sz="1600" dirty="0"/>
              <a:t>your own webhook (GCP cloud functions… or AWS Lambda)</a:t>
            </a:r>
          </a:p>
          <a:p>
            <a:pPr marL="285750" indent="-285750">
              <a:buClr>
                <a:schemeClr val="accent2"/>
              </a:buClr>
              <a:buFont typeface="Arial" panose="020B0604020202020204" pitchFamily="34" charset="0"/>
              <a:buChar char="•"/>
            </a:pPr>
            <a:r>
              <a:rPr lang="en-US" sz="1600" dirty="0"/>
              <a:t>Firebase functions, with the inline Editor. </a:t>
            </a:r>
          </a:p>
          <a:p>
            <a:pPr marL="285750" indent="-285750">
              <a:buFont typeface="Arial" panose="020B0604020202020204" pitchFamily="34" charset="0"/>
              <a:buChar char="•"/>
            </a:pPr>
            <a:endParaRPr lang="en-US" sz="1600" dirty="0"/>
          </a:p>
        </p:txBody>
      </p:sp>
      <p:pic>
        <p:nvPicPr>
          <p:cNvPr id="6" name="Image 5">
            <a:extLst>
              <a:ext uri="{FF2B5EF4-FFF2-40B4-BE49-F238E27FC236}">
                <a16:creationId xmlns:a16="http://schemas.microsoft.com/office/drawing/2014/main" id="{4185FDE3-D13B-4F2D-82B7-A3E6B796292C}"/>
              </a:ext>
            </a:extLst>
          </p:cNvPr>
          <p:cNvPicPr>
            <a:picLocks noChangeAspect="1"/>
          </p:cNvPicPr>
          <p:nvPr/>
        </p:nvPicPr>
        <p:blipFill>
          <a:blip r:embed="rId3"/>
          <a:stretch>
            <a:fillRect/>
          </a:stretch>
        </p:blipFill>
        <p:spPr>
          <a:xfrm>
            <a:off x="1535634" y="1600006"/>
            <a:ext cx="5912188" cy="3150346"/>
          </a:xfrm>
          <a:prstGeom prst="rect">
            <a:avLst/>
          </a:prstGeom>
        </p:spPr>
      </p:pic>
      <p:sp>
        <p:nvSpPr>
          <p:cNvPr id="5" name="Ellipse 4">
            <a:extLst>
              <a:ext uri="{FF2B5EF4-FFF2-40B4-BE49-F238E27FC236}">
                <a16:creationId xmlns:a16="http://schemas.microsoft.com/office/drawing/2014/main" id="{877B5D5C-EEAC-432E-9DEA-A4152B439D12}"/>
              </a:ext>
            </a:extLst>
          </p:cNvPr>
          <p:cNvSpPr/>
          <p:nvPr/>
        </p:nvSpPr>
        <p:spPr>
          <a:xfrm>
            <a:off x="6652084" y="2359291"/>
            <a:ext cx="1031876" cy="316378"/>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Ellipse 6">
            <a:extLst>
              <a:ext uri="{FF2B5EF4-FFF2-40B4-BE49-F238E27FC236}">
                <a16:creationId xmlns:a16="http://schemas.microsoft.com/office/drawing/2014/main" id="{DC3E6959-5ED3-449D-AAD4-585209EEBCB5}"/>
              </a:ext>
            </a:extLst>
          </p:cNvPr>
          <p:cNvSpPr/>
          <p:nvPr/>
        </p:nvSpPr>
        <p:spPr>
          <a:xfrm>
            <a:off x="1090178" y="2619828"/>
            <a:ext cx="2078809" cy="426572"/>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914419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4FE9F59-5850-4DF4-8E16-E14F41842A4D}"/>
              </a:ext>
            </a:extLst>
          </p:cNvPr>
          <p:cNvSpPr>
            <a:spLocks noGrp="1"/>
          </p:cNvSpPr>
          <p:nvPr>
            <p:ph type="title"/>
          </p:nvPr>
        </p:nvSpPr>
        <p:spPr/>
        <p:txBody>
          <a:bodyPr/>
          <a:lstStyle/>
          <a:p>
            <a:r>
              <a:rPr lang="fr-FR" dirty="0"/>
              <a:t>Mapping </a:t>
            </a:r>
            <a:r>
              <a:rPr lang="fr-FR" dirty="0" err="1"/>
              <a:t>intent</a:t>
            </a:r>
            <a:r>
              <a:rPr lang="fr-FR" dirty="0"/>
              <a:t> / code</a:t>
            </a:r>
          </a:p>
        </p:txBody>
      </p:sp>
      <p:sp>
        <p:nvSpPr>
          <p:cNvPr id="3" name="Rectangle 2">
            <a:extLst>
              <a:ext uri="{FF2B5EF4-FFF2-40B4-BE49-F238E27FC236}">
                <a16:creationId xmlns:a16="http://schemas.microsoft.com/office/drawing/2014/main" id="{13491901-81FF-4F47-B7B5-869BDFE5A544}"/>
              </a:ext>
            </a:extLst>
          </p:cNvPr>
          <p:cNvSpPr/>
          <p:nvPr/>
        </p:nvSpPr>
        <p:spPr>
          <a:xfrm>
            <a:off x="342900" y="624495"/>
            <a:ext cx="8478982" cy="3531736"/>
          </a:xfrm>
          <a:prstGeom prst="rect">
            <a:avLst/>
          </a:prstGeom>
        </p:spPr>
        <p:txBody>
          <a:bodyPr wrap="square">
            <a:spAutoFit/>
          </a:bodyPr>
          <a:lstStyle/>
          <a:p>
            <a:endParaRPr lang="en-US" dirty="0"/>
          </a:p>
          <a:p>
            <a:r>
              <a:rPr lang="en-US" sz="1400" dirty="0">
                <a:latin typeface="+mj-lt"/>
              </a:rPr>
              <a:t>The mapping between the name of the intent and the function is done at the end of the node.js file.</a:t>
            </a:r>
          </a:p>
          <a:p>
            <a:endParaRPr lang="en-US" sz="1600" dirty="0">
              <a:latin typeface="+mj-lt"/>
            </a:endParaRPr>
          </a:p>
          <a:p>
            <a:endParaRPr lang="en-US" sz="1600" dirty="0">
              <a:latin typeface="+mj-lt"/>
            </a:endParaRPr>
          </a:p>
          <a:p>
            <a:endParaRPr lang="en-US" sz="1600" dirty="0">
              <a:latin typeface="+mj-lt"/>
            </a:endParaRPr>
          </a:p>
          <a:p>
            <a:endParaRPr lang="en-US" sz="1600" dirty="0">
              <a:latin typeface="+mj-lt"/>
            </a:endParaRPr>
          </a:p>
          <a:p>
            <a:endParaRPr lang="en-US" sz="1600" dirty="0">
              <a:latin typeface="+mj-lt"/>
            </a:endParaRPr>
          </a:p>
          <a:p>
            <a:endParaRPr lang="en-US" sz="1600" dirty="0">
              <a:latin typeface="+mj-lt"/>
            </a:endParaRPr>
          </a:p>
          <a:p>
            <a:endParaRPr lang="en-US" sz="1600" dirty="0">
              <a:latin typeface="+mj-lt"/>
            </a:endParaRPr>
          </a:p>
          <a:p>
            <a:endParaRPr lang="en-US" sz="1400" dirty="0">
              <a:latin typeface="+mj-lt"/>
            </a:endParaRPr>
          </a:p>
          <a:p>
            <a:r>
              <a:rPr lang="en-US" sz="1400" dirty="0">
                <a:latin typeface="+mj-lt"/>
              </a:rPr>
              <a:t>To activate a new webhook (if you start from scratch in the editor):</a:t>
            </a:r>
          </a:p>
          <a:p>
            <a:pPr marL="285750" indent="-285750">
              <a:buClr>
                <a:schemeClr val="accent2"/>
              </a:buClr>
              <a:buFont typeface="Arial" panose="020B0604020202020204" pitchFamily="34" charset="0"/>
              <a:buChar char="•"/>
            </a:pPr>
            <a:r>
              <a:rPr lang="en-US" sz="1400" dirty="0">
                <a:latin typeface="+mj-lt"/>
              </a:rPr>
              <a:t>Uncomment the line "</a:t>
            </a:r>
            <a:r>
              <a:rPr lang="en-US" sz="1400" dirty="0" err="1">
                <a:latin typeface="+mj-lt"/>
              </a:rPr>
              <a:t>intentMap</a:t>
            </a:r>
            <a:r>
              <a:rPr lang="en-US" sz="1400" dirty="0">
                <a:latin typeface="+mj-lt"/>
              </a:rPr>
              <a:t>" and change the name of the intent and the name of the function</a:t>
            </a:r>
          </a:p>
          <a:p>
            <a:pPr marL="285750" indent="-285750">
              <a:buClr>
                <a:schemeClr val="accent2"/>
              </a:buClr>
              <a:buFont typeface="Arial" panose="020B0604020202020204" pitchFamily="34" charset="0"/>
              <a:buChar char="•"/>
            </a:pPr>
            <a:r>
              <a:rPr lang="en-US" sz="1400" dirty="0">
                <a:latin typeface="+mj-lt"/>
              </a:rPr>
              <a:t>Uncomment the "</a:t>
            </a:r>
            <a:r>
              <a:rPr lang="en-US" sz="1400" dirty="0" err="1">
                <a:latin typeface="+mj-lt"/>
              </a:rPr>
              <a:t>yourFunctionHandler</a:t>
            </a:r>
            <a:r>
              <a:rPr lang="en-US" sz="1400" dirty="0">
                <a:latin typeface="+mj-lt"/>
              </a:rPr>
              <a:t>" function and adapt it to your needs</a:t>
            </a:r>
            <a:endParaRPr lang="fr-FR" sz="1400" dirty="0">
              <a:latin typeface="+mj-lt"/>
            </a:endParaRPr>
          </a:p>
        </p:txBody>
      </p:sp>
      <p:pic>
        <p:nvPicPr>
          <p:cNvPr id="6" name="Image 5">
            <a:extLst>
              <a:ext uri="{FF2B5EF4-FFF2-40B4-BE49-F238E27FC236}">
                <a16:creationId xmlns:a16="http://schemas.microsoft.com/office/drawing/2014/main" id="{A7C8EC97-43E0-45F6-9650-B74308D3EEE1}"/>
              </a:ext>
            </a:extLst>
          </p:cNvPr>
          <p:cNvPicPr>
            <a:picLocks noChangeAspect="1"/>
          </p:cNvPicPr>
          <p:nvPr/>
        </p:nvPicPr>
        <p:blipFill>
          <a:blip r:embed="rId2"/>
          <a:stretch>
            <a:fillRect/>
          </a:stretch>
        </p:blipFill>
        <p:spPr>
          <a:xfrm>
            <a:off x="439569" y="1432532"/>
            <a:ext cx="6287377" cy="1600423"/>
          </a:xfrm>
          <a:prstGeom prst="rect">
            <a:avLst/>
          </a:prstGeom>
        </p:spPr>
      </p:pic>
    </p:spTree>
    <p:extLst>
      <p:ext uri="{BB962C8B-B14F-4D97-AF65-F5344CB8AC3E}">
        <p14:creationId xmlns:p14="http://schemas.microsoft.com/office/powerpoint/2010/main" val="1479611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C4394B-8207-4F14-8485-C959AD5E41F9}"/>
              </a:ext>
            </a:extLst>
          </p:cNvPr>
          <p:cNvSpPr>
            <a:spLocks noGrp="1"/>
          </p:cNvSpPr>
          <p:nvPr>
            <p:ph type="title"/>
          </p:nvPr>
        </p:nvSpPr>
        <p:spPr/>
        <p:txBody>
          <a:bodyPr/>
          <a:lstStyle/>
          <a:p>
            <a:r>
              <a:rPr lang="fr-FR" dirty="0"/>
              <a:t>Mapping </a:t>
            </a:r>
            <a:r>
              <a:rPr lang="fr-FR" dirty="0" err="1"/>
              <a:t>intent</a:t>
            </a:r>
            <a:r>
              <a:rPr lang="fr-FR" dirty="0"/>
              <a:t> / code</a:t>
            </a:r>
          </a:p>
        </p:txBody>
      </p:sp>
      <p:pic>
        <p:nvPicPr>
          <p:cNvPr id="3" name="Image 2">
            <a:extLst>
              <a:ext uri="{FF2B5EF4-FFF2-40B4-BE49-F238E27FC236}">
                <a16:creationId xmlns:a16="http://schemas.microsoft.com/office/drawing/2014/main" id="{877C2D89-B56B-4CA4-A599-E4B78F84F375}"/>
              </a:ext>
            </a:extLst>
          </p:cNvPr>
          <p:cNvPicPr>
            <a:picLocks noChangeAspect="1"/>
          </p:cNvPicPr>
          <p:nvPr/>
        </p:nvPicPr>
        <p:blipFill>
          <a:blip r:embed="rId2"/>
          <a:stretch>
            <a:fillRect/>
          </a:stretch>
        </p:blipFill>
        <p:spPr>
          <a:xfrm>
            <a:off x="727364" y="945573"/>
            <a:ext cx="7543800" cy="2352675"/>
          </a:xfrm>
          <a:prstGeom prst="rect">
            <a:avLst/>
          </a:prstGeom>
        </p:spPr>
      </p:pic>
      <p:sp>
        <p:nvSpPr>
          <p:cNvPr id="4" name="Ellipse 3">
            <a:extLst>
              <a:ext uri="{FF2B5EF4-FFF2-40B4-BE49-F238E27FC236}">
                <a16:creationId xmlns:a16="http://schemas.microsoft.com/office/drawing/2014/main" id="{B68854A8-39C1-473D-9322-12F30B70B7E3}"/>
              </a:ext>
            </a:extLst>
          </p:cNvPr>
          <p:cNvSpPr/>
          <p:nvPr/>
        </p:nvSpPr>
        <p:spPr>
          <a:xfrm>
            <a:off x="3816622" y="2816443"/>
            <a:ext cx="2095797" cy="357827"/>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Ellipse 6">
            <a:extLst>
              <a:ext uri="{FF2B5EF4-FFF2-40B4-BE49-F238E27FC236}">
                <a16:creationId xmlns:a16="http://schemas.microsoft.com/office/drawing/2014/main" id="{68DF5185-3432-41C5-AFE1-C4263738F548}"/>
              </a:ext>
            </a:extLst>
          </p:cNvPr>
          <p:cNvSpPr/>
          <p:nvPr/>
        </p:nvSpPr>
        <p:spPr>
          <a:xfrm>
            <a:off x="1457885" y="932550"/>
            <a:ext cx="2719261" cy="357827"/>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8" name="Connecteur droit avec flèche 7">
            <a:extLst>
              <a:ext uri="{FF2B5EF4-FFF2-40B4-BE49-F238E27FC236}">
                <a16:creationId xmlns:a16="http://schemas.microsoft.com/office/drawing/2014/main" id="{4E9BAB56-2682-4029-8CF9-E24DCBD32364}"/>
              </a:ext>
            </a:extLst>
          </p:cNvPr>
          <p:cNvCxnSpPr>
            <a:cxnSpLocks/>
          </p:cNvCxnSpPr>
          <p:nvPr/>
        </p:nvCxnSpPr>
        <p:spPr>
          <a:xfrm>
            <a:off x="3507285" y="1300767"/>
            <a:ext cx="784161" cy="1515676"/>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10" name="Text Placeholder 16">
            <a:extLst>
              <a:ext uri="{FF2B5EF4-FFF2-40B4-BE49-F238E27FC236}">
                <a16:creationId xmlns:a16="http://schemas.microsoft.com/office/drawing/2014/main" id="{458F0A67-B441-4A76-9E46-A4C3B094F11C}"/>
              </a:ext>
            </a:extLst>
          </p:cNvPr>
          <p:cNvSpPr txBox="1">
            <a:spLocks/>
          </p:cNvSpPr>
          <p:nvPr/>
        </p:nvSpPr>
        <p:spPr>
          <a:xfrm>
            <a:off x="228600" y="3653442"/>
            <a:ext cx="8497955" cy="1027888"/>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Clr>
                <a:schemeClr val="accent2"/>
              </a:buClr>
              <a:buFont typeface="Arial" panose="020B0604020202020204" pitchFamily="34" charset="0"/>
              <a:buChar char="•"/>
            </a:pPr>
            <a:r>
              <a:rPr lang="en-US" sz="1400" dirty="0" err="1"/>
              <a:t>agent.</a:t>
            </a:r>
            <a:r>
              <a:rPr lang="en-US" sz="1400" dirty="0" err="1">
                <a:solidFill>
                  <a:schemeClr val="accent2"/>
                </a:solidFill>
              </a:rPr>
              <a:t>add</a:t>
            </a:r>
            <a:r>
              <a:rPr lang="en-US" sz="1400" dirty="0"/>
              <a:t> (text) : send a response </a:t>
            </a:r>
          </a:p>
          <a:p>
            <a:pPr marL="285750" indent="-285750">
              <a:buClr>
                <a:schemeClr val="accent2"/>
              </a:buClr>
              <a:buFont typeface="Arial" panose="020B0604020202020204" pitchFamily="34" charset="0"/>
              <a:buChar char="•"/>
            </a:pPr>
            <a:r>
              <a:rPr lang="en-US" sz="1400" dirty="0" err="1"/>
              <a:t>agent.</a:t>
            </a:r>
            <a:r>
              <a:rPr lang="en-US" sz="1400" dirty="0" err="1">
                <a:solidFill>
                  <a:schemeClr val="accent2"/>
                </a:solidFill>
              </a:rPr>
              <a:t>end</a:t>
            </a:r>
            <a:r>
              <a:rPr lang="en-US" sz="1400" dirty="0"/>
              <a:t> (text) : send a response / end the conversation</a:t>
            </a:r>
          </a:p>
        </p:txBody>
      </p:sp>
    </p:spTree>
    <p:extLst>
      <p:ext uri="{BB962C8B-B14F-4D97-AF65-F5344CB8AC3E}">
        <p14:creationId xmlns:p14="http://schemas.microsoft.com/office/powerpoint/2010/main" val="3232959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FDBA7C6-D37E-4883-8897-F0F2F3A06E1E}"/>
              </a:ext>
            </a:extLst>
          </p:cNvPr>
          <p:cNvSpPr>
            <a:spLocks noGrp="1"/>
          </p:cNvSpPr>
          <p:nvPr>
            <p:ph type="title"/>
          </p:nvPr>
        </p:nvSpPr>
        <p:spPr/>
        <p:txBody>
          <a:bodyPr/>
          <a:lstStyle/>
          <a:p>
            <a:r>
              <a:rPr lang="fr-FR" dirty="0" err="1"/>
              <a:t>Dialogflow</a:t>
            </a:r>
            <a:r>
              <a:rPr lang="fr-FR" dirty="0"/>
              <a:t> + Odigo Concierge</a:t>
            </a:r>
          </a:p>
        </p:txBody>
      </p:sp>
      <p:sp>
        <p:nvSpPr>
          <p:cNvPr id="6" name="Text Placeholder 16">
            <a:extLst>
              <a:ext uri="{FF2B5EF4-FFF2-40B4-BE49-F238E27FC236}">
                <a16:creationId xmlns:a16="http://schemas.microsoft.com/office/drawing/2014/main" id="{8E467C40-A85F-485E-9C72-188640D3342B}"/>
              </a:ext>
            </a:extLst>
          </p:cNvPr>
          <p:cNvSpPr txBox="1">
            <a:spLocks/>
          </p:cNvSpPr>
          <p:nvPr/>
        </p:nvSpPr>
        <p:spPr>
          <a:xfrm>
            <a:off x="7068207" y="1383135"/>
            <a:ext cx="1499037" cy="1155253"/>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r>
              <a:rPr lang="en-US" b="1" dirty="0">
                <a:solidFill>
                  <a:schemeClr val="accent2"/>
                </a:solidFill>
              </a:rPr>
              <a:t>Text only </a:t>
            </a:r>
          </a:p>
          <a:p>
            <a:r>
              <a:rPr lang="en-US" sz="1600" dirty="0">
                <a:solidFill>
                  <a:schemeClr val="accent2"/>
                </a:solidFill>
              </a:rPr>
              <a:t>(no voice)</a:t>
            </a:r>
          </a:p>
          <a:p>
            <a:pPr marL="285750" indent="-285750">
              <a:buFont typeface="Arial" panose="020B0604020202020204" pitchFamily="34" charset="0"/>
              <a:buChar char="•"/>
            </a:pPr>
            <a:endParaRPr lang="en-US" sz="1600" dirty="0"/>
          </a:p>
        </p:txBody>
      </p:sp>
      <p:cxnSp>
        <p:nvCxnSpPr>
          <p:cNvPr id="7" name="Connecteur droit 6">
            <a:extLst>
              <a:ext uri="{FF2B5EF4-FFF2-40B4-BE49-F238E27FC236}">
                <a16:creationId xmlns:a16="http://schemas.microsoft.com/office/drawing/2014/main" id="{4A1577FB-1683-48D2-9F1B-147E5C92777E}"/>
              </a:ext>
            </a:extLst>
          </p:cNvPr>
          <p:cNvCxnSpPr>
            <a:cxnSpLocks/>
          </p:cNvCxnSpPr>
          <p:nvPr/>
        </p:nvCxnSpPr>
        <p:spPr>
          <a:xfrm>
            <a:off x="4641665" y="404019"/>
            <a:ext cx="2197" cy="4625466"/>
          </a:xfrm>
          <a:prstGeom prst="line">
            <a:avLst/>
          </a:prstGeom>
          <a:ln w="381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Connecteur droit 7">
            <a:extLst>
              <a:ext uri="{FF2B5EF4-FFF2-40B4-BE49-F238E27FC236}">
                <a16:creationId xmlns:a16="http://schemas.microsoft.com/office/drawing/2014/main" id="{252B269D-D6EC-4D60-B5DF-70FF723CE8EE}"/>
              </a:ext>
            </a:extLst>
          </p:cNvPr>
          <p:cNvCxnSpPr>
            <a:cxnSpLocks/>
          </p:cNvCxnSpPr>
          <p:nvPr/>
        </p:nvCxnSpPr>
        <p:spPr>
          <a:xfrm>
            <a:off x="2678346" y="454224"/>
            <a:ext cx="4534" cy="4562721"/>
          </a:xfrm>
          <a:prstGeom prst="line">
            <a:avLst/>
          </a:prstGeom>
          <a:ln w="381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9" name="ZoneTexte 8">
            <a:extLst>
              <a:ext uri="{FF2B5EF4-FFF2-40B4-BE49-F238E27FC236}">
                <a16:creationId xmlns:a16="http://schemas.microsoft.com/office/drawing/2014/main" id="{CB80E31B-0F8F-4011-8CA4-680C9A33E8F5}"/>
              </a:ext>
            </a:extLst>
          </p:cNvPr>
          <p:cNvSpPr txBox="1"/>
          <p:nvPr/>
        </p:nvSpPr>
        <p:spPr>
          <a:xfrm>
            <a:off x="134214" y="4750774"/>
            <a:ext cx="2490368" cy="369498"/>
          </a:xfrm>
          <a:prstGeom prst="rect">
            <a:avLst/>
          </a:prstGeom>
          <a:solidFill>
            <a:schemeClr val="bg2"/>
          </a:solidFill>
          <a:ln>
            <a:noFill/>
          </a:ln>
        </p:spPr>
        <p:txBody>
          <a:bodyPr wrap="square" lIns="96000" tIns="96000" rIns="96000" bIns="96000" rtlCol="0" anchor="ctr">
            <a:noAutofit/>
          </a:bodyPr>
          <a:lstStyle>
            <a:defPPr>
              <a:defRPr lang="pt-PT"/>
            </a:defPPr>
            <a:lvl1pPr algn="ctr">
              <a:lnSpc>
                <a:spcPct val="120000"/>
              </a:lnSpc>
              <a:spcAft>
                <a:spcPts val="600"/>
              </a:spcAft>
              <a:defRPr sz="1000">
                <a:solidFill>
                  <a:schemeClr val="accent2"/>
                </a:solidFill>
              </a:defRPr>
            </a:lvl1pPr>
          </a:lstStyle>
          <a:p>
            <a:pPr algn="r" defTabSz="914377">
              <a:spcAft>
                <a:spcPts val="800"/>
              </a:spcAft>
            </a:pPr>
            <a:r>
              <a:rPr lang="en-GB" sz="1100" b="1" dirty="0">
                <a:solidFill>
                  <a:schemeClr val="bg1">
                    <a:lumMod val="50000"/>
                  </a:schemeClr>
                </a:solidFill>
              </a:rPr>
              <a:t>DIALOG MANAGEMENT</a:t>
            </a:r>
          </a:p>
        </p:txBody>
      </p:sp>
      <p:sp>
        <p:nvSpPr>
          <p:cNvPr id="10" name="ZoneTexte 9">
            <a:extLst>
              <a:ext uri="{FF2B5EF4-FFF2-40B4-BE49-F238E27FC236}">
                <a16:creationId xmlns:a16="http://schemas.microsoft.com/office/drawing/2014/main" id="{E2EF508F-FAF8-434A-9B36-E0A6257A350D}"/>
              </a:ext>
            </a:extLst>
          </p:cNvPr>
          <p:cNvSpPr txBox="1"/>
          <p:nvPr/>
        </p:nvSpPr>
        <p:spPr>
          <a:xfrm>
            <a:off x="2822244" y="4644581"/>
            <a:ext cx="1802024" cy="545463"/>
          </a:xfrm>
          <a:prstGeom prst="rect">
            <a:avLst/>
          </a:prstGeom>
          <a:noFill/>
          <a:ln>
            <a:noFill/>
          </a:ln>
        </p:spPr>
        <p:txBody>
          <a:bodyPr wrap="square" lIns="96000" tIns="96000" rIns="96000" bIns="96000" rtlCol="0" anchor="ctr">
            <a:noAutofit/>
          </a:bodyPr>
          <a:lstStyle>
            <a:defPPr>
              <a:defRPr lang="pt-PT"/>
            </a:defPPr>
            <a:lvl1pPr algn="ctr">
              <a:lnSpc>
                <a:spcPct val="120000"/>
              </a:lnSpc>
              <a:spcAft>
                <a:spcPts val="600"/>
              </a:spcAft>
              <a:defRPr sz="1000">
                <a:solidFill>
                  <a:schemeClr val="accent2"/>
                </a:solidFill>
              </a:defRPr>
            </a:lvl1pPr>
          </a:lstStyle>
          <a:p>
            <a:pPr defTabSz="914377">
              <a:spcAft>
                <a:spcPts val="800"/>
              </a:spcAft>
            </a:pPr>
            <a:r>
              <a:rPr lang="fr-FR" sz="1100" b="1" dirty="0">
                <a:solidFill>
                  <a:schemeClr val="bg1">
                    <a:lumMod val="50000"/>
                  </a:schemeClr>
                </a:solidFill>
              </a:rPr>
              <a:t>NLP</a:t>
            </a:r>
            <a:endParaRPr lang="en-GB" sz="1100" b="1" dirty="0" err="1">
              <a:solidFill>
                <a:schemeClr val="bg1">
                  <a:lumMod val="50000"/>
                </a:schemeClr>
              </a:solidFill>
            </a:endParaRPr>
          </a:p>
        </p:txBody>
      </p:sp>
      <p:sp>
        <p:nvSpPr>
          <p:cNvPr id="11" name="Rectangle 10">
            <a:extLst>
              <a:ext uri="{FF2B5EF4-FFF2-40B4-BE49-F238E27FC236}">
                <a16:creationId xmlns:a16="http://schemas.microsoft.com/office/drawing/2014/main" id="{02A7CDD2-FA95-4508-AAC2-F4C7A28C75BE}"/>
              </a:ext>
            </a:extLst>
          </p:cNvPr>
          <p:cNvSpPr/>
          <p:nvPr/>
        </p:nvSpPr>
        <p:spPr>
          <a:xfrm>
            <a:off x="1031221" y="545352"/>
            <a:ext cx="1020587" cy="9786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fr-FR" sz="1200" dirty="0">
                <a:solidFill>
                  <a:srgbClr val="FFFFFF"/>
                </a:solidFill>
              </a:rPr>
              <a:t>IVR</a:t>
            </a:r>
          </a:p>
          <a:p>
            <a:pPr algn="ctr" defTabSz="914377"/>
            <a:r>
              <a:rPr lang="fr-FR" sz="1200" dirty="0">
                <a:solidFill>
                  <a:srgbClr val="FFFFFF"/>
                </a:solidFill>
              </a:rPr>
              <a:t>application</a:t>
            </a:r>
          </a:p>
        </p:txBody>
      </p:sp>
      <p:sp>
        <p:nvSpPr>
          <p:cNvPr id="12" name="Rectangle 11">
            <a:extLst>
              <a:ext uri="{FF2B5EF4-FFF2-40B4-BE49-F238E27FC236}">
                <a16:creationId xmlns:a16="http://schemas.microsoft.com/office/drawing/2014/main" id="{65366C44-506A-47A5-A26C-7F6DA8363E50}"/>
              </a:ext>
            </a:extLst>
          </p:cNvPr>
          <p:cNvSpPr/>
          <p:nvPr/>
        </p:nvSpPr>
        <p:spPr>
          <a:xfrm>
            <a:off x="1031221" y="3515835"/>
            <a:ext cx="1396892" cy="79519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fr-FR" sz="1200" dirty="0" err="1">
                <a:solidFill>
                  <a:srgbClr val="FFFFFF"/>
                </a:solidFill>
                <a:latin typeface="Verdana"/>
              </a:rPr>
              <a:t>Dialog</a:t>
            </a:r>
            <a:r>
              <a:rPr lang="fr-FR" sz="1200" dirty="0">
                <a:solidFill>
                  <a:srgbClr val="FFFFFF"/>
                </a:solidFill>
                <a:latin typeface="Verdana"/>
              </a:rPr>
              <a:t> Manager</a:t>
            </a:r>
          </a:p>
        </p:txBody>
      </p:sp>
      <p:sp>
        <p:nvSpPr>
          <p:cNvPr id="13" name="Rectangle 12">
            <a:extLst>
              <a:ext uri="{FF2B5EF4-FFF2-40B4-BE49-F238E27FC236}">
                <a16:creationId xmlns:a16="http://schemas.microsoft.com/office/drawing/2014/main" id="{367DE11F-39E2-459E-B32B-AE69F7A4596C}"/>
              </a:ext>
            </a:extLst>
          </p:cNvPr>
          <p:cNvSpPr/>
          <p:nvPr/>
        </p:nvSpPr>
        <p:spPr>
          <a:xfrm>
            <a:off x="4719794" y="4368245"/>
            <a:ext cx="1101471" cy="43413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fr-FR" sz="1200" dirty="0">
                <a:solidFill>
                  <a:srgbClr val="FFFFFF"/>
                </a:solidFill>
                <a:latin typeface="Verdana"/>
              </a:rPr>
              <a:t>Admin UI </a:t>
            </a:r>
          </a:p>
        </p:txBody>
      </p:sp>
      <p:sp>
        <p:nvSpPr>
          <p:cNvPr id="14" name="Rectangle 13">
            <a:extLst>
              <a:ext uri="{FF2B5EF4-FFF2-40B4-BE49-F238E27FC236}">
                <a16:creationId xmlns:a16="http://schemas.microsoft.com/office/drawing/2014/main" id="{F3DCCB81-3ACF-406C-853F-6D32FDC9768C}"/>
              </a:ext>
            </a:extLst>
          </p:cNvPr>
          <p:cNvSpPr/>
          <p:nvPr/>
        </p:nvSpPr>
        <p:spPr>
          <a:xfrm>
            <a:off x="3091965" y="569082"/>
            <a:ext cx="1434508" cy="414685"/>
          </a:xfrm>
          <a:prstGeom prst="rect">
            <a:avLst/>
          </a:prstGeom>
          <a:solidFill>
            <a:schemeClr val="accent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r>
              <a:rPr lang="fr-FR" sz="1200" dirty="0">
                <a:solidFill>
                  <a:srgbClr val="FFFFFF"/>
                </a:solidFill>
              </a:rPr>
              <a:t>ASR Nuance NR9</a:t>
            </a:r>
            <a:endParaRPr lang="en-GB" sz="1200" dirty="0">
              <a:solidFill>
                <a:srgbClr val="FFFFFF"/>
              </a:solidFill>
            </a:endParaRPr>
          </a:p>
        </p:txBody>
      </p:sp>
      <p:sp>
        <p:nvSpPr>
          <p:cNvPr id="15" name="Rectangle 14">
            <a:extLst>
              <a:ext uri="{FF2B5EF4-FFF2-40B4-BE49-F238E27FC236}">
                <a16:creationId xmlns:a16="http://schemas.microsoft.com/office/drawing/2014/main" id="{21813E15-A07E-400F-87F0-755C3861778E}"/>
              </a:ext>
            </a:extLst>
          </p:cNvPr>
          <p:cNvSpPr/>
          <p:nvPr/>
        </p:nvSpPr>
        <p:spPr>
          <a:xfrm>
            <a:off x="3157927" y="1581163"/>
            <a:ext cx="1434508" cy="40520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fr-FR" sz="1200" dirty="0">
                <a:solidFill>
                  <a:srgbClr val="FFFFFF"/>
                </a:solidFill>
              </a:rPr>
              <a:t>ASR Nuance NR11</a:t>
            </a:r>
            <a:endParaRPr lang="en-GB" sz="1200" dirty="0">
              <a:solidFill>
                <a:srgbClr val="FFFFFF"/>
              </a:solidFill>
            </a:endParaRPr>
          </a:p>
        </p:txBody>
      </p:sp>
      <p:sp>
        <p:nvSpPr>
          <p:cNvPr id="16" name="Rectangle 15">
            <a:extLst>
              <a:ext uri="{FF2B5EF4-FFF2-40B4-BE49-F238E27FC236}">
                <a16:creationId xmlns:a16="http://schemas.microsoft.com/office/drawing/2014/main" id="{47380308-1ED7-472F-9878-215D17C42DE9}"/>
              </a:ext>
            </a:extLst>
          </p:cNvPr>
          <p:cNvSpPr/>
          <p:nvPr/>
        </p:nvSpPr>
        <p:spPr>
          <a:xfrm>
            <a:off x="3112147" y="1069877"/>
            <a:ext cx="1434508" cy="296258"/>
          </a:xfrm>
          <a:prstGeom prst="rect">
            <a:avLst/>
          </a:prstGeom>
          <a:solidFill>
            <a:schemeClr val="accent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r>
              <a:rPr lang="fr-FR" sz="1200" dirty="0">
                <a:solidFill>
                  <a:srgbClr val="FFFFFF"/>
                </a:solidFill>
              </a:rPr>
              <a:t>TTS </a:t>
            </a:r>
            <a:r>
              <a:rPr lang="fr-FR" sz="1200">
                <a:solidFill>
                  <a:srgbClr val="FFFFFF"/>
                </a:solidFill>
              </a:rPr>
              <a:t>Acapela 7</a:t>
            </a:r>
            <a:endParaRPr lang="en-GB" sz="1200" dirty="0">
              <a:solidFill>
                <a:srgbClr val="FFFFFF"/>
              </a:solidFill>
            </a:endParaRPr>
          </a:p>
        </p:txBody>
      </p:sp>
      <p:sp>
        <p:nvSpPr>
          <p:cNvPr id="17" name="Rectangle 16">
            <a:extLst>
              <a:ext uri="{FF2B5EF4-FFF2-40B4-BE49-F238E27FC236}">
                <a16:creationId xmlns:a16="http://schemas.microsoft.com/office/drawing/2014/main" id="{9E984F6E-1512-4005-B362-47AD2677C8EF}"/>
              </a:ext>
            </a:extLst>
          </p:cNvPr>
          <p:cNvSpPr/>
          <p:nvPr/>
        </p:nvSpPr>
        <p:spPr>
          <a:xfrm>
            <a:off x="3151518" y="2016337"/>
            <a:ext cx="1440918" cy="38494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fr-FR" sz="1200" dirty="0">
                <a:solidFill>
                  <a:srgbClr val="FFFFFF"/>
                </a:solidFill>
              </a:rPr>
              <a:t>TTS Acapela 8.2</a:t>
            </a:r>
          </a:p>
        </p:txBody>
      </p:sp>
      <p:sp>
        <p:nvSpPr>
          <p:cNvPr id="18" name="Rectangle 17">
            <a:extLst>
              <a:ext uri="{FF2B5EF4-FFF2-40B4-BE49-F238E27FC236}">
                <a16:creationId xmlns:a16="http://schemas.microsoft.com/office/drawing/2014/main" id="{45E88FFE-3DB6-40C2-BB79-2593B9EC60CB}"/>
              </a:ext>
            </a:extLst>
          </p:cNvPr>
          <p:cNvSpPr/>
          <p:nvPr/>
        </p:nvSpPr>
        <p:spPr>
          <a:xfrm>
            <a:off x="2096393" y="545353"/>
            <a:ext cx="312028" cy="9779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fr-FR" sz="1200" dirty="0">
              <a:solidFill>
                <a:srgbClr val="FFFFFF"/>
              </a:solidFill>
            </a:endParaRPr>
          </a:p>
        </p:txBody>
      </p:sp>
      <p:sp>
        <p:nvSpPr>
          <p:cNvPr id="19" name="Rectangle 18">
            <a:extLst>
              <a:ext uri="{FF2B5EF4-FFF2-40B4-BE49-F238E27FC236}">
                <a16:creationId xmlns:a16="http://schemas.microsoft.com/office/drawing/2014/main" id="{B97991E4-2F32-4B62-965E-381ADB320E91}"/>
              </a:ext>
            </a:extLst>
          </p:cNvPr>
          <p:cNvSpPr/>
          <p:nvPr/>
        </p:nvSpPr>
        <p:spPr>
          <a:xfrm>
            <a:off x="4719794" y="429066"/>
            <a:ext cx="1007844" cy="6041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r>
              <a:rPr lang="fr-FR" sz="1200" dirty="0">
                <a:solidFill>
                  <a:srgbClr val="FFFFFF"/>
                </a:solidFill>
              </a:rPr>
              <a:t>GW</a:t>
            </a:r>
          </a:p>
          <a:p>
            <a:pPr algn="ctr" defTabSz="914377"/>
            <a:r>
              <a:rPr lang="fr-FR" sz="1200" dirty="0">
                <a:solidFill>
                  <a:srgbClr val="FFFFFF"/>
                </a:solidFill>
              </a:rPr>
              <a:t>Proxy</a:t>
            </a:r>
          </a:p>
        </p:txBody>
      </p:sp>
      <p:sp>
        <p:nvSpPr>
          <p:cNvPr id="20" name="Rectangle 19">
            <a:extLst>
              <a:ext uri="{FF2B5EF4-FFF2-40B4-BE49-F238E27FC236}">
                <a16:creationId xmlns:a16="http://schemas.microsoft.com/office/drawing/2014/main" id="{E6E27B24-EF85-4447-9FAA-29AE840F1A89}"/>
              </a:ext>
            </a:extLst>
          </p:cNvPr>
          <p:cNvSpPr/>
          <p:nvPr/>
        </p:nvSpPr>
        <p:spPr>
          <a:xfrm>
            <a:off x="4710559" y="1081080"/>
            <a:ext cx="1007844" cy="6041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r>
              <a:rPr lang="fr-FR" sz="1200" dirty="0">
                <a:solidFill>
                  <a:srgbClr val="FFFFFF"/>
                </a:solidFill>
              </a:rPr>
              <a:t>IVR designer</a:t>
            </a:r>
          </a:p>
        </p:txBody>
      </p:sp>
      <p:sp>
        <p:nvSpPr>
          <p:cNvPr id="21" name="Rectangle 20">
            <a:extLst>
              <a:ext uri="{FF2B5EF4-FFF2-40B4-BE49-F238E27FC236}">
                <a16:creationId xmlns:a16="http://schemas.microsoft.com/office/drawing/2014/main" id="{F567702A-8A98-4A03-ACF2-0727987B4981}"/>
              </a:ext>
            </a:extLst>
          </p:cNvPr>
          <p:cNvSpPr/>
          <p:nvPr/>
        </p:nvSpPr>
        <p:spPr>
          <a:xfrm>
            <a:off x="3157926" y="2421604"/>
            <a:ext cx="1448945" cy="38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fr-FR" sz="1200" dirty="0">
                <a:solidFill>
                  <a:srgbClr val="FFFFFF"/>
                </a:solidFill>
              </a:rPr>
              <a:t>STT Google</a:t>
            </a:r>
            <a:endParaRPr lang="en-GB" sz="1200" dirty="0">
              <a:solidFill>
                <a:srgbClr val="FFFFFF"/>
              </a:solidFill>
            </a:endParaRPr>
          </a:p>
        </p:txBody>
      </p:sp>
      <p:sp>
        <p:nvSpPr>
          <p:cNvPr id="22" name="Rectangle 21">
            <a:extLst>
              <a:ext uri="{FF2B5EF4-FFF2-40B4-BE49-F238E27FC236}">
                <a16:creationId xmlns:a16="http://schemas.microsoft.com/office/drawing/2014/main" id="{57FBF122-D835-4D0C-8E65-357662CA8E37}"/>
              </a:ext>
            </a:extLst>
          </p:cNvPr>
          <p:cNvSpPr/>
          <p:nvPr/>
        </p:nvSpPr>
        <p:spPr>
          <a:xfrm>
            <a:off x="3151517" y="2841433"/>
            <a:ext cx="1455353" cy="38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fr-FR" sz="1200" dirty="0">
                <a:solidFill>
                  <a:srgbClr val="FFFFFF"/>
                </a:solidFill>
              </a:rPr>
              <a:t>TTS Google</a:t>
            </a:r>
          </a:p>
        </p:txBody>
      </p:sp>
      <p:sp>
        <p:nvSpPr>
          <p:cNvPr id="23" name="Rectangle 22">
            <a:extLst>
              <a:ext uri="{FF2B5EF4-FFF2-40B4-BE49-F238E27FC236}">
                <a16:creationId xmlns:a16="http://schemas.microsoft.com/office/drawing/2014/main" id="{7965C701-2FAF-48FD-89F7-4A3693249BAE}"/>
              </a:ext>
            </a:extLst>
          </p:cNvPr>
          <p:cNvSpPr/>
          <p:nvPr/>
        </p:nvSpPr>
        <p:spPr>
          <a:xfrm rot="16200000">
            <a:off x="2140425" y="2276639"/>
            <a:ext cx="1622395" cy="2751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fr-FR" sz="1200" dirty="0">
              <a:solidFill>
                <a:srgbClr val="FFFFFF"/>
              </a:solidFill>
            </a:endParaRPr>
          </a:p>
        </p:txBody>
      </p:sp>
      <p:sp>
        <p:nvSpPr>
          <p:cNvPr id="24" name="Rectangle 23">
            <a:extLst>
              <a:ext uri="{FF2B5EF4-FFF2-40B4-BE49-F238E27FC236}">
                <a16:creationId xmlns:a16="http://schemas.microsoft.com/office/drawing/2014/main" id="{371594AB-E11F-484E-93FB-61510AF7ED84}"/>
              </a:ext>
            </a:extLst>
          </p:cNvPr>
          <p:cNvSpPr/>
          <p:nvPr/>
        </p:nvSpPr>
        <p:spPr>
          <a:xfrm>
            <a:off x="1031221" y="4364882"/>
            <a:ext cx="1399346" cy="4083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fr-FR" sz="1333" dirty="0">
                <a:solidFill>
                  <a:srgbClr val="FFFFFF"/>
                </a:solidFill>
                <a:latin typeface="Verdana"/>
              </a:rPr>
              <a:t>DialogFlow Connector</a:t>
            </a:r>
          </a:p>
        </p:txBody>
      </p:sp>
      <p:cxnSp>
        <p:nvCxnSpPr>
          <p:cNvPr id="25" name="Connecteur droit avec flèche 24">
            <a:extLst>
              <a:ext uri="{FF2B5EF4-FFF2-40B4-BE49-F238E27FC236}">
                <a16:creationId xmlns:a16="http://schemas.microsoft.com/office/drawing/2014/main" id="{D4CAFDDC-0468-48C8-902F-100C8CCF867D}"/>
              </a:ext>
            </a:extLst>
          </p:cNvPr>
          <p:cNvCxnSpPr>
            <a:cxnSpLocks/>
            <a:endCxn id="11" idx="1"/>
          </p:cNvCxnSpPr>
          <p:nvPr/>
        </p:nvCxnSpPr>
        <p:spPr>
          <a:xfrm>
            <a:off x="640226" y="1034682"/>
            <a:ext cx="39099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Connecteur droit avec flèche 25">
            <a:extLst>
              <a:ext uri="{FF2B5EF4-FFF2-40B4-BE49-F238E27FC236}">
                <a16:creationId xmlns:a16="http://schemas.microsoft.com/office/drawing/2014/main" id="{634EC24D-4C70-4A1B-AED9-013AA0871F37}"/>
              </a:ext>
            </a:extLst>
          </p:cNvPr>
          <p:cNvCxnSpPr>
            <a:cxnSpLocks/>
            <a:endCxn id="27" idx="1"/>
          </p:cNvCxnSpPr>
          <p:nvPr/>
        </p:nvCxnSpPr>
        <p:spPr>
          <a:xfrm>
            <a:off x="755283" y="3372015"/>
            <a:ext cx="27593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214E10A6-5E97-4266-B8D8-9FF0C5CF56B3}"/>
              </a:ext>
            </a:extLst>
          </p:cNvPr>
          <p:cNvSpPr/>
          <p:nvPr/>
        </p:nvSpPr>
        <p:spPr>
          <a:xfrm>
            <a:off x="1031221" y="3284160"/>
            <a:ext cx="1386607" cy="17571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200" dirty="0">
              <a:solidFill>
                <a:srgbClr val="FFFFFF"/>
              </a:solidFill>
              <a:latin typeface="Verdana"/>
            </a:endParaRPr>
          </a:p>
        </p:txBody>
      </p:sp>
      <p:sp>
        <p:nvSpPr>
          <p:cNvPr id="28" name="Rectangle 27">
            <a:extLst>
              <a:ext uri="{FF2B5EF4-FFF2-40B4-BE49-F238E27FC236}">
                <a16:creationId xmlns:a16="http://schemas.microsoft.com/office/drawing/2014/main" id="{ED80B14E-2E22-4C84-A375-3A5E6528CFCE}"/>
              </a:ext>
            </a:extLst>
          </p:cNvPr>
          <p:cNvSpPr/>
          <p:nvPr/>
        </p:nvSpPr>
        <p:spPr>
          <a:xfrm>
            <a:off x="1031221" y="1566062"/>
            <a:ext cx="1377199" cy="431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fr-FR" sz="1200" dirty="0">
              <a:solidFill>
                <a:srgbClr val="FFFFFF"/>
              </a:solidFill>
            </a:endParaRPr>
          </a:p>
        </p:txBody>
      </p:sp>
      <p:cxnSp>
        <p:nvCxnSpPr>
          <p:cNvPr id="29" name="Connecteur : en angle 28">
            <a:extLst>
              <a:ext uri="{FF2B5EF4-FFF2-40B4-BE49-F238E27FC236}">
                <a16:creationId xmlns:a16="http://schemas.microsoft.com/office/drawing/2014/main" id="{6480D3BC-B367-49CD-A672-FC56325986ED}"/>
              </a:ext>
            </a:extLst>
          </p:cNvPr>
          <p:cNvCxnSpPr>
            <a:cxnSpLocks/>
            <a:stCxn id="12" idx="3"/>
          </p:cNvCxnSpPr>
          <p:nvPr/>
        </p:nvCxnSpPr>
        <p:spPr>
          <a:xfrm flipV="1">
            <a:off x="2428113" y="3907487"/>
            <a:ext cx="2302165" cy="594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262803A6-8D27-48BA-A8DA-72CDE74C1013}"/>
              </a:ext>
            </a:extLst>
          </p:cNvPr>
          <p:cNvSpPr/>
          <p:nvPr/>
        </p:nvSpPr>
        <p:spPr>
          <a:xfrm>
            <a:off x="3157925" y="3549499"/>
            <a:ext cx="1424997" cy="72471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fr-FR" sz="1200" dirty="0">
                <a:solidFill>
                  <a:srgbClr val="FFFFFF"/>
                </a:solidFill>
                <a:latin typeface="Verdana"/>
              </a:rPr>
              <a:t>NLU</a:t>
            </a:r>
          </a:p>
        </p:txBody>
      </p:sp>
      <p:sp>
        <p:nvSpPr>
          <p:cNvPr id="31" name="Rectangle 30">
            <a:extLst>
              <a:ext uri="{FF2B5EF4-FFF2-40B4-BE49-F238E27FC236}">
                <a16:creationId xmlns:a16="http://schemas.microsoft.com/office/drawing/2014/main" id="{D8C49D48-92B6-447D-B991-8254CB2CF622}"/>
              </a:ext>
            </a:extLst>
          </p:cNvPr>
          <p:cNvSpPr/>
          <p:nvPr/>
        </p:nvSpPr>
        <p:spPr>
          <a:xfrm>
            <a:off x="4719795" y="3859214"/>
            <a:ext cx="1103432" cy="49268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fr-FR" sz="1200" dirty="0">
                <a:solidFill>
                  <a:srgbClr val="FFFFFF"/>
                </a:solidFill>
                <a:latin typeface="Verdana"/>
              </a:rPr>
              <a:t>Q&amp;A repository</a:t>
            </a:r>
          </a:p>
        </p:txBody>
      </p:sp>
      <p:sp>
        <p:nvSpPr>
          <p:cNvPr id="32" name="Rectangle 31">
            <a:extLst>
              <a:ext uri="{FF2B5EF4-FFF2-40B4-BE49-F238E27FC236}">
                <a16:creationId xmlns:a16="http://schemas.microsoft.com/office/drawing/2014/main" id="{02AB4F33-0AC5-40A6-8AAF-238562B35A1A}"/>
              </a:ext>
            </a:extLst>
          </p:cNvPr>
          <p:cNvSpPr/>
          <p:nvPr/>
        </p:nvSpPr>
        <p:spPr>
          <a:xfrm>
            <a:off x="4719794" y="3312090"/>
            <a:ext cx="1101471" cy="49734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fr-FR" sz="1200" dirty="0">
                <a:solidFill>
                  <a:srgbClr val="FFFFFF"/>
                </a:solidFill>
                <a:latin typeface="Verdana"/>
              </a:rPr>
              <a:t>Backend Connector </a:t>
            </a:r>
          </a:p>
        </p:txBody>
      </p:sp>
      <p:cxnSp>
        <p:nvCxnSpPr>
          <p:cNvPr id="33" name="Connecteur droit avec flèche 32">
            <a:extLst>
              <a:ext uri="{FF2B5EF4-FFF2-40B4-BE49-F238E27FC236}">
                <a16:creationId xmlns:a16="http://schemas.microsoft.com/office/drawing/2014/main" id="{8E2C7473-EB71-404F-9291-42D84F3BA6EB}"/>
              </a:ext>
            </a:extLst>
          </p:cNvPr>
          <p:cNvCxnSpPr>
            <a:cxnSpLocks/>
            <a:stCxn id="11" idx="3"/>
          </p:cNvCxnSpPr>
          <p:nvPr/>
        </p:nvCxnSpPr>
        <p:spPr>
          <a:xfrm flipV="1">
            <a:off x="2051808" y="1028735"/>
            <a:ext cx="2667986" cy="59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42" name="Image 41" descr="Une image contenant objet&#10;&#10;Description générée avec un niveau de confiance élevé">
            <a:extLst>
              <a:ext uri="{FF2B5EF4-FFF2-40B4-BE49-F238E27FC236}">
                <a16:creationId xmlns:a16="http://schemas.microsoft.com/office/drawing/2014/main" id="{E314907B-AD2E-4B87-9B32-E70F266547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0182" y="3786137"/>
            <a:ext cx="488199" cy="488199"/>
          </a:xfrm>
          <a:prstGeom prst="rect">
            <a:avLst/>
          </a:prstGeom>
        </p:spPr>
      </p:pic>
      <p:pic>
        <p:nvPicPr>
          <p:cNvPr id="43" name="Image 42">
            <a:extLst>
              <a:ext uri="{FF2B5EF4-FFF2-40B4-BE49-F238E27FC236}">
                <a16:creationId xmlns:a16="http://schemas.microsoft.com/office/drawing/2014/main" id="{5C4E710F-EDA2-4CEF-934E-3A0F4607F9DA}"/>
              </a:ext>
            </a:extLst>
          </p:cNvPr>
          <p:cNvPicPr>
            <a:picLocks noChangeAspect="1"/>
          </p:cNvPicPr>
          <p:nvPr/>
        </p:nvPicPr>
        <p:blipFill>
          <a:blip r:embed="rId3"/>
          <a:stretch>
            <a:fillRect/>
          </a:stretch>
        </p:blipFill>
        <p:spPr>
          <a:xfrm>
            <a:off x="167213" y="4383662"/>
            <a:ext cx="434137" cy="434137"/>
          </a:xfrm>
          <a:prstGeom prst="rect">
            <a:avLst/>
          </a:prstGeom>
        </p:spPr>
      </p:pic>
      <p:pic>
        <p:nvPicPr>
          <p:cNvPr id="44" name="Graphique 43" descr="Combiné">
            <a:extLst>
              <a:ext uri="{FF2B5EF4-FFF2-40B4-BE49-F238E27FC236}">
                <a16:creationId xmlns:a16="http://schemas.microsoft.com/office/drawing/2014/main" id="{464F99FD-F9B0-4702-B237-50909A2495E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3729" y="637476"/>
            <a:ext cx="574600" cy="574600"/>
          </a:xfrm>
          <a:prstGeom prst="rect">
            <a:avLst/>
          </a:prstGeom>
        </p:spPr>
      </p:pic>
      <p:pic>
        <p:nvPicPr>
          <p:cNvPr id="45" name="Graphique 44" descr="Smartphone">
            <a:extLst>
              <a:ext uri="{FF2B5EF4-FFF2-40B4-BE49-F238E27FC236}">
                <a16:creationId xmlns:a16="http://schemas.microsoft.com/office/drawing/2014/main" id="{0E6FA066-96A4-4DC7-BBC2-81DE82AA13E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0182" y="3225433"/>
            <a:ext cx="488199" cy="488199"/>
          </a:xfrm>
          <a:prstGeom prst="rect">
            <a:avLst/>
          </a:prstGeom>
        </p:spPr>
      </p:pic>
      <p:pic>
        <p:nvPicPr>
          <p:cNvPr id="46" name="Image 45">
            <a:extLst>
              <a:ext uri="{FF2B5EF4-FFF2-40B4-BE49-F238E27FC236}">
                <a16:creationId xmlns:a16="http://schemas.microsoft.com/office/drawing/2014/main" id="{EB905E9F-7C05-4C11-A2E6-B9272D591108}"/>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18415" y="2571293"/>
            <a:ext cx="531733" cy="531733"/>
          </a:xfrm>
          <a:prstGeom prst="rect">
            <a:avLst/>
          </a:prstGeom>
        </p:spPr>
      </p:pic>
      <p:cxnSp>
        <p:nvCxnSpPr>
          <p:cNvPr id="47" name="Connecteur droit avec flèche 46">
            <a:extLst>
              <a:ext uri="{FF2B5EF4-FFF2-40B4-BE49-F238E27FC236}">
                <a16:creationId xmlns:a16="http://schemas.microsoft.com/office/drawing/2014/main" id="{01D8E7C2-ED35-4644-9F14-D7215E0D2E9A}"/>
              </a:ext>
            </a:extLst>
          </p:cNvPr>
          <p:cNvCxnSpPr>
            <a:cxnSpLocks/>
            <a:endCxn id="27" idx="0"/>
          </p:cNvCxnSpPr>
          <p:nvPr/>
        </p:nvCxnSpPr>
        <p:spPr>
          <a:xfrm flipH="1">
            <a:off x="1724525" y="1986365"/>
            <a:ext cx="10590" cy="1297795"/>
          </a:xfrm>
          <a:prstGeom prst="straightConnector1">
            <a:avLst/>
          </a:prstGeom>
          <a:ln>
            <a:solidFill>
              <a:srgbClr val="FF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Connecteur droit avec flèche 47">
            <a:extLst>
              <a:ext uri="{FF2B5EF4-FFF2-40B4-BE49-F238E27FC236}">
                <a16:creationId xmlns:a16="http://schemas.microsoft.com/office/drawing/2014/main" id="{74B4F03E-6A65-42F0-AE50-FCBD1FAD0F67}"/>
              </a:ext>
            </a:extLst>
          </p:cNvPr>
          <p:cNvCxnSpPr>
            <a:cxnSpLocks/>
            <a:stCxn id="28" idx="3"/>
          </p:cNvCxnSpPr>
          <p:nvPr/>
        </p:nvCxnSpPr>
        <p:spPr>
          <a:xfrm>
            <a:off x="2408420" y="1782062"/>
            <a:ext cx="388031" cy="1577"/>
          </a:xfrm>
          <a:prstGeom prst="straightConnector1">
            <a:avLst/>
          </a:prstGeom>
          <a:ln>
            <a:solidFill>
              <a:srgbClr val="FF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 name="ZoneTexte 48">
            <a:extLst>
              <a:ext uri="{FF2B5EF4-FFF2-40B4-BE49-F238E27FC236}">
                <a16:creationId xmlns:a16="http://schemas.microsoft.com/office/drawing/2014/main" id="{84A87B9B-9A3A-4380-96FD-71C37976D86A}"/>
              </a:ext>
            </a:extLst>
          </p:cNvPr>
          <p:cNvSpPr txBox="1"/>
          <p:nvPr/>
        </p:nvSpPr>
        <p:spPr>
          <a:xfrm>
            <a:off x="4592435" y="4650882"/>
            <a:ext cx="1781831" cy="557139"/>
          </a:xfrm>
          <a:prstGeom prst="rect">
            <a:avLst/>
          </a:prstGeom>
          <a:noFill/>
          <a:ln>
            <a:noFill/>
          </a:ln>
        </p:spPr>
        <p:txBody>
          <a:bodyPr wrap="square" lIns="96000" tIns="96000" rIns="96000" bIns="96000" rtlCol="0" anchor="ctr">
            <a:noAutofit/>
          </a:bodyPr>
          <a:lstStyle>
            <a:defPPr>
              <a:defRPr lang="fr-FR"/>
            </a:defPPr>
            <a:lvl1pPr algn="ctr" defTabSz="914377">
              <a:lnSpc>
                <a:spcPct val="100000"/>
              </a:lnSpc>
              <a:spcAft>
                <a:spcPts val="800"/>
              </a:spcAft>
              <a:defRPr sz="1100" b="1">
                <a:solidFill>
                  <a:srgbClr val="FFFFFF"/>
                </a:solidFill>
              </a:defRPr>
            </a:lvl1pPr>
          </a:lstStyle>
          <a:p>
            <a:r>
              <a:rPr lang="en-GB" dirty="0">
                <a:solidFill>
                  <a:schemeClr val="bg1">
                    <a:lumMod val="50000"/>
                  </a:schemeClr>
                </a:solidFill>
              </a:rPr>
              <a:t>ADMIN &amp; BACKEND</a:t>
            </a:r>
          </a:p>
        </p:txBody>
      </p:sp>
      <p:grpSp>
        <p:nvGrpSpPr>
          <p:cNvPr id="50" name="Groupe 49">
            <a:extLst>
              <a:ext uri="{FF2B5EF4-FFF2-40B4-BE49-F238E27FC236}">
                <a16:creationId xmlns:a16="http://schemas.microsoft.com/office/drawing/2014/main" id="{389D872F-D064-4D30-8211-FFCC6F413D27}"/>
              </a:ext>
            </a:extLst>
          </p:cNvPr>
          <p:cNvGrpSpPr/>
          <p:nvPr/>
        </p:nvGrpSpPr>
        <p:grpSpPr>
          <a:xfrm>
            <a:off x="6607182" y="2834519"/>
            <a:ext cx="2416208" cy="1751525"/>
            <a:chOff x="6761018" y="4962941"/>
            <a:chExt cx="4024158" cy="1751525"/>
          </a:xfrm>
        </p:grpSpPr>
        <p:sp>
          <p:nvSpPr>
            <p:cNvPr id="51" name="Rectangle 50">
              <a:extLst>
                <a:ext uri="{FF2B5EF4-FFF2-40B4-BE49-F238E27FC236}">
                  <a16:creationId xmlns:a16="http://schemas.microsoft.com/office/drawing/2014/main" id="{20E476DD-F25B-4571-ACCA-ADEEE72BB99D}"/>
                </a:ext>
              </a:extLst>
            </p:cNvPr>
            <p:cNvSpPr/>
            <p:nvPr/>
          </p:nvSpPr>
          <p:spPr>
            <a:xfrm>
              <a:off x="6761018" y="4962941"/>
              <a:ext cx="4024158" cy="92062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52" name="Groupe 51">
              <a:extLst>
                <a:ext uri="{FF2B5EF4-FFF2-40B4-BE49-F238E27FC236}">
                  <a16:creationId xmlns:a16="http://schemas.microsoft.com/office/drawing/2014/main" id="{F2989CE2-C2D0-47E2-88C8-BDD069F9A8AC}"/>
                </a:ext>
              </a:extLst>
            </p:cNvPr>
            <p:cNvGrpSpPr/>
            <p:nvPr/>
          </p:nvGrpSpPr>
          <p:grpSpPr>
            <a:xfrm>
              <a:off x="6838295" y="4982784"/>
              <a:ext cx="3826607" cy="1731682"/>
              <a:chOff x="7974428" y="4893545"/>
              <a:chExt cx="3826607" cy="1731682"/>
            </a:xfrm>
          </p:grpSpPr>
          <p:sp>
            <p:nvSpPr>
              <p:cNvPr id="53" name="Rectangle 52">
                <a:extLst>
                  <a:ext uri="{FF2B5EF4-FFF2-40B4-BE49-F238E27FC236}">
                    <a16:creationId xmlns:a16="http://schemas.microsoft.com/office/drawing/2014/main" id="{F13C0E99-84E7-4CA7-9529-B5B7ED52871E}"/>
                  </a:ext>
                </a:extLst>
              </p:cNvPr>
              <p:cNvSpPr/>
              <p:nvPr/>
            </p:nvSpPr>
            <p:spPr>
              <a:xfrm>
                <a:off x="7974428" y="5914879"/>
                <a:ext cx="276200" cy="14865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050">
                  <a:solidFill>
                    <a:srgbClr val="FFFFFF"/>
                  </a:solidFill>
                </a:endParaRPr>
              </a:p>
            </p:txBody>
          </p:sp>
          <p:sp>
            <p:nvSpPr>
              <p:cNvPr id="54" name="Rectangle 53">
                <a:extLst>
                  <a:ext uri="{FF2B5EF4-FFF2-40B4-BE49-F238E27FC236}">
                    <a16:creationId xmlns:a16="http://schemas.microsoft.com/office/drawing/2014/main" id="{5326D970-13B8-42C5-8BD8-515F382EDF39}"/>
                  </a:ext>
                </a:extLst>
              </p:cNvPr>
              <p:cNvSpPr/>
              <p:nvPr/>
            </p:nvSpPr>
            <p:spPr>
              <a:xfrm>
                <a:off x="7974428" y="5523659"/>
                <a:ext cx="276200" cy="1486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en-GB" sz="1050">
                  <a:solidFill>
                    <a:srgbClr val="FFFFFF"/>
                  </a:solidFill>
                </a:endParaRPr>
              </a:p>
            </p:txBody>
          </p:sp>
          <p:sp>
            <p:nvSpPr>
              <p:cNvPr id="55" name="Rectangle 54">
                <a:extLst>
                  <a:ext uri="{FF2B5EF4-FFF2-40B4-BE49-F238E27FC236}">
                    <a16:creationId xmlns:a16="http://schemas.microsoft.com/office/drawing/2014/main" id="{D2189EFC-0D24-4904-9670-67D528998C94}"/>
                  </a:ext>
                </a:extLst>
              </p:cNvPr>
              <p:cNvSpPr/>
              <p:nvPr/>
            </p:nvSpPr>
            <p:spPr>
              <a:xfrm>
                <a:off x="7974428" y="5269709"/>
                <a:ext cx="276200" cy="148650"/>
              </a:xfrm>
              <a:prstGeom prst="rect">
                <a:avLst/>
              </a:prstGeom>
              <a:solidFill>
                <a:schemeClr val="accent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en-GB" sz="1050">
                  <a:solidFill>
                    <a:srgbClr val="FFFFFF"/>
                  </a:solidFill>
                </a:endParaRPr>
              </a:p>
            </p:txBody>
          </p:sp>
          <p:sp>
            <p:nvSpPr>
              <p:cNvPr id="56" name="Rectangle 55">
                <a:extLst>
                  <a:ext uri="{FF2B5EF4-FFF2-40B4-BE49-F238E27FC236}">
                    <a16:creationId xmlns:a16="http://schemas.microsoft.com/office/drawing/2014/main" id="{A886E958-BC8D-45E7-97CF-7181708867E7}"/>
                  </a:ext>
                </a:extLst>
              </p:cNvPr>
              <p:cNvSpPr/>
              <p:nvPr/>
            </p:nvSpPr>
            <p:spPr>
              <a:xfrm>
                <a:off x="7974428" y="4997287"/>
                <a:ext cx="276200" cy="148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en-GB" sz="1050">
                  <a:solidFill>
                    <a:srgbClr val="FFFFFF"/>
                  </a:solidFill>
                </a:endParaRPr>
              </a:p>
            </p:txBody>
          </p:sp>
          <p:sp>
            <p:nvSpPr>
              <p:cNvPr id="57" name="ZoneTexte 56">
                <a:extLst>
                  <a:ext uri="{FF2B5EF4-FFF2-40B4-BE49-F238E27FC236}">
                    <a16:creationId xmlns:a16="http://schemas.microsoft.com/office/drawing/2014/main" id="{096C9C7E-D33E-4562-8F70-34C1D1F069DF}"/>
                  </a:ext>
                </a:extLst>
              </p:cNvPr>
              <p:cNvSpPr txBox="1"/>
              <p:nvPr/>
            </p:nvSpPr>
            <p:spPr>
              <a:xfrm>
                <a:off x="8400865" y="4893545"/>
                <a:ext cx="3117162" cy="828414"/>
              </a:xfrm>
              <a:prstGeom prst="rect">
                <a:avLst/>
              </a:prstGeom>
            </p:spPr>
            <p:txBody>
              <a:bodyPr wrap="square" lIns="72000" tIns="72000" rIns="72000" bIns="72000" rtlCol="0">
                <a:spAutoFit/>
              </a:bodyPr>
              <a:lstStyle/>
              <a:p>
                <a:pPr algn="l">
                  <a:lnSpc>
                    <a:spcPct val="150000"/>
                  </a:lnSpc>
                  <a:spcAft>
                    <a:spcPts val="600"/>
                  </a:spcAft>
                </a:pPr>
                <a:r>
                  <a:rPr lang="en-GB" sz="800" dirty="0">
                    <a:solidFill>
                      <a:schemeClr val="tx2"/>
                    </a:solidFill>
                  </a:rPr>
                  <a:t>Legacy IVR platform</a:t>
                </a:r>
              </a:p>
              <a:p>
                <a:pPr algn="l">
                  <a:lnSpc>
                    <a:spcPct val="150000"/>
                  </a:lnSpc>
                  <a:spcAft>
                    <a:spcPts val="600"/>
                  </a:spcAft>
                </a:pPr>
                <a:r>
                  <a:rPr lang="en-GB" sz="800" dirty="0">
                    <a:solidFill>
                      <a:schemeClr val="tx2"/>
                    </a:solidFill>
                  </a:rPr>
                  <a:t>Obsolete legacy component</a:t>
                </a:r>
              </a:p>
              <a:p>
                <a:pPr algn="l">
                  <a:lnSpc>
                    <a:spcPct val="150000"/>
                  </a:lnSpc>
                  <a:spcAft>
                    <a:spcPts val="600"/>
                  </a:spcAft>
                </a:pPr>
                <a:r>
                  <a:rPr lang="en-GB" sz="800" dirty="0" err="1">
                    <a:solidFill>
                      <a:schemeClr val="tx2"/>
                    </a:solidFill>
                  </a:rPr>
                  <a:t>Callbot</a:t>
                </a:r>
                <a:r>
                  <a:rPr lang="en-GB" sz="800" dirty="0">
                    <a:solidFill>
                      <a:schemeClr val="tx2"/>
                    </a:solidFill>
                  </a:rPr>
                  <a:t> &amp; NLP on-demand</a:t>
                </a:r>
              </a:p>
            </p:txBody>
          </p:sp>
          <p:sp>
            <p:nvSpPr>
              <p:cNvPr id="58" name="Rectangle 57">
                <a:extLst>
                  <a:ext uri="{FF2B5EF4-FFF2-40B4-BE49-F238E27FC236}">
                    <a16:creationId xmlns:a16="http://schemas.microsoft.com/office/drawing/2014/main" id="{9A529873-1F56-4ADA-B3F3-C2A2F09E406B}"/>
                  </a:ext>
                </a:extLst>
              </p:cNvPr>
              <p:cNvSpPr/>
              <p:nvPr/>
            </p:nvSpPr>
            <p:spPr>
              <a:xfrm>
                <a:off x="7974428" y="6205773"/>
                <a:ext cx="276200" cy="1486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050">
                  <a:solidFill>
                    <a:srgbClr val="FFFFFF"/>
                  </a:solidFill>
                </a:endParaRPr>
              </a:p>
            </p:txBody>
          </p:sp>
          <p:sp>
            <p:nvSpPr>
              <p:cNvPr id="59" name="Rectangle 58">
                <a:extLst>
                  <a:ext uri="{FF2B5EF4-FFF2-40B4-BE49-F238E27FC236}">
                    <a16:creationId xmlns:a16="http://schemas.microsoft.com/office/drawing/2014/main" id="{748D9797-B192-4407-AEC7-1BFF76455018}"/>
                  </a:ext>
                </a:extLst>
              </p:cNvPr>
              <p:cNvSpPr/>
              <p:nvPr/>
            </p:nvSpPr>
            <p:spPr>
              <a:xfrm>
                <a:off x="7974428" y="6450483"/>
                <a:ext cx="276200" cy="1486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100">
                  <a:solidFill>
                    <a:srgbClr val="FFFFFF"/>
                  </a:solidFill>
                </a:endParaRPr>
              </a:p>
            </p:txBody>
          </p:sp>
          <p:sp>
            <p:nvSpPr>
              <p:cNvPr id="60" name="ZoneTexte 59">
                <a:extLst>
                  <a:ext uri="{FF2B5EF4-FFF2-40B4-BE49-F238E27FC236}">
                    <a16:creationId xmlns:a16="http://schemas.microsoft.com/office/drawing/2014/main" id="{71419C26-AD69-4E39-B4B9-E5BC97A29EA9}"/>
                  </a:ext>
                </a:extLst>
              </p:cNvPr>
              <p:cNvSpPr txBox="1"/>
              <p:nvPr/>
            </p:nvSpPr>
            <p:spPr>
              <a:xfrm>
                <a:off x="8400864" y="5796813"/>
                <a:ext cx="3400171" cy="828414"/>
              </a:xfrm>
              <a:prstGeom prst="rect">
                <a:avLst/>
              </a:prstGeom>
            </p:spPr>
            <p:txBody>
              <a:bodyPr wrap="square" lIns="72000" tIns="72000" rIns="72000" bIns="72000" rtlCol="0">
                <a:spAutoFit/>
              </a:bodyPr>
              <a:lstStyle/>
              <a:p>
                <a:pPr algn="l">
                  <a:lnSpc>
                    <a:spcPct val="150000"/>
                  </a:lnSpc>
                  <a:spcAft>
                    <a:spcPts val="600"/>
                  </a:spcAft>
                </a:pPr>
                <a:r>
                  <a:rPr lang="en-GB" sz="800" dirty="0">
                    <a:solidFill>
                      <a:schemeClr val="tx2"/>
                    </a:solidFill>
                  </a:rPr>
                  <a:t>NLP on-demand to come</a:t>
                </a:r>
              </a:p>
              <a:p>
                <a:pPr algn="l">
                  <a:lnSpc>
                    <a:spcPct val="150000"/>
                  </a:lnSpc>
                  <a:spcAft>
                    <a:spcPts val="600"/>
                  </a:spcAft>
                </a:pPr>
                <a:r>
                  <a:rPr lang="en-GB" sz="800" dirty="0">
                    <a:solidFill>
                      <a:schemeClr val="tx2"/>
                    </a:solidFill>
                  </a:rPr>
                  <a:t>Bot « core product »</a:t>
                </a:r>
              </a:p>
              <a:p>
                <a:pPr algn="l">
                  <a:lnSpc>
                    <a:spcPct val="150000"/>
                  </a:lnSpc>
                  <a:spcAft>
                    <a:spcPts val="600"/>
                  </a:spcAft>
                </a:pPr>
                <a:r>
                  <a:rPr lang="en-GB" sz="800" dirty="0">
                    <a:solidFill>
                      <a:schemeClr val="tx2"/>
                    </a:solidFill>
                  </a:rPr>
                  <a:t>Third party Bot connector</a:t>
                </a:r>
              </a:p>
            </p:txBody>
          </p:sp>
        </p:grpSp>
      </p:grpSp>
      <p:cxnSp>
        <p:nvCxnSpPr>
          <p:cNvPr id="4" name="Connecteur droit avec flèche 3">
            <a:extLst>
              <a:ext uri="{FF2B5EF4-FFF2-40B4-BE49-F238E27FC236}">
                <a16:creationId xmlns:a16="http://schemas.microsoft.com/office/drawing/2014/main" id="{9EBFA5D6-6B12-4519-8FCE-294F309ABE59}"/>
              </a:ext>
            </a:extLst>
          </p:cNvPr>
          <p:cNvCxnSpPr>
            <a:cxnSpLocks/>
          </p:cNvCxnSpPr>
          <p:nvPr/>
        </p:nvCxnSpPr>
        <p:spPr>
          <a:xfrm flipV="1">
            <a:off x="2458062" y="1998061"/>
            <a:ext cx="4526938" cy="2348676"/>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555728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0BE7143-A7FA-473D-B990-841DC443EF72}"/>
              </a:ext>
            </a:extLst>
          </p:cNvPr>
          <p:cNvSpPr>
            <a:spLocks noGrp="1"/>
          </p:cNvSpPr>
          <p:nvPr>
            <p:ph type="title"/>
          </p:nvPr>
        </p:nvSpPr>
        <p:spPr/>
        <p:txBody>
          <a:bodyPr/>
          <a:lstStyle/>
          <a:p>
            <a:r>
              <a:rPr lang="fr-FR" dirty="0" err="1"/>
              <a:t>Some</a:t>
            </a:r>
            <a:r>
              <a:rPr lang="fr-FR" dirty="0"/>
              <a:t> </a:t>
            </a:r>
            <a:r>
              <a:rPr lang="fr-FR" dirty="0" err="1"/>
              <a:t>usefull</a:t>
            </a:r>
            <a:r>
              <a:rPr lang="fr-FR" dirty="0"/>
              <a:t> </a:t>
            </a:r>
            <a:r>
              <a:rPr lang="fr-FR" dirty="0" err="1"/>
              <a:t>functions</a:t>
            </a:r>
            <a:endParaRPr lang="fr-FR" dirty="0"/>
          </a:p>
        </p:txBody>
      </p:sp>
      <p:pic>
        <p:nvPicPr>
          <p:cNvPr id="3" name="Image 2">
            <a:extLst>
              <a:ext uri="{FF2B5EF4-FFF2-40B4-BE49-F238E27FC236}">
                <a16:creationId xmlns:a16="http://schemas.microsoft.com/office/drawing/2014/main" id="{A5CB6D38-E5B1-4FFF-AB86-E4927E864DBE}"/>
              </a:ext>
            </a:extLst>
          </p:cNvPr>
          <p:cNvPicPr>
            <a:picLocks noChangeAspect="1"/>
          </p:cNvPicPr>
          <p:nvPr/>
        </p:nvPicPr>
        <p:blipFill>
          <a:blip r:embed="rId2"/>
          <a:stretch>
            <a:fillRect/>
          </a:stretch>
        </p:blipFill>
        <p:spPr>
          <a:xfrm>
            <a:off x="358486" y="1180234"/>
            <a:ext cx="6057900" cy="1619250"/>
          </a:xfrm>
          <a:prstGeom prst="rect">
            <a:avLst/>
          </a:prstGeom>
        </p:spPr>
      </p:pic>
      <p:sp>
        <p:nvSpPr>
          <p:cNvPr id="4" name="Text Placeholder 16">
            <a:extLst>
              <a:ext uri="{FF2B5EF4-FFF2-40B4-BE49-F238E27FC236}">
                <a16:creationId xmlns:a16="http://schemas.microsoft.com/office/drawing/2014/main" id="{B2148D1E-C4F6-47C4-9EF9-5DB170EC1A22}"/>
              </a:ext>
            </a:extLst>
          </p:cNvPr>
          <p:cNvSpPr txBox="1">
            <a:spLocks/>
          </p:cNvSpPr>
          <p:nvPr/>
        </p:nvSpPr>
        <p:spPr>
          <a:xfrm>
            <a:off x="228600" y="3171680"/>
            <a:ext cx="8497955" cy="1509650"/>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Clr>
                <a:schemeClr val="accent2"/>
              </a:buClr>
              <a:buFont typeface="Arial" panose="020B0604020202020204" pitchFamily="34" charset="0"/>
              <a:buChar char="•"/>
            </a:pPr>
            <a:r>
              <a:rPr lang="en-US" sz="1400" dirty="0" err="1"/>
              <a:t>agent.</a:t>
            </a:r>
            <a:r>
              <a:rPr lang="en-US" sz="1400" dirty="0" err="1">
                <a:solidFill>
                  <a:schemeClr val="accent2"/>
                </a:solidFill>
              </a:rPr>
              <a:t>query</a:t>
            </a:r>
            <a:r>
              <a:rPr lang="en-US" sz="1400" dirty="0"/>
              <a:t> () : get the user’s request</a:t>
            </a:r>
          </a:p>
          <a:p>
            <a:pPr marL="285750" indent="-285750">
              <a:buClr>
                <a:schemeClr val="accent2"/>
              </a:buClr>
              <a:buFont typeface="Arial" panose="020B0604020202020204" pitchFamily="34" charset="0"/>
              <a:buChar char="•"/>
            </a:pPr>
            <a:r>
              <a:rPr lang="en-US" sz="1400" dirty="0"/>
              <a:t>console.</a:t>
            </a:r>
            <a:r>
              <a:rPr lang="en-US" sz="1400" dirty="0">
                <a:solidFill>
                  <a:schemeClr val="accent2"/>
                </a:solidFill>
              </a:rPr>
              <a:t>log</a:t>
            </a:r>
            <a:r>
              <a:rPr lang="en-US" sz="1400" dirty="0"/>
              <a:t> (text) : add a new line in Firebase Log</a:t>
            </a:r>
          </a:p>
          <a:p>
            <a:pPr marL="285750" indent="-285750">
              <a:buClr>
                <a:schemeClr val="accent2"/>
              </a:buClr>
              <a:buFont typeface="Arial" panose="020B0604020202020204" pitchFamily="34" charset="0"/>
              <a:buChar char="•"/>
            </a:pPr>
            <a:r>
              <a:rPr lang="en-US" sz="1400" dirty="0" err="1"/>
              <a:t>agent.</a:t>
            </a:r>
            <a:r>
              <a:rPr lang="en-US" sz="1400" dirty="0" err="1">
                <a:solidFill>
                  <a:schemeClr val="accent2"/>
                </a:solidFill>
              </a:rPr>
              <a:t>parameters</a:t>
            </a:r>
            <a:r>
              <a:rPr lang="en-US" sz="1400" dirty="0"/>
              <a:t>.&lt;</a:t>
            </a:r>
            <a:r>
              <a:rPr lang="en-US" sz="1400" dirty="0" err="1"/>
              <a:t>Name_Parameter</a:t>
            </a:r>
            <a:r>
              <a:rPr lang="en-US" sz="1400" dirty="0"/>
              <a:t>&gt; : get a parameter defined in the intent</a:t>
            </a:r>
          </a:p>
        </p:txBody>
      </p:sp>
    </p:spTree>
    <p:extLst>
      <p:ext uri="{BB962C8B-B14F-4D97-AF65-F5344CB8AC3E}">
        <p14:creationId xmlns:p14="http://schemas.microsoft.com/office/powerpoint/2010/main" val="85371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BE91D3-6EAE-4A38-94D1-E552F2A59D76}"/>
              </a:ext>
            </a:extLst>
          </p:cNvPr>
          <p:cNvSpPr>
            <a:spLocks noGrp="1"/>
          </p:cNvSpPr>
          <p:nvPr>
            <p:ph type="title"/>
          </p:nvPr>
        </p:nvSpPr>
        <p:spPr/>
        <p:txBody>
          <a:bodyPr/>
          <a:lstStyle/>
          <a:p>
            <a:r>
              <a:rPr lang="fr-FR" dirty="0"/>
              <a:t>Example of REST </a:t>
            </a:r>
            <a:r>
              <a:rPr lang="fr-FR" dirty="0" err="1"/>
              <a:t>request</a:t>
            </a:r>
            <a:endParaRPr lang="fr-FR" dirty="0"/>
          </a:p>
        </p:txBody>
      </p:sp>
      <p:pic>
        <p:nvPicPr>
          <p:cNvPr id="4" name="Image 3">
            <a:extLst>
              <a:ext uri="{FF2B5EF4-FFF2-40B4-BE49-F238E27FC236}">
                <a16:creationId xmlns:a16="http://schemas.microsoft.com/office/drawing/2014/main" id="{9F4CB560-64EC-4AEF-8E8F-57702648286A}"/>
              </a:ext>
            </a:extLst>
          </p:cNvPr>
          <p:cNvPicPr>
            <a:picLocks noChangeAspect="1"/>
          </p:cNvPicPr>
          <p:nvPr/>
        </p:nvPicPr>
        <p:blipFill>
          <a:blip r:embed="rId2"/>
          <a:stretch>
            <a:fillRect/>
          </a:stretch>
        </p:blipFill>
        <p:spPr>
          <a:xfrm>
            <a:off x="238990" y="637559"/>
            <a:ext cx="8821882" cy="3868381"/>
          </a:xfrm>
          <a:prstGeom prst="rect">
            <a:avLst/>
          </a:prstGeom>
        </p:spPr>
      </p:pic>
    </p:spTree>
    <p:extLst>
      <p:ext uri="{BB962C8B-B14F-4D97-AF65-F5344CB8AC3E}">
        <p14:creationId xmlns:p14="http://schemas.microsoft.com/office/powerpoint/2010/main" val="4047732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544E057-DF3E-47F7-A03E-D728444C6F76}"/>
              </a:ext>
            </a:extLst>
          </p:cNvPr>
          <p:cNvSpPr>
            <a:spLocks noGrp="1"/>
          </p:cNvSpPr>
          <p:nvPr>
            <p:ph type="title"/>
          </p:nvPr>
        </p:nvSpPr>
        <p:spPr>
          <a:xfrm>
            <a:off x="0" y="58301"/>
            <a:ext cx="6975475" cy="808037"/>
          </a:xfrm>
        </p:spPr>
        <p:txBody>
          <a:bodyPr/>
          <a:lstStyle/>
          <a:p>
            <a:r>
              <a:rPr lang="fr-FR" dirty="0"/>
              <a:t>Workshop : </a:t>
            </a:r>
            <a:r>
              <a:rPr lang="fr-FR" dirty="0" err="1"/>
              <a:t>adding</a:t>
            </a:r>
            <a:r>
              <a:rPr lang="fr-FR" dirty="0"/>
              <a:t> </a:t>
            </a:r>
            <a:r>
              <a:rPr lang="fr-FR" dirty="0" err="1"/>
              <a:t>numbers</a:t>
            </a:r>
            <a:endParaRPr lang="fr-FR" dirty="0"/>
          </a:p>
        </p:txBody>
      </p:sp>
      <p:sp>
        <p:nvSpPr>
          <p:cNvPr id="9" name="Bulle narrative : rectangle 8">
            <a:extLst>
              <a:ext uri="{FF2B5EF4-FFF2-40B4-BE49-F238E27FC236}">
                <a16:creationId xmlns:a16="http://schemas.microsoft.com/office/drawing/2014/main" id="{2F56E778-6EA9-4392-9C01-7195EDEE221E}"/>
              </a:ext>
            </a:extLst>
          </p:cNvPr>
          <p:cNvSpPr/>
          <p:nvPr/>
        </p:nvSpPr>
        <p:spPr>
          <a:xfrm>
            <a:off x="1378973" y="1588321"/>
            <a:ext cx="2049486" cy="317331"/>
          </a:xfrm>
          <a:prstGeom prst="wedgeRectCallout">
            <a:avLst>
              <a:gd name="adj1" fmla="val 54908"/>
              <a:gd name="adj2" fmla="val -1615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Hello, </a:t>
            </a:r>
            <a:r>
              <a:rPr lang="fr-FR" sz="1200" dirty="0" err="1">
                <a:solidFill>
                  <a:schemeClr val="bg1"/>
                </a:solidFill>
              </a:rPr>
              <a:t>may</a:t>
            </a:r>
            <a:r>
              <a:rPr lang="fr-FR" sz="1200" dirty="0">
                <a:solidFill>
                  <a:schemeClr val="bg1"/>
                </a:solidFill>
              </a:rPr>
              <a:t> I help </a:t>
            </a:r>
            <a:r>
              <a:rPr lang="fr-FR" sz="1200" dirty="0" err="1">
                <a:solidFill>
                  <a:schemeClr val="bg1"/>
                </a:solidFill>
              </a:rPr>
              <a:t>you</a:t>
            </a:r>
            <a:r>
              <a:rPr lang="fr-FR" sz="1200" dirty="0">
                <a:solidFill>
                  <a:schemeClr val="bg1"/>
                </a:solidFill>
              </a:rPr>
              <a:t>?</a:t>
            </a:r>
          </a:p>
        </p:txBody>
      </p:sp>
      <p:sp>
        <p:nvSpPr>
          <p:cNvPr id="10" name="Bulle narrative : rectangle 9">
            <a:extLst>
              <a:ext uri="{FF2B5EF4-FFF2-40B4-BE49-F238E27FC236}">
                <a16:creationId xmlns:a16="http://schemas.microsoft.com/office/drawing/2014/main" id="{4567DDC1-51B0-49DA-B2F5-EDD6C93FDF3E}"/>
              </a:ext>
            </a:extLst>
          </p:cNvPr>
          <p:cNvSpPr/>
          <p:nvPr/>
        </p:nvSpPr>
        <p:spPr>
          <a:xfrm>
            <a:off x="858394" y="2057405"/>
            <a:ext cx="2049486" cy="501557"/>
          </a:xfrm>
          <a:prstGeom prst="wedgeRectCallout">
            <a:avLst>
              <a:gd name="adj1" fmla="val -55516"/>
              <a:gd name="adj2" fmla="val -1889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I would like to add 12 and 11</a:t>
            </a:r>
            <a:endParaRPr lang="fr-FR" sz="1200" dirty="0">
              <a:solidFill>
                <a:schemeClr val="bg1"/>
              </a:solidFill>
            </a:endParaRPr>
          </a:p>
        </p:txBody>
      </p:sp>
      <p:sp>
        <p:nvSpPr>
          <p:cNvPr id="11" name="Bulle narrative : rectangle 10">
            <a:extLst>
              <a:ext uri="{FF2B5EF4-FFF2-40B4-BE49-F238E27FC236}">
                <a16:creationId xmlns:a16="http://schemas.microsoft.com/office/drawing/2014/main" id="{2D4A9B5D-D344-4A65-8F0F-8B6D95324981}"/>
              </a:ext>
            </a:extLst>
          </p:cNvPr>
          <p:cNvSpPr/>
          <p:nvPr/>
        </p:nvSpPr>
        <p:spPr>
          <a:xfrm>
            <a:off x="1871468" y="2691217"/>
            <a:ext cx="1556991" cy="317331"/>
          </a:xfrm>
          <a:prstGeom prst="wedgeRectCallout">
            <a:avLst>
              <a:gd name="adj1" fmla="val 54908"/>
              <a:gd name="adj2" fmla="val -1615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Easy ! It’s 23 !</a:t>
            </a:r>
            <a:endParaRPr lang="fr-FR" sz="1200" dirty="0">
              <a:solidFill>
                <a:schemeClr val="bg1"/>
              </a:solidFill>
            </a:endParaRPr>
          </a:p>
        </p:txBody>
      </p:sp>
      <p:sp>
        <p:nvSpPr>
          <p:cNvPr id="18" name="Rectangle 17">
            <a:extLst>
              <a:ext uri="{FF2B5EF4-FFF2-40B4-BE49-F238E27FC236}">
                <a16:creationId xmlns:a16="http://schemas.microsoft.com/office/drawing/2014/main" id="{B694E58F-6406-4E2A-9686-856FDC7BAC71}"/>
              </a:ext>
            </a:extLst>
          </p:cNvPr>
          <p:cNvSpPr/>
          <p:nvPr/>
        </p:nvSpPr>
        <p:spPr>
          <a:xfrm>
            <a:off x="858394" y="3140803"/>
            <a:ext cx="2556023" cy="31733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rPr>
              <a:t>(End of conversation)</a:t>
            </a:r>
          </a:p>
        </p:txBody>
      </p:sp>
      <p:sp>
        <p:nvSpPr>
          <p:cNvPr id="16" name="Text Placeholder 16">
            <a:extLst>
              <a:ext uri="{FF2B5EF4-FFF2-40B4-BE49-F238E27FC236}">
                <a16:creationId xmlns:a16="http://schemas.microsoft.com/office/drawing/2014/main" id="{9BC57D15-DFA7-4677-8DF0-D48E9DA7405D}"/>
              </a:ext>
            </a:extLst>
          </p:cNvPr>
          <p:cNvSpPr txBox="1">
            <a:spLocks/>
          </p:cNvSpPr>
          <p:nvPr/>
        </p:nvSpPr>
        <p:spPr>
          <a:xfrm>
            <a:off x="3962988" y="1588321"/>
            <a:ext cx="4322618" cy="2734297"/>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Clr>
                <a:schemeClr val="accent2"/>
              </a:buClr>
              <a:buFont typeface="Arial" panose="020B0604020202020204" pitchFamily="34" charset="0"/>
              <a:buChar char="•"/>
            </a:pPr>
            <a:r>
              <a:rPr lang="en-US" sz="1400" dirty="0"/>
              <a:t>Create an “Addition” intent, with 2 parameters : number1 and number2</a:t>
            </a:r>
          </a:p>
          <a:p>
            <a:pPr marL="285750" indent="-285750">
              <a:buClr>
                <a:schemeClr val="accent2"/>
              </a:buClr>
              <a:buFont typeface="Arial" panose="020B0604020202020204" pitchFamily="34" charset="0"/>
              <a:buChar char="•"/>
            </a:pPr>
            <a:r>
              <a:rPr lang="en-US" sz="1400" dirty="0"/>
              <a:t>Both parameters are mandatory</a:t>
            </a:r>
          </a:p>
          <a:p>
            <a:pPr marL="285750" indent="-285750">
              <a:buClr>
                <a:schemeClr val="accent2"/>
              </a:buClr>
              <a:buFont typeface="Arial" panose="020B0604020202020204" pitchFamily="34" charset="0"/>
              <a:buChar char="•"/>
            </a:pPr>
            <a:r>
              <a:rPr lang="en-US" sz="1400" dirty="0"/>
              <a:t>Create a fulfillment for this intent</a:t>
            </a:r>
          </a:p>
          <a:p>
            <a:pPr marL="285750" indent="-285750">
              <a:buClr>
                <a:schemeClr val="accent2"/>
              </a:buClr>
              <a:buFont typeface="Arial" panose="020B0604020202020204" pitchFamily="34" charset="0"/>
              <a:buChar char="•"/>
            </a:pPr>
            <a:r>
              <a:rPr lang="en-US" sz="1400" dirty="0"/>
              <a:t>In the fulfillment :</a:t>
            </a:r>
          </a:p>
          <a:p>
            <a:pPr marL="690563" lvl="1" indent="-285750">
              <a:buClr>
                <a:schemeClr val="accent2"/>
              </a:buClr>
            </a:pPr>
            <a:r>
              <a:rPr lang="en-US" sz="1400" dirty="0"/>
              <a:t>Get the two parameters,</a:t>
            </a:r>
          </a:p>
          <a:p>
            <a:pPr marL="690563" lvl="1" indent="-285750">
              <a:buClr>
                <a:schemeClr val="accent2"/>
              </a:buClr>
            </a:pPr>
            <a:r>
              <a:rPr lang="en-US" sz="1400" dirty="0"/>
              <a:t>Write them into the logs,</a:t>
            </a:r>
          </a:p>
          <a:p>
            <a:pPr marL="690563" lvl="1" indent="-285750">
              <a:buClr>
                <a:schemeClr val="accent2"/>
              </a:buClr>
            </a:pPr>
            <a:r>
              <a:rPr lang="en-US" sz="1400" dirty="0"/>
              <a:t>Give the correct answer</a:t>
            </a:r>
          </a:p>
          <a:p>
            <a:pPr marL="690563" lvl="1" indent="-285750">
              <a:buClr>
                <a:schemeClr val="accent2"/>
              </a:buClr>
            </a:pPr>
            <a:endParaRPr lang="en-US" sz="1400" dirty="0"/>
          </a:p>
          <a:p>
            <a:pPr marL="285750" indent="-285750">
              <a:buClr>
                <a:schemeClr val="accent2"/>
              </a:buClr>
            </a:pPr>
            <a:r>
              <a:rPr lang="en-US" sz="1200" dirty="0"/>
              <a:t>Tips : use </a:t>
            </a:r>
            <a:r>
              <a:rPr lang="en-US" sz="1200" i="1" dirty="0" err="1"/>
              <a:t>parseInt</a:t>
            </a:r>
            <a:r>
              <a:rPr lang="en-US" sz="1200" i="1" dirty="0"/>
              <a:t>() </a:t>
            </a:r>
            <a:r>
              <a:rPr lang="en-US" sz="1200" dirty="0"/>
              <a:t>to convert a String to an Int</a:t>
            </a:r>
          </a:p>
          <a:p>
            <a:pPr marL="690563" lvl="1" indent="-285750">
              <a:buClr>
                <a:schemeClr val="accent2"/>
              </a:buClr>
            </a:pPr>
            <a:endParaRPr lang="en-US" sz="1400" dirty="0"/>
          </a:p>
        </p:txBody>
      </p:sp>
      <p:sp>
        <p:nvSpPr>
          <p:cNvPr id="8" name="Bande diagonale 7">
            <a:extLst>
              <a:ext uri="{FF2B5EF4-FFF2-40B4-BE49-F238E27FC236}">
                <a16:creationId xmlns:a16="http://schemas.microsoft.com/office/drawing/2014/main" id="{53B6A69F-3526-4158-A32D-50CE6D583A40}"/>
              </a:ext>
            </a:extLst>
          </p:cNvPr>
          <p:cNvSpPr/>
          <p:nvPr/>
        </p:nvSpPr>
        <p:spPr>
          <a:xfrm rot="5400000">
            <a:off x="7236889" y="7316"/>
            <a:ext cx="1908000" cy="1906223"/>
          </a:xfrm>
          <a:prstGeom prst="diagStripe">
            <a:avLst>
              <a:gd name="adj" fmla="val 6268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12" name="ZoneTexte 11">
            <a:extLst>
              <a:ext uri="{FF2B5EF4-FFF2-40B4-BE49-F238E27FC236}">
                <a16:creationId xmlns:a16="http://schemas.microsoft.com/office/drawing/2014/main" id="{4F64682B-64B8-4C70-848B-B7931560EEE1}"/>
              </a:ext>
            </a:extLst>
          </p:cNvPr>
          <p:cNvSpPr txBox="1"/>
          <p:nvPr/>
        </p:nvSpPr>
        <p:spPr>
          <a:xfrm rot="2735380">
            <a:off x="7539304" y="534466"/>
            <a:ext cx="1712736" cy="480819"/>
          </a:xfrm>
          <a:prstGeom prst="rect">
            <a:avLst/>
          </a:prstGeom>
        </p:spPr>
        <p:txBody>
          <a:bodyPr wrap="square" lIns="72000" tIns="72000" rIns="72000" bIns="72000" rtlCol="0">
            <a:spAutoFit/>
          </a:bodyPr>
          <a:lstStyle/>
          <a:p>
            <a:pPr algn="ctr">
              <a:lnSpc>
                <a:spcPct val="120000"/>
              </a:lnSpc>
              <a:spcAft>
                <a:spcPts val="600"/>
              </a:spcAft>
            </a:pPr>
            <a:r>
              <a:rPr lang="fr-FR" sz="2000" b="1" dirty="0">
                <a:solidFill>
                  <a:schemeClr val="bg1"/>
                </a:solidFill>
                <a:latin typeface="Arial" panose="020B0604020202020204" pitchFamily="34" charset="0"/>
                <a:cs typeface="Arial" panose="020B0604020202020204" pitchFamily="34" charset="0"/>
              </a:rPr>
              <a:t>WORKSHOP</a:t>
            </a:r>
          </a:p>
        </p:txBody>
      </p:sp>
    </p:spTree>
    <p:extLst>
      <p:ext uri="{BB962C8B-B14F-4D97-AF65-F5344CB8AC3E}">
        <p14:creationId xmlns:p14="http://schemas.microsoft.com/office/powerpoint/2010/main" val="1924792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152CD9-9ACD-4198-90C9-CCD9BC63AF8C}"/>
              </a:ext>
            </a:extLst>
          </p:cNvPr>
          <p:cNvSpPr>
            <a:spLocks noGrp="1"/>
          </p:cNvSpPr>
          <p:nvPr>
            <p:ph type="title"/>
          </p:nvPr>
        </p:nvSpPr>
        <p:spPr/>
        <p:txBody>
          <a:bodyPr/>
          <a:lstStyle/>
          <a:p>
            <a:r>
              <a:rPr lang="fr-FR" dirty="0" err="1"/>
              <a:t>Managing</a:t>
            </a:r>
            <a:r>
              <a:rPr lang="fr-FR" dirty="0"/>
              <a:t> </a:t>
            </a:r>
            <a:r>
              <a:rPr lang="fr-FR" dirty="0" err="1"/>
              <a:t>contexts</a:t>
            </a:r>
            <a:r>
              <a:rPr lang="fr-FR" dirty="0"/>
              <a:t> </a:t>
            </a:r>
            <a:r>
              <a:rPr lang="fr-FR" dirty="0" err="1"/>
              <a:t>with</a:t>
            </a:r>
            <a:r>
              <a:rPr lang="fr-FR" dirty="0"/>
              <a:t> node.js</a:t>
            </a:r>
          </a:p>
        </p:txBody>
      </p:sp>
      <p:sp>
        <p:nvSpPr>
          <p:cNvPr id="3" name="Text Placeholder 16">
            <a:extLst>
              <a:ext uri="{FF2B5EF4-FFF2-40B4-BE49-F238E27FC236}">
                <a16:creationId xmlns:a16="http://schemas.microsoft.com/office/drawing/2014/main" id="{1E2C7703-152C-4AFD-B2CE-A0D2DC1F61C3}"/>
              </a:ext>
            </a:extLst>
          </p:cNvPr>
          <p:cNvSpPr txBox="1">
            <a:spLocks/>
          </p:cNvSpPr>
          <p:nvPr/>
        </p:nvSpPr>
        <p:spPr>
          <a:xfrm>
            <a:off x="228600" y="668889"/>
            <a:ext cx="7969469"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r>
              <a:rPr lang="en-US" sz="1300" dirty="0">
                <a:solidFill>
                  <a:schemeClr val="accent2"/>
                </a:solidFill>
              </a:rPr>
              <a:t>Create</a:t>
            </a:r>
            <a:r>
              <a:rPr lang="en-US" sz="1300" dirty="0"/>
              <a:t> a context, with parameters :</a:t>
            </a:r>
          </a:p>
          <a:p>
            <a:r>
              <a:rPr lang="en-US" sz="1300" i="1" dirty="0"/>
              <a:t>let </a:t>
            </a:r>
            <a:r>
              <a:rPr lang="en-US" sz="1300" i="1" dirty="0" err="1"/>
              <a:t>oContext</a:t>
            </a:r>
            <a:r>
              <a:rPr lang="en-US" sz="1300" i="1" dirty="0"/>
              <a:t> = {'name’: ‘context-name', 'lifespan’: 5,'parameters': {‘</a:t>
            </a:r>
            <a:r>
              <a:rPr lang="en-US" sz="1300" i="1" dirty="0" err="1"/>
              <a:t>myTxt</a:t>
            </a:r>
            <a:r>
              <a:rPr lang="en-US" sz="1300" i="1" dirty="0"/>
              <a:t>’:’Hello world’} };</a:t>
            </a:r>
          </a:p>
          <a:p>
            <a:endParaRPr lang="en-US" sz="1300" i="1" dirty="0"/>
          </a:p>
          <a:p>
            <a:r>
              <a:rPr lang="en-US" sz="1300" i="1" dirty="0"/>
              <a:t>  </a:t>
            </a:r>
          </a:p>
          <a:p>
            <a:r>
              <a:rPr lang="en-US" sz="1300" i="1" dirty="0"/>
              <a:t> </a:t>
            </a:r>
          </a:p>
          <a:p>
            <a:pPr marL="285750" indent="-285750">
              <a:buFont typeface="Arial" panose="020B0604020202020204" pitchFamily="34" charset="0"/>
              <a:buChar char="•"/>
            </a:pPr>
            <a:r>
              <a:rPr lang="en-US" sz="1300" dirty="0">
                <a:solidFill>
                  <a:schemeClr val="accent2"/>
                </a:solidFill>
              </a:rPr>
              <a:t>Get</a:t>
            </a:r>
            <a:r>
              <a:rPr lang="en-US" sz="1300" dirty="0"/>
              <a:t> a context :</a:t>
            </a:r>
          </a:p>
          <a:p>
            <a:pPr marL="285750" indent="-285750">
              <a:buFont typeface="Arial" panose="020B0604020202020204" pitchFamily="34" charset="0"/>
              <a:buChar char="•"/>
            </a:pPr>
            <a:endParaRPr lang="en-US" sz="1300" i="1" dirty="0"/>
          </a:p>
          <a:p>
            <a:pPr marL="285750" indent="-285750">
              <a:buFont typeface="Arial" panose="020B0604020202020204" pitchFamily="34" charset="0"/>
              <a:buChar char="•"/>
            </a:pPr>
            <a:endParaRPr lang="en-US" sz="1300" i="1" dirty="0"/>
          </a:p>
          <a:p>
            <a:pPr marL="285750" indent="-285750">
              <a:buFont typeface="Arial" panose="020B0604020202020204" pitchFamily="34" charset="0"/>
              <a:buChar char="•"/>
            </a:pPr>
            <a:endParaRPr lang="en-US" sz="1300" i="1" dirty="0"/>
          </a:p>
          <a:p>
            <a:pPr marL="285750" indent="-285750">
              <a:buFont typeface="Arial" panose="020B0604020202020204" pitchFamily="34" charset="0"/>
              <a:buChar char="•"/>
            </a:pPr>
            <a:endParaRPr lang="en-US" sz="1300" i="1" dirty="0"/>
          </a:p>
          <a:p>
            <a:pPr marL="285750" indent="-285750">
              <a:buFont typeface="Arial" panose="020B0604020202020204" pitchFamily="34" charset="0"/>
              <a:buChar char="•"/>
            </a:pPr>
            <a:r>
              <a:rPr lang="en-US" sz="1150" i="1" dirty="0"/>
              <a:t> </a:t>
            </a:r>
            <a:r>
              <a:rPr lang="en-US" sz="1300" dirty="0">
                <a:solidFill>
                  <a:schemeClr val="accent2"/>
                </a:solidFill>
              </a:rPr>
              <a:t>Delete</a:t>
            </a:r>
            <a:r>
              <a:rPr lang="en-US" sz="1300" dirty="0"/>
              <a:t> a context :</a:t>
            </a:r>
          </a:p>
          <a:p>
            <a:pPr marL="285750" indent="-285750">
              <a:buFont typeface="Arial" panose="020B0604020202020204" pitchFamily="34" charset="0"/>
              <a:buChar char="•"/>
            </a:pPr>
            <a:endParaRPr lang="en-US" sz="1600" dirty="0"/>
          </a:p>
        </p:txBody>
      </p:sp>
      <p:graphicFrame>
        <p:nvGraphicFramePr>
          <p:cNvPr id="5" name="Tableau 4">
            <a:extLst>
              <a:ext uri="{FF2B5EF4-FFF2-40B4-BE49-F238E27FC236}">
                <a16:creationId xmlns:a16="http://schemas.microsoft.com/office/drawing/2014/main" id="{0F531435-982C-4ED4-B68F-2FC0C392CD3A}"/>
              </a:ext>
            </a:extLst>
          </p:cNvPr>
          <p:cNvGraphicFramePr>
            <a:graphicFrameLocks noGrp="1"/>
          </p:cNvGraphicFramePr>
          <p:nvPr/>
        </p:nvGraphicFramePr>
        <p:xfrm>
          <a:off x="228601" y="1304350"/>
          <a:ext cx="8789275" cy="634885"/>
        </p:xfrm>
        <a:graphic>
          <a:graphicData uri="http://schemas.openxmlformats.org/drawingml/2006/table">
            <a:tbl>
              <a:tblPr firstRow="1" bandRow="1">
                <a:tableStyleId>{0660B408-B3CF-4A94-85FC-2B1E0A45F4A2}</a:tableStyleId>
              </a:tblPr>
              <a:tblGrid>
                <a:gridCol w="4669222">
                  <a:extLst>
                    <a:ext uri="{9D8B030D-6E8A-4147-A177-3AD203B41FA5}">
                      <a16:colId xmlns:a16="http://schemas.microsoft.com/office/drawing/2014/main" val="2877239943"/>
                    </a:ext>
                  </a:extLst>
                </a:gridCol>
                <a:gridCol w="4120053">
                  <a:extLst>
                    <a:ext uri="{9D8B030D-6E8A-4147-A177-3AD203B41FA5}">
                      <a16:colId xmlns:a16="http://schemas.microsoft.com/office/drawing/2014/main" val="3751422020"/>
                    </a:ext>
                  </a:extLst>
                </a:gridCol>
              </a:tblGrid>
              <a:tr h="270627">
                <a:tc>
                  <a:txBody>
                    <a:bodyPr/>
                    <a:lstStyle/>
                    <a:p>
                      <a:endParaRPr lang="fr-FR" dirty="0"/>
                    </a:p>
                  </a:txBody>
                  <a:tcPr>
                    <a:solidFill>
                      <a:schemeClr val="bg1"/>
                    </a:solidFill>
                  </a:tcPr>
                </a:tc>
                <a:tc>
                  <a:txBody>
                    <a:bodyPr/>
                    <a:lstStyle/>
                    <a:p>
                      <a:endParaRPr lang="fr-FR" dirty="0"/>
                    </a:p>
                  </a:txBody>
                  <a:tcPr>
                    <a:solidFill>
                      <a:schemeClr val="bg1"/>
                    </a:solidFill>
                  </a:tcPr>
                </a:tc>
                <a:extLst>
                  <a:ext uri="{0D108BD9-81ED-4DB2-BD59-A6C34878D82A}">
                    <a16:rowId xmlns:a16="http://schemas.microsoft.com/office/drawing/2014/main" val="1585425288"/>
                  </a:ext>
                </a:extLst>
              </a:tr>
              <a:tr h="337705">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i="1" dirty="0" err="1">
                          <a:latin typeface="+mj-lt"/>
                        </a:rPr>
                        <a:t>agent.setContext</a:t>
                      </a:r>
                      <a:r>
                        <a:rPr lang="en-US" sz="1200" i="1" dirty="0">
                          <a:latin typeface="+mj-lt"/>
                        </a:rPr>
                        <a:t>(</a:t>
                      </a:r>
                      <a:r>
                        <a:rPr lang="en-US" sz="1200" i="1" dirty="0" err="1">
                          <a:latin typeface="+mj-lt"/>
                        </a:rPr>
                        <a:t>oContext</a:t>
                      </a:r>
                      <a:r>
                        <a:rPr lang="en-US" sz="1200" i="1" dirty="0">
                          <a:latin typeface="+mj-lt"/>
                        </a:rPr>
                        <a:t>);</a:t>
                      </a:r>
                      <a:endParaRPr lang="fr-FR" sz="1200" dirty="0">
                        <a:latin typeface="+mj-lt"/>
                      </a:endParaRPr>
                    </a:p>
                  </a:txBody>
                  <a:tcPr>
                    <a:solidFill>
                      <a:schemeClr val="bg2">
                        <a:lumMod val="90000"/>
                      </a:schemeClr>
                    </a:solidFill>
                  </a:tcPr>
                </a:tc>
                <a:tc>
                  <a:txBody>
                    <a:bodyPr/>
                    <a:lstStyle/>
                    <a:p>
                      <a:r>
                        <a:rPr lang="fr-FR" sz="1200" i="1" dirty="0" err="1"/>
                        <a:t>agent.context.set</a:t>
                      </a:r>
                      <a:r>
                        <a:rPr lang="fr-FR" sz="1200" i="1" dirty="0"/>
                        <a:t>(</a:t>
                      </a:r>
                      <a:r>
                        <a:rPr lang="fr-FR" sz="1200" i="1" dirty="0" err="1"/>
                        <a:t>oContext</a:t>
                      </a:r>
                      <a:r>
                        <a:rPr lang="fr-FR" sz="1200" i="1" dirty="0"/>
                        <a:t>);</a:t>
                      </a:r>
                    </a:p>
                  </a:txBody>
                  <a:tcPr>
                    <a:solidFill>
                      <a:schemeClr val="bg2">
                        <a:lumMod val="90000"/>
                      </a:schemeClr>
                    </a:solidFill>
                  </a:tcPr>
                </a:tc>
                <a:extLst>
                  <a:ext uri="{0D108BD9-81ED-4DB2-BD59-A6C34878D82A}">
                    <a16:rowId xmlns:a16="http://schemas.microsoft.com/office/drawing/2014/main" val="3094099952"/>
                  </a:ext>
                </a:extLst>
              </a:tr>
            </a:tbl>
          </a:graphicData>
        </a:graphic>
      </p:graphicFrame>
      <p:pic>
        <p:nvPicPr>
          <p:cNvPr id="4" name="Image 3">
            <a:extLst>
              <a:ext uri="{FF2B5EF4-FFF2-40B4-BE49-F238E27FC236}">
                <a16:creationId xmlns:a16="http://schemas.microsoft.com/office/drawing/2014/main" id="{D80AF42B-E95E-4AEE-81E9-C1B7E5D3F835}"/>
              </a:ext>
            </a:extLst>
          </p:cNvPr>
          <p:cNvPicPr>
            <a:picLocks noChangeAspect="1"/>
          </p:cNvPicPr>
          <p:nvPr/>
        </p:nvPicPr>
        <p:blipFill>
          <a:blip r:embed="rId2"/>
          <a:stretch>
            <a:fillRect/>
          </a:stretch>
        </p:blipFill>
        <p:spPr>
          <a:xfrm>
            <a:off x="4824251" y="1350308"/>
            <a:ext cx="2553056" cy="200053"/>
          </a:xfrm>
          <a:prstGeom prst="rect">
            <a:avLst/>
          </a:prstGeom>
        </p:spPr>
      </p:pic>
      <p:pic>
        <p:nvPicPr>
          <p:cNvPr id="6" name="Image 5">
            <a:extLst>
              <a:ext uri="{FF2B5EF4-FFF2-40B4-BE49-F238E27FC236}">
                <a16:creationId xmlns:a16="http://schemas.microsoft.com/office/drawing/2014/main" id="{AFC9BD4E-9FBB-479D-8D96-6486FFF49B3E}"/>
              </a:ext>
            </a:extLst>
          </p:cNvPr>
          <p:cNvPicPr>
            <a:picLocks noChangeAspect="1"/>
          </p:cNvPicPr>
          <p:nvPr/>
        </p:nvPicPr>
        <p:blipFill>
          <a:blip r:embed="rId3"/>
          <a:stretch>
            <a:fillRect/>
          </a:stretch>
        </p:blipFill>
        <p:spPr>
          <a:xfrm>
            <a:off x="228600" y="1381662"/>
            <a:ext cx="2543530" cy="190527"/>
          </a:xfrm>
          <a:prstGeom prst="rect">
            <a:avLst/>
          </a:prstGeom>
        </p:spPr>
      </p:pic>
      <p:graphicFrame>
        <p:nvGraphicFramePr>
          <p:cNvPr id="7" name="Tableau 6">
            <a:extLst>
              <a:ext uri="{FF2B5EF4-FFF2-40B4-BE49-F238E27FC236}">
                <a16:creationId xmlns:a16="http://schemas.microsoft.com/office/drawing/2014/main" id="{C93A665F-0ADC-495F-87D8-B1C938AA678A}"/>
              </a:ext>
            </a:extLst>
          </p:cNvPr>
          <p:cNvGraphicFramePr>
            <a:graphicFrameLocks noGrp="1"/>
          </p:cNvGraphicFramePr>
          <p:nvPr/>
        </p:nvGraphicFramePr>
        <p:xfrm>
          <a:off x="228602" y="2352429"/>
          <a:ext cx="8789276" cy="906780"/>
        </p:xfrm>
        <a:graphic>
          <a:graphicData uri="http://schemas.openxmlformats.org/drawingml/2006/table">
            <a:tbl>
              <a:tblPr firstRow="1" bandRow="1">
                <a:tableStyleId>{0660B408-B3CF-4A94-85FC-2B1E0A45F4A2}</a:tableStyleId>
              </a:tblPr>
              <a:tblGrid>
                <a:gridCol w="4564788">
                  <a:extLst>
                    <a:ext uri="{9D8B030D-6E8A-4147-A177-3AD203B41FA5}">
                      <a16:colId xmlns:a16="http://schemas.microsoft.com/office/drawing/2014/main" val="2877239943"/>
                    </a:ext>
                  </a:extLst>
                </a:gridCol>
                <a:gridCol w="4224488">
                  <a:extLst>
                    <a:ext uri="{9D8B030D-6E8A-4147-A177-3AD203B41FA5}">
                      <a16:colId xmlns:a16="http://schemas.microsoft.com/office/drawing/2014/main" val="3751422020"/>
                    </a:ext>
                  </a:extLst>
                </a:gridCol>
              </a:tblGrid>
              <a:tr h="270627">
                <a:tc>
                  <a:txBody>
                    <a:bodyPr/>
                    <a:lstStyle/>
                    <a:p>
                      <a:endParaRPr lang="fr-FR" dirty="0"/>
                    </a:p>
                  </a:txBody>
                  <a:tcPr>
                    <a:solidFill>
                      <a:schemeClr val="bg1"/>
                    </a:solidFill>
                  </a:tcPr>
                </a:tc>
                <a:tc>
                  <a:txBody>
                    <a:bodyPr/>
                    <a:lstStyle/>
                    <a:p>
                      <a:endParaRPr lang="fr-FR" dirty="0"/>
                    </a:p>
                  </a:txBody>
                  <a:tcPr>
                    <a:solidFill>
                      <a:schemeClr val="bg1"/>
                    </a:solidFill>
                  </a:tcPr>
                </a:tc>
                <a:extLst>
                  <a:ext uri="{0D108BD9-81ED-4DB2-BD59-A6C34878D82A}">
                    <a16:rowId xmlns:a16="http://schemas.microsoft.com/office/drawing/2014/main" val="1585425288"/>
                  </a:ext>
                </a:extLst>
              </a:tr>
              <a:tr h="337705">
                <a:tc>
                  <a:txBody>
                    <a:bodyPr/>
                    <a:lstStyle/>
                    <a:p>
                      <a:pPr marL="347663" lvl="0" indent="-285750"/>
                      <a:r>
                        <a:rPr lang="en-US" sz="1200" i="1" dirty="0" err="1"/>
                        <a:t>agent.getContext</a:t>
                      </a:r>
                      <a:r>
                        <a:rPr lang="en-US" sz="1200" i="1" dirty="0"/>
                        <a:t>.(‘context-name’); </a:t>
                      </a:r>
                    </a:p>
                    <a:p>
                      <a:pPr marL="347663" marR="0" lvl="0" indent="-285750" algn="l" defTabSz="685800" rtl="0" eaLnBrk="1" fontAlgn="auto" latinLnBrk="0" hangingPunct="1">
                        <a:lnSpc>
                          <a:spcPct val="100000"/>
                        </a:lnSpc>
                        <a:spcBef>
                          <a:spcPts val="0"/>
                        </a:spcBef>
                        <a:spcAft>
                          <a:spcPts val="0"/>
                        </a:spcAft>
                        <a:buClrTx/>
                        <a:buSzTx/>
                        <a:buFontTx/>
                        <a:buNone/>
                        <a:tabLst/>
                        <a:defRPr/>
                      </a:pPr>
                      <a:r>
                        <a:rPr lang="en-US" sz="1200" i="1" dirty="0" err="1"/>
                        <a:t>agent.getContext</a:t>
                      </a:r>
                      <a:r>
                        <a:rPr lang="en-US" sz="1200" i="1" dirty="0"/>
                        <a:t>('context-name').</a:t>
                      </a:r>
                      <a:r>
                        <a:rPr lang="en-US" sz="1200" i="1" dirty="0" err="1"/>
                        <a:t>parameters.myTxt</a:t>
                      </a:r>
                      <a:r>
                        <a:rPr lang="en-US" sz="1200" i="1" dirty="0"/>
                        <a:t>;</a:t>
                      </a:r>
                    </a:p>
                    <a:p>
                      <a:pPr marL="347663" lvl="0" indent="-285750"/>
                      <a:endParaRPr lang="en-US" sz="1000" i="1" dirty="0"/>
                    </a:p>
                  </a:txBody>
                  <a:tcPr>
                    <a:solidFill>
                      <a:schemeClr val="bg2">
                        <a:lumMod val="90000"/>
                      </a:schemeClr>
                    </a:solidFill>
                  </a:tcPr>
                </a:tc>
                <a:tc>
                  <a:txBody>
                    <a:bodyPr/>
                    <a:lstStyle/>
                    <a:p>
                      <a:pPr marL="347663" lvl="0" indent="-285750"/>
                      <a:r>
                        <a:rPr lang="en-US" sz="1200" i="1" dirty="0" err="1"/>
                        <a:t>agent.context.get</a:t>
                      </a:r>
                      <a:r>
                        <a:rPr lang="en-US" sz="1200" i="1" dirty="0"/>
                        <a:t> ('context-name’); </a:t>
                      </a:r>
                    </a:p>
                    <a:p>
                      <a:pPr marL="347663" marR="0" lvl="0" indent="-285750" algn="l" defTabSz="685800" rtl="0" eaLnBrk="1" fontAlgn="auto" latinLnBrk="0" hangingPunct="1">
                        <a:lnSpc>
                          <a:spcPct val="100000"/>
                        </a:lnSpc>
                        <a:spcBef>
                          <a:spcPts val="0"/>
                        </a:spcBef>
                        <a:spcAft>
                          <a:spcPts val="0"/>
                        </a:spcAft>
                        <a:buClrTx/>
                        <a:buSzTx/>
                        <a:buFontTx/>
                        <a:buNone/>
                        <a:tabLst/>
                        <a:defRPr/>
                      </a:pPr>
                      <a:r>
                        <a:rPr lang="en-US" sz="1200" i="1" dirty="0" err="1"/>
                        <a:t>agent.context</a:t>
                      </a:r>
                      <a:r>
                        <a:rPr lang="en-US" sz="1200" i="1" dirty="0"/>
                        <a:t>('context-name').</a:t>
                      </a:r>
                      <a:r>
                        <a:rPr lang="en-US" sz="1200" i="1" dirty="0" err="1"/>
                        <a:t>parameters.myTxt</a:t>
                      </a:r>
                      <a:r>
                        <a:rPr lang="en-US" sz="1200" i="1" dirty="0"/>
                        <a:t>;</a:t>
                      </a:r>
                    </a:p>
                  </a:txBody>
                  <a:tcPr>
                    <a:solidFill>
                      <a:schemeClr val="bg2">
                        <a:lumMod val="90000"/>
                      </a:schemeClr>
                    </a:solidFill>
                  </a:tcPr>
                </a:tc>
                <a:extLst>
                  <a:ext uri="{0D108BD9-81ED-4DB2-BD59-A6C34878D82A}">
                    <a16:rowId xmlns:a16="http://schemas.microsoft.com/office/drawing/2014/main" val="3094099952"/>
                  </a:ext>
                </a:extLst>
              </a:tr>
            </a:tbl>
          </a:graphicData>
        </a:graphic>
      </p:graphicFrame>
      <p:pic>
        <p:nvPicPr>
          <p:cNvPr id="8" name="Image 7">
            <a:extLst>
              <a:ext uri="{FF2B5EF4-FFF2-40B4-BE49-F238E27FC236}">
                <a16:creationId xmlns:a16="http://schemas.microsoft.com/office/drawing/2014/main" id="{3907F9CC-2A07-46CA-A7E0-D1163CDAA285}"/>
              </a:ext>
            </a:extLst>
          </p:cNvPr>
          <p:cNvPicPr>
            <a:picLocks noChangeAspect="1"/>
          </p:cNvPicPr>
          <p:nvPr/>
        </p:nvPicPr>
        <p:blipFill>
          <a:blip r:embed="rId2"/>
          <a:stretch>
            <a:fillRect/>
          </a:stretch>
        </p:blipFill>
        <p:spPr>
          <a:xfrm>
            <a:off x="4824251" y="2399187"/>
            <a:ext cx="2553056" cy="200053"/>
          </a:xfrm>
          <a:prstGeom prst="rect">
            <a:avLst/>
          </a:prstGeom>
        </p:spPr>
      </p:pic>
      <p:pic>
        <p:nvPicPr>
          <p:cNvPr id="9" name="Image 8">
            <a:extLst>
              <a:ext uri="{FF2B5EF4-FFF2-40B4-BE49-F238E27FC236}">
                <a16:creationId xmlns:a16="http://schemas.microsoft.com/office/drawing/2014/main" id="{98284F7F-9728-434C-A344-80104BC68E58}"/>
              </a:ext>
            </a:extLst>
          </p:cNvPr>
          <p:cNvPicPr>
            <a:picLocks noChangeAspect="1"/>
          </p:cNvPicPr>
          <p:nvPr/>
        </p:nvPicPr>
        <p:blipFill>
          <a:blip r:embed="rId3"/>
          <a:stretch>
            <a:fillRect/>
          </a:stretch>
        </p:blipFill>
        <p:spPr>
          <a:xfrm>
            <a:off x="228600" y="2408713"/>
            <a:ext cx="2543530" cy="190527"/>
          </a:xfrm>
          <a:prstGeom prst="rect">
            <a:avLst/>
          </a:prstGeom>
        </p:spPr>
      </p:pic>
      <p:graphicFrame>
        <p:nvGraphicFramePr>
          <p:cNvPr id="10" name="Tableau 9">
            <a:extLst>
              <a:ext uri="{FF2B5EF4-FFF2-40B4-BE49-F238E27FC236}">
                <a16:creationId xmlns:a16="http://schemas.microsoft.com/office/drawing/2014/main" id="{93D53B88-3BDC-4239-9034-FF0FFE20DE59}"/>
              </a:ext>
            </a:extLst>
          </p:cNvPr>
          <p:cNvGraphicFramePr>
            <a:graphicFrameLocks noGrp="1"/>
          </p:cNvGraphicFramePr>
          <p:nvPr/>
        </p:nvGraphicFramePr>
        <p:xfrm>
          <a:off x="228602" y="3823951"/>
          <a:ext cx="8789274" cy="906780"/>
        </p:xfrm>
        <a:graphic>
          <a:graphicData uri="http://schemas.openxmlformats.org/drawingml/2006/table">
            <a:tbl>
              <a:tblPr firstRow="1" bandRow="1">
                <a:tableStyleId>{0660B408-B3CF-4A94-85FC-2B1E0A45F4A2}</a:tableStyleId>
              </a:tblPr>
              <a:tblGrid>
                <a:gridCol w="4564787">
                  <a:extLst>
                    <a:ext uri="{9D8B030D-6E8A-4147-A177-3AD203B41FA5}">
                      <a16:colId xmlns:a16="http://schemas.microsoft.com/office/drawing/2014/main" val="2877239943"/>
                    </a:ext>
                  </a:extLst>
                </a:gridCol>
                <a:gridCol w="4224487">
                  <a:extLst>
                    <a:ext uri="{9D8B030D-6E8A-4147-A177-3AD203B41FA5}">
                      <a16:colId xmlns:a16="http://schemas.microsoft.com/office/drawing/2014/main" val="3751422020"/>
                    </a:ext>
                  </a:extLst>
                </a:gridCol>
              </a:tblGrid>
              <a:tr h="270627">
                <a:tc>
                  <a:txBody>
                    <a:bodyPr/>
                    <a:lstStyle/>
                    <a:p>
                      <a:endParaRPr lang="fr-FR" dirty="0"/>
                    </a:p>
                  </a:txBody>
                  <a:tcPr>
                    <a:solidFill>
                      <a:schemeClr val="bg1"/>
                    </a:solidFill>
                  </a:tcPr>
                </a:tc>
                <a:tc>
                  <a:txBody>
                    <a:bodyPr/>
                    <a:lstStyle/>
                    <a:p>
                      <a:endParaRPr lang="fr-FR" dirty="0"/>
                    </a:p>
                  </a:txBody>
                  <a:tcPr>
                    <a:solidFill>
                      <a:schemeClr val="bg1"/>
                    </a:solidFill>
                  </a:tcPr>
                </a:tc>
                <a:extLst>
                  <a:ext uri="{0D108BD9-81ED-4DB2-BD59-A6C34878D82A}">
                    <a16:rowId xmlns:a16="http://schemas.microsoft.com/office/drawing/2014/main" val="1585425288"/>
                  </a:ext>
                </a:extLst>
              </a:tr>
              <a:tr h="337705">
                <a:tc>
                  <a:txBody>
                    <a:bodyPr/>
                    <a:lstStyle/>
                    <a:p>
                      <a:pPr marL="347663" marR="0" lvl="0" indent="-285750" algn="l" defTabSz="685800" rtl="0" eaLnBrk="1" fontAlgn="auto" latinLnBrk="0" hangingPunct="1">
                        <a:lnSpc>
                          <a:spcPct val="100000"/>
                        </a:lnSpc>
                        <a:spcBef>
                          <a:spcPts val="0"/>
                        </a:spcBef>
                        <a:spcAft>
                          <a:spcPts val="0"/>
                        </a:spcAft>
                        <a:buClrTx/>
                        <a:buSzTx/>
                        <a:buFontTx/>
                        <a:buNone/>
                        <a:tabLst/>
                        <a:defRPr/>
                      </a:pPr>
                      <a:r>
                        <a:rPr lang="en-US" sz="1200" i="1" dirty="0" err="1"/>
                        <a:t>agent.setContext</a:t>
                      </a:r>
                      <a:r>
                        <a:rPr lang="en-US" sz="1200" i="1" dirty="0"/>
                        <a:t>({'name’: context-name’, 'lifespan': 0})</a:t>
                      </a:r>
                    </a:p>
                    <a:p>
                      <a:pPr marL="347663" lvl="0" indent="-285750"/>
                      <a:endParaRPr lang="en-US" sz="1000" i="1" dirty="0"/>
                    </a:p>
                  </a:txBody>
                  <a:tcPr>
                    <a:solidFill>
                      <a:schemeClr val="bg2">
                        <a:lumMod val="90000"/>
                      </a:schemeClr>
                    </a:solidFill>
                  </a:tcPr>
                </a:tc>
                <a:tc>
                  <a:txBody>
                    <a:bodyPr/>
                    <a:lstStyle/>
                    <a:p>
                      <a:pPr marL="347663" lvl="0" indent="-285750"/>
                      <a:r>
                        <a:rPr lang="en-US" sz="1200" i="1" dirty="0" err="1"/>
                        <a:t>agent.context.delete</a:t>
                      </a:r>
                      <a:r>
                        <a:rPr lang="en-US" sz="1200" i="1" dirty="0"/>
                        <a:t>('context-name')</a:t>
                      </a:r>
                      <a:r>
                        <a:rPr lang="en-US" sz="1050" i="1" dirty="0"/>
                        <a:t> </a:t>
                      </a:r>
                      <a:endParaRPr lang="en-US" sz="1200" i="1" dirty="0"/>
                    </a:p>
                  </a:txBody>
                  <a:tcPr>
                    <a:solidFill>
                      <a:schemeClr val="bg2">
                        <a:lumMod val="90000"/>
                      </a:schemeClr>
                    </a:solidFill>
                  </a:tcPr>
                </a:tc>
                <a:extLst>
                  <a:ext uri="{0D108BD9-81ED-4DB2-BD59-A6C34878D82A}">
                    <a16:rowId xmlns:a16="http://schemas.microsoft.com/office/drawing/2014/main" val="3094099952"/>
                  </a:ext>
                </a:extLst>
              </a:tr>
            </a:tbl>
          </a:graphicData>
        </a:graphic>
      </p:graphicFrame>
      <p:pic>
        <p:nvPicPr>
          <p:cNvPr id="11" name="Image 10">
            <a:extLst>
              <a:ext uri="{FF2B5EF4-FFF2-40B4-BE49-F238E27FC236}">
                <a16:creationId xmlns:a16="http://schemas.microsoft.com/office/drawing/2014/main" id="{C844FFB5-46F2-4971-BE98-A346031D10EA}"/>
              </a:ext>
            </a:extLst>
          </p:cNvPr>
          <p:cNvPicPr>
            <a:picLocks noChangeAspect="1"/>
          </p:cNvPicPr>
          <p:nvPr/>
        </p:nvPicPr>
        <p:blipFill>
          <a:blip r:embed="rId2"/>
          <a:stretch>
            <a:fillRect/>
          </a:stretch>
        </p:blipFill>
        <p:spPr>
          <a:xfrm>
            <a:off x="4844025" y="3864223"/>
            <a:ext cx="2553056" cy="200053"/>
          </a:xfrm>
          <a:prstGeom prst="rect">
            <a:avLst/>
          </a:prstGeom>
        </p:spPr>
      </p:pic>
      <p:pic>
        <p:nvPicPr>
          <p:cNvPr id="12" name="Image 11">
            <a:extLst>
              <a:ext uri="{FF2B5EF4-FFF2-40B4-BE49-F238E27FC236}">
                <a16:creationId xmlns:a16="http://schemas.microsoft.com/office/drawing/2014/main" id="{2464F847-AEEB-49B2-A334-2FF4B017597C}"/>
              </a:ext>
            </a:extLst>
          </p:cNvPr>
          <p:cNvPicPr>
            <a:picLocks noChangeAspect="1"/>
          </p:cNvPicPr>
          <p:nvPr/>
        </p:nvPicPr>
        <p:blipFill>
          <a:blip r:embed="rId3"/>
          <a:stretch>
            <a:fillRect/>
          </a:stretch>
        </p:blipFill>
        <p:spPr>
          <a:xfrm>
            <a:off x="228600" y="3873749"/>
            <a:ext cx="2543530" cy="190527"/>
          </a:xfrm>
          <a:prstGeom prst="rect">
            <a:avLst/>
          </a:prstGeom>
        </p:spPr>
      </p:pic>
    </p:spTree>
    <p:extLst>
      <p:ext uri="{BB962C8B-B14F-4D97-AF65-F5344CB8AC3E}">
        <p14:creationId xmlns:p14="http://schemas.microsoft.com/office/powerpoint/2010/main" val="3525995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0AE5A0-92A1-4351-B6CF-17AB076FCB17}"/>
              </a:ext>
            </a:extLst>
          </p:cNvPr>
          <p:cNvSpPr>
            <a:spLocks noGrp="1"/>
          </p:cNvSpPr>
          <p:nvPr>
            <p:ph type="title"/>
          </p:nvPr>
        </p:nvSpPr>
        <p:spPr/>
        <p:txBody>
          <a:bodyPr/>
          <a:lstStyle/>
          <a:p>
            <a:r>
              <a:rPr lang="fr-FR" dirty="0" err="1"/>
              <a:t>Some</a:t>
            </a:r>
            <a:r>
              <a:rPr lang="fr-FR" dirty="0"/>
              <a:t> </a:t>
            </a:r>
            <a:r>
              <a:rPr lang="fr-FR" dirty="0" err="1"/>
              <a:t>hints</a:t>
            </a:r>
            <a:r>
              <a:rPr lang="fr-FR" dirty="0"/>
              <a:t>…</a:t>
            </a:r>
          </a:p>
        </p:txBody>
      </p:sp>
      <p:sp>
        <p:nvSpPr>
          <p:cNvPr id="3" name="Text Placeholder 16">
            <a:extLst>
              <a:ext uri="{FF2B5EF4-FFF2-40B4-BE49-F238E27FC236}">
                <a16:creationId xmlns:a16="http://schemas.microsoft.com/office/drawing/2014/main" id="{D66B6D52-9EC3-4511-B09C-A547C195B14A}"/>
              </a:ext>
            </a:extLst>
          </p:cNvPr>
          <p:cNvSpPr txBox="1">
            <a:spLocks/>
          </p:cNvSpPr>
          <p:nvPr/>
        </p:nvSpPr>
        <p:spPr>
          <a:xfrm>
            <a:off x="228600" y="668889"/>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Clr>
                <a:schemeClr val="accent2"/>
              </a:buClr>
              <a:buFont typeface="Arial" panose="020B0604020202020204" pitchFamily="34" charset="0"/>
              <a:buChar char="•"/>
            </a:pPr>
            <a:r>
              <a:rPr lang="en-US" sz="1400" dirty="0"/>
              <a:t>Remember : a fallback decrement the lifespan on 1 (like any others intents)</a:t>
            </a:r>
          </a:p>
          <a:p>
            <a:pPr marL="285750" indent="-285750">
              <a:buClr>
                <a:schemeClr val="accent2"/>
              </a:buClr>
              <a:buFont typeface="Arial" panose="020B0604020202020204" pitchFamily="34" charset="0"/>
              <a:buChar char="•"/>
            </a:pPr>
            <a:endParaRPr lang="en-US" sz="1400" dirty="0"/>
          </a:p>
          <a:p>
            <a:pPr marL="285750" indent="-285750">
              <a:buClr>
                <a:schemeClr val="accent2"/>
              </a:buClr>
              <a:buFont typeface="Arial" panose="020B0604020202020204" pitchFamily="34" charset="0"/>
              <a:buChar char="•"/>
            </a:pPr>
            <a:r>
              <a:rPr lang="en-US" sz="1400" dirty="0"/>
              <a:t>Never use a lifespan of 1 : in case of fallback, you loose your context. Usually, a lifespan is between 3 and 5. </a:t>
            </a:r>
          </a:p>
          <a:p>
            <a:pPr marL="285750" indent="-285750">
              <a:buClr>
                <a:schemeClr val="accent2"/>
              </a:buClr>
              <a:buFont typeface="Arial" panose="020B0604020202020204" pitchFamily="34" charset="0"/>
              <a:buChar char="•"/>
            </a:pPr>
            <a:endParaRPr lang="en-US" sz="1400" dirty="0"/>
          </a:p>
          <a:p>
            <a:pPr marL="285750" indent="-285750">
              <a:buClr>
                <a:schemeClr val="accent2"/>
              </a:buClr>
              <a:buFont typeface="Arial" panose="020B0604020202020204" pitchFamily="34" charset="0"/>
              <a:buChar char="•"/>
            </a:pPr>
            <a:r>
              <a:rPr lang="en-US" sz="1400" dirty="0"/>
              <a:t>If you use </a:t>
            </a:r>
            <a:r>
              <a:rPr lang="en-US" sz="1400" dirty="0" err="1"/>
              <a:t>smalltalks</a:t>
            </a:r>
            <a:r>
              <a:rPr lang="en-US" sz="1400" dirty="0"/>
              <a:t>, it’s better to increase the lifespan.</a:t>
            </a:r>
          </a:p>
          <a:p>
            <a:pPr marL="285750" indent="-285750">
              <a:buClr>
                <a:schemeClr val="accent2"/>
              </a:buClr>
              <a:buFont typeface="Arial" panose="020B0604020202020204" pitchFamily="34" charset="0"/>
              <a:buChar char="•"/>
            </a:pPr>
            <a:endParaRPr lang="en-US" sz="1400" dirty="0"/>
          </a:p>
          <a:p>
            <a:pPr marL="285750" indent="-285750">
              <a:buClr>
                <a:schemeClr val="accent2"/>
              </a:buClr>
              <a:buFont typeface="Arial" panose="020B0604020202020204" pitchFamily="34" charset="0"/>
              <a:buChar char="•"/>
            </a:pPr>
            <a:r>
              <a:rPr lang="en-US" sz="1400" dirty="0"/>
              <a:t>When you modify a context in an intent, the new content of the context can be read only in the next intent.</a:t>
            </a:r>
          </a:p>
          <a:p>
            <a:pPr marL="690563" lvl="1" indent="-285750">
              <a:buClr>
                <a:schemeClr val="accent2"/>
              </a:buClr>
            </a:pPr>
            <a:r>
              <a:rPr lang="en-US" sz="1400" dirty="0"/>
              <a:t>This doesn't work :</a:t>
            </a:r>
          </a:p>
          <a:p>
            <a:pPr marL="960835" lvl="2" indent="-285750"/>
            <a:r>
              <a:rPr lang="en-US" dirty="0"/>
              <a:t>let </a:t>
            </a:r>
            <a:r>
              <a:rPr lang="en-US" dirty="0" err="1"/>
              <a:t>oContext</a:t>
            </a:r>
            <a:r>
              <a:rPr lang="en-US" dirty="0"/>
              <a:t> = {'name': '</a:t>
            </a:r>
            <a:r>
              <a:rPr lang="en-US" dirty="0" err="1"/>
              <a:t>retranscription</a:t>
            </a:r>
            <a:r>
              <a:rPr lang="en-US" dirty="0"/>
              <a:t>', 'lifespan’: 5,'parameters’: {‘</a:t>
            </a:r>
            <a:r>
              <a:rPr lang="en-US" dirty="0" err="1"/>
              <a:t>value’:’My</a:t>
            </a:r>
            <a:r>
              <a:rPr lang="en-US" dirty="0"/>
              <a:t> value’ } };   </a:t>
            </a:r>
          </a:p>
          <a:p>
            <a:pPr marL="960835" lvl="2" indent="-285750"/>
            <a:r>
              <a:rPr lang="en-US" dirty="0" err="1"/>
              <a:t>agent.context.set</a:t>
            </a:r>
            <a:r>
              <a:rPr lang="en-US" dirty="0"/>
              <a:t>(</a:t>
            </a:r>
            <a:r>
              <a:rPr lang="en-US" dirty="0" err="1"/>
              <a:t>oContext</a:t>
            </a:r>
            <a:r>
              <a:rPr lang="en-US" dirty="0"/>
              <a:t>);</a:t>
            </a:r>
          </a:p>
          <a:p>
            <a:pPr marL="960835" lvl="2" indent="-285750"/>
            <a:r>
              <a:rPr lang="en-US" dirty="0" err="1">
                <a:solidFill>
                  <a:schemeClr val="accent2"/>
                </a:solidFill>
              </a:rPr>
              <a:t>sValue</a:t>
            </a:r>
            <a:r>
              <a:rPr lang="en-US" dirty="0">
                <a:solidFill>
                  <a:schemeClr val="accent2"/>
                </a:solidFill>
              </a:rPr>
              <a:t> = </a:t>
            </a:r>
            <a:r>
              <a:rPr lang="en-US" dirty="0" err="1">
                <a:solidFill>
                  <a:schemeClr val="accent2"/>
                </a:solidFill>
              </a:rPr>
              <a:t>agent.context.get</a:t>
            </a:r>
            <a:r>
              <a:rPr lang="en-US" dirty="0">
                <a:solidFill>
                  <a:schemeClr val="accent2"/>
                </a:solidFill>
              </a:rPr>
              <a:t>('</a:t>
            </a:r>
            <a:r>
              <a:rPr lang="en-US" dirty="0" err="1">
                <a:solidFill>
                  <a:schemeClr val="accent2"/>
                </a:solidFill>
              </a:rPr>
              <a:t>retranscription</a:t>
            </a:r>
            <a:r>
              <a:rPr lang="en-US" dirty="0">
                <a:solidFill>
                  <a:schemeClr val="accent2"/>
                </a:solidFill>
              </a:rPr>
              <a:t>').</a:t>
            </a:r>
            <a:r>
              <a:rPr lang="en-US" dirty="0" err="1">
                <a:solidFill>
                  <a:schemeClr val="accent2"/>
                </a:solidFill>
              </a:rPr>
              <a:t>parameters.value</a:t>
            </a:r>
            <a:r>
              <a:rPr lang="en-US" dirty="0">
                <a:solidFill>
                  <a:schemeClr val="accent2"/>
                </a:solidFill>
              </a:rPr>
              <a:t>;</a:t>
            </a:r>
          </a:p>
          <a:p>
            <a:pPr marL="960835" lvl="2" indent="-285750"/>
            <a:endParaRPr lang="en-US" sz="1400" dirty="0"/>
          </a:p>
          <a:p>
            <a:pPr marL="285750" indent="-285750">
              <a:buClr>
                <a:schemeClr val="accent2"/>
              </a:buClr>
              <a:buFont typeface="Arial" panose="020B0604020202020204" pitchFamily="34" charset="0"/>
              <a:buChar char="•"/>
            </a:pPr>
            <a:r>
              <a:rPr lang="en-US" sz="1400" dirty="0"/>
              <a:t>An intent becomes useless ? Do not hesitate to delete the input context to avoid misunderstanding. </a:t>
            </a:r>
          </a:p>
          <a:p>
            <a:pPr marL="960835" lvl="2" indent="-285750"/>
            <a:endParaRPr lang="en-US" sz="850" dirty="0"/>
          </a:p>
          <a:p>
            <a:pPr marL="960835" lvl="2" indent="-285750"/>
            <a:endParaRPr lang="en-US" sz="850" dirty="0"/>
          </a:p>
          <a:p>
            <a:pPr marL="690563" lvl="1" indent="-285750"/>
            <a:endParaRPr lang="en-US" sz="1000" dirty="0"/>
          </a:p>
          <a:p>
            <a:pPr marL="690563" lvl="1" indent="-285750"/>
            <a:endParaRPr lang="en-US" sz="1000" dirty="0"/>
          </a:p>
          <a:p>
            <a:pPr marL="690563" lvl="1" indent="-285750"/>
            <a:endParaRPr lang="en-US" sz="1300" i="1"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78263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CD1B6BA-3FB1-46BD-96A4-DB60E85B7DE9}"/>
              </a:ext>
            </a:extLst>
          </p:cNvPr>
          <p:cNvSpPr>
            <a:spLocks noGrp="1"/>
          </p:cNvSpPr>
          <p:nvPr>
            <p:ph type="title"/>
          </p:nvPr>
        </p:nvSpPr>
        <p:spPr>
          <a:xfrm>
            <a:off x="9525" y="1"/>
            <a:ext cx="7933889" cy="808037"/>
          </a:xfrm>
        </p:spPr>
        <p:txBody>
          <a:bodyPr>
            <a:normAutofit/>
          </a:bodyPr>
          <a:lstStyle/>
          <a:p>
            <a:r>
              <a:rPr lang="en-US" dirty="0"/>
              <a:t>Keeping information </a:t>
            </a:r>
            <a:r>
              <a:rPr lang="fr-FR" dirty="0" err="1"/>
              <a:t>across</a:t>
            </a:r>
            <a:r>
              <a:rPr lang="fr-FR" dirty="0"/>
              <a:t> conversations</a:t>
            </a:r>
          </a:p>
        </p:txBody>
      </p:sp>
      <p:sp>
        <p:nvSpPr>
          <p:cNvPr id="3" name="Text Placeholder 16">
            <a:extLst>
              <a:ext uri="{FF2B5EF4-FFF2-40B4-BE49-F238E27FC236}">
                <a16:creationId xmlns:a16="http://schemas.microsoft.com/office/drawing/2014/main" id="{036CBA81-29E4-44AD-917E-4956CFB35DE3}"/>
              </a:ext>
            </a:extLst>
          </p:cNvPr>
          <p:cNvSpPr txBox="1">
            <a:spLocks/>
          </p:cNvSpPr>
          <p:nvPr/>
        </p:nvSpPr>
        <p:spPr>
          <a:xfrm>
            <a:off x="228600" y="668889"/>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pPr marL="285750" indent="-285750">
              <a:buFont typeface="Arial" panose="020B0604020202020204" pitchFamily="34" charset="0"/>
              <a:buChar char="•"/>
            </a:pPr>
            <a:r>
              <a:rPr lang="en-US" sz="1300" dirty="0"/>
              <a:t>If your Action needs to save state between turns of a conversation or across different conversations, you can use the </a:t>
            </a:r>
            <a:r>
              <a:rPr lang="en-US" sz="1300" b="1" dirty="0" err="1">
                <a:solidFill>
                  <a:schemeClr val="accent2"/>
                </a:solidFill>
              </a:rPr>
              <a:t>UserStorage</a:t>
            </a:r>
            <a:r>
              <a:rPr lang="en-US" sz="1300" dirty="0"/>
              <a:t>.</a:t>
            </a:r>
          </a:p>
          <a:p>
            <a:endParaRPr lang="en-US" sz="1300" dirty="0"/>
          </a:p>
          <a:p>
            <a:pPr marL="285750" indent="-285750">
              <a:buFont typeface="Arial" panose="020B0604020202020204" pitchFamily="34" charset="0"/>
              <a:buChar char="•"/>
            </a:pPr>
            <a:r>
              <a:rPr lang="en-US" sz="1300" dirty="0"/>
              <a:t>The </a:t>
            </a:r>
            <a:r>
              <a:rPr lang="en-US" sz="1300" dirty="0" err="1"/>
              <a:t>userStorage</a:t>
            </a:r>
            <a:r>
              <a:rPr lang="en-US" sz="1300" dirty="0"/>
              <a:t> field is a string that is saved across conversations for a particular user. </a:t>
            </a:r>
          </a:p>
          <a:p>
            <a:pPr marL="690563" lvl="1" indent="-285750"/>
            <a:r>
              <a:rPr lang="en-US" sz="1150" dirty="0"/>
              <a:t>For example, a game can save the highest score of a user in </a:t>
            </a:r>
            <a:r>
              <a:rPr lang="en-US" sz="1150" dirty="0" err="1"/>
              <a:t>userStorage</a:t>
            </a:r>
            <a:r>
              <a:rPr lang="en-US" sz="1150" dirty="0"/>
              <a:t>, and use its value in the welcome message every time the user starts a new conversation. </a:t>
            </a:r>
          </a:p>
          <a:p>
            <a:pPr marL="690563" lvl="1" indent="-285750"/>
            <a:endParaRPr lang="en-US" sz="1150" dirty="0"/>
          </a:p>
          <a:p>
            <a:pPr marL="285750" indent="-285750">
              <a:buFont typeface="Arial" panose="020B0604020202020204" pitchFamily="34" charset="0"/>
              <a:buChar char="•"/>
            </a:pPr>
            <a:r>
              <a:rPr lang="en-US" sz="1300" b="1" dirty="0">
                <a:solidFill>
                  <a:schemeClr val="accent2"/>
                </a:solidFill>
              </a:rPr>
              <a:t>Warning</a:t>
            </a:r>
            <a:r>
              <a:rPr lang="en-US" sz="1300" dirty="0">
                <a:solidFill>
                  <a:schemeClr val="accent2"/>
                </a:solidFill>
              </a:rPr>
              <a:t>: </a:t>
            </a:r>
          </a:p>
          <a:p>
            <a:pPr marL="690563" lvl="1" indent="-285750"/>
            <a:r>
              <a:rPr lang="en-US" sz="1150" dirty="0">
                <a:solidFill>
                  <a:schemeClr val="accent2"/>
                </a:solidFill>
              </a:rPr>
              <a:t>Only verified users can store information in </a:t>
            </a:r>
            <a:r>
              <a:rPr lang="en-US" sz="1150" dirty="0" err="1">
                <a:solidFill>
                  <a:schemeClr val="accent2"/>
                </a:solidFill>
              </a:rPr>
              <a:t>userStorage</a:t>
            </a:r>
            <a:r>
              <a:rPr lang="en-US" sz="1150" dirty="0">
                <a:solidFill>
                  <a:schemeClr val="accent2"/>
                </a:solidFill>
              </a:rPr>
              <a:t>. </a:t>
            </a:r>
          </a:p>
          <a:p>
            <a:pPr marL="690563" lvl="1" indent="-285750"/>
            <a:r>
              <a:rPr lang="en-US" sz="1150" dirty="0">
                <a:solidFill>
                  <a:schemeClr val="accent2"/>
                </a:solidFill>
              </a:rPr>
              <a:t>If the user is a guest, accessing </a:t>
            </a:r>
            <a:r>
              <a:rPr lang="en-US" sz="1150" dirty="0" err="1">
                <a:solidFill>
                  <a:schemeClr val="accent2"/>
                </a:solidFill>
              </a:rPr>
              <a:t>userStorage</a:t>
            </a:r>
            <a:r>
              <a:rPr lang="en-US" sz="1150" dirty="0">
                <a:solidFill>
                  <a:schemeClr val="accent2"/>
                </a:solidFill>
              </a:rPr>
              <a:t> will fail. </a:t>
            </a:r>
          </a:p>
          <a:p>
            <a:pPr marL="690563" lvl="1" indent="-285750"/>
            <a:endParaRPr lang="en-US" sz="1150" dirty="0">
              <a:solidFill>
                <a:schemeClr val="accent2"/>
              </a:solidFill>
            </a:endParaRPr>
          </a:p>
          <a:p>
            <a:pPr marL="285750" indent="-285750">
              <a:buFont typeface="Arial" panose="020B0604020202020204" pitchFamily="34" charset="0"/>
              <a:buChar char="•"/>
            </a:pPr>
            <a:r>
              <a:rPr lang="en-US" sz="1300" b="1" dirty="0">
                <a:solidFill>
                  <a:schemeClr val="accent2"/>
                </a:solidFill>
              </a:rPr>
              <a:t>Consequently</a:t>
            </a:r>
            <a:r>
              <a:rPr lang="en-US" sz="1300" dirty="0">
                <a:solidFill>
                  <a:schemeClr val="accent2"/>
                </a:solidFill>
              </a:rPr>
              <a:t>:</a:t>
            </a:r>
          </a:p>
          <a:p>
            <a:pPr marL="690563" lvl="1" indent="-285750"/>
            <a:r>
              <a:rPr lang="en-US" sz="1150" dirty="0">
                <a:solidFill>
                  <a:schemeClr val="accent2"/>
                </a:solidFill>
              </a:rPr>
              <a:t>We can’t use </a:t>
            </a:r>
            <a:r>
              <a:rPr lang="en-US" sz="1150" dirty="0" err="1">
                <a:solidFill>
                  <a:schemeClr val="accent2"/>
                </a:solidFill>
              </a:rPr>
              <a:t>UserStorage</a:t>
            </a:r>
            <a:r>
              <a:rPr lang="en-US" sz="1150" dirty="0">
                <a:solidFill>
                  <a:schemeClr val="accent2"/>
                </a:solidFill>
              </a:rPr>
              <a:t> with Concierge/</a:t>
            </a:r>
            <a:r>
              <a:rPr lang="en-US" sz="1150" dirty="0" err="1">
                <a:solidFill>
                  <a:schemeClr val="accent2"/>
                </a:solidFill>
              </a:rPr>
              <a:t>Dialogflow</a:t>
            </a:r>
            <a:r>
              <a:rPr lang="en-US" sz="1150" dirty="0">
                <a:solidFill>
                  <a:schemeClr val="accent2"/>
                </a:solidFill>
              </a:rPr>
              <a:t> (no identified user)</a:t>
            </a:r>
          </a:p>
          <a:p>
            <a:pPr marL="690563" lvl="1" indent="-285750"/>
            <a:r>
              <a:rPr lang="en-US" sz="1150" dirty="0">
                <a:solidFill>
                  <a:schemeClr val="accent2"/>
                </a:solidFill>
              </a:rPr>
              <a:t>With a Google Home or a Google Assistant, if you use a sandbox, your user is a verified user</a:t>
            </a:r>
            <a:r>
              <a:rPr lang="en-US" sz="1150" dirty="0"/>
              <a:t>.</a:t>
            </a:r>
          </a:p>
          <a:p>
            <a:pPr marL="690563" lvl="1" indent="-285750"/>
            <a:endParaRPr lang="en-US" sz="1000" dirty="0"/>
          </a:p>
          <a:p>
            <a:pPr marL="690563" lvl="1" indent="-285750"/>
            <a:endParaRPr lang="en-US" sz="1000" dirty="0"/>
          </a:p>
          <a:p>
            <a:pPr marL="690563" lvl="1" indent="-285750"/>
            <a:endParaRPr lang="en-US" sz="1300" i="1"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212524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781320B-9A3C-4336-BB55-20C882E11871}"/>
              </a:ext>
            </a:extLst>
          </p:cNvPr>
          <p:cNvSpPr>
            <a:spLocks noGrp="1"/>
          </p:cNvSpPr>
          <p:nvPr>
            <p:ph type="title"/>
          </p:nvPr>
        </p:nvSpPr>
        <p:spPr/>
        <p:txBody>
          <a:bodyPr/>
          <a:lstStyle/>
          <a:p>
            <a:r>
              <a:rPr lang="en-US" dirty="0"/>
              <a:t>Keeping information </a:t>
            </a:r>
            <a:r>
              <a:rPr lang="fr-FR" dirty="0" err="1"/>
              <a:t>across</a:t>
            </a:r>
            <a:r>
              <a:rPr lang="fr-FR" dirty="0"/>
              <a:t> conversations</a:t>
            </a:r>
          </a:p>
        </p:txBody>
      </p:sp>
      <p:pic>
        <p:nvPicPr>
          <p:cNvPr id="3" name="Image 2">
            <a:extLst>
              <a:ext uri="{FF2B5EF4-FFF2-40B4-BE49-F238E27FC236}">
                <a16:creationId xmlns:a16="http://schemas.microsoft.com/office/drawing/2014/main" id="{CE129875-CE80-4122-8ACE-1AF49E1E2175}"/>
              </a:ext>
            </a:extLst>
          </p:cNvPr>
          <p:cNvPicPr>
            <a:picLocks noChangeAspect="1"/>
          </p:cNvPicPr>
          <p:nvPr/>
        </p:nvPicPr>
        <p:blipFill>
          <a:blip r:embed="rId2"/>
          <a:stretch>
            <a:fillRect/>
          </a:stretch>
        </p:blipFill>
        <p:spPr>
          <a:xfrm>
            <a:off x="580006" y="2324100"/>
            <a:ext cx="3733799" cy="513644"/>
          </a:xfrm>
          <a:prstGeom prst="rect">
            <a:avLst/>
          </a:prstGeom>
        </p:spPr>
      </p:pic>
      <p:sp>
        <p:nvSpPr>
          <p:cNvPr id="4" name="Text Placeholder 16">
            <a:extLst>
              <a:ext uri="{FF2B5EF4-FFF2-40B4-BE49-F238E27FC236}">
                <a16:creationId xmlns:a16="http://schemas.microsoft.com/office/drawing/2014/main" id="{498E8F47-1158-4F19-BF1F-CFCC93D9F05B}"/>
              </a:ext>
            </a:extLst>
          </p:cNvPr>
          <p:cNvSpPr txBox="1">
            <a:spLocks/>
          </p:cNvSpPr>
          <p:nvPr/>
        </p:nvSpPr>
        <p:spPr>
          <a:xfrm>
            <a:off x="228600" y="668889"/>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pPr marL="285750" indent="-285750">
              <a:buFont typeface="Arial" panose="020B0604020202020204" pitchFamily="34" charset="0"/>
              <a:buChar char="•"/>
            </a:pPr>
            <a:r>
              <a:rPr lang="en-US" sz="1300" dirty="0"/>
              <a:t>Write:</a:t>
            </a:r>
          </a:p>
          <a:p>
            <a:pPr marL="285750" indent="-285750">
              <a:buFont typeface="Arial" panose="020B0604020202020204" pitchFamily="34" charset="0"/>
              <a:buChar char="•"/>
            </a:pPr>
            <a:endParaRPr lang="en-US" sz="1300" dirty="0"/>
          </a:p>
          <a:p>
            <a:pPr marL="285750" indent="-285750">
              <a:buFont typeface="Arial" panose="020B0604020202020204" pitchFamily="34" charset="0"/>
              <a:buChar char="•"/>
            </a:pPr>
            <a:endParaRPr lang="en-US" sz="1300" dirty="0"/>
          </a:p>
          <a:p>
            <a:pPr marL="285750" indent="-285750">
              <a:buFont typeface="Arial" panose="020B0604020202020204" pitchFamily="34" charset="0"/>
              <a:buChar char="•"/>
            </a:pPr>
            <a:endParaRPr lang="en-US" sz="1300" dirty="0"/>
          </a:p>
          <a:p>
            <a:pPr marL="285750" indent="-285750">
              <a:buFont typeface="Arial" panose="020B0604020202020204" pitchFamily="34" charset="0"/>
              <a:buChar char="•"/>
            </a:pPr>
            <a:r>
              <a:rPr lang="en-US" sz="1300" dirty="0"/>
              <a:t>Read:</a:t>
            </a:r>
          </a:p>
          <a:p>
            <a:pPr marL="285750" indent="-285750">
              <a:buFont typeface="Arial" panose="020B0604020202020204" pitchFamily="34" charset="0"/>
              <a:buChar char="•"/>
            </a:pPr>
            <a:endParaRPr lang="en-US" sz="1300" dirty="0"/>
          </a:p>
          <a:p>
            <a:pPr marL="285750" indent="-285750">
              <a:buFont typeface="Arial" panose="020B0604020202020204" pitchFamily="34" charset="0"/>
              <a:buChar char="•"/>
            </a:pPr>
            <a:endParaRPr lang="en-US" sz="1300" dirty="0"/>
          </a:p>
          <a:p>
            <a:pPr marL="285750" indent="-285750">
              <a:buFont typeface="Arial" panose="020B0604020202020204" pitchFamily="34" charset="0"/>
              <a:buChar char="•"/>
            </a:pPr>
            <a:endParaRPr lang="en-US" sz="1300" dirty="0"/>
          </a:p>
          <a:p>
            <a:pPr marL="285750" indent="-285750">
              <a:buFont typeface="Arial" panose="020B0604020202020204" pitchFamily="34" charset="0"/>
              <a:buChar char="•"/>
            </a:pPr>
            <a:r>
              <a:rPr lang="en-US" sz="1300" dirty="0"/>
              <a:t>Delete all:</a:t>
            </a:r>
            <a:endParaRPr lang="en-US" sz="1000" dirty="0"/>
          </a:p>
          <a:p>
            <a:pPr marL="690563" lvl="1" indent="-285750"/>
            <a:endParaRPr lang="en-US" sz="1000" dirty="0"/>
          </a:p>
          <a:p>
            <a:pPr marL="690563" lvl="1" indent="-285750"/>
            <a:endParaRPr lang="en-US" sz="1300" i="1"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pic>
        <p:nvPicPr>
          <p:cNvPr id="5" name="Image 4">
            <a:extLst>
              <a:ext uri="{FF2B5EF4-FFF2-40B4-BE49-F238E27FC236}">
                <a16:creationId xmlns:a16="http://schemas.microsoft.com/office/drawing/2014/main" id="{F173364B-7C14-43E9-89AB-49225CD6A024}"/>
              </a:ext>
            </a:extLst>
          </p:cNvPr>
          <p:cNvPicPr>
            <a:picLocks noChangeAspect="1"/>
          </p:cNvPicPr>
          <p:nvPr/>
        </p:nvPicPr>
        <p:blipFill>
          <a:blip r:embed="rId3"/>
          <a:stretch>
            <a:fillRect/>
          </a:stretch>
        </p:blipFill>
        <p:spPr>
          <a:xfrm>
            <a:off x="580007" y="1312711"/>
            <a:ext cx="3733800" cy="561975"/>
          </a:xfrm>
          <a:prstGeom prst="rect">
            <a:avLst/>
          </a:prstGeom>
        </p:spPr>
      </p:pic>
      <p:pic>
        <p:nvPicPr>
          <p:cNvPr id="6" name="Image 5">
            <a:extLst>
              <a:ext uri="{FF2B5EF4-FFF2-40B4-BE49-F238E27FC236}">
                <a16:creationId xmlns:a16="http://schemas.microsoft.com/office/drawing/2014/main" id="{23FE560C-F2AF-4CFB-9F80-E33870868326}"/>
              </a:ext>
            </a:extLst>
          </p:cNvPr>
          <p:cNvPicPr>
            <a:picLocks noChangeAspect="1"/>
          </p:cNvPicPr>
          <p:nvPr/>
        </p:nvPicPr>
        <p:blipFill>
          <a:blip r:embed="rId4"/>
          <a:stretch>
            <a:fillRect/>
          </a:stretch>
        </p:blipFill>
        <p:spPr>
          <a:xfrm>
            <a:off x="618107" y="3606229"/>
            <a:ext cx="3695700" cy="485775"/>
          </a:xfrm>
          <a:prstGeom prst="rect">
            <a:avLst/>
          </a:prstGeom>
        </p:spPr>
      </p:pic>
    </p:spTree>
    <p:extLst>
      <p:ext uri="{BB962C8B-B14F-4D97-AF65-F5344CB8AC3E}">
        <p14:creationId xmlns:p14="http://schemas.microsoft.com/office/powerpoint/2010/main" val="619005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544E057-DF3E-47F7-A03E-D728444C6F76}"/>
              </a:ext>
            </a:extLst>
          </p:cNvPr>
          <p:cNvSpPr>
            <a:spLocks noGrp="1"/>
          </p:cNvSpPr>
          <p:nvPr>
            <p:ph type="title"/>
          </p:nvPr>
        </p:nvSpPr>
        <p:spPr>
          <a:xfrm>
            <a:off x="0" y="58301"/>
            <a:ext cx="6975475" cy="808037"/>
          </a:xfrm>
        </p:spPr>
        <p:txBody>
          <a:bodyPr/>
          <a:lstStyle/>
          <a:p>
            <a:r>
              <a:rPr lang="fr-FR" dirty="0"/>
              <a:t>Workshop : </a:t>
            </a:r>
            <a:r>
              <a:rPr lang="fr-FR" dirty="0" err="1"/>
              <a:t>using</a:t>
            </a:r>
            <a:r>
              <a:rPr lang="fr-FR" dirty="0"/>
              <a:t> </a:t>
            </a:r>
            <a:r>
              <a:rPr lang="fr-FR" dirty="0" err="1"/>
              <a:t>context</a:t>
            </a:r>
            <a:r>
              <a:rPr lang="fr-FR" dirty="0"/>
              <a:t> </a:t>
            </a:r>
            <a:r>
              <a:rPr lang="fr-FR" dirty="0" err="1"/>
              <a:t>storage</a:t>
            </a:r>
            <a:endParaRPr lang="fr-FR" dirty="0"/>
          </a:p>
        </p:txBody>
      </p:sp>
      <p:sp>
        <p:nvSpPr>
          <p:cNvPr id="33" name="ZoneTexte 32">
            <a:extLst>
              <a:ext uri="{FF2B5EF4-FFF2-40B4-BE49-F238E27FC236}">
                <a16:creationId xmlns:a16="http://schemas.microsoft.com/office/drawing/2014/main" id="{C66E7F08-F677-4F35-B9F8-9CBC448C3AFB}"/>
              </a:ext>
            </a:extLst>
          </p:cNvPr>
          <p:cNvSpPr txBox="1"/>
          <p:nvPr/>
        </p:nvSpPr>
        <p:spPr>
          <a:xfrm>
            <a:off x="4138703" y="1610889"/>
            <a:ext cx="4256969" cy="2677656"/>
          </a:xfrm>
          <a:prstGeom prst="rect">
            <a:avLst/>
          </a:prstGeom>
          <a:noFill/>
        </p:spPr>
        <p:txBody>
          <a:bodyPr wrap="square" rtlCol="0">
            <a:spAutoFit/>
          </a:bodyPr>
          <a:lstStyle/>
          <a:p>
            <a:pPr marL="342900" indent="-342900">
              <a:buClr>
                <a:schemeClr val="accent2"/>
              </a:buClr>
              <a:buAutoNum type="arabicParenR"/>
            </a:pPr>
            <a:r>
              <a:rPr lang="fr-FR" sz="1600" dirty="0"/>
              <a:t>In the </a:t>
            </a:r>
            <a:r>
              <a:rPr lang="fr-FR" sz="1600" dirty="0" err="1"/>
              <a:t>fulfillment</a:t>
            </a:r>
            <a:r>
              <a:rPr lang="fr-FR" sz="1600" dirty="0"/>
              <a:t>, </a:t>
            </a:r>
            <a:r>
              <a:rPr lang="fr-FR" sz="1600" dirty="0" err="1"/>
              <a:t>Create</a:t>
            </a:r>
            <a:r>
              <a:rPr lang="fr-FR" sz="1600" dirty="0"/>
              <a:t> a </a:t>
            </a:r>
            <a:r>
              <a:rPr lang="fr-FR" sz="1600" dirty="0" err="1"/>
              <a:t>context</a:t>
            </a:r>
            <a:r>
              <a:rPr lang="fr-FR" sz="1600" dirty="0"/>
              <a:t> </a:t>
            </a:r>
            <a:r>
              <a:rPr lang="fr-FR" sz="1600" dirty="0" err="1"/>
              <a:t>named</a:t>
            </a:r>
            <a:r>
              <a:rPr lang="fr-FR" sz="1600" dirty="0"/>
              <a:t> « </a:t>
            </a:r>
            <a:r>
              <a:rPr lang="fr-FR" sz="1600" dirty="0" err="1"/>
              <a:t>order</a:t>
            </a:r>
            <a:r>
              <a:rPr lang="fr-FR" sz="1600" dirty="0"/>
              <a:t> », </a:t>
            </a:r>
            <a:r>
              <a:rPr lang="fr-FR" sz="1600" dirty="0" err="1"/>
              <a:t>with</a:t>
            </a:r>
            <a:r>
              <a:rPr lang="fr-FR" sz="1600" dirty="0"/>
              <a:t> a </a:t>
            </a:r>
            <a:r>
              <a:rPr lang="fr-FR" sz="1600" dirty="0" err="1"/>
              <a:t>lifespan</a:t>
            </a:r>
            <a:r>
              <a:rPr lang="fr-FR" sz="1600" dirty="0"/>
              <a:t> of 99</a:t>
            </a:r>
          </a:p>
          <a:p>
            <a:pPr marL="342900" indent="-342900">
              <a:buAutoNum type="arabicParenR"/>
            </a:pPr>
            <a:endParaRPr lang="fr-FR" sz="1600" dirty="0"/>
          </a:p>
          <a:p>
            <a:pPr marL="342900" indent="-342900">
              <a:buClr>
                <a:schemeClr val="accent2"/>
              </a:buClr>
              <a:buAutoNum type="arabicParenR"/>
            </a:pPr>
            <a:r>
              <a:rPr lang="fr-FR" sz="1600" dirty="0"/>
              <a:t>Use a single string, to record the pizzas </a:t>
            </a:r>
            <a:r>
              <a:rPr lang="fr-FR" sz="1600" dirty="0" err="1"/>
              <a:t>ordered</a:t>
            </a:r>
            <a:r>
              <a:rPr lang="fr-FR" sz="1600" dirty="0"/>
              <a:t> :</a:t>
            </a:r>
          </a:p>
          <a:p>
            <a:pPr marL="685800" lvl="1" indent="-342900">
              <a:buFont typeface="Wingdings" panose="05000000000000000000" pitchFamily="2" charset="2"/>
              <a:buChar char="§"/>
            </a:pPr>
            <a:r>
              <a:rPr lang="fr-FR" sz="1400" i="1" dirty="0"/>
              <a:t>« </a:t>
            </a:r>
            <a:r>
              <a:rPr lang="fr-FR" sz="1400" i="1" dirty="0" err="1"/>
              <a:t>thuna</a:t>
            </a:r>
            <a:r>
              <a:rPr lang="fr-FR" sz="1400" i="1" dirty="0"/>
              <a:t> pizza »</a:t>
            </a:r>
          </a:p>
          <a:p>
            <a:pPr marL="685800" lvl="1" indent="-342900">
              <a:buFont typeface="Wingdings" panose="05000000000000000000" pitchFamily="2" charset="2"/>
              <a:buChar char="§"/>
            </a:pPr>
            <a:r>
              <a:rPr lang="fr-FR" sz="1400" i="1" dirty="0"/>
              <a:t>« </a:t>
            </a:r>
            <a:r>
              <a:rPr lang="fr-FR" sz="1400" i="1" dirty="0" err="1"/>
              <a:t>thuna</a:t>
            </a:r>
            <a:r>
              <a:rPr lang="fr-FR" sz="1400" i="1" dirty="0"/>
              <a:t> pizza and </a:t>
            </a:r>
            <a:r>
              <a:rPr lang="fr-FR" sz="1400" i="1" dirty="0" err="1"/>
              <a:t>cheese</a:t>
            </a:r>
            <a:r>
              <a:rPr lang="fr-FR" sz="1400" i="1" dirty="0"/>
              <a:t> pizza »</a:t>
            </a:r>
          </a:p>
          <a:p>
            <a:pPr marL="685800" lvl="1" indent="-342900">
              <a:buFont typeface="Wingdings" panose="05000000000000000000" pitchFamily="2" charset="2"/>
              <a:buChar char="§"/>
            </a:pPr>
            <a:r>
              <a:rPr lang="fr-FR" sz="1400" i="1" dirty="0"/>
              <a:t>« </a:t>
            </a:r>
            <a:r>
              <a:rPr lang="fr-FR" sz="1400" i="1" dirty="0" err="1"/>
              <a:t>thuna</a:t>
            </a:r>
            <a:r>
              <a:rPr lang="fr-FR" sz="1400" i="1" dirty="0"/>
              <a:t> pizza and </a:t>
            </a:r>
            <a:r>
              <a:rPr lang="fr-FR" sz="1400" i="1" dirty="0" err="1"/>
              <a:t>cheese</a:t>
            </a:r>
            <a:r>
              <a:rPr lang="fr-FR" sz="1400" i="1" dirty="0"/>
              <a:t> pizza and … »</a:t>
            </a:r>
          </a:p>
          <a:p>
            <a:pPr marL="342900" indent="-342900">
              <a:buAutoNum type="arabicParenR"/>
            </a:pPr>
            <a:endParaRPr lang="fr-FR" sz="1600" dirty="0"/>
          </a:p>
        </p:txBody>
      </p:sp>
      <p:sp>
        <p:nvSpPr>
          <p:cNvPr id="26" name="Bande diagonale 25">
            <a:extLst>
              <a:ext uri="{FF2B5EF4-FFF2-40B4-BE49-F238E27FC236}">
                <a16:creationId xmlns:a16="http://schemas.microsoft.com/office/drawing/2014/main" id="{1E8B9FEB-C4CF-4C5D-BDBE-F1910A5814ED}"/>
              </a:ext>
            </a:extLst>
          </p:cNvPr>
          <p:cNvSpPr/>
          <p:nvPr/>
        </p:nvSpPr>
        <p:spPr>
          <a:xfrm rot="5400000">
            <a:off x="7236889" y="-6860"/>
            <a:ext cx="1908000" cy="1906223"/>
          </a:xfrm>
          <a:prstGeom prst="diagStripe">
            <a:avLst>
              <a:gd name="adj" fmla="val 6268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27" name="ZoneTexte 26">
            <a:extLst>
              <a:ext uri="{FF2B5EF4-FFF2-40B4-BE49-F238E27FC236}">
                <a16:creationId xmlns:a16="http://schemas.microsoft.com/office/drawing/2014/main" id="{81F090A6-9626-48F9-B5E1-80DEFCB61894}"/>
              </a:ext>
            </a:extLst>
          </p:cNvPr>
          <p:cNvSpPr txBox="1"/>
          <p:nvPr/>
        </p:nvSpPr>
        <p:spPr>
          <a:xfrm rot="2735380">
            <a:off x="7539304" y="520290"/>
            <a:ext cx="1712736" cy="480819"/>
          </a:xfrm>
          <a:prstGeom prst="rect">
            <a:avLst/>
          </a:prstGeom>
        </p:spPr>
        <p:txBody>
          <a:bodyPr wrap="square" lIns="72000" tIns="72000" rIns="72000" bIns="72000" rtlCol="0">
            <a:spAutoFit/>
          </a:bodyPr>
          <a:lstStyle/>
          <a:p>
            <a:pPr algn="ctr">
              <a:lnSpc>
                <a:spcPct val="120000"/>
              </a:lnSpc>
              <a:spcAft>
                <a:spcPts val="600"/>
              </a:spcAft>
            </a:pPr>
            <a:r>
              <a:rPr lang="fr-FR" sz="2000" b="1" dirty="0">
                <a:solidFill>
                  <a:schemeClr val="bg1"/>
                </a:solidFill>
                <a:latin typeface="Arial" panose="020B0604020202020204" pitchFamily="34" charset="0"/>
                <a:cs typeface="Arial" panose="020B0604020202020204" pitchFamily="34" charset="0"/>
              </a:rPr>
              <a:t>WORKSHOP</a:t>
            </a:r>
          </a:p>
        </p:txBody>
      </p:sp>
      <p:sp>
        <p:nvSpPr>
          <p:cNvPr id="28" name="Bulle narrative : rectangle 27">
            <a:extLst>
              <a:ext uri="{FF2B5EF4-FFF2-40B4-BE49-F238E27FC236}">
                <a16:creationId xmlns:a16="http://schemas.microsoft.com/office/drawing/2014/main" id="{3BB06A5F-AEC2-415F-B394-75BFFF0802DD}"/>
              </a:ext>
            </a:extLst>
          </p:cNvPr>
          <p:cNvSpPr/>
          <p:nvPr/>
        </p:nvSpPr>
        <p:spPr>
          <a:xfrm>
            <a:off x="1378973" y="776544"/>
            <a:ext cx="2049486" cy="317331"/>
          </a:xfrm>
          <a:prstGeom prst="wedgeRectCallout">
            <a:avLst>
              <a:gd name="adj1" fmla="val 54908"/>
              <a:gd name="adj2" fmla="val -1615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Hello, </a:t>
            </a:r>
            <a:r>
              <a:rPr lang="fr-FR" sz="1200" dirty="0" err="1">
                <a:solidFill>
                  <a:schemeClr val="bg1"/>
                </a:solidFill>
              </a:rPr>
              <a:t>may</a:t>
            </a:r>
            <a:r>
              <a:rPr lang="fr-FR" sz="1200" dirty="0">
                <a:solidFill>
                  <a:schemeClr val="bg1"/>
                </a:solidFill>
              </a:rPr>
              <a:t> I help </a:t>
            </a:r>
            <a:r>
              <a:rPr lang="fr-FR" sz="1200" dirty="0" err="1">
                <a:solidFill>
                  <a:schemeClr val="bg1"/>
                </a:solidFill>
              </a:rPr>
              <a:t>you</a:t>
            </a:r>
            <a:r>
              <a:rPr lang="fr-FR" sz="1200" dirty="0">
                <a:solidFill>
                  <a:schemeClr val="bg1"/>
                </a:solidFill>
              </a:rPr>
              <a:t>?</a:t>
            </a:r>
          </a:p>
        </p:txBody>
      </p:sp>
      <p:sp>
        <p:nvSpPr>
          <p:cNvPr id="29" name="Bulle narrative : rectangle 28">
            <a:extLst>
              <a:ext uri="{FF2B5EF4-FFF2-40B4-BE49-F238E27FC236}">
                <a16:creationId xmlns:a16="http://schemas.microsoft.com/office/drawing/2014/main" id="{91B0B2B7-8FED-4E6F-8E81-966F7B9068B2}"/>
              </a:ext>
            </a:extLst>
          </p:cNvPr>
          <p:cNvSpPr/>
          <p:nvPr/>
        </p:nvSpPr>
        <p:spPr>
          <a:xfrm>
            <a:off x="311433" y="1235201"/>
            <a:ext cx="2345550" cy="473686"/>
          </a:xfrm>
          <a:prstGeom prst="wedgeRectCallout">
            <a:avLst>
              <a:gd name="adj1" fmla="val -55516"/>
              <a:gd name="adj2" fmla="val -1889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I would like to order a </a:t>
            </a:r>
            <a:r>
              <a:rPr lang="en-US" sz="1200" dirty="0" err="1">
                <a:solidFill>
                  <a:schemeClr val="bg1"/>
                </a:solidFill>
              </a:rPr>
              <a:t>thuna</a:t>
            </a:r>
            <a:r>
              <a:rPr lang="en-US" sz="1200" dirty="0">
                <a:solidFill>
                  <a:schemeClr val="bg1"/>
                </a:solidFill>
              </a:rPr>
              <a:t> pizza</a:t>
            </a:r>
            <a:endParaRPr lang="fr-FR" sz="1200" dirty="0">
              <a:solidFill>
                <a:schemeClr val="bg1"/>
              </a:solidFill>
            </a:endParaRPr>
          </a:p>
        </p:txBody>
      </p:sp>
      <p:sp>
        <p:nvSpPr>
          <p:cNvPr id="35" name="Bulle narrative : rectangle 34">
            <a:extLst>
              <a:ext uri="{FF2B5EF4-FFF2-40B4-BE49-F238E27FC236}">
                <a16:creationId xmlns:a16="http://schemas.microsoft.com/office/drawing/2014/main" id="{8CBD40EE-97A6-46A7-AE32-E4517E2C6C27}"/>
              </a:ext>
            </a:extLst>
          </p:cNvPr>
          <p:cNvSpPr/>
          <p:nvPr/>
        </p:nvSpPr>
        <p:spPr>
          <a:xfrm>
            <a:off x="872434" y="1845885"/>
            <a:ext cx="2556023" cy="431700"/>
          </a:xfrm>
          <a:prstGeom prst="wedgeRectCallout">
            <a:avLst>
              <a:gd name="adj1" fmla="val 54908"/>
              <a:gd name="adj2" fmla="val -1615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You ordered : </a:t>
            </a:r>
            <a:r>
              <a:rPr lang="en-US" sz="1200" dirty="0" err="1">
                <a:solidFill>
                  <a:schemeClr val="bg1"/>
                </a:solidFill>
              </a:rPr>
              <a:t>thuna</a:t>
            </a:r>
            <a:r>
              <a:rPr lang="en-US" sz="1200" dirty="0">
                <a:solidFill>
                  <a:schemeClr val="bg1"/>
                </a:solidFill>
              </a:rPr>
              <a:t> pizza. Do you want anything else ?</a:t>
            </a:r>
            <a:endParaRPr lang="fr-FR" sz="1200" dirty="0">
              <a:solidFill>
                <a:schemeClr val="bg1"/>
              </a:solidFill>
            </a:endParaRPr>
          </a:p>
        </p:txBody>
      </p:sp>
      <p:sp>
        <p:nvSpPr>
          <p:cNvPr id="37" name="Bulle narrative : rectangle 36">
            <a:extLst>
              <a:ext uri="{FF2B5EF4-FFF2-40B4-BE49-F238E27FC236}">
                <a16:creationId xmlns:a16="http://schemas.microsoft.com/office/drawing/2014/main" id="{B2ADE47D-E0E2-4AF1-B939-22EF065B3903}"/>
              </a:ext>
            </a:extLst>
          </p:cNvPr>
          <p:cNvSpPr/>
          <p:nvPr/>
        </p:nvSpPr>
        <p:spPr>
          <a:xfrm>
            <a:off x="311433" y="2427040"/>
            <a:ext cx="2345550" cy="467157"/>
          </a:xfrm>
          <a:prstGeom prst="wedgeRectCallout">
            <a:avLst>
              <a:gd name="adj1" fmla="val -55516"/>
              <a:gd name="adj2" fmla="val -1889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I would like to order a cheese pizza</a:t>
            </a:r>
            <a:endParaRPr lang="fr-FR" sz="1200" dirty="0">
              <a:solidFill>
                <a:schemeClr val="bg1"/>
              </a:solidFill>
            </a:endParaRPr>
          </a:p>
        </p:txBody>
      </p:sp>
      <p:sp>
        <p:nvSpPr>
          <p:cNvPr id="50" name="Bulle narrative : rectangle 49">
            <a:extLst>
              <a:ext uri="{FF2B5EF4-FFF2-40B4-BE49-F238E27FC236}">
                <a16:creationId xmlns:a16="http://schemas.microsoft.com/office/drawing/2014/main" id="{63D93620-077A-412B-A130-C5489B9255E7}"/>
              </a:ext>
            </a:extLst>
          </p:cNvPr>
          <p:cNvSpPr/>
          <p:nvPr/>
        </p:nvSpPr>
        <p:spPr>
          <a:xfrm>
            <a:off x="872433" y="3053585"/>
            <a:ext cx="2556023" cy="632103"/>
          </a:xfrm>
          <a:prstGeom prst="wedgeRectCallout">
            <a:avLst>
              <a:gd name="adj1" fmla="val 54908"/>
              <a:gd name="adj2" fmla="val -1615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You ordered : </a:t>
            </a:r>
            <a:r>
              <a:rPr lang="en-US" sz="1200" dirty="0" err="1">
                <a:solidFill>
                  <a:schemeClr val="bg1"/>
                </a:solidFill>
              </a:rPr>
              <a:t>thuna</a:t>
            </a:r>
            <a:r>
              <a:rPr lang="en-US" sz="1200" dirty="0">
                <a:solidFill>
                  <a:schemeClr val="bg1"/>
                </a:solidFill>
              </a:rPr>
              <a:t> pizza and cheese pizza. Do you want anything else ?</a:t>
            </a:r>
            <a:endParaRPr lang="fr-FR" sz="1200" dirty="0">
              <a:solidFill>
                <a:schemeClr val="bg1"/>
              </a:solidFill>
            </a:endParaRPr>
          </a:p>
        </p:txBody>
      </p:sp>
      <p:sp>
        <p:nvSpPr>
          <p:cNvPr id="51" name="Rectangle 50">
            <a:extLst>
              <a:ext uri="{FF2B5EF4-FFF2-40B4-BE49-F238E27FC236}">
                <a16:creationId xmlns:a16="http://schemas.microsoft.com/office/drawing/2014/main" id="{983959D3-E682-43CC-BAC7-896050A51165}"/>
              </a:ext>
            </a:extLst>
          </p:cNvPr>
          <p:cNvSpPr/>
          <p:nvPr/>
        </p:nvSpPr>
        <p:spPr>
          <a:xfrm>
            <a:off x="631431" y="4049624"/>
            <a:ext cx="2556023" cy="31733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rPr>
              <a:t>( … )</a:t>
            </a:r>
          </a:p>
        </p:txBody>
      </p:sp>
      <p:sp>
        <p:nvSpPr>
          <p:cNvPr id="52" name="Rectangle 51">
            <a:extLst>
              <a:ext uri="{FF2B5EF4-FFF2-40B4-BE49-F238E27FC236}">
                <a16:creationId xmlns:a16="http://schemas.microsoft.com/office/drawing/2014/main" id="{1829FBA0-205E-4C1D-BC24-18C559E7C4AD}"/>
              </a:ext>
            </a:extLst>
          </p:cNvPr>
          <p:cNvSpPr/>
          <p:nvPr/>
        </p:nvSpPr>
        <p:spPr>
          <a:xfrm>
            <a:off x="872435" y="4456181"/>
            <a:ext cx="2556023" cy="31733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rPr>
              <a:t>(End of conversation)</a:t>
            </a:r>
          </a:p>
        </p:txBody>
      </p:sp>
    </p:spTree>
    <p:extLst>
      <p:ext uri="{BB962C8B-B14F-4D97-AF65-F5344CB8AC3E}">
        <p14:creationId xmlns:p14="http://schemas.microsoft.com/office/powerpoint/2010/main" val="3530772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llipse 5">
            <a:extLst>
              <a:ext uri="{FF2B5EF4-FFF2-40B4-BE49-F238E27FC236}">
                <a16:creationId xmlns:a16="http://schemas.microsoft.com/office/drawing/2014/main" id="{0C04EDAC-5594-49D9-A348-ADF93F2EC4EE}"/>
              </a:ext>
            </a:extLst>
          </p:cNvPr>
          <p:cNvSpPr/>
          <p:nvPr/>
        </p:nvSpPr>
        <p:spPr>
          <a:xfrm>
            <a:off x="3418087" y="1021162"/>
            <a:ext cx="5311361" cy="5254433"/>
          </a:xfrm>
          <a:prstGeom prst="ellipse">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A58C9069-A253-0946-846F-2D00A4204D95}"/>
              </a:ext>
            </a:extLst>
          </p:cNvPr>
          <p:cNvSpPr>
            <a:spLocks noGrp="1"/>
          </p:cNvSpPr>
          <p:nvPr>
            <p:ph type="title"/>
          </p:nvPr>
        </p:nvSpPr>
        <p:spPr/>
        <p:txBody>
          <a:bodyPr/>
          <a:lstStyle/>
          <a:p>
            <a:r>
              <a:rPr lang="en-US" dirty="0" err="1"/>
              <a:t>Dialogflow</a:t>
            </a:r>
            <a:br>
              <a:rPr lang="en-US" dirty="0"/>
            </a:br>
            <a:r>
              <a:rPr lang="en-US" dirty="0"/>
              <a:t>Training</a:t>
            </a:r>
          </a:p>
        </p:txBody>
      </p:sp>
      <p:sp>
        <p:nvSpPr>
          <p:cNvPr id="3" name="Text Placeholder 2">
            <a:extLst>
              <a:ext uri="{FF2B5EF4-FFF2-40B4-BE49-F238E27FC236}">
                <a16:creationId xmlns:a16="http://schemas.microsoft.com/office/drawing/2014/main" id="{F52F02E1-A4DC-B244-BCC1-26DDC889B5C3}"/>
              </a:ext>
            </a:extLst>
          </p:cNvPr>
          <p:cNvSpPr>
            <a:spLocks noGrp="1"/>
          </p:cNvSpPr>
          <p:nvPr>
            <p:ph type="body" sz="quarter" idx="10"/>
          </p:nvPr>
        </p:nvSpPr>
        <p:spPr/>
        <p:txBody>
          <a:bodyPr/>
          <a:lstStyle/>
          <a:p>
            <a:r>
              <a:rPr lang="en-US" dirty="0"/>
              <a:t>Module 10 : Using Google APIs</a:t>
            </a:r>
          </a:p>
        </p:txBody>
      </p:sp>
      <p:sp>
        <p:nvSpPr>
          <p:cNvPr id="7" name="Freeform 1">
            <a:extLst>
              <a:ext uri="{FF2B5EF4-FFF2-40B4-BE49-F238E27FC236}">
                <a16:creationId xmlns:a16="http://schemas.microsoft.com/office/drawing/2014/main" id="{C009C2CB-0D45-244B-8254-95D0D9E3683C}"/>
              </a:ext>
            </a:extLst>
          </p:cNvPr>
          <p:cNvSpPr>
            <a:spLocks noChangeArrowheads="1"/>
          </p:cNvSpPr>
          <p:nvPr/>
        </p:nvSpPr>
        <p:spPr bwMode="auto">
          <a:xfrm>
            <a:off x="6799803" y="0"/>
            <a:ext cx="2747583" cy="2612551"/>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4133611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0AE5A0-92A1-4351-B6CF-17AB076FCB17}"/>
              </a:ext>
            </a:extLst>
          </p:cNvPr>
          <p:cNvSpPr>
            <a:spLocks noGrp="1"/>
          </p:cNvSpPr>
          <p:nvPr>
            <p:ph type="title"/>
          </p:nvPr>
        </p:nvSpPr>
        <p:spPr/>
        <p:txBody>
          <a:bodyPr/>
          <a:lstStyle/>
          <a:p>
            <a:r>
              <a:rPr lang="fr-FR" dirty="0"/>
              <a:t>Natural </a:t>
            </a:r>
            <a:r>
              <a:rPr lang="fr-FR" dirty="0" err="1"/>
              <a:t>language</a:t>
            </a:r>
            <a:r>
              <a:rPr lang="fr-FR" dirty="0"/>
              <a:t> API</a:t>
            </a:r>
          </a:p>
        </p:txBody>
      </p:sp>
      <p:sp>
        <p:nvSpPr>
          <p:cNvPr id="3" name="Text Placeholder 16">
            <a:extLst>
              <a:ext uri="{FF2B5EF4-FFF2-40B4-BE49-F238E27FC236}">
                <a16:creationId xmlns:a16="http://schemas.microsoft.com/office/drawing/2014/main" id="{D66B6D52-9EC3-4511-B09C-A547C195B14A}"/>
              </a:ext>
            </a:extLst>
          </p:cNvPr>
          <p:cNvSpPr txBox="1">
            <a:spLocks/>
          </p:cNvSpPr>
          <p:nvPr/>
        </p:nvSpPr>
        <p:spPr>
          <a:xfrm>
            <a:off x="228600" y="668889"/>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pPr marL="342900" indent="-342900">
              <a:buClr>
                <a:schemeClr val="accent2"/>
              </a:buClr>
              <a:buFont typeface="Arial" panose="020B0604020202020204" pitchFamily="34" charset="0"/>
              <a:buChar char="•"/>
            </a:pPr>
            <a:r>
              <a:rPr lang="en-US" sz="1300" dirty="0"/>
              <a:t>Natural Language uses machine learning to reveal the structure and meaning of text.</a:t>
            </a:r>
          </a:p>
          <a:p>
            <a:pPr marL="342900" indent="-342900">
              <a:buClr>
                <a:schemeClr val="accent2"/>
              </a:buClr>
              <a:buFont typeface="Arial" panose="020B0604020202020204" pitchFamily="34" charset="0"/>
              <a:buChar char="•"/>
            </a:pPr>
            <a:endParaRPr lang="en-US" sz="1300" dirty="0"/>
          </a:p>
          <a:p>
            <a:pPr marL="342900" indent="-342900">
              <a:buClr>
                <a:schemeClr val="accent2"/>
              </a:buClr>
              <a:buFont typeface="Arial" panose="020B0604020202020204" pitchFamily="34" charset="0"/>
              <a:buChar char="•"/>
            </a:pPr>
            <a:r>
              <a:rPr lang="en-US" sz="1300" dirty="0"/>
              <a:t>You can extract information about people, places, and events, and better understand social media sentiment and customer conversations. </a:t>
            </a:r>
          </a:p>
          <a:p>
            <a:pPr marL="342900" indent="-342900">
              <a:buClr>
                <a:schemeClr val="accent2"/>
              </a:buClr>
              <a:buFont typeface="Arial" panose="020B0604020202020204" pitchFamily="34" charset="0"/>
              <a:buChar char="•"/>
            </a:pPr>
            <a:endParaRPr lang="en-US" sz="1300" dirty="0"/>
          </a:p>
          <a:p>
            <a:pPr marL="342900" indent="-342900">
              <a:buClr>
                <a:schemeClr val="accent2"/>
              </a:buClr>
              <a:buFont typeface="Arial" panose="020B0604020202020204" pitchFamily="34" charset="0"/>
              <a:buChar char="•"/>
            </a:pPr>
            <a:r>
              <a:rPr lang="en-US" sz="1300" dirty="0"/>
              <a:t>Natural Language enables you to analyze text and also integrate it with your document storage on Google Cloud Storage.</a:t>
            </a:r>
          </a:p>
          <a:p>
            <a:pPr marL="342900" indent="-342900">
              <a:buClr>
                <a:schemeClr val="accent2"/>
              </a:buClr>
              <a:buFont typeface="Arial" panose="020B0604020202020204" pitchFamily="34" charset="0"/>
              <a:buChar char="•"/>
            </a:pPr>
            <a:endParaRPr lang="en-US" sz="1300" dirty="0">
              <a:hlinkClick r:id="rId2"/>
            </a:endParaRPr>
          </a:p>
          <a:p>
            <a:pPr algn="r">
              <a:buClr>
                <a:schemeClr val="accent2"/>
              </a:buClr>
            </a:pPr>
            <a:r>
              <a:rPr lang="fr-FR" sz="1400" dirty="0">
                <a:hlinkClick r:id="rId2"/>
              </a:rPr>
              <a:t>https://cloud.google.com/natural-language/?hl=en</a:t>
            </a:r>
            <a:endParaRPr lang="fr-FR" sz="1400" dirty="0"/>
          </a:p>
          <a:p>
            <a:pPr marL="342900" indent="-342900" algn="r">
              <a:buClr>
                <a:schemeClr val="accent2"/>
              </a:buClr>
              <a:buFont typeface="Arial" panose="020B0604020202020204" pitchFamily="34" charset="0"/>
              <a:buChar char="•"/>
            </a:pPr>
            <a:endParaRPr lang="fr-FR" sz="1400" dirty="0"/>
          </a:p>
          <a:p>
            <a:pPr marL="342900" indent="-342900" algn="r">
              <a:buClr>
                <a:schemeClr val="accent2"/>
              </a:buClr>
              <a:buFont typeface="Arial" panose="020B0604020202020204" pitchFamily="34" charset="0"/>
              <a:buChar char="•"/>
            </a:pPr>
            <a:endParaRPr lang="fr-FR" sz="1400" dirty="0"/>
          </a:p>
          <a:p>
            <a:pPr marL="342900" indent="-342900">
              <a:buClr>
                <a:schemeClr val="accent2"/>
              </a:buClr>
              <a:buFont typeface="Arial" panose="020B0604020202020204" pitchFamily="34" charset="0"/>
              <a:buChar char="•"/>
            </a:pPr>
            <a:r>
              <a:rPr lang="fr-FR" sz="1400" dirty="0"/>
              <a:t>For sentiment </a:t>
            </a:r>
            <a:r>
              <a:rPr lang="fr-FR" sz="1400" dirty="0" err="1"/>
              <a:t>analysis</a:t>
            </a:r>
            <a:r>
              <a:rPr lang="fr-FR" sz="1400" dirty="0"/>
              <a:t>, the API can </a:t>
            </a:r>
            <a:r>
              <a:rPr lang="fr-FR" sz="1400" dirty="0" err="1"/>
              <a:t>give</a:t>
            </a:r>
            <a:r>
              <a:rPr lang="fr-FR" sz="1400" dirty="0"/>
              <a:t> a « sentiment score », </a:t>
            </a:r>
            <a:r>
              <a:rPr lang="fr-FR" sz="1400" dirty="0" err="1"/>
              <a:t>from</a:t>
            </a:r>
            <a:r>
              <a:rPr lang="fr-FR" sz="1400" dirty="0"/>
              <a:t> -1.0 to 1.0</a:t>
            </a:r>
            <a:endParaRPr lang="en-US" sz="1400" dirty="0"/>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1410823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FB4633D-2FAB-4EC5-9A58-D7A9643A7578}"/>
              </a:ext>
            </a:extLst>
          </p:cNvPr>
          <p:cNvSpPr>
            <a:spLocks noGrp="1"/>
          </p:cNvSpPr>
          <p:nvPr>
            <p:ph type="title"/>
          </p:nvPr>
        </p:nvSpPr>
        <p:spPr/>
        <p:txBody>
          <a:bodyPr/>
          <a:lstStyle/>
          <a:p>
            <a:r>
              <a:rPr lang="fr-FR" dirty="0"/>
              <a:t>Beta options</a:t>
            </a:r>
          </a:p>
        </p:txBody>
      </p:sp>
      <p:sp>
        <p:nvSpPr>
          <p:cNvPr id="6" name="Text Placeholder 16">
            <a:extLst>
              <a:ext uri="{FF2B5EF4-FFF2-40B4-BE49-F238E27FC236}">
                <a16:creationId xmlns:a16="http://schemas.microsoft.com/office/drawing/2014/main" id="{1E9F129C-AC74-4C8F-A28F-6125C4BF2135}"/>
              </a:ext>
            </a:extLst>
          </p:cNvPr>
          <p:cNvSpPr txBox="1">
            <a:spLocks/>
          </p:cNvSpPr>
          <p:nvPr/>
        </p:nvSpPr>
        <p:spPr>
          <a:xfrm>
            <a:off x="5857288" y="808038"/>
            <a:ext cx="2495593" cy="1873117"/>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p>
          <a:p>
            <a:r>
              <a:rPr lang="fr-FR" sz="1400" dirty="0"/>
              <a:t>In « </a:t>
            </a:r>
            <a:r>
              <a:rPr lang="fr-FR" sz="1400" dirty="0" err="1"/>
              <a:t>Parameters</a:t>
            </a:r>
            <a:r>
              <a:rPr lang="fr-FR" sz="1400" dirty="0"/>
              <a:t> / General », enable the option« beta </a:t>
            </a:r>
            <a:r>
              <a:rPr lang="fr-FR" sz="1400" dirty="0" err="1"/>
              <a:t>features</a:t>
            </a:r>
            <a:r>
              <a:rPr lang="fr-FR" sz="1400" dirty="0"/>
              <a:t> and APIs » to use beta options.</a:t>
            </a:r>
          </a:p>
          <a:p>
            <a:endParaRPr lang="fr-FR" sz="1450" dirty="0"/>
          </a:p>
          <a:p>
            <a:endParaRPr lang="en-US" dirty="0"/>
          </a:p>
        </p:txBody>
      </p:sp>
      <p:pic>
        <p:nvPicPr>
          <p:cNvPr id="8" name="Image 7">
            <a:extLst>
              <a:ext uri="{FF2B5EF4-FFF2-40B4-BE49-F238E27FC236}">
                <a16:creationId xmlns:a16="http://schemas.microsoft.com/office/drawing/2014/main" id="{2C0B820B-689F-4171-BB00-5889DA56644D}"/>
              </a:ext>
            </a:extLst>
          </p:cNvPr>
          <p:cNvPicPr>
            <a:picLocks noChangeAspect="1"/>
          </p:cNvPicPr>
          <p:nvPr/>
        </p:nvPicPr>
        <p:blipFill>
          <a:blip r:embed="rId3"/>
          <a:stretch>
            <a:fillRect/>
          </a:stretch>
        </p:blipFill>
        <p:spPr>
          <a:xfrm>
            <a:off x="685799" y="865188"/>
            <a:ext cx="4952929" cy="3775798"/>
          </a:xfrm>
          <a:prstGeom prst="rect">
            <a:avLst/>
          </a:prstGeom>
        </p:spPr>
      </p:pic>
      <p:sp>
        <p:nvSpPr>
          <p:cNvPr id="9" name="Ellipse 8">
            <a:extLst>
              <a:ext uri="{FF2B5EF4-FFF2-40B4-BE49-F238E27FC236}">
                <a16:creationId xmlns:a16="http://schemas.microsoft.com/office/drawing/2014/main" id="{D069EC85-C210-4B7E-9BD1-0906BED8D1D2}"/>
              </a:ext>
            </a:extLst>
          </p:cNvPr>
          <p:cNvSpPr/>
          <p:nvPr/>
        </p:nvSpPr>
        <p:spPr>
          <a:xfrm>
            <a:off x="467239" y="4265012"/>
            <a:ext cx="1881106" cy="433124"/>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Bande diagonale 9">
            <a:extLst>
              <a:ext uri="{FF2B5EF4-FFF2-40B4-BE49-F238E27FC236}">
                <a16:creationId xmlns:a16="http://schemas.microsoft.com/office/drawing/2014/main" id="{B0514E87-7CCC-462A-BE49-5C20984B931F}"/>
              </a:ext>
            </a:extLst>
          </p:cNvPr>
          <p:cNvSpPr/>
          <p:nvPr/>
        </p:nvSpPr>
        <p:spPr>
          <a:xfrm rot="5400000">
            <a:off x="7236889" y="-6860"/>
            <a:ext cx="1908000" cy="1906223"/>
          </a:xfrm>
          <a:prstGeom prst="diagStripe">
            <a:avLst>
              <a:gd name="adj" fmla="val 62681"/>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11" name="ZoneTexte 10">
            <a:extLst>
              <a:ext uri="{FF2B5EF4-FFF2-40B4-BE49-F238E27FC236}">
                <a16:creationId xmlns:a16="http://schemas.microsoft.com/office/drawing/2014/main" id="{667453C1-34C8-4561-92E7-5CC1ABC22D8C}"/>
              </a:ext>
            </a:extLst>
          </p:cNvPr>
          <p:cNvSpPr txBox="1"/>
          <p:nvPr/>
        </p:nvSpPr>
        <p:spPr>
          <a:xfrm rot="2735380">
            <a:off x="7539304" y="419685"/>
            <a:ext cx="1712736" cy="682028"/>
          </a:xfrm>
          <a:prstGeom prst="rect">
            <a:avLst/>
          </a:prstGeom>
        </p:spPr>
        <p:txBody>
          <a:bodyPr wrap="square" lIns="72000" tIns="72000" rIns="72000" bIns="72000" rtlCol="0">
            <a:spAutoFit/>
          </a:bodyPr>
          <a:lstStyle/>
          <a:p>
            <a:pPr algn="ctr">
              <a:lnSpc>
                <a:spcPct val="120000"/>
              </a:lnSpc>
              <a:spcAft>
                <a:spcPts val="600"/>
              </a:spcAft>
            </a:pPr>
            <a:r>
              <a:rPr lang="fr-FR" sz="3200" b="1" dirty="0">
                <a:solidFill>
                  <a:schemeClr val="bg1"/>
                </a:solidFill>
                <a:latin typeface="Arial" panose="020B0604020202020204" pitchFamily="34" charset="0"/>
                <a:cs typeface="Arial" panose="020B0604020202020204" pitchFamily="34" charset="0"/>
              </a:rPr>
              <a:t>BETA</a:t>
            </a:r>
          </a:p>
        </p:txBody>
      </p:sp>
    </p:spTree>
    <p:extLst>
      <p:ext uri="{BB962C8B-B14F-4D97-AF65-F5344CB8AC3E}">
        <p14:creationId xmlns:p14="http://schemas.microsoft.com/office/powerpoint/2010/main" val="107434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0AE5A0-92A1-4351-B6CF-17AB076FCB17}"/>
              </a:ext>
            </a:extLst>
          </p:cNvPr>
          <p:cNvSpPr>
            <a:spLocks noGrp="1"/>
          </p:cNvSpPr>
          <p:nvPr>
            <p:ph type="title"/>
          </p:nvPr>
        </p:nvSpPr>
        <p:spPr/>
        <p:txBody>
          <a:bodyPr/>
          <a:lstStyle/>
          <a:p>
            <a:r>
              <a:rPr lang="fr-FR" dirty="0"/>
              <a:t>Natural </a:t>
            </a:r>
            <a:r>
              <a:rPr lang="fr-FR" dirty="0" err="1"/>
              <a:t>language</a:t>
            </a:r>
            <a:r>
              <a:rPr lang="fr-FR" dirty="0"/>
              <a:t> API</a:t>
            </a:r>
          </a:p>
        </p:txBody>
      </p:sp>
      <p:sp>
        <p:nvSpPr>
          <p:cNvPr id="3" name="Text Placeholder 16">
            <a:extLst>
              <a:ext uri="{FF2B5EF4-FFF2-40B4-BE49-F238E27FC236}">
                <a16:creationId xmlns:a16="http://schemas.microsoft.com/office/drawing/2014/main" id="{D66B6D52-9EC3-4511-B09C-A547C195B14A}"/>
              </a:ext>
            </a:extLst>
          </p:cNvPr>
          <p:cNvSpPr txBox="1">
            <a:spLocks/>
          </p:cNvSpPr>
          <p:nvPr/>
        </p:nvSpPr>
        <p:spPr>
          <a:xfrm>
            <a:off x="228600" y="668889"/>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pPr marL="285750" indent="-285750">
              <a:buClr>
                <a:schemeClr val="accent2"/>
              </a:buClr>
              <a:buFont typeface="Arial" panose="020B0604020202020204" pitchFamily="34" charset="0"/>
              <a:buChar char="•"/>
            </a:pPr>
            <a:r>
              <a:rPr lang="en-US" sz="1300" dirty="0"/>
              <a:t>Natural Language </a:t>
            </a:r>
            <a:r>
              <a:rPr lang="fr-FR" sz="1300" dirty="0"/>
              <a:t>API in </a:t>
            </a:r>
            <a:r>
              <a:rPr lang="fr-FR" sz="1300" dirty="0" err="1"/>
              <a:t>natively</a:t>
            </a:r>
            <a:r>
              <a:rPr lang="fr-FR" sz="1300" dirty="0"/>
              <a:t> </a:t>
            </a:r>
            <a:r>
              <a:rPr lang="fr-FR" sz="1300" dirty="0" err="1"/>
              <a:t>included</a:t>
            </a:r>
            <a:r>
              <a:rPr lang="fr-FR" sz="1300" dirty="0"/>
              <a:t> in the « Enterprise Editions » of </a:t>
            </a:r>
            <a:r>
              <a:rPr lang="fr-FR" sz="1300" dirty="0" err="1"/>
              <a:t>Dialogflow</a:t>
            </a:r>
            <a:r>
              <a:rPr lang="fr-FR" sz="1300" dirty="0"/>
              <a:t>. All the sentences are </a:t>
            </a:r>
            <a:r>
              <a:rPr lang="fr-FR" sz="1300" dirty="0" err="1"/>
              <a:t>tested</a:t>
            </a:r>
            <a:r>
              <a:rPr lang="fr-FR" sz="1300" dirty="0"/>
              <a:t> </a:t>
            </a:r>
            <a:r>
              <a:rPr lang="fr-FR" sz="1300" dirty="0" err="1"/>
              <a:t>with</a:t>
            </a:r>
            <a:r>
              <a:rPr lang="fr-FR" sz="1300" dirty="0"/>
              <a:t> </a:t>
            </a:r>
            <a:r>
              <a:rPr lang="fr-FR" sz="1300" dirty="0" err="1"/>
              <a:t>this</a:t>
            </a:r>
            <a:r>
              <a:rPr lang="fr-FR" sz="1300" dirty="0"/>
              <a:t> API.</a:t>
            </a:r>
          </a:p>
          <a:p>
            <a:pPr marL="285750" indent="-285750">
              <a:buFont typeface="Arial" panose="020B0604020202020204" pitchFamily="34" charset="0"/>
              <a:buChar char="•"/>
            </a:pPr>
            <a:endParaRPr lang="fr-FR" sz="1300" dirty="0"/>
          </a:p>
          <a:p>
            <a:r>
              <a:rPr lang="fr-FR" sz="1300" dirty="0"/>
              <a:t>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600" dirty="0"/>
          </a:p>
        </p:txBody>
      </p:sp>
      <p:pic>
        <p:nvPicPr>
          <p:cNvPr id="5" name="Image 4">
            <a:extLst>
              <a:ext uri="{FF2B5EF4-FFF2-40B4-BE49-F238E27FC236}">
                <a16:creationId xmlns:a16="http://schemas.microsoft.com/office/drawing/2014/main" id="{492E0011-C6D6-4B61-AE1C-8F576DC3BDF2}"/>
              </a:ext>
            </a:extLst>
          </p:cNvPr>
          <p:cNvPicPr>
            <a:picLocks noChangeAspect="1"/>
          </p:cNvPicPr>
          <p:nvPr/>
        </p:nvPicPr>
        <p:blipFill>
          <a:blip r:embed="rId2"/>
          <a:stretch>
            <a:fillRect/>
          </a:stretch>
        </p:blipFill>
        <p:spPr>
          <a:xfrm>
            <a:off x="619616" y="1756774"/>
            <a:ext cx="1736132" cy="2924556"/>
          </a:xfrm>
          <a:prstGeom prst="rect">
            <a:avLst/>
          </a:prstGeom>
        </p:spPr>
      </p:pic>
      <p:sp>
        <p:nvSpPr>
          <p:cNvPr id="7" name="Ellipse 6">
            <a:extLst>
              <a:ext uri="{FF2B5EF4-FFF2-40B4-BE49-F238E27FC236}">
                <a16:creationId xmlns:a16="http://schemas.microsoft.com/office/drawing/2014/main" id="{2F34938B-423E-4B3D-9B73-B9E9F99C85F5}"/>
              </a:ext>
            </a:extLst>
          </p:cNvPr>
          <p:cNvSpPr/>
          <p:nvPr/>
        </p:nvSpPr>
        <p:spPr>
          <a:xfrm>
            <a:off x="414593" y="2029423"/>
            <a:ext cx="1645920" cy="458041"/>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llipse 7">
            <a:extLst>
              <a:ext uri="{FF2B5EF4-FFF2-40B4-BE49-F238E27FC236}">
                <a16:creationId xmlns:a16="http://schemas.microsoft.com/office/drawing/2014/main" id="{A066E3D3-0162-4D91-A856-1DA57EF4F480}"/>
              </a:ext>
            </a:extLst>
          </p:cNvPr>
          <p:cNvSpPr/>
          <p:nvPr/>
        </p:nvSpPr>
        <p:spPr>
          <a:xfrm>
            <a:off x="287695" y="4245590"/>
            <a:ext cx="1645920" cy="458041"/>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9" name="Connecteur droit avec flèche 8">
            <a:extLst>
              <a:ext uri="{FF2B5EF4-FFF2-40B4-BE49-F238E27FC236}">
                <a16:creationId xmlns:a16="http://schemas.microsoft.com/office/drawing/2014/main" id="{D3281414-6B3C-4FB6-8A37-3B0B9CB5C1A2}"/>
              </a:ext>
            </a:extLst>
          </p:cNvPr>
          <p:cNvCxnSpPr>
            <a:cxnSpLocks/>
            <a:stCxn id="8" idx="0"/>
          </p:cNvCxnSpPr>
          <p:nvPr/>
        </p:nvCxnSpPr>
        <p:spPr>
          <a:xfrm flipV="1">
            <a:off x="1110655" y="2487466"/>
            <a:ext cx="107653" cy="1758124"/>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11" name="Text Placeholder 16">
            <a:extLst>
              <a:ext uri="{FF2B5EF4-FFF2-40B4-BE49-F238E27FC236}">
                <a16:creationId xmlns:a16="http://schemas.microsoft.com/office/drawing/2014/main" id="{C0160D8B-E6D9-4482-8B03-AAAA77EB76CB}"/>
              </a:ext>
            </a:extLst>
          </p:cNvPr>
          <p:cNvSpPr txBox="1">
            <a:spLocks/>
          </p:cNvSpPr>
          <p:nvPr/>
        </p:nvSpPr>
        <p:spPr>
          <a:xfrm>
            <a:off x="2746764" y="2029423"/>
            <a:ext cx="6202307" cy="2298396"/>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pPr marL="285750" indent="-285750">
              <a:buClr>
                <a:schemeClr val="accent2"/>
              </a:buClr>
              <a:buFont typeface="Arial" panose="020B0604020202020204" pitchFamily="34" charset="0"/>
              <a:buChar char="•"/>
            </a:pPr>
            <a:r>
              <a:rPr lang="fr-FR" sz="1300" dirty="0"/>
              <a:t>But </a:t>
            </a:r>
            <a:r>
              <a:rPr lang="fr-FR" sz="1300" dirty="0" err="1"/>
              <a:t>we</a:t>
            </a:r>
            <a:r>
              <a:rPr lang="fr-FR" sz="1300" dirty="0"/>
              <a:t> can use sentiment </a:t>
            </a:r>
            <a:r>
              <a:rPr lang="fr-FR" sz="1300" dirty="0" err="1"/>
              <a:t>analysis</a:t>
            </a:r>
            <a:r>
              <a:rPr lang="fr-FR" sz="1300" dirty="0"/>
              <a:t> </a:t>
            </a:r>
            <a:r>
              <a:rPr lang="fr-FR" sz="1300" dirty="0" err="1"/>
              <a:t>with</a:t>
            </a:r>
            <a:r>
              <a:rPr lang="fr-FR" sz="1300" dirty="0"/>
              <a:t> « standard Edition ».</a:t>
            </a:r>
          </a:p>
          <a:p>
            <a:pPr marL="285750" indent="-285750">
              <a:buClr>
                <a:schemeClr val="accent2"/>
              </a:buClr>
              <a:buFont typeface="Arial" panose="020B0604020202020204" pitchFamily="34" charset="0"/>
              <a:buChar char="•"/>
            </a:pPr>
            <a:r>
              <a:rPr lang="fr-FR" sz="1300" dirty="0" err="1"/>
              <a:t>We</a:t>
            </a:r>
            <a:r>
              <a:rPr lang="fr-FR" sz="1300" dirty="0"/>
              <a:t> have to manage the calls to the API.</a:t>
            </a:r>
          </a:p>
          <a:p>
            <a:pPr marL="285750" indent="-285750">
              <a:buClr>
                <a:schemeClr val="accent2"/>
              </a:buClr>
              <a:buFont typeface="Arial" panose="020B0604020202020204" pitchFamily="34" charset="0"/>
              <a:buChar char="•"/>
            </a:pPr>
            <a:r>
              <a:rPr lang="fr-FR" sz="1300" dirty="0"/>
              <a:t>Use case :</a:t>
            </a:r>
          </a:p>
          <a:p>
            <a:pPr marL="690563" lvl="1" indent="-285750">
              <a:buClr>
                <a:schemeClr val="accent2"/>
              </a:buClr>
            </a:pPr>
            <a:r>
              <a:rPr lang="fr-FR" sz="1150" dirty="0"/>
              <a:t>If </a:t>
            </a:r>
            <a:r>
              <a:rPr lang="fr-FR" sz="1150" dirty="0" err="1"/>
              <a:t>we</a:t>
            </a:r>
            <a:r>
              <a:rPr lang="fr-FR" sz="1150" dirty="0"/>
              <a:t> are in a </a:t>
            </a:r>
            <a:r>
              <a:rPr lang="fr-FR" sz="1150" dirty="0" err="1"/>
              <a:t>fallback</a:t>
            </a:r>
            <a:r>
              <a:rPr lang="fr-FR" sz="1150" dirty="0"/>
              <a:t> </a:t>
            </a:r>
            <a:r>
              <a:rPr lang="fr-FR" sz="1150" dirty="0" err="1"/>
              <a:t>intent</a:t>
            </a:r>
            <a:r>
              <a:rPr lang="fr-FR" sz="1150" dirty="0"/>
              <a:t>, </a:t>
            </a:r>
            <a:r>
              <a:rPr lang="fr-FR" sz="1150" dirty="0" err="1"/>
              <a:t>two</a:t>
            </a:r>
            <a:r>
              <a:rPr lang="fr-FR" sz="1150" dirty="0"/>
              <a:t> cases :</a:t>
            </a:r>
          </a:p>
          <a:p>
            <a:pPr marL="960835" lvl="2" indent="-285750"/>
            <a:r>
              <a:rPr lang="fr-FR" sz="1000" dirty="0"/>
              <a:t>The sentiment </a:t>
            </a:r>
            <a:r>
              <a:rPr lang="fr-FR" sz="1000" dirty="0" err="1"/>
              <a:t>is</a:t>
            </a:r>
            <a:r>
              <a:rPr lang="fr-FR" sz="1000" dirty="0"/>
              <a:t> positive, the bot </a:t>
            </a:r>
            <a:r>
              <a:rPr lang="fr-FR" sz="1000" dirty="0" err="1"/>
              <a:t>asks</a:t>
            </a:r>
            <a:r>
              <a:rPr lang="fr-FR" sz="1000" dirty="0"/>
              <a:t> to </a:t>
            </a:r>
            <a:r>
              <a:rPr lang="fr-FR" sz="1000" dirty="0" err="1"/>
              <a:t>reformulate</a:t>
            </a:r>
            <a:endParaRPr lang="fr-FR" sz="1000" dirty="0"/>
          </a:p>
          <a:p>
            <a:pPr marL="960835" lvl="2" indent="-285750"/>
            <a:r>
              <a:rPr lang="fr-FR" sz="1000" dirty="0"/>
              <a:t>The sentiment </a:t>
            </a:r>
            <a:r>
              <a:rPr lang="fr-FR" sz="1000" dirty="0" err="1"/>
              <a:t>is</a:t>
            </a:r>
            <a:r>
              <a:rPr lang="fr-FR" sz="1000" dirty="0"/>
              <a:t> </a:t>
            </a:r>
            <a:r>
              <a:rPr lang="fr-FR" sz="1000" dirty="0" err="1"/>
              <a:t>negative</a:t>
            </a:r>
            <a:r>
              <a:rPr lang="fr-FR" sz="1000" dirty="0"/>
              <a:t>, the bot proposes a transfert to an agent</a:t>
            </a:r>
          </a:p>
          <a:p>
            <a:r>
              <a:rPr lang="fr-FR" sz="1300" dirty="0"/>
              <a:t>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1793108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0AE5A0-92A1-4351-B6CF-17AB076FCB17}"/>
              </a:ext>
            </a:extLst>
          </p:cNvPr>
          <p:cNvSpPr>
            <a:spLocks noGrp="1"/>
          </p:cNvSpPr>
          <p:nvPr>
            <p:ph type="title"/>
          </p:nvPr>
        </p:nvSpPr>
        <p:spPr/>
        <p:txBody>
          <a:bodyPr/>
          <a:lstStyle/>
          <a:p>
            <a:r>
              <a:rPr lang="fr-FR" dirty="0"/>
              <a:t>Natural </a:t>
            </a:r>
            <a:r>
              <a:rPr lang="fr-FR" dirty="0" err="1"/>
              <a:t>language</a:t>
            </a:r>
            <a:r>
              <a:rPr lang="fr-FR" dirty="0"/>
              <a:t> API</a:t>
            </a:r>
          </a:p>
        </p:txBody>
      </p:sp>
      <p:pic>
        <p:nvPicPr>
          <p:cNvPr id="10" name="Image 9">
            <a:extLst>
              <a:ext uri="{FF2B5EF4-FFF2-40B4-BE49-F238E27FC236}">
                <a16:creationId xmlns:a16="http://schemas.microsoft.com/office/drawing/2014/main" id="{6636836F-1E40-4E86-A60A-271D396FAD64}"/>
              </a:ext>
            </a:extLst>
          </p:cNvPr>
          <p:cNvPicPr>
            <a:picLocks noChangeAspect="1"/>
          </p:cNvPicPr>
          <p:nvPr/>
        </p:nvPicPr>
        <p:blipFill>
          <a:blip r:embed="rId2"/>
          <a:stretch>
            <a:fillRect/>
          </a:stretch>
        </p:blipFill>
        <p:spPr>
          <a:xfrm>
            <a:off x="1234857" y="808038"/>
            <a:ext cx="6360545" cy="3614094"/>
          </a:xfrm>
          <a:prstGeom prst="rect">
            <a:avLst/>
          </a:prstGeom>
        </p:spPr>
      </p:pic>
    </p:spTree>
    <p:extLst>
      <p:ext uri="{BB962C8B-B14F-4D97-AF65-F5344CB8AC3E}">
        <p14:creationId xmlns:p14="http://schemas.microsoft.com/office/powerpoint/2010/main" val="64749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2CF701-D4C3-4F6C-84D3-7ABE56710796}"/>
              </a:ext>
            </a:extLst>
          </p:cNvPr>
          <p:cNvSpPr>
            <a:spLocks noGrp="1"/>
          </p:cNvSpPr>
          <p:nvPr>
            <p:ph type="title"/>
          </p:nvPr>
        </p:nvSpPr>
        <p:spPr/>
        <p:txBody>
          <a:bodyPr/>
          <a:lstStyle/>
          <a:p>
            <a:r>
              <a:rPr lang="fr-FR" dirty="0" err="1"/>
              <a:t>Firebase</a:t>
            </a:r>
            <a:r>
              <a:rPr lang="fr-FR" dirty="0"/>
              <a:t> </a:t>
            </a:r>
            <a:r>
              <a:rPr lang="fr-FR" dirty="0" err="1"/>
              <a:t>Realtime</a:t>
            </a:r>
            <a:r>
              <a:rPr lang="fr-FR" dirty="0"/>
              <a:t> </a:t>
            </a:r>
            <a:r>
              <a:rPr lang="fr-FR" dirty="0" err="1"/>
              <a:t>Database</a:t>
            </a:r>
            <a:endParaRPr lang="fr-FR" dirty="0"/>
          </a:p>
        </p:txBody>
      </p:sp>
      <p:sp>
        <p:nvSpPr>
          <p:cNvPr id="3" name="Text Placeholder 16">
            <a:extLst>
              <a:ext uri="{FF2B5EF4-FFF2-40B4-BE49-F238E27FC236}">
                <a16:creationId xmlns:a16="http://schemas.microsoft.com/office/drawing/2014/main" id="{A68DAC95-5F70-4E4E-B0BB-22C7AC706666}"/>
              </a:ext>
            </a:extLst>
          </p:cNvPr>
          <p:cNvSpPr txBox="1">
            <a:spLocks/>
          </p:cNvSpPr>
          <p:nvPr/>
        </p:nvSpPr>
        <p:spPr>
          <a:xfrm>
            <a:off x="228600" y="668889"/>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pPr marL="285750" indent="-285750">
              <a:buClr>
                <a:schemeClr val="accent2"/>
              </a:buClr>
              <a:buFont typeface="Arial" panose="020B0604020202020204" pitchFamily="34" charset="0"/>
              <a:buChar char="•"/>
            </a:pPr>
            <a:r>
              <a:rPr lang="en-US" sz="1300" dirty="0"/>
              <a:t>Store and sync data with a NoSQL cloud database. Data is synced across all clients in </a:t>
            </a:r>
            <a:r>
              <a:rPr lang="en-US" sz="1300" dirty="0" err="1"/>
              <a:t>realtime</a:t>
            </a:r>
            <a:r>
              <a:rPr lang="en-US" sz="1300" dirty="0"/>
              <a:t>, and remains available when your app goes offline.</a:t>
            </a:r>
          </a:p>
          <a:p>
            <a:pPr marL="285750" indent="-285750">
              <a:buClr>
                <a:schemeClr val="accent2"/>
              </a:buClr>
              <a:buFont typeface="Arial" panose="020B0604020202020204" pitchFamily="34" charset="0"/>
              <a:buChar char="•"/>
            </a:pPr>
            <a:endParaRPr lang="en-US" sz="1300" dirty="0"/>
          </a:p>
          <a:p>
            <a:pPr marL="285750" indent="-285750">
              <a:buClr>
                <a:schemeClr val="accent2"/>
              </a:buClr>
              <a:buFont typeface="Arial" panose="020B0604020202020204" pitchFamily="34" charset="0"/>
              <a:buChar char="•"/>
            </a:pPr>
            <a:r>
              <a:rPr lang="en-US" sz="1300" dirty="0"/>
              <a:t>The Firebase Realtime Database is a cloud-hosted database. Data is stored as JSON and synchronized in </a:t>
            </a:r>
            <a:r>
              <a:rPr lang="en-US" sz="1300" dirty="0" err="1"/>
              <a:t>realtime</a:t>
            </a:r>
            <a:r>
              <a:rPr lang="en-US" sz="1300" dirty="0"/>
              <a:t> to every connected client. When you build cross-platform apps with our iOS, Android, and JavaScript SDKs, all of your clients share one Realtime Database instance and automatically receive updates with the newest data.</a:t>
            </a:r>
          </a:p>
          <a:p>
            <a:pPr marL="285750" indent="-285750">
              <a:buFont typeface="Arial" panose="020B0604020202020204" pitchFamily="34" charset="0"/>
              <a:buChar char="•"/>
            </a:pPr>
            <a:endParaRPr lang="en-US" sz="1300" dirty="0"/>
          </a:p>
          <a:p>
            <a:pPr algn="r"/>
            <a:r>
              <a:rPr lang="fr-FR" sz="1400" dirty="0">
                <a:hlinkClick r:id="rId2"/>
              </a:rPr>
              <a:t>https://cloud.google.com/natural-language/?hl=en</a:t>
            </a:r>
            <a:endParaRPr lang="fr-FR" sz="1400" dirty="0"/>
          </a:p>
          <a:p>
            <a:pPr algn="r"/>
            <a:endParaRPr lang="fr-FR" sz="1400" dirty="0"/>
          </a:p>
          <a:p>
            <a:pPr algn="r"/>
            <a:endParaRPr lang="fr-FR" sz="1400" dirty="0"/>
          </a:p>
          <a:p>
            <a:pPr marL="285750" indent="-285750">
              <a:buClr>
                <a:schemeClr val="accent2"/>
              </a:buClr>
              <a:buFont typeface="Arial" panose="020B0604020202020204" pitchFamily="34" charset="0"/>
              <a:buChar char="•"/>
            </a:pPr>
            <a:r>
              <a:rPr lang="fr-FR" sz="1300" dirty="0" err="1"/>
              <a:t>Less</a:t>
            </a:r>
            <a:r>
              <a:rPr lang="fr-FR" sz="1300" dirty="0"/>
              <a:t> </a:t>
            </a:r>
            <a:r>
              <a:rPr lang="fr-FR" sz="1300" dirty="0" err="1"/>
              <a:t>powerful</a:t>
            </a:r>
            <a:r>
              <a:rPr lang="fr-FR" sz="1300" dirty="0"/>
              <a:t> </a:t>
            </a:r>
            <a:r>
              <a:rPr lang="fr-FR" sz="1300" dirty="0" err="1"/>
              <a:t>than</a:t>
            </a:r>
            <a:r>
              <a:rPr lang="fr-FR" sz="1300" dirty="0"/>
              <a:t> a </a:t>
            </a:r>
            <a:r>
              <a:rPr lang="fr-FR" sz="1300" dirty="0" err="1"/>
              <a:t>classic</a:t>
            </a:r>
            <a:r>
              <a:rPr lang="fr-FR" sz="1300" dirty="0"/>
              <a:t> </a:t>
            </a:r>
            <a:r>
              <a:rPr lang="fr-FR" sz="1300" dirty="0" err="1"/>
              <a:t>relational</a:t>
            </a:r>
            <a:r>
              <a:rPr lang="fr-FR" sz="1300" dirty="0"/>
              <a:t> </a:t>
            </a:r>
            <a:r>
              <a:rPr lang="fr-FR" sz="1300" dirty="0" err="1"/>
              <a:t>database</a:t>
            </a:r>
            <a:r>
              <a:rPr lang="fr-FR" sz="1300" dirty="0"/>
              <a:t> (no </a:t>
            </a:r>
            <a:r>
              <a:rPr lang="fr-FR" sz="1300" dirty="0" err="1"/>
              <a:t>constraints</a:t>
            </a:r>
            <a:r>
              <a:rPr lang="fr-FR" sz="1300" dirty="0"/>
              <a:t>, no transactions, no </a:t>
            </a:r>
            <a:r>
              <a:rPr lang="fr-FR" sz="1300" dirty="0" err="1"/>
              <a:t>integrity</a:t>
            </a:r>
            <a:r>
              <a:rPr lang="fr-FR" sz="1300" dirty="0"/>
              <a:t> </a:t>
            </a:r>
            <a:r>
              <a:rPr lang="fr-FR" sz="1300" dirty="0" err="1"/>
              <a:t>rules</a:t>
            </a:r>
            <a:r>
              <a:rPr lang="fr-FR" sz="1300" dirty="0"/>
              <a:t>, no index, no </a:t>
            </a:r>
            <a:r>
              <a:rPr lang="fr-FR" sz="1300" dirty="0" err="1"/>
              <a:t>ordering</a:t>
            </a:r>
            <a:r>
              <a:rPr lang="fr-FR" sz="1300" dirty="0"/>
              <a:t>, no </a:t>
            </a:r>
            <a:r>
              <a:rPr lang="fr-FR" sz="1300" dirty="0" err="1"/>
              <a:t>complex</a:t>
            </a:r>
            <a:r>
              <a:rPr lang="fr-FR" sz="1300" dirty="0"/>
              <a:t> SQL…)</a:t>
            </a:r>
          </a:p>
          <a:p>
            <a:pPr marL="285750" indent="-285750">
              <a:buClr>
                <a:schemeClr val="accent2"/>
              </a:buClr>
              <a:buFont typeface="Arial" panose="020B0604020202020204" pitchFamily="34" charset="0"/>
              <a:buChar char="•"/>
            </a:pPr>
            <a:r>
              <a:rPr lang="fr-FR" sz="1300" dirty="0"/>
              <a:t>But… </a:t>
            </a:r>
            <a:r>
              <a:rPr lang="fr-FR" sz="1300" dirty="0" err="1"/>
              <a:t>it’s</a:t>
            </a:r>
            <a:r>
              <a:rPr lang="fr-FR" sz="1300" dirty="0"/>
              <a:t> a 100% </a:t>
            </a:r>
            <a:r>
              <a:rPr lang="fr-FR" sz="1300" dirty="0">
                <a:solidFill>
                  <a:schemeClr val="accent2"/>
                </a:solidFill>
              </a:rPr>
              <a:t>REST </a:t>
            </a:r>
            <a:r>
              <a:rPr lang="fr-FR" sz="1300" dirty="0" err="1">
                <a:solidFill>
                  <a:schemeClr val="accent2"/>
                </a:solidFill>
              </a:rPr>
              <a:t>Database</a:t>
            </a:r>
            <a:r>
              <a:rPr lang="fr-FR" sz="1300" dirty="0">
                <a:solidFill>
                  <a:schemeClr val="accent2"/>
                </a:solidFill>
              </a:rPr>
              <a:t> </a:t>
            </a:r>
            <a:r>
              <a:rPr lang="fr-FR" sz="1300" dirty="0"/>
              <a:t>!</a:t>
            </a:r>
            <a:endParaRPr lang="en-US" sz="1300" dirty="0"/>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3338247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E9171A5-53AD-4DF2-84E9-6953DD565A3A}"/>
              </a:ext>
            </a:extLst>
          </p:cNvPr>
          <p:cNvSpPr>
            <a:spLocks noGrp="1"/>
          </p:cNvSpPr>
          <p:nvPr>
            <p:ph type="title"/>
          </p:nvPr>
        </p:nvSpPr>
        <p:spPr/>
        <p:txBody>
          <a:bodyPr/>
          <a:lstStyle/>
          <a:p>
            <a:r>
              <a:rPr lang="fr-FR" dirty="0" err="1"/>
              <a:t>Firebase</a:t>
            </a:r>
            <a:r>
              <a:rPr lang="fr-FR" dirty="0"/>
              <a:t> </a:t>
            </a:r>
            <a:r>
              <a:rPr lang="fr-FR" dirty="0" err="1"/>
              <a:t>realtime</a:t>
            </a:r>
            <a:r>
              <a:rPr lang="fr-FR" dirty="0"/>
              <a:t> </a:t>
            </a:r>
            <a:r>
              <a:rPr lang="fr-FR" dirty="0" err="1"/>
              <a:t>database</a:t>
            </a:r>
            <a:endParaRPr lang="fr-FR" dirty="0"/>
          </a:p>
        </p:txBody>
      </p:sp>
      <p:pic>
        <p:nvPicPr>
          <p:cNvPr id="4" name="Image 3">
            <a:extLst>
              <a:ext uri="{FF2B5EF4-FFF2-40B4-BE49-F238E27FC236}">
                <a16:creationId xmlns:a16="http://schemas.microsoft.com/office/drawing/2014/main" id="{E57E6BC8-0341-42BE-8217-1CD2F0E7B386}"/>
              </a:ext>
            </a:extLst>
          </p:cNvPr>
          <p:cNvPicPr>
            <a:picLocks noChangeAspect="1"/>
          </p:cNvPicPr>
          <p:nvPr/>
        </p:nvPicPr>
        <p:blipFill>
          <a:blip r:embed="rId2"/>
          <a:stretch>
            <a:fillRect/>
          </a:stretch>
        </p:blipFill>
        <p:spPr>
          <a:xfrm>
            <a:off x="2213003" y="950310"/>
            <a:ext cx="4538206" cy="3833382"/>
          </a:xfrm>
          <a:prstGeom prst="rect">
            <a:avLst/>
          </a:prstGeom>
        </p:spPr>
      </p:pic>
    </p:spTree>
    <p:extLst>
      <p:ext uri="{BB962C8B-B14F-4D97-AF65-F5344CB8AC3E}">
        <p14:creationId xmlns:p14="http://schemas.microsoft.com/office/powerpoint/2010/main" val="1407639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EF7356C-A4A7-4722-8C42-01E3F2D04741}"/>
              </a:ext>
            </a:extLst>
          </p:cNvPr>
          <p:cNvSpPr>
            <a:spLocks noGrp="1"/>
          </p:cNvSpPr>
          <p:nvPr>
            <p:ph type="title"/>
          </p:nvPr>
        </p:nvSpPr>
        <p:spPr/>
        <p:txBody>
          <a:bodyPr/>
          <a:lstStyle/>
          <a:p>
            <a:r>
              <a:rPr lang="fr-FR" dirty="0" err="1"/>
              <a:t>Firebase</a:t>
            </a:r>
            <a:r>
              <a:rPr lang="fr-FR" dirty="0"/>
              <a:t> </a:t>
            </a:r>
            <a:r>
              <a:rPr lang="fr-FR" dirty="0" err="1"/>
              <a:t>Realtime</a:t>
            </a:r>
            <a:r>
              <a:rPr lang="fr-FR" dirty="0"/>
              <a:t> </a:t>
            </a:r>
            <a:r>
              <a:rPr lang="fr-FR" dirty="0" err="1"/>
              <a:t>Database</a:t>
            </a:r>
            <a:endParaRPr lang="fr-FR" dirty="0"/>
          </a:p>
        </p:txBody>
      </p:sp>
      <p:pic>
        <p:nvPicPr>
          <p:cNvPr id="3" name="Image 2">
            <a:extLst>
              <a:ext uri="{FF2B5EF4-FFF2-40B4-BE49-F238E27FC236}">
                <a16:creationId xmlns:a16="http://schemas.microsoft.com/office/drawing/2014/main" id="{83F86D1B-B1B1-4D5C-87A4-0F6AC35A8262}"/>
              </a:ext>
            </a:extLst>
          </p:cNvPr>
          <p:cNvPicPr>
            <a:picLocks noChangeAspect="1"/>
          </p:cNvPicPr>
          <p:nvPr/>
        </p:nvPicPr>
        <p:blipFill>
          <a:blip r:embed="rId2"/>
          <a:stretch>
            <a:fillRect/>
          </a:stretch>
        </p:blipFill>
        <p:spPr>
          <a:xfrm>
            <a:off x="1615857" y="668889"/>
            <a:ext cx="4562214" cy="2071556"/>
          </a:xfrm>
          <a:prstGeom prst="rect">
            <a:avLst/>
          </a:prstGeom>
        </p:spPr>
      </p:pic>
      <p:sp>
        <p:nvSpPr>
          <p:cNvPr id="4" name="Text Placeholder 16">
            <a:extLst>
              <a:ext uri="{FF2B5EF4-FFF2-40B4-BE49-F238E27FC236}">
                <a16:creationId xmlns:a16="http://schemas.microsoft.com/office/drawing/2014/main" id="{CFF8720F-F93A-4F9A-92A7-7FC2B493F0DB}"/>
              </a:ext>
            </a:extLst>
          </p:cNvPr>
          <p:cNvSpPr txBox="1">
            <a:spLocks/>
          </p:cNvSpPr>
          <p:nvPr/>
        </p:nvSpPr>
        <p:spPr>
          <a:xfrm>
            <a:off x="228600" y="668889"/>
            <a:ext cx="3040693"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pPr marL="285750" indent="-285750">
              <a:buClr>
                <a:schemeClr val="accent2"/>
              </a:buClr>
              <a:buFont typeface="Arial" panose="020B0604020202020204" pitchFamily="34" charset="0"/>
              <a:buChar char="•"/>
            </a:pPr>
            <a:r>
              <a:rPr lang="en-US" dirty="0"/>
              <a:t>Writing</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Clr>
                <a:schemeClr val="accent2"/>
              </a:buClr>
              <a:buFont typeface="Arial" panose="020B0604020202020204" pitchFamily="34" charset="0"/>
              <a:buChar char="•"/>
            </a:pPr>
            <a:r>
              <a:rPr lang="en-US" dirty="0"/>
              <a:t>Reading</a:t>
            </a:r>
          </a:p>
          <a:p>
            <a:pPr marL="285750" indent="-285750">
              <a:buFont typeface="Arial" panose="020B0604020202020204" pitchFamily="34" charset="0"/>
              <a:buChar char="•"/>
            </a:pPr>
            <a:endParaRPr lang="en-US" sz="1600" dirty="0"/>
          </a:p>
        </p:txBody>
      </p:sp>
      <p:pic>
        <p:nvPicPr>
          <p:cNvPr id="5" name="Image 4">
            <a:extLst>
              <a:ext uri="{FF2B5EF4-FFF2-40B4-BE49-F238E27FC236}">
                <a16:creationId xmlns:a16="http://schemas.microsoft.com/office/drawing/2014/main" id="{F2118132-15CE-4097-8776-C227ED67C273}"/>
              </a:ext>
            </a:extLst>
          </p:cNvPr>
          <p:cNvPicPr>
            <a:picLocks noChangeAspect="1"/>
          </p:cNvPicPr>
          <p:nvPr/>
        </p:nvPicPr>
        <p:blipFill>
          <a:blip r:embed="rId3"/>
          <a:stretch>
            <a:fillRect/>
          </a:stretch>
        </p:blipFill>
        <p:spPr>
          <a:xfrm>
            <a:off x="1615857" y="2914870"/>
            <a:ext cx="4988425" cy="2093751"/>
          </a:xfrm>
          <a:prstGeom prst="rect">
            <a:avLst/>
          </a:prstGeom>
        </p:spPr>
      </p:pic>
    </p:spTree>
    <p:extLst>
      <p:ext uri="{BB962C8B-B14F-4D97-AF65-F5344CB8AC3E}">
        <p14:creationId xmlns:p14="http://schemas.microsoft.com/office/powerpoint/2010/main" val="1110141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F0D1B32-96BA-4599-A690-1442F4514BCA}"/>
              </a:ext>
            </a:extLst>
          </p:cNvPr>
          <p:cNvSpPr>
            <a:spLocks noGrp="1"/>
          </p:cNvSpPr>
          <p:nvPr>
            <p:ph type="title"/>
          </p:nvPr>
        </p:nvSpPr>
        <p:spPr/>
        <p:txBody>
          <a:bodyPr/>
          <a:lstStyle/>
          <a:p>
            <a:r>
              <a:rPr lang="fr-FR" dirty="0"/>
              <a:t>Cloud DLP API – Data </a:t>
            </a:r>
            <a:r>
              <a:rPr lang="fr-FR" dirty="0" err="1"/>
              <a:t>Loss</a:t>
            </a:r>
            <a:r>
              <a:rPr lang="fr-FR" dirty="0"/>
              <a:t> Prevention </a:t>
            </a:r>
          </a:p>
        </p:txBody>
      </p:sp>
      <p:sp>
        <p:nvSpPr>
          <p:cNvPr id="3" name="Text Placeholder 16">
            <a:extLst>
              <a:ext uri="{FF2B5EF4-FFF2-40B4-BE49-F238E27FC236}">
                <a16:creationId xmlns:a16="http://schemas.microsoft.com/office/drawing/2014/main" id="{3746CC05-7A6A-4683-9AA1-5B464E9DDEDB}"/>
              </a:ext>
            </a:extLst>
          </p:cNvPr>
          <p:cNvSpPr txBox="1">
            <a:spLocks/>
          </p:cNvSpPr>
          <p:nvPr/>
        </p:nvSpPr>
        <p:spPr>
          <a:xfrm>
            <a:off x="228600" y="668889"/>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pPr marL="285750" indent="-285750">
              <a:buClr>
                <a:schemeClr val="accent2"/>
              </a:buClr>
              <a:buFont typeface="Arial" panose="020B0604020202020204" pitchFamily="34" charset="0"/>
              <a:buChar char="•"/>
            </a:pPr>
            <a:r>
              <a:rPr lang="en-US" sz="1400" dirty="0"/>
              <a:t>Cloud DLP helps you better understand and manage sensitive data. It provides fast, scalable classification and redaction for sensitive data elements like credit card numbers, names, social security numbers, US and selected international identifier numbers, phone numbers, and GCP credentials.</a:t>
            </a:r>
          </a:p>
          <a:p>
            <a:pPr marL="285750" indent="-285750">
              <a:buClr>
                <a:schemeClr val="accent2"/>
              </a:buClr>
              <a:buFont typeface="Arial" panose="020B0604020202020204" pitchFamily="34" charset="0"/>
              <a:buChar char="•"/>
            </a:pPr>
            <a:r>
              <a:rPr lang="en-US" sz="1400" dirty="0"/>
              <a:t>Cloud DLP classifies this data using more than 90 predefined detectors to identify patterns, formats, and checksums, and even understands contextual clues. You can optionally redact data as well, using techniques like masking, secure hashing, tokenization, bucketing, and format-preserving encryption.</a:t>
            </a:r>
          </a:p>
          <a:p>
            <a:pPr marL="285750" indent="-285750">
              <a:buFont typeface="Arial" panose="020B0604020202020204" pitchFamily="34" charset="0"/>
              <a:buChar char="•"/>
            </a:pPr>
            <a:endParaRPr lang="en-US" dirty="0"/>
          </a:p>
          <a:p>
            <a:pPr algn="r"/>
            <a:r>
              <a:rPr lang="en-US" sz="1400" dirty="0">
                <a:hlinkClick r:id="rId2"/>
              </a:rPr>
              <a:t>https://cloud.google.com/dlp/?hl=en</a:t>
            </a: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600" dirty="0"/>
          </a:p>
        </p:txBody>
      </p:sp>
      <p:pic>
        <p:nvPicPr>
          <p:cNvPr id="4" name="Picture 2" descr="Classez et biffez les données sensibles">
            <a:extLst>
              <a:ext uri="{FF2B5EF4-FFF2-40B4-BE49-F238E27FC236}">
                <a16:creationId xmlns:a16="http://schemas.microsoft.com/office/drawing/2014/main" id="{A7178A80-8ED3-4C21-887E-576309C2E0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400" y="3503579"/>
            <a:ext cx="7315200" cy="11109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677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F0D1B32-96BA-4599-A690-1442F4514BCA}"/>
              </a:ext>
            </a:extLst>
          </p:cNvPr>
          <p:cNvSpPr>
            <a:spLocks noGrp="1"/>
          </p:cNvSpPr>
          <p:nvPr>
            <p:ph type="title"/>
          </p:nvPr>
        </p:nvSpPr>
        <p:spPr/>
        <p:txBody>
          <a:bodyPr/>
          <a:lstStyle/>
          <a:p>
            <a:r>
              <a:rPr lang="fr-FR" dirty="0"/>
              <a:t>Cloud DLP API – Data </a:t>
            </a:r>
            <a:r>
              <a:rPr lang="fr-FR" dirty="0" err="1"/>
              <a:t>Loss</a:t>
            </a:r>
            <a:r>
              <a:rPr lang="fr-FR" dirty="0"/>
              <a:t> Prevention </a:t>
            </a:r>
          </a:p>
        </p:txBody>
      </p:sp>
      <p:sp>
        <p:nvSpPr>
          <p:cNvPr id="3" name="Text Placeholder 16">
            <a:extLst>
              <a:ext uri="{FF2B5EF4-FFF2-40B4-BE49-F238E27FC236}">
                <a16:creationId xmlns:a16="http://schemas.microsoft.com/office/drawing/2014/main" id="{3746CC05-7A6A-4683-9AA1-5B464E9DDEDB}"/>
              </a:ext>
            </a:extLst>
          </p:cNvPr>
          <p:cNvSpPr txBox="1">
            <a:spLocks/>
          </p:cNvSpPr>
          <p:nvPr/>
        </p:nvSpPr>
        <p:spPr>
          <a:xfrm>
            <a:off x="228600" y="668889"/>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pPr marL="285750" indent="-285750">
              <a:buClr>
                <a:schemeClr val="accent2"/>
              </a:buClr>
              <a:buFont typeface="Arial" panose="020B0604020202020204" pitchFamily="34" charset="0"/>
              <a:buChar char="•"/>
            </a:pPr>
            <a:r>
              <a:rPr lang="en-US" dirty="0"/>
              <a:t>Use case :</a:t>
            </a:r>
          </a:p>
          <a:p>
            <a:pPr marL="690563" lvl="1" indent="-285750">
              <a:buClr>
                <a:schemeClr val="accent2"/>
              </a:buClr>
            </a:pPr>
            <a:r>
              <a:rPr lang="en-US" sz="1250" dirty="0"/>
              <a:t>Retrieve the user's request,</a:t>
            </a:r>
          </a:p>
          <a:p>
            <a:pPr marL="690563" lvl="1" indent="-285750">
              <a:buClr>
                <a:schemeClr val="accent2"/>
              </a:buClr>
            </a:pPr>
            <a:r>
              <a:rPr lang="en-US" sz="1250" dirty="0"/>
              <a:t>anonymize the sensitive data </a:t>
            </a:r>
          </a:p>
          <a:p>
            <a:pPr marL="960835" lvl="2" indent="-285750"/>
            <a:r>
              <a:rPr lang="en-US" sz="1100" dirty="0"/>
              <a:t>For example, the phone number</a:t>
            </a:r>
          </a:p>
          <a:p>
            <a:pPr marL="690563" lvl="1" indent="-285750">
              <a:buClr>
                <a:schemeClr val="accent2"/>
              </a:buClr>
            </a:pPr>
            <a:r>
              <a:rPr lang="en-US" sz="1250" dirty="0"/>
              <a:t>before saving this user request in the log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sp>
        <p:nvSpPr>
          <p:cNvPr id="6" name="ZoneTexte 5">
            <a:extLst>
              <a:ext uri="{FF2B5EF4-FFF2-40B4-BE49-F238E27FC236}">
                <a16:creationId xmlns:a16="http://schemas.microsoft.com/office/drawing/2014/main" id="{3DF0AF7A-B796-4BDE-AD3D-FFD531945E3A}"/>
              </a:ext>
            </a:extLst>
          </p:cNvPr>
          <p:cNvSpPr txBox="1"/>
          <p:nvPr/>
        </p:nvSpPr>
        <p:spPr>
          <a:xfrm>
            <a:off x="4265111" y="2919065"/>
            <a:ext cx="3774677" cy="1095346"/>
          </a:xfrm>
          <a:prstGeom prst="rect">
            <a:avLst/>
          </a:prstGeom>
          <a:solidFill>
            <a:schemeClr val="accent1"/>
          </a:solidFill>
        </p:spPr>
        <p:txBody>
          <a:bodyPr wrap="square" lIns="72000" tIns="72000" rIns="72000" bIns="72000" rtlCol="0">
            <a:spAutoFit/>
          </a:bodyPr>
          <a:lstStyle/>
          <a:p>
            <a:pPr>
              <a:lnSpc>
                <a:spcPct val="120000"/>
              </a:lnSpc>
              <a:spcAft>
                <a:spcPts val="600"/>
              </a:spcAft>
            </a:pPr>
            <a:r>
              <a:rPr lang="fr-FR" sz="1000" b="1" dirty="0">
                <a:solidFill>
                  <a:schemeClr val="bg1"/>
                </a:solidFill>
              </a:rPr>
              <a:t>« </a:t>
            </a:r>
            <a:r>
              <a:rPr lang="fr-FR" sz="1000" b="1" dirty="0" err="1">
                <a:solidFill>
                  <a:schemeClr val="bg1"/>
                </a:solidFill>
              </a:rPr>
              <a:t>My</a:t>
            </a:r>
            <a:r>
              <a:rPr lang="fr-FR" sz="1000" b="1" dirty="0">
                <a:solidFill>
                  <a:schemeClr val="bg1"/>
                </a:solidFill>
              </a:rPr>
              <a:t> phone </a:t>
            </a:r>
            <a:r>
              <a:rPr lang="fr-FR" sz="1000" b="1" dirty="0" err="1">
                <a:solidFill>
                  <a:schemeClr val="bg1"/>
                </a:solidFill>
              </a:rPr>
              <a:t>number</a:t>
            </a:r>
            <a:r>
              <a:rPr lang="fr-FR" sz="1000" b="1" dirty="0">
                <a:solidFill>
                  <a:schemeClr val="bg1"/>
                </a:solidFill>
              </a:rPr>
              <a:t> </a:t>
            </a:r>
            <a:r>
              <a:rPr lang="fr-FR" sz="1000" b="1" dirty="0" err="1">
                <a:solidFill>
                  <a:schemeClr val="bg1"/>
                </a:solidFill>
              </a:rPr>
              <a:t>is</a:t>
            </a:r>
            <a:r>
              <a:rPr lang="fr-FR" sz="1000" b="1" dirty="0">
                <a:solidFill>
                  <a:schemeClr val="bg1"/>
                </a:solidFill>
              </a:rPr>
              <a:t> 06 01 02 03 04 »</a:t>
            </a:r>
          </a:p>
          <a:p>
            <a:pPr>
              <a:lnSpc>
                <a:spcPct val="120000"/>
              </a:lnSpc>
              <a:spcAft>
                <a:spcPts val="600"/>
              </a:spcAft>
            </a:pPr>
            <a:endParaRPr lang="fr-FR" sz="1000" b="1" dirty="0">
              <a:solidFill>
                <a:schemeClr val="bg1"/>
              </a:solidFill>
            </a:endParaRPr>
          </a:p>
          <a:p>
            <a:pPr>
              <a:lnSpc>
                <a:spcPct val="120000"/>
              </a:lnSpc>
              <a:spcAft>
                <a:spcPts val="600"/>
              </a:spcAft>
            </a:pPr>
            <a:endParaRPr lang="fr-FR" sz="1000" b="1" dirty="0">
              <a:solidFill>
                <a:schemeClr val="bg1"/>
              </a:solidFill>
            </a:endParaRPr>
          </a:p>
          <a:p>
            <a:pPr>
              <a:lnSpc>
                <a:spcPct val="120000"/>
              </a:lnSpc>
              <a:spcAft>
                <a:spcPts val="600"/>
              </a:spcAft>
            </a:pPr>
            <a:r>
              <a:rPr lang="fr-FR" sz="1000" b="1" dirty="0">
                <a:solidFill>
                  <a:schemeClr val="bg1"/>
                </a:solidFill>
              </a:rPr>
              <a:t>« </a:t>
            </a:r>
            <a:r>
              <a:rPr lang="fr-FR" sz="1000" b="1" dirty="0" err="1">
                <a:solidFill>
                  <a:schemeClr val="bg1"/>
                </a:solidFill>
              </a:rPr>
              <a:t>My</a:t>
            </a:r>
            <a:r>
              <a:rPr lang="fr-FR" sz="1000" b="1" dirty="0">
                <a:solidFill>
                  <a:schemeClr val="bg1"/>
                </a:solidFill>
              </a:rPr>
              <a:t> phone </a:t>
            </a:r>
            <a:r>
              <a:rPr lang="fr-FR" sz="1000" b="1" dirty="0" err="1">
                <a:solidFill>
                  <a:schemeClr val="bg1"/>
                </a:solidFill>
              </a:rPr>
              <a:t>number</a:t>
            </a:r>
            <a:r>
              <a:rPr lang="fr-FR" sz="1000" b="1" dirty="0">
                <a:solidFill>
                  <a:schemeClr val="bg1"/>
                </a:solidFill>
              </a:rPr>
              <a:t> </a:t>
            </a:r>
            <a:r>
              <a:rPr lang="fr-FR" sz="1000" b="1" dirty="0" err="1">
                <a:solidFill>
                  <a:schemeClr val="bg1"/>
                </a:solidFill>
              </a:rPr>
              <a:t>is</a:t>
            </a:r>
            <a:r>
              <a:rPr lang="fr-FR" sz="1000" b="1" dirty="0">
                <a:solidFill>
                  <a:schemeClr val="bg1"/>
                </a:solidFill>
              </a:rPr>
              <a:t> XX </a:t>
            </a:r>
            <a:r>
              <a:rPr lang="fr-FR" sz="1000" b="1" dirty="0" err="1">
                <a:solidFill>
                  <a:schemeClr val="bg1"/>
                </a:solidFill>
              </a:rPr>
              <a:t>XX</a:t>
            </a:r>
            <a:r>
              <a:rPr lang="fr-FR" sz="1000" b="1" dirty="0">
                <a:solidFill>
                  <a:schemeClr val="bg1"/>
                </a:solidFill>
              </a:rPr>
              <a:t> </a:t>
            </a:r>
            <a:r>
              <a:rPr lang="fr-FR" sz="1000" b="1" dirty="0" err="1">
                <a:solidFill>
                  <a:schemeClr val="bg1"/>
                </a:solidFill>
              </a:rPr>
              <a:t>XX</a:t>
            </a:r>
            <a:r>
              <a:rPr lang="fr-FR" sz="1000" b="1" dirty="0">
                <a:solidFill>
                  <a:schemeClr val="bg1"/>
                </a:solidFill>
              </a:rPr>
              <a:t> </a:t>
            </a:r>
            <a:r>
              <a:rPr lang="fr-FR" sz="1000" b="1" dirty="0" err="1">
                <a:solidFill>
                  <a:schemeClr val="bg1"/>
                </a:solidFill>
              </a:rPr>
              <a:t>XX</a:t>
            </a:r>
            <a:r>
              <a:rPr lang="fr-FR" sz="1000" b="1" dirty="0">
                <a:solidFill>
                  <a:schemeClr val="bg1"/>
                </a:solidFill>
              </a:rPr>
              <a:t> </a:t>
            </a:r>
            <a:r>
              <a:rPr lang="fr-FR" sz="1000" b="1" dirty="0" err="1">
                <a:solidFill>
                  <a:schemeClr val="bg1"/>
                </a:solidFill>
              </a:rPr>
              <a:t>XX</a:t>
            </a:r>
            <a:r>
              <a:rPr lang="fr-FR" sz="1000" b="1" dirty="0">
                <a:solidFill>
                  <a:schemeClr val="bg1"/>
                </a:solidFill>
              </a:rPr>
              <a:t> »</a:t>
            </a:r>
            <a:endParaRPr lang="fr-FR" sz="1000" dirty="0">
              <a:solidFill>
                <a:schemeClr val="bg1"/>
              </a:solidFill>
            </a:endParaRPr>
          </a:p>
        </p:txBody>
      </p:sp>
      <p:cxnSp>
        <p:nvCxnSpPr>
          <p:cNvPr id="7" name="Connecteur droit avec flèche 6">
            <a:extLst>
              <a:ext uri="{FF2B5EF4-FFF2-40B4-BE49-F238E27FC236}">
                <a16:creationId xmlns:a16="http://schemas.microsoft.com/office/drawing/2014/main" id="{6D3E7380-BC9E-4D35-A1A5-25BEB38F9400}"/>
              </a:ext>
            </a:extLst>
          </p:cNvPr>
          <p:cNvCxnSpPr>
            <a:cxnSpLocks/>
          </p:cNvCxnSpPr>
          <p:nvPr/>
        </p:nvCxnSpPr>
        <p:spPr>
          <a:xfrm flipV="1">
            <a:off x="6012494" y="3269294"/>
            <a:ext cx="0" cy="432147"/>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084794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F0D1B32-96BA-4599-A690-1442F4514BCA}"/>
              </a:ext>
            </a:extLst>
          </p:cNvPr>
          <p:cNvSpPr>
            <a:spLocks noGrp="1"/>
          </p:cNvSpPr>
          <p:nvPr>
            <p:ph type="title"/>
          </p:nvPr>
        </p:nvSpPr>
        <p:spPr/>
        <p:txBody>
          <a:bodyPr/>
          <a:lstStyle/>
          <a:p>
            <a:r>
              <a:rPr lang="fr-FR" dirty="0"/>
              <a:t>Cloud DLP API – Data </a:t>
            </a:r>
            <a:r>
              <a:rPr lang="fr-FR" dirty="0" err="1"/>
              <a:t>Loss</a:t>
            </a:r>
            <a:r>
              <a:rPr lang="fr-FR" dirty="0"/>
              <a:t> Prevention </a:t>
            </a:r>
          </a:p>
        </p:txBody>
      </p:sp>
      <p:pic>
        <p:nvPicPr>
          <p:cNvPr id="5" name="Image 4">
            <a:extLst>
              <a:ext uri="{FF2B5EF4-FFF2-40B4-BE49-F238E27FC236}">
                <a16:creationId xmlns:a16="http://schemas.microsoft.com/office/drawing/2014/main" id="{3D28A926-7D15-4698-ACC3-CC52AE0F6EEC}"/>
              </a:ext>
            </a:extLst>
          </p:cNvPr>
          <p:cNvPicPr>
            <a:picLocks noChangeAspect="1"/>
          </p:cNvPicPr>
          <p:nvPr/>
        </p:nvPicPr>
        <p:blipFill>
          <a:blip r:embed="rId2"/>
          <a:stretch>
            <a:fillRect/>
          </a:stretch>
        </p:blipFill>
        <p:spPr>
          <a:xfrm>
            <a:off x="423103" y="989408"/>
            <a:ext cx="5951416" cy="3546079"/>
          </a:xfrm>
          <a:prstGeom prst="rect">
            <a:avLst/>
          </a:prstGeom>
        </p:spPr>
      </p:pic>
      <p:sp>
        <p:nvSpPr>
          <p:cNvPr id="7" name="ZoneTexte 6">
            <a:extLst>
              <a:ext uri="{FF2B5EF4-FFF2-40B4-BE49-F238E27FC236}">
                <a16:creationId xmlns:a16="http://schemas.microsoft.com/office/drawing/2014/main" id="{D6F506B7-1E26-423F-A9A6-26FF0A1E6943}"/>
              </a:ext>
            </a:extLst>
          </p:cNvPr>
          <p:cNvSpPr txBox="1"/>
          <p:nvPr/>
        </p:nvSpPr>
        <p:spPr>
          <a:xfrm>
            <a:off x="4772415" y="608013"/>
            <a:ext cx="3774677" cy="2403397"/>
          </a:xfrm>
          <a:prstGeom prst="rect">
            <a:avLst/>
          </a:prstGeom>
          <a:solidFill>
            <a:schemeClr val="accent1"/>
          </a:solidFill>
        </p:spPr>
        <p:txBody>
          <a:bodyPr wrap="square" lIns="72000" tIns="72000" rIns="72000" bIns="72000" rtlCol="0">
            <a:spAutoFit/>
          </a:bodyPr>
          <a:lstStyle/>
          <a:p>
            <a:pPr>
              <a:lnSpc>
                <a:spcPct val="120000"/>
              </a:lnSpc>
              <a:spcAft>
                <a:spcPts val="600"/>
              </a:spcAft>
            </a:pPr>
            <a:r>
              <a:rPr lang="fr-FR" sz="1000" b="1" dirty="0">
                <a:solidFill>
                  <a:schemeClr val="bg1"/>
                </a:solidFill>
              </a:rPr>
              <a:t>Intention :</a:t>
            </a:r>
          </a:p>
          <a:p>
            <a:pPr>
              <a:lnSpc>
                <a:spcPct val="120000"/>
              </a:lnSpc>
              <a:spcAft>
                <a:spcPts val="600"/>
              </a:spcAft>
            </a:pPr>
            <a:endParaRPr lang="fr-FR" sz="1000" b="1" dirty="0">
              <a:solidFill>
                <a:schemeClr val="bg1"/>
              </a:solidFill>
            </a:endParaRPr>
          </a:p>
          <a:p>
            <a:pPr>
              <a:lnSpc>
                <a:spcPct val="120000"/>
              </a:lnSpc>
              <a:spcAft>
                <a:spcPts val="600"/>
              </a:spcAft>
            </a:pPr>
            <a:r>
              <a:rPr lang="fr-FR" sz="1000" dirty="0">
                <a:solidFill>
                  <a:schemeClr val="bg1"/>
                </a:solidFill>
              </a:rPr>
              <a:t> </a:t>
            </a:r>
            <a:r>
              <a:rPr lang="fr-FR" sz="1000" dirty="0" err="1">
                <a:solidFill>
                  <a:schemeClr val="bg1"/>
                </a:solidFill>
              </a:rPr>
              <a:t>function</a:t>
            </a:r>
            <a:r>
              <a:rPr lang="fr-FR" sz="1000" dirty="0">
                <a:solidFill>
                  <a:schemeClr val="bg1"/>
                </a:solidFill>
              </a:rPr>
              <a:t> </a:t>
            </a:r>
            <a:r>
              <a:rPr lang="fr-FR" sz="1000" dirty="0" err="1">
                <a:solidFill>
                  <a:schemeClr val="bg1"/>
                </a:solidFill>
              </a:rPr>
              <a:t>ask_callback</a:t>
            </a:r>
            <a:r>
              <a:rPr lang="fr-FR" sz="1000" dirty="0">
                <a:solidFill>
                  <a:schemeClr val="bg1"/>
                </a:solidFill>
              </a:rPr>
              <a:t>(agent) {</a:t>
            </a:r>
          </a:p>
          <a:p>
            <a:pPr>
              <a:lnSpc>
                <a:spcPct val="120000"/>
              </a:lnSpc>
              <a:spcAft>
                <a:spcPts val="600"/>
              </a:spcAft>
            </a:pPr>
            <a:r>
              <a:rPr lang="fr-FR" sz="1000" dirty="0">
                <a:solidFill>
                  <a:schemeClr val="bg1"/>
                </a:solidFill>
              </a:rPr>
              <a:t>  	var </a:t>
            </a:r>
            <a:r>
              <a:rPr lang="fr-FR" sz="1000" dirty="0" err="1">
                <a:solidFill>
                  <a:schemeClr val="bg1"/>
                </a:solidFill>
              </a:rPr>
              <a:t>query</a:t>
            </a:r>
            <a:r>
              <a:rPr lang="fr-FR" sz="1000" dirty="0">
                <a:solidFill>
                  <a:schemeClr val="bg1"/>
                </a:solidFill>
              </a:rPr>
              <a:t> = </a:t>
            </a:r>
            <a:r>
              <a:rPr lang="fr-FR" sz="1000" dirty="0" err="1">
                <a:solidFill>
                  <a:schemeClr val="bg1"/>
                </a:solidFill>
              </a:rPr>
              <a:t>agent.query</a:t>
            </a:r>
            <a:r>
              <a:rPr lang="fr-FR" sz="1000" dirty="0">
                <a:solidFill>
                  <a:schemeClr val="bg1"/>
                </a:solidFill>
              </a:rPr>
              <a:t>;     </a:t>
            </a:r>
          </a:p>
          <a:p>
            <a:pPr>
              <a:lnSpc>
                <a:spcPct val="120000"/>
              </a:lnSpc>
              <a:spcAft>
                <a:spcPts val="600"/>
              </a:spcAft>
            </a:pPr>
            <a:r>
              <a:rPr lang="fr-FR" sz="1000" dirty="0">
                <a:solidFill>
                  <a:schemeClr val="bg1"/>
                </a:solidFill>
              </a:rPr>
              <a:t>  	</a:t>
            </a:r>
            <a:r>
              <a:rPr lang="fr-FR" sz="1000" dirty="0" err="1">
                <a:solidFill>
                  <a:schemeClr val="bg1"/>
                </a:solidFill>
              </a:rPr>
              <a:t>log_DLP</a:t>
            </a:r>
            <a:r>
              <a:rPr lang="fr-FR" sz="1000" dirty="0">
                <a:solidFill>
                  <a:schemeClr val="bg1"/>
                </a:solidFill>
              </a:rPr>
              <a:t> (</a:t>
            </a:r>
            <a:r>
              <a:rPr lang="fr-FR" sz="1000" dirty="0" err="1">
                <a:solidFill>
                  <a:schemeClr val="bg1"/>
                </a:solidFill>
              </a:rPr>
              <a:t>query</a:t>
            </a:r>
            <a:r>
              <a:rPr lang="fr-FR" sz="1000" dirty="0">
                <a:solidFill>
                  <a:schemeClr val="bg1"/>
                </a:solidFill>
              </a:rPr>
              <a:t>);</a:t>
            </a:r>
          </a:p>
          <a:p>
            <a:pPr>
              <a:lnSpc>
                <a:spcPct val="120000"/>
              </a:lnSpc>
              <a:spcAft>
                <a:spcPts val="600"/>
              </a:spcAft>
            </a:pPr>
            <a:r>
              <a:rPr lang="fr-FR" sz="1000" dirty="0">
                <a:solidFill>
                  <a:schemeClr val="bg1"/>
                </a:solidFill>
              </a:rPr>
              <a:t>  	</a:t>
            </a:r>
            <a:r>
              <a:rPr lang="fr-FR" sz="1000" dirty="0" err="1">
                <a:solidFill>
                  <a:schemeClr val="bg1"/>
                </a:solidFill>
              </a:rPr>
              <a:t>agent.add</a:t>
            </a:r>
            <a:r>
              <a:rPr lang="fr-FR" sz="1000" dirty="0">
                <a:solidFill>
                  <a:schemeClr val="bg1"/>
                </a:solidFill>
              </a:rPr>
              <a:t>(« Ok, I call </a:t>
            </a:r>
            <a:r>
              <a:rPr lang="fr-FR" sz="1000" dirty="0" err="1">
                <a:solidFill>
                  <a:schemeClr val="bg1"/>
                </a:solidFill>
              </a:rPr>
              <a:t>you</a:t>
            </a:r>
            <a:r>
              <a:rPr lang="fr-FR" sz="1000" dirty="0">
                <a:solidFill>
                  <a:schemeClr val="bg1"/>
                </a:solidFill>
              </a:rPr>
              <a:t> back.");</a:t>
            </a:r>
          </a:p>
          <a:p>
            <a:pPr>
              <a:lnSpc>
                <a:spcPct val="120000"/>
              </a:lnSpc>
              <a:spcAft>
                <a:spcPts val="600"/>
              </a:spcAft>
            </a:pPr>
            <a:r>
              <a:rPr lang="fr-FR" sz="1000" dirty="0">
                <a:solidFill>
                  <a:schemeClr val="bg1"/>
                </a:solidFill>
              </a:rPr>
              <a:t> }</a:t>
            </a:r>
          </a:p>
          <a:p>
            <a:pPr>
              <a:lnSpc>
                <a:spcPct val="120000"/>
              </a:lnSpc>
              <a:spcAft>
                <a:spcPts val="600"/>
              </a:spcAft>
            </a:pPr>
            <a:r>
              <a:rPr lang="fr-FR" sz="1000" dirty="0">
                <a:solidFill>
                  <a:schemeClr val="bg1"/>
                </a:solidFill>
              </a:rPr>
              <a:t>  </a:t>
            </a:r>
          </a:p>
          <a:p>
            <a:pPr>
              <a:lnSpc>
                <a:spcPct val="120000"/>
              </a:lnSpc>
              <a:spcAft>
                <a:spcPts val="600"/>
              </a:spcAft>
            </a:pPr>
            <a:r>
              <a:rPr lang="fr-FR" sz="1000" dirty="0">
                <a:solidFill>
                  <a:schemeClr val="bg1"/>
                </a:solidFill>
              </a:rPr>
              <a:t> </a:t>
            </a:r>
            <a:r>
              <a:rPr lang="fr-FR" sz="1000" dirty="0" err="1">
                <a:solidFill>
                  <a:schemeClr val="bg1"/>
                </a:solidFill>
              </a:rPr>
              <a:t>intentMap.set</a:t>
            </a:r>
            <a:r>
              <a:rPr lang="fr-FR" sz="1000" dirty="0">
                <a:solidFill>
                  <a:schemeClr val="bg1"/>
                </a:solidFill>
              </a:rPr>
              <a:t>(</a:t>
            </a:r>
            <a:r>
              <a:rPr lang="fr-FR" sz="1000" dirty="0" err="1">
                <a:solidFill>
                  <a:schemeClr val="bg1"/>
                </a:solidFill>
              </a:rPr>
              <a:t>ask_callback</a:t>
            </a:r>
            <a:r>
              <a:rPr lang="fr-FR" sz="1000" dirty="0">
                <a:solidFill>
                  <a:schemeClr val="bg1"/>
                </a:solidFill>
              </a:rPr>
              <a:t> ', </a:t>
            </a:r>
            <a:r>
              <a:rPr lang="fr-FR" sz="1000" dirty="0" err="1">
                <a:solidFill>
                  <a:schemeClr val="bg1"/>
                </a:solidFill>
              </a:rPr>
              <a:t>ask_callback</a:t>
            </a:r>
            <a:r>
              <a:rPr lang="fr-FR" sz="1000" dirty="0">
                <a:solidFill>
                  <a:schemeClr val="bg1"/>
                </a:solidFill>
              </a:rPr>
              <a:t>);</a:t>
            </a:r>
          </a:p>
        </p:txBody>
      </p:sp>
    </p:spTree>
    <p:extLst>
      <p:ext uri="{BB962C8B-B14F-4D97-AF65-F5344CB8AC3E}">
        <p14:creationId xmlns:p14="http://schemas.microsoft.com/office/powerpoint/2010/main" val="17829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llipse 5">
            <a:extLst>
              <a:ext uri="{FF2B5EF4-FFF2-40B4-BE49-F238E27FC236}">
                <a16:creationId xmlns:a16="http://schemas.microsoft.com/office/drawing/2014/main" id="{0C04EDAC-5594-49D9-A348-ADF93F2EC4EE}"/>
              </a:ext>
            </a:extLst>
          </p:cNvPr>
          <p:cNvSpPr/>
          <p:nvPr/>
        </p:nvSpPr>
        <p:spPr>
          <a:xfrm>
            <a:off x="3418087" y="1021162"/>
            <a:ext cx="5311361" cy="5254433"/>
          </a:xfrm>
          <a:prstGeom prst="ellipse">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A58C9069-A253-0946-846F-2D00A4204D95}"/>
              </a:ext>
            </a:extLst>
          </p:cNvPr>
          <p:cNvSpPr>
            <a:spLocks noGrp="1"/>
          </p:cNvSpPr>
          <p:nvPr>
            <p:ph type="title"/>
          </p:nvPr>
        </p:nvSpPr>
        <p:spPr/>
        <p:txBody>
          <a:bodyPr/>
          <a:lstStyle/>
          <a:p>
            <a:r>
              <a:rPr lang="en-US" dirty="0" err="1"/>
              <a:t>Dialogflow</a:t>
            </a:r>
            <a:br>
              <a:rPr lang="en-US" dirty="0"/>
            </a:br>
            <a:r>
              <a:rPr lang="en-US" dirty="0"/>
              <a:t>Training</a:t>
            </a:r>
          </a:p>
        </p:txBody>
      </p:sp>
      <p:sp>
        <p:nvSpPr>
          <p:cNvPr id="3" name="Text Placeholder 2">
            <a:extLst>
              <a:ext uri="{FF2B5EF4-FFF2-40B4-BE49-F238E27FC236}">
                <a16:creationId xmlns:a16="http://schemas.microsoft.com/office/drawing/2014/main" id="{F52F02E1-A4DC-B244-BCC1-26DDC889B5C3}"/>
              </a:ext>
            </a:extLst>
          </p:cNvPr>
          <p:cNvSpPr>
            <a:spLocks noGrp="1"/>
          </p:cNvSpPr>
          <p:nvPr>
            <p:ph type="body" sz="quarter" idx="10"/>
          </p:nvPr>
        </p:nvSpPr>
        <p:spPr>
          <a:xfrm>
            <a:off x="1" y="2696007"/>
            <a:ext cx="3785190" cy="455087"/>
          </a:xfrm>
        </p:spPr>
        <p:txBody>
          <a:bodyPr/>
          <a:lstStyle/>
          <a:p>
            <a:r>
              <a:rPr lang="en-US" dirty="0"/>
              <a:t>Module 11 : Integration with Concierge</a:t>
            </a:r>
          </a:p>
        </p:txBody>
      </p:sp>
      <p:sp>
        <p:nvSpPr>
          <p:cNvPr id="7" name="Freeform 1">
            <a:extLst>
              <a:ext uri="{FF2B5EF4-FFF2-40B4-BE49-F238E27FC236}">
                <a16:creationId xmlns:a16="http://schemas.microsoft.com/office/drawing/2014/main" id="{C009C2CB-0D45-244B-8254-95D0D9E3683C}"/>
              </a:ext>
            </a:extLst>
          </p:cNvPr>
          <p:cNvSpPr>
            <a:spLocks noChangeArrowheads="1"/>
          </p:cNvSpPr>
          <p:nvPr/>
        </p:nvSpPr>
        <p:spPr bwMode="auto">
          <a:xfrm>
            <a:off x="6799803" y="0"/>
            <a:ext cx="2747583" cy="2612551"/>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1805929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FDBA7C6-D37E-4883-8897-F0F2F3A06E1E}"/>
              </a:ext>
            </a:extLst>
          </p:cNvPr>
          <p:cNvSpPr>
            <a:spLocks noGrp="1"/>
          </p:cNvSpPr>
          <p:nvPr>
            <p:ph type="title"/>
          </p:nvPr>
        </p:nvSpPr>
        <p:spPr/>
        <p:txBody>
          <a:bodyPr/>
          <a:lstStyle/>
          <a:p>
            <a:r>
              <a:rPr lang="fr-FR" dirty="0" err="1"/>
              <a:t>Dialogflow</a:t>
            </a:r>
            <a:r>
              <a:rPr lang="fr-FR" dirty="0"/>
              <a:t> + Odigo Concierge</a:t>
            </a:r>
          </a:p>
        </p:txBody>
      </p:sp>
      <p:sp>
        <p:nvSpPr>
          <p:cNvPr id="6" name="Text Placeholder 16">
            <a:extLst>
              <a:ext uri="{FF2B5EF4-FFF2-40B4-BE49-F238E27FC236}">
                <a16:creationId xmlns:a16="http://schemas.microsoft.com/office/drawing/2014/main" id="{8E467C40-A85F-485E-9C72-188640D3342B}"/>
              </a:ext>
            </a:extLst>
          </p:cNvPr>
          <p:cNvSpPr txBox="1">
            <a:spLocks/>
          </p:cNvSpPr>
          <p:nvPr/>
        </p:nvSpPr>
        <p:spPr>
          <a:xfrm>
            <a:off x="7068207" y="1383135"/>
            <a:ext cx="1499037" cy="1155253"/>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r>
              <a:rPr lang="en-US" b="1" dirty="0">
                <a:solidFill>
                  <a:schemeClr val="accent2"/>
                </a:solidFill>
              </a:rPr>
              <a:t>Text only </a:t>
            </a:r>
          </a:p>
          <a:p>
            <a:r>
              <a:rPr lang="en-US" sz="1600" dirty="0">
                <a:solidFill>
                  <a:schemeClr val="accent2"/>
                </a:solidFill>
              </a:rPr>
              <a:t>(no voice)</a:t>
            </a:r>
          </a:p>
          <a:p>
            <a:pPr marL="285750" indent="-285750">
              <a:buFont typeface="Arial" panose="020B0604020202020204" pitchFamily="34" charset="0"/>
              <a:buChar char="•"/>
            </a:pPr>
            <a:endParaRPr lang="en-US" sz="1600" dirty="0"/>
          </a:p>
        </p:txBody>
      </p:sp>
      <p:cxnSp>
        <p:nvCxnSpPr>
          <p:cNvPr id="7" name="Connecteur droit 6">
            <a:extLst>
              <a:ext uri="{FF2B5EF4-FFF2-40B4-BE49-F238E27FC236}">
                <a16:creationId xmlns:a16="http://schemas.microsoft.com/office/drawing/2014/main" id="{4A1577FB-1683-48D2-9F1B-147E5C92777E}"/>
              </a:ext>
            </a:extLst>
          </p:cNvPr>
          <p:cNvCxnSpPr>
            <a:cxnSpLocks/>
          </p:cNvCxnSpPr>
          <p:nvPr/>
        </p:nvCxnSpPr>
        <p:spPr>
          <a:xfrm>
            <a:off x="4641665" y="404019"/>
            <a:ext cx="2197" cy="4625466"/>
          </a:xfrm>
          <a:prstGeom prst="line">
            <a:avLst/>
          </a:prstGeom>
          <a:ln w="381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Connecteur droit 7">
            <a:extLst>
              <a:ext uri="{FF2B5EF4-FFF2-40B4-BE49-F238E27FC236}">
                <a16:creationId xmlns:a16="http://schemas.microsoft.com/office/drawing/2014/main" id="{252B269D-D6EC-4D60-B5DF-70FF723CE8EE}"/>
              </a:ext>
            </a:extLst>
          </p:cNvPr>
          <p:cNvCxnSpPr>
            <a:cxnSpLocks/>
          </p:cNvCxnSpPr>
          <p:nvPr/>
        </p:nvCxnSpPr>
        <p:spPr>
          <a:xfrm>
            <a:off x="2678346" y="454224"/>
            <a:ext cx="4534" cy="4562721"/>
          </a:xfrm>
          <a:prstGeom prst="line">
            <a:avLst/>
          </a:prstGeom>
          <a:ln w="381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9" name="ZoneTexte 8">
            <a:extLst>
              <a:ext uri="{FF2B5EF4-FFF2-40B4-BE49-F238E27FC236}">
                <a16:creationId xmlns:a16="http://schemas.microsoft.com/office/drawing/2014/main" id="{CB80E31B-0F8F-4011-8CA4-680C9A33E8F5}"/>
              </a:ext>
            </a:extLst>
          </p:cNvPr>
          <p:cNvSpPr txBox="1"/>
          <p:nvPr/>
        </p:nvSpPr>
        <p:spPr>
          <a:xfrm>
            <a:off x="134214" y="4750774"/>
            <a:ext cx="2490368" cy="369498"/>
          </a:xfrm>
          <a:prstGeom prst="rect">
            <a:avLst/>
          </a:prstGeom>
          <a:solidFill>
            <a:schemeClr val="bg2"/>
          </a:solidFill>
          <a:ln>
            <a:noFill/>
          </a:ln>
        </p:spPr>
        <p:txBody>
          <a:bodyPr wrap="square" lIns="96000" tIns="96000" rIns="96000" bIns="96000" rtlCol="0" anchor="ctr">
            <a:noAutofit/>
          </a:bodyPr>
          <a:lstStyle>
            <a:defPPr>
              <a:defRPr lang="pt-PT"/>
            </a:defPPr>
            <a:lvl1pPr algn="ctr">
              <a:lnSpc>
                <a:spcPct val="120000"/>
              </a:lnSpc>
              <a:spcAft>
                <a:spcPts val="600"/>
              </a:spcAft>
              <a:defRPr sz="1000">
                <a:solidFill>
                  <a:schemeClr val="accent2"/>
                </a:solidFill>
              </a:defRPr>
            </a:lvl1pPr>
          </a:lstStyle>
          <a:p>
            <a:pPr algn="r" defTabSz="914377">
              <a:spcAft>
                <a:spcPts val="800"/>
              </a:spcAft>
            </a:pPr>
            <a:r>
              <a:rPr lang="en-GB" sz="1100" b="1" dirty="0">
                <a:solidFill>
                  <a:schemeClr val="bg1">
                    <a:lumMod val="50000"/>
                  </a:schemeClr>
                </a:solidFill>
              </a:rPr>
              <a:t>DIALOG MANAGEMENT</a:t>
            </a:r>
          </a:p>
        </p:txBody>
      </p:sp>
      <p:sp>
        <p:nvSpPr>
          <p:cNvPr id="10" name="ZoneTexte 9">
            <a:extLst>
              <a:ext uri="{FF2B5EF4-FFF2-40B4-BE49-F238E27FC236}">
                <a16:creationId xmlns:a16="http://schemas.microsoft.com/office/drawing/2014/main" id="{E2EF508F-FAF8-434A-9B36-E0A6257A350D}"/>
              </a:ext>
            </a:extLst>
          </p:cNvPr>
          <p:cNvSpPr txBox="1"/>
          <p:nvPr/>
        </p:nvSpPr>
        <p:spPr>
          <a:xfrm>
            <a:off x="2822244" y="4644581"/>
            <a:ext cx="1802024" cy="545463"/>
          </a:xfrm>
          <a:prstGeom prst="rect">
            <a:avLst/>
          </a:prstGeom>
          <a:noFill/>
          <a:ln>
            <a:noFill/>
          </a:ln>
        </p:spPr>
        <p:txBody>
          <a:bodyPr wrap="square" lIns="96000" tIns="96000" rIns="96000" bIns="96000" rtlCol="0" anchor="ctr">
            <a:noAutofit/>
          </a:bodyPr>
          <a:lstStyle>
            <a:defPPr>
              <a:defRPr lang="pt-PT"/>
            </a:defPPr>
            <a:lvl1pPr algn="ctr">
              <a:lnSpc>
                <a:spcPct val="120000"/>
              </a:lnSpc>
              <a:spcAft>
                <a:spcPts val="600"/>
              </a:spcAft>
              <a:defRPr sz="1000">
                <a:solidFill>
                  <a:schemeClr val="accent2"/>
                </a:solidFill>
              </a:defRPr>
            </a:lvl1pPr>
          </a:lstStyle>
          <a:p>
            <a:pPr defTabSz="914377">
              <a:spcAft>
                <a:spcPts val="800"/>
              </a:spcAft>
            </a:pPr>
            <a:r>
              <a:rPr lang="fr-FR" sz="1100" b="1" dirty="0">
                <a:solidFill>
                  <a:schemeClr val="bg1">
                    <a:lumMod val="50000"/>
                  </a:schemeClr>
                </a:solidFill>
              </a:rPr>
              <a:t>NLP</a:t>
            </a:r>
            <a:endParaRPr lang="en-GB" sz="1100" b="1" dirty="0" err="1">
              <a:solidFill>
                <a:schemeClr val="bg1">
                  <a:lumMod val="50000"/>
                </a:schemeClr>
              </a:solidFill>
            </a:endParaRPr>
          </a:p>
        </p:txBody>
      </p:sp>
      <p:sp>
        <p:nvSpPr>
          <p:cNvPr id="11" name="Rectangle 10">
            <a:extLst>
              <a:ext uri="{FF2B5EF4-FFF2-40B4-BE49-F238E27FC236}">
                <a16:creationId xmlns:a16="http://schemas.microsoft.com/office/drawing/2014/main" id="{02A7CDD2-FA95-4508-AAC2-F4C7A28C75BE}"/>
              </a:ext>
            </a:extLst>
          </p:cNvPr>
          <p:cNvSpPr/>
          <p:nvPr/>
        </p:nvSpPr>
        <p:spPr>
          <a:xfrm>
            <a:off x="1031221" y="545352"/>
            <a:ext cx="1020587" cy="9786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fr-FR" sz="1200" dirty="0">
                <a:solidFill>
                  <a:srgbClr val="FFFFFF"/>
                </a:solidFill>
              </a:rPr>
              <a:t>IVR</a:t>
            </a:r>
          </a:p>
          <a:p>
            <a:pPr algn="ctr" defTabSz="914377"/>
            <a:r>
              <a:rPr lang="fr-FR" sz="1200" dirty="0">
                <a:solidFill>
                  <a:srgbClr val="FFFFFF"/>
                </a:solidFill>
              </a:rPr>
              <a:t>application</a:t>
            </a:r>
          </a:p>
        </p:txBody>
      </p:sp>
      <p:sp>
        <p:nvSpPr>
          <p:cNvPr id="12" name="Rectangle 11">
            <a:extLst>
              <a:ext uri="{FF2B5EF4-FFF2-40B4-BE49-F238E27FC236}">
                <a16:creationId xmlns:a16="http://schemas.microsoft.com/office/drawing/2014/main" id="{65366C44-506A-47A5-A26C-7F6DA8363E50}"/>
              </a:ext>
            </a:extLst>
          </p:cNvPr>
          <p:cNvSpPr/>
          <p:nvPr/>
        </p:nvSpPr>
        <p:spPr>
          <a:xfrm>
            <a:off x="1031221" y="3515835"/>
            <a:ext cx="1396892" cy="79519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fr-FR" sz="1200" dirty="0" err="1">
                <a:solidFill>
                  <a:srgbClr val="FFFFFF"/>
                </a:solidFill>
                <a:latin typeface="Verdana"/>
              </a:rPr>
              <a:t>Dialog</a:t>
            </a:r>
            <a:r>
              <a:rPr lang="fr-FR" sz="1200" dirty="0">
                <a:solidFill>
                  <a:srgbClr val="FFFFFF"/>
                </a:solidFill>
                <a:latin typeface="Verdana"/>
              </a:rPr>
              <a:t> Manager</a:t>
            </a:r>
          </a:p>
        </p:txBody>
      </p:sp>
      <p:sp>
        <p:nvSpPr>
          <p:cNvPr id="13" name="Rectangle 12">
            <a:extLst>
              <a:ext uri="{FF2B5EF4-FFF2-40B4-BE49-F238E27FC236}">
                <a16:creationId xmlns:a16="http://schemas.microsoft.com/office/drawing/2014/main" id="{367DE11F-39E2-459E-B32B-AE69F7A4596C}"/>
              </a:ext>
            </a:extLst>
          </p:cNvPr>
          <p:cNvSpPr/>
          <p:nvPr/>
        </p:nvSpPr>
        <p:spPr>
          <a:xfrm>
            <a:off x="4719794" y="4368245"/>
            <a:ext cx="1101471" cy="43413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fr-FR" sz="1200" dirty="0">
                <a:solidFill>
                  <a:srgbClr val="FFFFFF"/>
                </a:solidFill>
                <a:latin typeface="Verdana"/>
              </a:rPr>
              <a:t>Admin UI </a:t>
            </a:r>
          </a:p>
        </p:txBody>
      </p:sp>
      <p:sp>
        <p:nvSpPr>
          <p:cNvPr id="14" name="Rectangle 13">
            <a:extLst>
              <a:ext uri="{FF2B5EF4-FFF2-40B4-BE49-F238E27FC236}">
                <a16:creationId xmlns:a16="http://schemas.microsoft.com/office/drawing/2014/main" id="{F3DCCB81-3ACF-406C-853F-6D32FDC9768C}"/>
              </a:ext>
            </a:extLst>
          </p:cNvPr>
          <p:cNvSpPr/>
          <p:nvPr/>
        </p:nvSpPr>
        <p:spPr>
          <a:xfrm>
            <a:off x="3091965" y="569082"/>
            <a:ext cx="1434508" cy="414685"/>
          </a:xfrm>
          <a:prstGeom prst="rect">
            <a:avLst/>
          </a:prstGeom>
          <a:solidFill>
            <a:schemeClr val="accent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r>
              <a:rPr lang="fr-FR" sz="1200" dirty="0">
                <a:solidFill>
                  <a:srgbClr val="FFFFFF"/>
                </a:solidFill>
              </a:rPr>
              <a:t>ASR Nuance NR9</a:t>
            </a:r>
            <a:endParaRPr lang="en-GB" sz="1200" dirty="0">
              <a:solidFill>
                <a:srgbClr val="FFFFFF"/>
              </a:solidFill>
            </a:endParaRPr>
          </a:p>
        </p:txBody>
      </p:sp>
      <p:sp>
        <p:nvSpPr>
          <p:cNvPr id="15" name="Rectangle 14">
            <a:extLst>
              <a:ext uri="{FF2B5EF4-FFF2-40B4-BE49-F238E27FC236}">
                <a16:creationId xmlns:a16="http://schemas.microsoft.com/office/drawing/2014/main" id="{21813E15-A07E-400F-87F0-755C3861778E}"/>
              </a:ext>
            </a:extLst>
          </p:cNvPr>
          <p:cNvSpPr/>
          <p:nvPr/>
        </p:nvSpPr>
        <p:spPr>
          <a:xfrm>
            <a:off x="3157927" y="1581163"/>
            <a:ext cx="1434508" cy="40520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fr-FR" sz="1200" dirty="0">
                <a:solidFill>
                  <a:srgbClr val="FFFFFF"/>
                </a:solidFill>
              </a:rPr>
              <a:t>ASR Nuance NR11</a:t>
            </a:r>
            <a:endParaRPr lang="en-GB" sz="1200" dirty="0">
              <a:solidFill>
                <a:srgbClr val="FFFFFF"/>
              </a:solidFill>
            </a:endParaRPr>
          </a:p>
        </p:txBody>
      </p:sp>
      <p:sp>
        <p:nvSpPr>
          <p:cNvPr id="16" name="Rectangle 15">
            <a:extLst>
              <a:ext uri="{FF2B5EF4-FFF2-40B4-BE49-F238E27FC236}">
                <a16:creationId xmlns:a16="http://schemas.microsoft.com/office/drawing/2014/main" id="{47380308-1ED7-472F-9878-215D17C42DE9}"/>
              </a:ext>
            </a:extLst>
          </p:cNvPr>
          <p:cNvSpPr/>
          <p:nvPr/>
        </p:nvSpPr>
        <p:spPr>
          <a:xfrm>
            <a:off x="3112147" y="1069877"/>
            <a:ext cx="1434508" cy="296258"/>
          </a:xfrm>
          <a:prstGeom prst="rect">
            <a:avLst/>
          </a:prstGeom>
          <a:solidFill>
            <a:schemeClr val="accent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r>
              <a:rPr lang="fr-FR" sz="1200" dirty="0">
                <a:solidFill>
                  <a:srgbClr val="FFFFFF"/>
                </a:solidFill>
              </a:rPr>
              <a:t>TTS </a:t>
            </a:r>
            <a:r>
              <a:rPr lang="fr-FR" sz="1200">
                <a:solidFill>
                  <a:srgbClr val="FFFFFF"/>
                </a:solidFill>
              </a:rPr>
              <a:t>Acapela 7</a:t>
            </a:r>
            <a:endParaRPr lang="en-GB" sz="1200" dirty="0">
              <a:solidFill>
                <a:srgbClr val="FFFFFF"/>
              </a:solidFill>
            </a:endParaRPr>
          </a:p>
        </p:txBody>
      </p:sp>
      <p:sp>
        <p:nvSpPr>
          <p:cNvPr id="17" name="Rectangle 16">
            <a:extLst>
              <a:ext uri="{FF2B5EF4-FFF2-40B4-BE49-F238E27FC236}">
                <a16:creationId xmlns:a16="http://schemas.microsoft.com/office/drawing/2014/main" id="{9E984F6E-1512-4005-B362-47AD2677C8EF}"/>
              </a:ext>
            </a:extLst>
          </p:cNvPr>
          <p:cNvSpPr/>
          <p:nvPr/>
        </p:nvSpPr>
        <p:spPr>
          <a:xfrm>
            <a:off x="3151518" y="2016337"/>
            <a:ext cx="1440918" cy="38494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fr-FR" sz="1200" dirty="0">
                <a:solidFill>
                  <a:srgbClr val="FFFFFF"/>
                </a:solidFill>
              </a:rPr>
              <a:t>TTS Acapela 8.2</a:t>
            </a:r>
          </a:p>
        </p:txBody>
      </p:sp>
      <p:sp>
        <p:nvSpPr>
          <p:cNvPr id="18" name="Rectangle 17">
            <a:extLst>
              <a:ext uri="{FF2B5EF4-FFF2-40B4-BE49-F238E27FC236}">
                <a16:creationId xmlns:a16="http://schemas.microsoft.com/office/drawing/2014/main" id="{45E88FFE-3DB6-40C2-BB79-2593B9EC60CB}"/>
              </a:ext>
            </a:extLst>
          </p:cNvPr>
          <p:cNvSpPr/>
          <p:nvPr/>
        </p:nvSpPr>
        <p:spPr>
          <a:xfrm>
            <a:off x="2096393" y="545353"/>
            <a:ext cx="312028" cy="9779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fr-FR" sz="1200" dirty="0">
              <a:solidFill>
                <a:srgbClr val="FFFFFF"/>
              </a:solidFill>
            </a:endParaRPr>
          </a:p>
        </p:txBody>
      </p:sp>
      <p:sp>
        <p:nvSpPr>
          <p:cNvPr id="19" name="Rectangle 18">
            <a:extLst>
              <a:ext uri="{FF2B5EF4-FFF2-40B4-BE49-F238E27FC236}">
                <a16:creationId xmlns:a16="http://schemas.microsoft.com/office/drawing/2014/main" id="{B97991E4-2F32-4B62-965E-381ADB320E91}"/>
              </a:ext>
            </a:extLst>
          </p:cNvPr>
          <p:cNvSpPr/>
          <p:nvPr/>
        </p:nvSpPr>
        <p:spPr>
          <a:xfrm>
            <a:off x="4719794" y="429066"/>
            <a:ext cx="1007844" cy="6041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r>
              <a:rPr lang="fr-FR" sz="1200" dirty="0">
                <a:solidFill>
                  <a:srgbClr val="FFFFFF"/>
                </a:solidFill>
              </a:rPr>
              <a:t>GW</a:t>
            </a:r>
          </a:p>
          <a:p>
            <a:pPr algn="ctr" defTabSz="914377"/>
            <a:r>
              <a:rPr lang="fr-FR" sz="1200" dirty="0">
                <a:solidFill>
                  <a:srgbClr val="FFFFFF"/>
                </a:solidFill>
              </a:rPr>
              <a:t>Proxy</a:t>
            </a:r>
          </a:p>
        </p:txBody>
      </p:sp>
      <p:sp>
        <p:nvSpPr>
          <p:cNvPr id="20" name="Rectangle 19">
            <a:extLst>
              <a:ext uri="{FF2B5EF4-FFF2-40B4-BE49-F238E27FC236}">
                <a16:creationId xmlns:a16="http://schemas.microsoft.com/office/drawing/2014/main" id="{E6E27B24-EF85-4447-9FAA-29AE840F1A89}"/>
              </a:ext>
            </a:extLst>
          </p:cNvPr>
          <p:cNvSpPr/>
          <p:nvPr/>
        </p:nvSpPr>
        <p:spPr>
          <a:xfrm>
            <a:off x="4710559" y="1081080"/>
            <a:ext cx="1007844" cy="6041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r>
              <a:rPr lang="fr-FR" sz="1200" dirty="0">
                <a:solidFill>
                  <a:srgbClr val="FFFFFF"/>
                </a:solidFill>
              </a:rPr>
              <a:t>IVR designer</a:t>
            </a:r>
          </a:p>
        </p:txBody>
      </p:sp>
      <p:sp>
        <p:nvSpPr>
          <p:cNvPr id="21" name="Rectangle 20">
            <a:extLst>
              <a:ext uri="{FF2B5EF4-FFF2-40B4-BE49-F238E27FC236}">
                <a16:creationId xmlns:a16="http://schemas.microsoft.com/office/drawing/2014/main" id="{F567702A-8A98-4A03-ACF2-0727987B4981}"/>
              </a:ext>
            </a:extLst>
          </p:cNvPr>
          <p:cNvSpPr/>
          <p:nvPr/>
        </p:nvSpPr>
        <p:spPr>
          <a:xfrm>
            <a:off x="3157926" y="2421604"/>
            <a:ext cx="1448945" cy="38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fr-FR" sz="1200" dirty="0">
                <a:solidFill>
                  <a:srgbClr val="FFFFFF"/>
                </a:solidFill>
              </a:rPr>
              <a:t>STT Google</a:t>
            </a:r>
            <a:endParaRPr lang="en-GB" sz="1200" dirty="0">
              <a:solidFill>
                <a:srgbClr val="FFFFFF"/>
              </a:solidFill>
            </a:endParaRPr>
          </a:p>
        </p:txBody>
      </p:sp>
      <p:sp>
        <p:nvSpPr>
          <p:cNvPr id="22" name="Rectangle 21">
            <a:extLst>
              <a:ext uri="{FF2B5EF4-FFF2-40B4-BE49-F238E27FC236}">
                <a16:creationId xmlns:a16="http://schemas.microsoft.com/office/drawing/2014/main" id="{57FBF122-D835-4D0C-8E65-357662CA8E37}"/>
              </a:ext>
            </a:extLst>
          </p:cNvPr>
          <p:cNvSpPr/>
          <p:nvPr/>
        </p:nvSpPr>
        <p:spPr>
          <a:xfrm>
            <a:off x="3151517" y="2841433"/>
            <a:ext cx="1455353" cy="38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fr-FR" sz="1200" dirty="0">
                <a:solidFill>
                  <a:srgbClr val="FFFFFF"/>
                </a:solidFill>
              </a:rPr>
              <a:t>TTS Google</a:t>
            </a:r>
          </a:p>
        </p:txBody>
      </p:sp>
      <p:sp>
        <p:nvSpPr>
          <p:cNvPr id="23" name="Rectangle 22">
            <a:extLst>
              <a:ext uri="{FF2B5EF4-FFF2-40B4-BE49-F238E27FC236}">
                <a16:creationId xmlns:a16="http://schemas.microsoft.com/office/drawing/2014/main" id="{7965C701-2FAF-48FD-89F7-4A3693249BAE}"/>
              </a:ext>
            </a:extLst>
          </p:cNvPr>
          <p:cNvSpPr/>
          <p:nvPr/>
        </p:nvSpPr>
        <p:spPr>
          <a:xfrm rot="16200000">
            <a:off x="2140425" y="2276639"/>
            <a:ext cx="1622395" cy="2751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fr-FR" sz="1200" dirty="0">
              <a:solidFill>
                <a:srgbClr val="FFFFFF"/>
              </a:solidFill>
            </a:endParaRPr>
          </a:p>
        </p:txBody>
      </p:sp>
      <p:sp>
        <p:nvSpPr>
          <p:cNvPr id="24" name="Rectangle 23">
            <a:extLst>
              <a:ext uri="{FF2B5EF4-FFF2-40B4-BE49-F238E27FC236}">
                <a16:creationId xmlns:a16="http://schemas.microsoft.com/office/drawing/2014/main" id="{371594AB-E11F-484E-93FB-61510AF7ED84}"/>
              </a:ext>
            </a:extLst>
          </p:cNvPr>
          <p:cNvSpPr/>
          <p:nvPr/>
        </p:nvSpPr>
        <p:spPr>
          <a:xfrm>
            <a:off x="1031221" y="4364882"/>
            <a:ext cx="1399346" cy="4083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fr-FR" sz="1333" dirty="0">
                <a:solidFill>
                  <a:srgbClr val="FFFFFF"/>
                </a:solidFill>
                <a:latin typeface="Verdana"/>
              </a:rPr>
              <a:t>DialogFlow Connector</a:t>
            </a:r>
          </a:p>
        </p:txBody>
      </p:sp>
      <p:cxnSp>
        <p:nvCxnSpPr>
          <p:cNvPr id="25" name="Connecteur droit avec flèche 24">
            <a:extLst>
              <a:ext uri="{FF2B5EF4-FFF2-40B4-BE49-F238E27FC236}">
                <a16:creationId xmlns:a16="http://schemas.microsoft.com/office/drawing/2014/main" id="{D4CAFDDC-0468-48C8-902F-100C8CCF867D}"/>
              </a:ext>
            </a:extLst>
          </p:cNvPr>
          <p:cNvCxnSpPr>
            <a:cxnSpLocks/>
            <a:endCxn id="11" idx="1"/>
          </p:cNvCxnSpPr>
          <p:nvPr/>
        </p:nvCxnSpPr>
        <p:spPr>
          <a:xfrm>
            <a:off x="640226" y="1034682"/>
            <a:ext cx="39099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Connecteur droit avec flèche 25">
            <a:extLst>
              <a:ext uri="{FF2B5EF4-FFF2-40B4-BE49-F238E27FC236}">
                <a16:creationId xmlns:a16="http://schemas.microsoft.com/office/drawing/2014/main" id="{634EC24D-4C70-4A1B-AED9-013AA0871F37}"/>
              </a:ext>
            </a:extLst>
          </p:cNvPr>
          <p:cNvCxnSpPr>
            <a:cxnSpLocks/>
            <a:endCxn id="27" idx="1"/>
          </p:cNvCxnSpPr>
          <p:nvPr/>
        </p:nvCxnSpPr>
        <p:spPr>
          <a:xfrm>
            <a:off x="755283" y="3372015"/>
            <a:ext cx="27593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214E10A6-5E97-4266-B8D8-9FF0C5CF56B3}"/>
              </a:ext>
            </a:extLst>
          </p:cNvPr>
          <p:cNvSpPr/>
          <p:nvPr/>
        </p:nvSpPr>
        <p:spPr>
          <a:xfrm>
            <a:off x="1031221" y="3284160"/>
            <a:ext cx="1386607" cy="17571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200" dirty="0">
              <a:solidFill>
                <a:srgbClr val="FFFFFF"/>
              </a:solidFill>
              <a:latin typeface="Verdana"/>
            </a:endParaRPr>
          </a:p>
        </p:txBody>
      </p:sp>
      <p:sp>
        <p:nvSpPr>
          <p:cNvPr id="28" name="Rectangle 27">
            <a:extLst>
              <a:ext uri="{FF2B5EF4-FFF2-40B4-BE49-F238E27FC236}">
                <a16:creationId xmlns:a16="http://schemas.microsoft.com/office/drawing/2014/main" id="{ED80B14E-2E22-4C84-A375-3A5E6528CFCE}"/>
              </a:ext>
            </a:extLst>
          </p:cNvPr>
          <p:cNvSpPr/>
          <p:nvPr/>
        </p:nvSpPr>
        <p:spPr>
          <a:xfrm>
            <a:off x="1031221" y="1566062"/>
            <a:ext cx="1377199" cy="431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fr-FR" sz="1200" dirty="0">
              <a:solidFill>
                <a:srgbClr val="FFFFFF"/>
              </a:solidFill>
            </a:endParaRPr>
          </a:p>
        </p:txBody>
      </p:sp>
      <p:cxnSp>
        <p:nvCxnSpPr>
          <p:cNvPr id="29" name="Connecteur : en angle 28">
            <a:extLst>
              <a:ext uri="{FF2B5EF4-FFF2-40B4-BE49-F238E27FC236}">
                <a16:creationId xmlns:a16="http://schemas.microsoft.com/office/drawing/2014/main" id="{6480D3BC-B367-49CD-A672-FC56325986ED}"/>
              </a:ext>
            </a:extLst>
          </p:cNvPr>
          <p:cNvCxnSpPr>
            <a:cxnSpLocks/>
            <a:stCxn id="12" idx="3"/>
          </p:cNvCxnSpPr>
          <p:nvPr/>
        </p:nvCxnSpPr>
        <p:spPr>
          <a:xfrm flipV="1">
            <a:off x="2428113" y="3907487"/>
            <a:ext cx="2302165" cy="594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262803A6-8D27-48BA-A8DA-72CDE74C1013}"/>
              </a:ext>
            </a:extLst>
          </p:cNvPr>
          <p:cNvSpPr/>
          <p:nvPr/>
        </p:nvSpPr>
        <p:spPr>
          <a:xfrm>
            <a:off x="3157925" y="3549499"/>
            <a:ext cx="1424997" cy="72471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fr-FR" sz="1200" dirty="0">
                <a:solidFill>
                  <a:srgbClr val="FFFFFF"/>
                </a:solidFill>
                <a:latin typeface="Verdana"/>
              </a:rPr>
              <a:t>NLU</a:t>
            </a:r>
          </a:p>
        </p:txBody>
      </p:sp>
      <p:sp>
        <p:nvSpPr>
          <p:cNvPr id="31" name="Rectangle 30">
            <a:extLst>
              <a:ext uri="{FF2B5EF4-FFF2-40B4-BE49-F238E27FC236}">
                <a16:creationId xmlns:a16="http://schemas.microsoft.com/office/drawing/2014/main" id="{D8C49D48-92B6-447D-B991-8254CB2CF622}"/>
              </a:ext>
            </a:extLst>
          </p:cNvPr>
          <p:cNvSpPr/>
          <p:nvPr/>
        </p:nvSpPr>
        <p:spPr>
          <a:xfrm>
            <a:off x="4719795" y="3859214"/>
            <a:ext cx="1103432" cy="49268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fr-FR" sz="1200" dirty="0">
                <a:solidFill>
                  <a:srgbClr val="FFFFFF"/>
                </a:solidFill>
                <a:latin typeface="Verdana"/>
              </a:rPr>
              <a:t>Q&amp;A repository</a:t>
            </a:r>
          </a:p>
        </p:txBody>
      </p:sp>
      <p:sp>
        <p:nvSpPr>
          <p:cNvPr id="32" name="Rectangle 31">
            <a:extLst>
              <a:ext uri="{FF2B5EF4-FFF2-40B4-BE49-F238E27FC236}">
                <a16:creationId xmlns:a16="http://schemas.microsoft.com/office/drawing/2014/main" id="{02AB4F33-0AC5-40A6-8AAF-238562B35A1A}"/>
              </a:ext>
            </a:extLst>
          </p:cNvPr>
          <p:cNvSpPr/>
          <p:nvPr/>
        </p:nvSpPr>
        <p:spPr>
          <a:xfrm>
            <a:off x="4719794" y="3312090"/>
            <a:ext cx="1101471" cy="49734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fr-FR" sz="1200" dirty="0">
                <a:solidFill>
                  <a:srgbClr val="FFFFFF"/>
                </a:solidFill>
                <a:latin typeface="Verdana"/>
              </a:rPr>
              <a:t>Backend Connector </a:t>
            </a:r>
          </a:p>
        </p:txBody>
      </p:sp>
      <p:cxnSp>
        <p:nvCxnSpPr>
          <p:cNvPr id="33" name="Connecteur droit avec flèche 32">
            <a:extLst>
              <a:ext uri="{FF2B5EF4-FFF2-40B4-BE49-F238E27FC236}">
                <a16:creationId xmlns:a16="http://schemas.microsoft.com/office/drawing/2014/main" id="{8E2C7473-EB71-404F-9291-42D84F3BA6EB}"/>
              </a:ext>
            </a:extLst>
          </p:cNvPr>
          <p:cNvCxnSpPr>
            <a:cxnSpLocks/>
            <a:stCxn id="11" idx="3"/>
          </p:cNvCxnSpPr>
          <p:nvPr/>
        </p:nvCxnSpPr>
        <p:spPr>
          <a:xfrm flipV="1">
            <a:off x="2051808" y="1028735"/>
            <a:ext cx="2667986" cy="59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42" name="Image 41" descr="Une image contenant objet&#10;&#10;Description générée avec un niveau de confiance élevé">
            <a:extLst>
              <a:ext uri="{FF2B5EF4-FFF2-40B4-BE49-F238E27FC236}">
                <a16:creationId xmlns:a16="http://schemas.microsoft.com/office/drawing/2014/main" id="{E314907B-AD2E-4B87-9B32-E70F266547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0182" y="3786137"/>
            <a:ext cx="488199" cy="488199"/>
          </a:xfrm>
          <a:prstGeom prst="rect">
            <a:avLst/>
          </a:prstGeom>
        </p:spPr>
      </p:pic>
      <p:pic>
        <p:nvPicPr>
          <p:cNvPr id="43" name="Image 42">
            <a:extLst>
              <a:ext uri="{FF2B5EF4-FFF2-40B4-BE49-F238E27FC236}">
                <a16:creationId xmlns:a16="http://schemas.microsoft.com/office/drawing/2014/main" id="{5C4E710F-EDA2-4CEF-934E-3A0F4607F9DA}"/>
              </a:ext>
            </a:extLst>
          </p:cNvPr>
          <p:cNvPicPr>
            <a:picLocks noChangeAspect="1"/>
          </p:cNvPicPr>
          <p:nvPr/>
        </p:nvPicPr>
        <p:blipFill>
          <a:blip r:embed="rId3"/>
          <a:stretch>
            <a:fillRect/>
          </a:stretch>
        </p:blipFill>
        <p:spPr>
          <a:xfrm>
            <a:off x="167213" y="4383662"/>
            <a:ext cx="434137" cy="434137"/>
          </a:xfrm>
          <a:prstGeom prst="rect">
            <a:avLst/>
          </a:prstGeom>
        </p:spPr>
      </p:pic>
      <p:pic>
        <p:nvPicPr>
          <p:cNvPr id="44" name="Graphique 43" descr="Combiné">
            <a:extLst>
              <a:ext uri="{FF2B5EF4-FFF2-40B4-BE49-F238E27FC236}">
                <a16:creationId xmlns:a16="http://schemas.microsoft.com/office/drawing/2014/main" id="{464F99FD-F9B0-4702-B237-50909A2495E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3729" y="637476"/>
            <a:ext cx="574600" cy="574600"/>
          </a:xfrm>
          <a:prstGeom prst="rect">
            <a:avLst/>
          </a:prstGeom>
        </p:spPr>
      </p:pic>
      <p:pic>
        <p:nvPicPr>
          <p:cNvPr id="45" name="Graphique 44" descr="Smartphone">
            <a:extLst>
              <a:ext uri="{FF2B5EF4-FFF2-40B4-BE49-F238E27FC236}">
                <a16:creationId xmlns:a16="http://schemas.microsoft.com/office/drawing/2014/main" id="{0E6FA066-96A4-4DC7-BBC2-81DE82AA13E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0182" y="3225433"/>
            <a:ext cx="488199" cy="488199"/>
          </a:xfrm>
          <a:prstGeom prst="rect">
            <a:avLst/>
          </a:prstGeom>
        </p:spPr>
      </p:pic>
      <p:pic>
        <p:nvPicPr>
          <p:cNvPr id="46" name="Image 45">
            <a:extLst>
              <a:ext uri="{FF2B5EF4-FFF2-40B4-BE49-F238E27FC236}">
                <a16:creationId xmlns:a16="http://schemas.microsoft.com/office/drawing/2014/main" id="{EB905E9F-7C05-4C11-A2E6-B9272D591108}"/>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18415" y="2571293"/>
            <a:ext cx="531733" cy="531733"/>
          </a:xfrm>
          <a:prstGeom prst="rect">
            <a:avLst/>
          </a:prstGeom>
        </p:spPr>
      </p:pic>
      <p:cxnSp>
        <p:nvCxnSpPr>
          <p:cNvPr id="47" name="Connecteur droit avec flèche 46">
            <a:extLst>
              <a:ext uri="{FF2B5EF4-FFF2-40B4-BE49-F238E27FC236}">
                <a16:creationId xmlns:a16="http://schemas.microsoft.com/office/drawing/2014/main" id="{01D8E7C2-ED35-4644-9F14-D7215E0D2E9A}"/>
              </a:ext>
            </a:extLst>
          </p:cNvPr>
          <p:cNvCxnSpPr>
            <a:cxnSpLocks/>
            <a:endCxn id="27" idx="0"/>
          </p:cNvCxnSpPr>
          <p:nvPr/>
        </p:nvCxnSpPr>
        <p:spPr>
          <a:xfrm flipH="1">
            <a:off x="1724525" y="1986365"/>
            <a:ext cx="10590" cy="1297795"/>
          </a:xfrm>
          <a:prstGeom prst="straightConnector1">
            <a:avLst/>
          </a:prstGeom>
          <a:ln>
            <a:solidFill>
              <a:srgbClr val="FF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Connecteur droit avec flèche 47">
            <a:extLst>
              <a:ext uri="{FF2B5EF4-FFF2-40B4-BE49-F238E27FC236}">
                <a16:creationId xmlns:a16="http://schemas.microsoft.com/office/drawing/2014/main" id="{74B4F03E-6A65-42F0-AE50-FCBD1FAD0F67}"/>
              </a:ext>
            </a:extLst>
          </p:cNvPr>
          <p:cNvCxnSpPr>
            <a:cxnSpLocks/>
            <a:stCxn id="28" idx="3"/>
          </p:cNvCxnSpPr>
          <p:nvPr/>
        </p:nvCxnSpPr>
        <p:spPr>
          <a:xfrm>
            <a:off x="2408420" y="1782062"/>
            <a:ext cx="388031" cy="1577"/>
          </a:xfrm>
          <a:prstGeom prst="straightConnector1">
            <a:avLst/>
          </a:prstGeom>
          <a:ln>
            <a:solidFill>
              <a:srgbClr val="FF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 name="ZoneTexte 48">
            <a:extLst>
              <a:ext uri="{FF2B5EF4-FFF2-40B4-BE49-F238E27FC236}">
                <a16:creationId xmlns:a16="http://schemas.microsoft.com/office/drawing/2014/main" id="{84A87B9B-9A3A-4380-96FD-71C37976D86A}"/>
              </a:ext>
            </a:extLst>
          </p:cNvPr>
          <p:cNvSpPr txBox="1"/>
          <p:nvPr/>
        </p:nvSpPr>
        <p:spPr>
          <a:xfrm>
            <a:off x="4592435" y="4650882"/>
            <a:ext cx="1781831" cy="557139"/>
          </a:xfrm>
          <a:prstGeom prst="rect">
            <a:avLst/>
          </a:prstGeom>
          <a:noFill/>
          <a:ln>
            <a:noFill/>
          </a:ln>
        </p:spPr>
        <p:txBody>
          <a:bodyPr wrap="square" lIns="96000" tIns="96000" rIns="96000" bIns="96000" rtlCol="0" anchor="ctr">
            <a:noAutofit/>
          </a:bodyPr>
          <a:lstStyle>
            <a:defPPr>
              <a:defRPr lang="fr-FR"/>
            </a:defPPr>
            <a:lvl1pPr algn="ctr" defTabSz="914377">
              <a:lnSpc>
                <a:spcPct val="100000"/>
              </a:lnSpc>
              <a:spcAft>
                <a:spcPts val="800"/>
              </a:spcAft>
              <a:defRPr sz="1100" b="1">
                <a:solidFill>
                  <a:srgbClr val="FFFFFF"/>
                </a:solidFill>
              </a:defRPr>
            </a:lvl1pPr>
          </a:lstStyle>
          <a:p>
            <a:r>
              <a:rPr lang="en-GB" dirty="0">
                <a:solidFill>
                  <a:schemeClr val="bg1">
                    <a:lumMod val="50000"/>
                  </a:schemeClr>
                </a:solidFill>
              </a:rPr>
              <a:t>ADMIN &amp; BACKEND</a:t>
            </a:r>
          </a:p>
        </p:txBody>
      </p:sp>
      <p:grpSp>
        <p:nvGrpSpPr>
          <p:cNvPr id="50" name="Groupe 49">
            <a:extLst>
              <a:ext uri="{FF2B5EF4-FFF2-40B4-BE49-F238E27FC236}">
                <a16:creationId xmlns:a16="http://schemas.microsoft.com/office/drawing/2014/main" id="{389D872F-D064-4D30-8211-FFCC6F413D27}"/>
              </a:ext>
            </a:extLst>
          </p:cNvPr>
          <p:cNvGrpSpPr/>
          <p:nvPr/>
        </p:nvGrpSpPr>
        <p:grpSpPr>
          <a:xfrm>
            <a:off x="6607182" y="2834519"/>
            <a:ext cx="2467112" cy="1751525"/>
            <a:chOff x="6761018" y="4962941"/>
            <a:chExt cx="4297971" cy="1751525"/>
          </a:xfrm>
        </p:grpSpPr>
        <p:sp>
          <p:nvSpPr>
            <p:cNvPr id="51" name="Rectangle 50">
              <a:extLst>
                <a:ext uri="{FF2B5EF4-FFF2-40B4-BE49-F238E27FC236}">
                  <a16:creationId xmlns:a16="http://schemas.microsoft.com/office/drawing/2014/main" id="{20E476DD-F25B-4571-ACCA-ADEEE72BB99D}"/>
                </a:ext>
              </a:extLst>
            </p:cNvPr>
            <p:cNvSpPr/>
            <p:nvPr/>
          </p:nvSpPr>
          <p:spPr>
            <a:xfrm>
              <a:off x="6761018" y="4962941"/>
              <a:ext cx="4024158" cy="92062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52" name="Groupe 51">
              <a:extLst>
                <a:ext uri="{FF2B5EF4-FFF2-40B4-BE49-F238E27FC236}">
                  <a16:creationId xmlns:a16="http://schemas.microsoft.com/office/drawing/2014/main" id="{F2989CE2-C2D0-47E2-88C8-BDD069F9A8AC}"/>
                </a:ext>
              </a:extLst>
            </p:cNvPr>
            <p:cNvGrpSpPr/>
            <p:nvPr/>
          </p:nvGrpSpPr>
          <p:grpSpPr>
            <a:xfrm>
              <a:off x="6838295" y="4982784"/>
              <a:ext cx="4220694" cy="1731682"/>
              <a:chOff x="7974428" y="4893545"/>
              <a:chExt cx="4220694" cy="1731682"/>
            </a:xfrm>
          </p:grpSpPr>
          <p:sp>
            <p:nvSpPr>
              <p:cNvPr id="53" name="Rectangle 52">
                <a:extLst>
                  <a:ext uri="{FF2B5EF4-FFF2-40B4-BE49-F238E27FC236}">
                    <a16:creationId xmlns:a16="http://schemas.microsoft.com/office/drawing/2014/main" id="{F13C0E99-84E7-4CA7-9529-B5B7ED52871E}"/>
                  </a:ext>
                </a:extLst>
              </p:cNvPr>
              <p:cNvSpPr/>
              <p:nvPr/>
            </p:nvSpPr>
            <p:spPr>
              <a:xfrm>
                <a:off x="7974428" y="5914879"/>
                <a:ext cx="276200" cy="14865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050">
                  <a:solidFill>
                    <a:srgbClr val="FFFFFF"/>
                  </a:solidFill>
                </a:endParaRPr>
              </a:p>
            </p:txBody>
          </p:sp>
          <p:sp>
            <p:nvSpPr>
              <p:cNvPr id="54" name="Rectangle 53">
                <a:extLst>
                  <a:ext uri="{FF2B5EF4-FFF2-40B4-BE49-F238E27FC236}">
                    <a16:creationId xmlns:a16="http://schemas.microsoft.com/office/drawing/2014/main" id="{5326D970-13B8-42C5-8BD8-515F382EDF39}"/>
                  </a:ext>
                </a:extLst>
              </p:cNvPr>
              <p:cNvSpPr/>
              <p:nvPr/>
            </p:nvSpPr>
            <p:spPr>
              <a:xfrm>
                <a:off x="7974428" y="5523659"/>
                <a:ext cx="276200" cy="1486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en-GB" sz="1050">
                  <a:solidFill>
                    <a:srgbClr val="FFFFFF"/>
                  </a:solidFill>
                </a:endParaRPr>
              </a:p>
            </p:txBody>
          </p:sp>
          <p:sp>
            <p:nvSpPr>
              <p:cNvPr id="55" name="Rectangle 54">
                <a:extLst>
                  <a:ext uri="{FF2B5EF4-FFF2-40B4-BE49-F238E27FC236}">
                    <a16:creationId xmlns:a16="http://schemas.microsoft.com/office/drawing/2014/main" id="{D2189EFC-0D24-4904-9670-67D528998C94}"/>
                  </a:ext>
                </a:extLst>
              </p:cNvPr>
              <p:cNvSpPr/>
              <p:nvPr/>
            </p:nvSpPr>
            <p:spPr>
              <a:xfrm>
                <a:off x="7974428" y="5269709"/>
                <a:ext cx="276200" cy="148650"/>
              </a:xfrm>
              <a:prstGeom prst="rect">
                <a:avLst/>
              </a:prstGeom>
              <a:solidFill>
                <a:schemeClr val="accent1"/>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en-GB" sz="1050">
                  <a:solidFill>
                    <a:srgbClr val="FFFFFF"/>
                  </a:solidFill>
                </a:endParaRPr>
              </a:p>
            </p:txBody>
          </p:sp>
          <p:sp>
            <p:nvSpPr>
              <p:cNvPr id="56" name="Rectangle 55">
                <a:extLst>
                  <a:ext uri="{FF2B5EF4-FFF2-40B4-BE49-F238E27FC236}">
                    <a16:creationId xmlns:a16="http://schemas.microsoft.com/office/drawing/2014/main" id="{A886E958-BC8D-45E7-97CF-7181708867E7}"/>
                  </a:ext>
                </a:extLst>
              </p:cNvPr>
              <p:cNvSpPr/>
              <p:nvPr/>
            </p:nvSpPr>
            <p:spPr>
              <a:xfrm>
                <a:off x="7974428" y="4997287"/>
                <a:ext cx="276200" cy="148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en-GB" sz="1050">
                  <a:solidFill>
                    <a:srgbClr val="FFFFFF"/>
                  </a:solidFill>
                </a:endParaRPr>
              </a:p>
            </p:txBody>
          </p:sp>
          <p:sp>
            <p:nvSpPr>
              <p:cNvPr id="57" name="ZoneTexte 56">
                <a:extLst>
                  <a:ext uri="{FF2B5EF4-FFF2-40B4-BE49-F238E27FC236}">
                    <a16:creationId xmlns:a16="http://schemas.microsoft.com/office/drawing/2014/main" id="{096C9C7E-D33E-4562-8F70-34C1D1F069DF}"/>
                  </a:ext>
                </a:extLst>
              </p:cNvPr>
              <p:cNvSpPr txBox="1"/>
              <p:nvPr/>
            </p:nvSpPr>
            <p:spPr>
              <a:xfrm>
                <a:off x="8400865" y="4893545"/>
                <a:ext cx="3794257" cy="828414"/>
              </a:xfrm>
              <a:prstGeom prst="rect">
                <a:avLst/>
              </a:prstGeom>
            </p:spPr>
            <p:txBody>
              <a:bodyPr wrap="square" lIns="72000" tIns="72000" rIns="72000" bIns="72000" rtlCol="0">
                <a:spAutoFit/>
              </a:bodyPr>
              <a:lstStyle/>
              <a:p>
                <a:pPr algn="l">
                  <a:lnSpc>
                    <a:spcPct val="150000"/>
                  </a:lnSpc>
                  <a:spcAft>
                    <a:spcPts val="600"/>
                  </a:spcAft>
                </a:pPr>
                <a:r>
                  <a:rPr lang="en-GB" sz="800" dirty="0">
                    <a:solidFill>
                      <a:schemeClr val="tx2"/>
                    </a:solidFill>
                  </a:rPr>
                  <a:t>Legacy IVR platform</a:t>
                </a:r>
              </a:p>
              <a:p>
                <a:pPr algn="l">
                  <a:lnSpc>
                    <a:spcPct val="150000"/>
                  </a:lnSpc>
                  <a:spcAft>
                    <a:spcPts val="600"/>
                  </a:spcAft>
                </a:pPr>
                <a:r>
                  <a:rPr lang="en-GB" sz="800" dirty="0">
                    <a:solidFill>
                      <a:schemeClr val="tx2"/>
                    </a:solidFill>
                  </a:rPr>
                  <a:t>Obsolete legacy component</a:t>
                </a:r>
              </a:p>
              <a:p>
                <a:pPr algn="l">
                  <a:lnSpc>
                    <a:spcPct val="150000"/>
                  </a:lnSpc>
                  <a:spcAft>
                    <a:spcPts val="600"/>
                  </a:spcAft>
                </a:pPr>
                <a:r>
                  <a:rPr lang="en-GB" sz="800" dirty="0" err="1">
                    <a:solidFill>
                      <a:schemeClr val="tx2"/>
                    </a:solidFill>
                  </a:rPr>
                  <a:t>Callbot</a:t>
                </a:r>
                <a:r>
                  <a:rPr lang="en-GB" sz="800" dirty="0">
                    <a:solidFill>
                      <a:schemeClr val="tx2"/>
                    </a:solidFill>
                  </a:rPr>
                  <a:t> &amp; NLP on-demand</a:t>
                </a:r>
              </a:p>
            </p:txBody>
          </p:sp>
          <p:sp>
            <p:nvSpPr>
              <p:cNvPr id="58" name="Rectangle 57">
                <a:extLst>
                  <a:ext uri="{FF2B5EF4-FFF2-40B4-BE49-F238E27FC236}">
                    <a16:creationId xmlns:a16="http://schemas.microsoft.com/office/drawing/2014/main" id="{9A529873-1F56-4ADA-B3F3-C2A2F09E406B}"/>
                  </a:ext>
                </a:extLst>
              </p:cNvPr>
              <p:cNvSpPr/>
              <p:nvPr/>
            </p:nvSpPr>
            <p:spPr>
              <a:xfrm>
                <a:off x="7974428" y="6205773"/>
                <a:ext cx="276200" cy="1486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050">
                  <a:solidFill>
                    <a:srgbClr val="FFFFFF"/>
                  </a:solidFill>
                </a:endParaRPr>
              </a:p>
            </p:txBody>
          </p:sp>
          <p:sp>
            <p:nvSpPr>
              <p:cNvPr id="59" name="Rectangle 58">
                <a:extLst>
                  <a:ext uri="{FF2B5EF4-FFF2-40B4-BE49-F238E27FC236}">
                    <a16:creationId xmlns:a16="http://schemas.microsoft.com/office/drawing/2014/main" id="{748D9797-B192-4407-AEC7-1BFF76455018}"/>
                  </a:ext>
                </a:extLst>
              </p:cNvPr>
              <p:cNvSpPr/>
              <p:nvPr/>
            </p:nvSpPr>
            <p:spPr>
              <a:xfrm>
                <a:off x="7974428" y="6450483"/>
                <a:ext cx="276200" cy="1486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100">
                  <a:solidFill>
                    <a:srgbClr val="FFFFFF"/>
                  </a:solidFill>
                </a:endParaRPr>
              </a:p>
            </p:txBody>
          </p:sp>
          <p:sp>
            <p:nvSpPr>
              <p:cNvPr id="60" name="ZoneTexte 59">
                <a:extLst>
                  <a:ext uri="{FF2B5EF4-FFF2-40B4-BE49-F238E27FC236}">
                    <a16:creationId xmlns:a16="http://schemas.microsoft.com/office/drawing/2014/main" id="{71419C26-AD69-4E39-B4B9-E5BC97A29EA9}"/>
                  </a:ext>
                </a:extLst>
              </p:cNvPr>
              <p:cNvSpPr txBox="1"/>
              <p:nvPr/>
            </p:nvSpPr>
            <p:spPr>
              <a:xfrm>
                <a:off x="8400865" y="5796813"/>
                <a:ext cx="3794257" cy="828414"/>
              </a:xfrm>
              <a:prstGeom prst="rect">
                <a:avLst/>
              </a:prstGeom>
            </p:spPr>
            <p:txBody>
              <a:bodyPr wrap="square" lIns="72000" tIns="72000" rIns="72000" bIns="72000" rtlCol="0">
                <a:spAutoFit/>
              </a:bodyPr>
              <a:lstStyle/>
              <a:p>
                <a:pPr algn="l">
                  <a:lnSpc>
                    <a:spcPct val="150000"/>
                  </a:lnSpc>
                  <a:spcAft>
                    <a:spcPts val="600"/>
                  </a:spcAft>
                </a:pPr>
                <a:r>
                  <a:rPr lang="en-GB" sz="800" dirty="0">
                    <a:solidFill>
                      <a:schemeClr val="tx2"/>
                    </a:solidFill>
                  </a:rPr>
                  <a:t>NLP on-demand to come</a:t>
                </a:r>
              </a:p>
              <a:p>
                <a:pPr algn="l">
                  <a:lnSpc>
                    <a:spcPct val="150000"/>
                  </a:lnSpc>
                  <a:spcAft>
                    <a:spcPts val="600"/>
                  </a:spcAft>
                </a:pPr>
                <a:r>
                  <a:rPr lang="en-GB" sz="800" dirty="0">
                    <a:solidFill>
                      <a:schemeClr val="tx2"/>
                    </a:solidFill>
                  </a:rPr>
                  <a:t>Bot « core product »</a:t>
                </a:r>
              </a:p>
              <a:p>
                <a:pPr algn="l">
                  <a:lnSpc>
                    <a:spcPct val="150000"/>
                  </a:lnSpc>
                  <a:spcAft>
                    <a:spcPts val="600"/>
                  </a:spcAft>
                </a:pPr>
                <a:r>
                  <a:rPr lang="en-GB" sz="800" dirty="0">
                    <a:solidFill>
                      <a:schemeClr val="tx2"/>
                    </a:solidFill>
                  </a:rPr>
                  <a:t>Third party Bot connector</a:t>
                </a:r>
              </a:p>
            </p:txBody>
          </p:sp>
        </p:grpSp>
      </p:grpSp>
      <p:cxnSp>
        <p:nvCxnSpPr>
          <p:cNvPr id="4" name="Connecteur droit avec flèche 3">
            <a:extLst>
              <a:ext uri="{FF2B5EF4-FFF2-40B4-BE49-F238E27FC236}">
                <a16:creationId xmlns:a16="http://schemas.microsoft.com/office/drawing/2014/main" id="{9EBFA5D6-6B12-4519-8FCE-294F309ABE59}"/>
              </a:ext>
            </a:extLst>
          </p:cNvPr>
          <p:cNvCxnSpPr>
            <a:cxnSpLocks/>
          </p:cNvCxnSpPr>
          <p:nvPr/>
        </p:nvCxnSpPr>
        <p:spPr>
          <a:xfrm flipV="1">
            <a:off x="2458062" y="1998061"/>
            <a:ext cx="4526938" cy="2348676"/>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66856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74DB22-090F-4760-A117-DB07FDAA44FC}"/>
              </a:ext>
            </a:extLst>
          </p:cNvPr>
          <p:cNvSpPr>
            <a:spLocks noGrp="1"/>
          </p:cNvSpPr>
          <p:nvPr>
            <p:ph type="title"/>
          </p:nvPr>
        </p:nvSpPr>
        <p:spPr>
          <a:xfrm>
            <a:off x="9526" y="1"/>
            <a:ext cx="2570124" cy="808037"/>
          </a:xfrm>
        </p:spPr>
        <p:txBody>
          <a:bodyPr/>
          <a:lstStyle/>
          <a:p>
            <a:r>
              <a:rPr lang="fr-FR" dirty="0"/>
              <a:t>Pricing Plans : </a:t>
            </a:r>
            <a:r>
              <a:rPr lang="fr-FR" dirty="0" err="1"/>
              <a:t>Dialogflow</a:t>
            </a:r>
            <a:r>
              <a:rPr lang="fr-FR" dirty="0"/>
              <a:t> ES</a:t>
            </a:r>
          </a:p>
        </p:txBody>
      </p:sp>
      <p:pic>
        <p:nvPicPr>
          <p:cNvPr id="8" name="Image 7">
            <a:extLst>
              <a:ext uri="{FF2B5EF4-FFF2-40B4-BE49-F238E27FC236}">
                <a16:creationId xmlns:a16="http://schemas.microsoft.com/office/drawing/2014/main" id="{58982889-BB2D-4F17-8235-C6CB25162181}"/>
              </a:ext>
            </a:extLst>
          </p:cNvPr>
          <p:cNvPicPr>
            <a:picLocks noChangeAspect="1"/>
          </p:cNvPicPr>
          <p:nvPr/>
        </p:nvPicPr>
        <p:blipFill>
          <a:blip r:embed="rId2"/>
          <a:stretch>
            <a:fillRect/>
          </a:stretch>
        </p:blipFill>
        <p:spPr>
          <a:xfrm>
            <a:off x="2773989" y="0"/>
            <a:ext cx="5826266" cy="5143500"/>
          </a:xfrm>
          <a:prstGeom prst="rect">
            <a:avLst/>
          </a:prstGeom>
        </p:spPr>
      </p:pic>
    </p:spTree>
    <p:extLst>
      <p:ext uri="{BB962C8B-B14F-4D97-AF65-F5344CB8AC3E}">
        <p14:creationId xmlns:p14="http://schemas.microsoft.com/office/powerpoint/2010/main" val="3913233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544E057-DF3E-47F7-A03E-D728444C6F76}"/>
              </a:ext>
            </a:extLst>
          </p:cNvPr>
          <p:cNvSpPr>
            <a:spLocks noGrp="1"/>
          </p:cNvSpPr>
          <p:nvPr>
            <p:ph type="title"/>
          </p:nvPr>
        </p:nvSpPr>
        <p:spPr>
          <a:xfrm>
            <a:off x="0" y="58301"/>
            <a:ext cx="6975475" cy="808037"/>
          </a:xfrm>
        </p:spPr>
        <p:txBody>
          <a:bodyPr/>
          <a:lstStyle/>
          <a:p>
            <a:r>
              <a:rPr lang="fr-FR" dirty="0"/>
              <a:t>Exemple of </a:t>
            </a:r>
            <a:r>
              <a:rPr lang="fr-FR" dirty="0" err="1"/>
              <a:t>integration</a:t>
            </a:r>
            <a:endParaRPr lang="fr-FR" dirty="0"/>
          </a:p>
        </p:txBody>
      </p:sp>
      <p:sp>
        <p:nvSpPr>
          <p:cNvPr id="4" name="Bulle narrative : rectangle 3">
            <a:extLst>
              <a:ext uri="{FF2B5EF4-FFF2-40B4-BE49-F238E27FC236}">
                <a16:creationId xmlns:a16="http://schemas.microsoft.com/office/drawing/2014/main" id="{B77BE49E-8658-4CF0-BE40-DC8CC0070DBF}"/>
              </a:ext>
            </a:extLst>
          </p:cNvPr>
          <p:cNvSpPr/>
          <p:nvPr/>
        </p:nvSpPr>
        <p:spPr>
          <a:xfrm>
            <a:off x="2490531" y="1770342"/>
            <a:ext cx="1533382" cy="317331"/>
          </a:xfrm>
          <a:prstGeom prst="wedgeRectCallout">
            <a:avLst>
              <a:gd name="adj1" fmla="val -56462"/>
              <a:gd name="adj2" fmla="val -1395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First </a:t>
            </a:r>
            <a:r>
              <a:rPr lang="fr-FR" sz="1200" dirty="0" err="1">
                <a:solidFill>
                  <a:schemeClr val="bg1"/>
                </a:solidFill>
              </a:rPr>
              <a:t>word</a:t>
            </a:r>
            <a:endParaRPr lang="fr-FR" sz="1200" dirty="0">
              <a:solidFill>
                <a:schemeClr val="bg1"/>
              </a:solidFill>
            </a:endParaRPr>
          </a:p>
        </p:txBody>
      </p:sp>
      <p:sp>
        <p:nvSpPr>
          <p:cNvPr id="6" name="Bulle narrative : rectangle 5">
            <a:extLst>
              <a:ext uri="{FF2B5EF4-FFF2-40B4-BE49-F238E27FC236}">
                <a16:creationId xmlns:a16="http://schemas.microsoft.com/office/drawing/2014/main" id="{D2392579-800E-43B1-B989-76DF483D25F3}"/>
              </a:ext>
            </a:extLst>
          </p:cNvPr>
          <p:cNvSpPr/>
          <p:nvPr/>
        </p:nvSpPr>
        <p:spPr>
          <a:xfrm>
            <a:off x="652313" y="892597"/>
            <a:ext cx="2444915" cy="620673"/>
          </a:xfrm>
          <a:prstGeom prst="wedgeRectCallout">
            <a:avLst>
              <a:gd name="adj1" fmla="val 54686"/>
              <a:gd name="adj2" fmla="val -2242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err="1">
                <a:solidFill>
                  <a:schemeClr val="bg1"/>
                </a:solidFill>
              </a:rPr>
              <a:t>Welcome</a:t>
            </a:r>
            <a:r>
              <a:rPr lang="fr-FR" sz="1200" dirty="0">
                <a:solidFill>
                  <a:schemeClr val="bg1"/>
                </a:solidFill>
              </a:rPr>
              <a:t> message </a:t>
            </a:r>
            <a:r>
              <a:rPr lang="fr-FR" sz="1200" dirty="0" err="1">
                <a:solidFill>
                  <a:schemeClr val="bg1"/>
                </a:solidFill>
              </a:rPr>
              <a:t>from</a:t>
            </a:r>
            <a:r>
              <a:rPr lang="fr-FR" sz="1200" dirty="0">
                <a:solidFill>
                  <a:schemeClr val="bg1"/>
                </a:solidFill>
              </a:rPr>
              <a:t> Concierge (« Hello, can I help </a:t>
            </a:r>
            <a:r>
              <a:rPr lang="fr-FR" sz="1200" dirty="0" err="1">
                <a:solidFill>
                  <a:schemeClr val="bg1"/>
                </a:solidFill>
              </a:rPr>
              <a:t>you</a:t>
            </a:r>
            <a:r>
              <a:rPr lang="fr-FR" sz="1200" dirty="0">
                <a:solidFill>
                  <a:schemeClr val="bg1"/>
                </a:solidFill>
              </a:rPr>
              <a:t> ? »)</a:t>
            </a:r>
          </a:p>
        </p:txBody>
      </p:sp>
      <p:sp>
        <p:nvSpPr>
          <p:cNvPr id="12" name="Bulle narrative : rectangle 11">
            <a:extLst>
              <a:ext uri="{FF2B5EF4-FFF2-40B4-BE49-F238E27FC236}">
                <a16:creationId xmlns:a16="http://schemas.microsoft.com/office/drawing/2014/main" id="{FEE725ED-3326-44C7-A06F-38B1044B47A8}"/>
              </a:ext>
            </a:extLst>
          </p:cNvPr>
          <p:cNvSpPr/>
          <p:nvPr/>
        </p:nvSpPr>
        <p:spPr>
          <a:xfrm>
            <a:off x="2648584" y="2142364"/>
            <a:ext cx="1588207" cy="450276"/>
          </a:xfrm>
          <a:prstGeom prst="wedgeRectCallout">
            <a:avLst>
              <a:gd name="adj1" fmla="val 55677"/>
              <a:gd name="adj2" fmla="val -1449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First response from DF</a:t>
            </a:r>
            <a:endParaRPr lang="fr-FR" sz="1200" dirty="0">
              <a:solidFill>
                <a:schemeClr val="bg1"/>
              </a:solidFill>
            </a:endParaRPr>
          </a:p>
        </p:txBody>
      </p:sp>
      <p:sp>
        <p:nvSpPr>
          <p:cNvPr id="17" name="Bulle narrative : rectangle 16">
            <a:extLst>
              <a:ext uri="{FF2B5EF4-FFF2-40B4-BE49-F238E27FC236}">
                <a16:creationId xmlns:a16="http://schemas.microsoft.com/office/drawing/2014/main" id="{D535CCED-8A01-42A7-9DF7-B01A112F97E1}"/>
              </a:ext>
            </a:extLst>
          </p:cNvPr>
          <p:cNvSpPr/>
          <p:nvPr/>
        </p:nvSpPr>
        <p:spPr>
          <a:xfrm>
            <a:off x="2484251" y="2647331"/>
            <a:ext cx="1533382" cy="317331"/>
          </a:xfrm>
          <a:prstGeom prst="wedgeRectCallout">
            <a:avLst>
              <a:gd name="adj1" fmla="val -56462"/>
              <a:gd name="adj2" fmla="val -1395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Second </a:t>
            </a:r>
            <a:r>
              <a:rPr lang="fr-FR" sz="1200" dirty="0" err="1">
                <a:solidFill>
                  <a:schemeClr val="bg1"/>
                </a:solidFill>
              </a:rPr>
              <a:t>word</a:t>
            </a:r>
            <a:endParaRPr lang="fr-FR" sz="1200" dirty="0">
              <a:solidFill>
                <a:schemeClr val="bg1"/>
              </a:solidFill>
            </a:endParaRPr>
          </a:p>
        </p:txBody>
      </p:sp>
      <p:sp>
        <p:nvSpPr>
          <p:cNvPr id="18" name="Bulle narrative : rectangle 17">
            <a:extLst>
              <a:ext uri="{FF2B5EF4-FFF2-40B4-BE49-F238E27FC236}">
                <a16:creationId xmlns:a16="http://schemas.microsoft.com/office/drawing/2014/main" id="{10E7DD22-A2FD-4DA5-BACF-7FB6C99CA543}"/>
              </a:ext>
            </a:extLst>
          </p:cNvPr>
          <p:cNvSpPr/>
          <p:nvPr/>
        </p:nvSpPr>
        <p:spPr>
          <a:xfrm>
            <a:off x="2642304" y="3019353"/>
            <a:ext cx="1588207" cy="597382"/>
          </a:xfrm>
          <a:prstGeom prst="wedgeRectCallout">
            <a:avLst>
              <a:gd name="adj1" fmla="val 55677"/>
              <a:gd name="adj2" fmla="val -1449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Second response from DF + end of conversation</a:t>
            </a:r>
            <a:endParaRPr lang="fr-FR" sz="1200" dirty="0">
              <a:solidFill>
                <a:schemeClr val="bg1"/>
              </a:solidFill>
            </a:endParaRPr>
          </a:p>
        </p:txBody>
      </p:sp>
      <p:sp>
        <p:nvSpPr>
          <p:cNvPr id="19" name="Bulle narrative : rectangle 18">
            <a:extLst>
              <a:ext uri="{FF2B5EF4-FFF2-40B4-BE49-F238E27FC236}">
                <a16:creationId xmlns:a16="http://schemas.microsoft.com/office/drawing/2014/main" id="{81E357E1-7166-4E84-8EC1-877EDC662B92}"/>
              </a:ext>
            </a:extLst>
          </p:cNvPr>
          <p:cNvSpPr/>
          <p:nvPr/>
        </p:nvSpPr>
        <p:spPr>
          <a:xfrm>
            <a:off x="652312" y="3933764"/>
            <a:ext cx="2444915" cy="620673"/>
          </a:xfrm>
          <a:prstGeom prst="wedgeRectCallout">
            <a:avLst>
              <a:gd name="adj1" fmla="val 54686"/>
              <a:gd name="adj2" fmla="val -2242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End message </a:t>
            </a:r>
            <a:r>
              <a:rPr lang="fr-FR" sz="1200" dirty="0" err="1">
                <a:solidFill>
                  <a:schemeClr val="bg1"/>
                </a:solidFill>
              </a:rPr>
              <a:t>from</a:t>
            </a:r>
            <a:r>
              <a:rPr lang="fr-FR" sz="1200" dirty="0">
                <a:solidFill>
                  <a:schemeClr val="bg1"/>
                </a:solidFill>
              </a:rPr>
              <a:t> Concierge (« Good bye »)</a:t>
            </a:r>
          </a:p>
        </p:txBody>
      </p:sp>
      <p:sp>
        <p:nvSpPr>
          <p:cNvPr id="3" name="Rectangle 2">
            <a:extLst>
              <a:ext uri="{FF2B5EF4-FFF2-40B4-BE49-F238E27FC236}">
                <a16:creationId xmlns:a16="http://schemas.microsoft.com/office/drawing/2014/main" id="{2826C59D-4583-41B9-B4AC-48C428749913}"/>
              </a:ext>
            </a:extLst>
          </p:cNvPr>
          <p:cNvSpPr/>
          <p:nvPr/>
        </p:nvSpPr>
        <p:spPr>
          <a:xfrm>
            <a:off x="2295660" y="1678229"/>
            <a:ext cx="5906020" cy="2125093"/>
          </a:xfrm>
          <a:prstGeom prst="rect">
            <a:avLst/>
          </a:prstGeom>
          <a:noFill/>
          <a:ln w="50800">
            <a:solidFill>
              <a:schemeClr val="accent2">
                <a:alpha val="60000"/>
              </a:schemeClr>
            </a:solidFill>
            <a:head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Text Placeholder 16">
            <a:extLst>
              <a:ext uri="{FF2B5EF4-FFF2-40B4-BE49-F238E27FC236}">
                <a16:creationId xmlns:a16="http://schemas.microsoft.com/office/drawing/2014/main" id="{8F37CC32-CF8A-42ED-BB23-7D3BF63C2467}"/>
              </a:ext>
            </a:extLst>
          </p:cNvPr>
          <p:cNvSpPr txBox="1">
            <a:spLocks/>
          </p:cNvSpPr>
          <p:nvPr/>
        </p:nvSpPr>
        <p:spPr>
          <a:xfrm>
            <a:off x="4456477" y="1827853"/>
            <a:ext cx="3675402" cy="2273617"/>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50" dirty="0"/>
              <a:t>The dialog is managed by </a:t>
            </a:r>
            <a:r>
              <a:rPr lang="en-US" sz="1450" dirty="0" err="1"/>
              <a:t>Dialogflow</a:t>
            </a:r>
            <a:r>
              <a:rPr lang="en-US" sz="1450" dirty="0"/>
              <a:t>, until the end of the conversation.</a:t>
            </a:r>
          </a:p>
          <a:p>
            <a:endParaRPr lang="en-US" sz="1450" dirty="0"/>
          </a:p>
          <a:p>
            <a:pPr marL="690563" lvl="1" indent="-285750"/>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sz="1600" dirty="0"/>
          </a:p>
        </p:txBody>
      </p:sp>
      <p:sp>
        <p:nvSpPr>
          <p:cNvPr id="21" name="Text Placeholder 16">
            <a:extLst>
              <a:ext uri="{FF2B5EF4-FFF2-40B4-BE49-F238E27FC236}">
                <a16:creationId xmlns:a16="http://schemas.microsoft.com/office/drawing/2014/main" id="{20AD9037-A18C-49D7-AEC0-1182E127EB00}"/>
              </a:ext>
            </a:extLst>
          </p:cNvPr>
          <p:cNvSpPr txBox="1">
            <a:spLocks/>
          </p:cNvSpPr>
          <p:nvPr/>
        </p:nvSpPr>
        <p:spPr>
          <a:xfrm>
            <a:off x="3549808" y="714989"/>
            <a:ext cx="5488739" cy="1269998"/>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50" dirty="0"/>
              <a:t>With Action On Google (Google Home / Google Assistant), DF receives a “welcome intent” event and triggers the “default intent”. Concierge does not use the default intent.</a:t>
            </a: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22410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F0D1B32-96BA-4599-A690-1442F4514BCA}"/>
              </a:ext>
            </a:extLst>
          </p:cNvPr>
          <p:cNvSpPr>
            <a:spLocks noGrp="1"/>
          </p:cNvSpPr>
          <p:nvPr>
            <p:ph type="title"/>
          </p:nvPr>
        </p:nvSpPr>
        <p:spPr/>
        <p:txBody>
          <a:bodyPr/>
          <a:lstStyle/>
          <a:p>
            <a:r>
              <a:rPr lang="fr-FR" dirty="0"/>
              <a:t>How to </a:t>
            </a:r>
            <a:r>
              <a:rPr lang="fr-FR" dirty="0" err="1"/>
              <a:t>create</a:t>
            </a:r>
            <a:r>
              <a:rPr lang="fr-FR" dirty="0"/>
              <a:t> a </a:t>
            </a:r>
            <a:r>
              <a:rPr lang="fr-FR" dirty="0" err="1"/>
              <a:t>voice</a:t>
            </a:r>
            <a:r>
              <a:rPr lang="fr-FR" dirty="0"/>
              <a:t> bot </a:t>
            </a:r>
            <a:r>
              <a:rPr lang="fr-FR" dirty="0" err="1"/>
              <a:t>with</a:t>
            </a:r>
            <a:r>
              <a:rPr lang="fr-FR" dirty="0"/>
              <a:t> Concierge</a:t>
            </a:r>
          </a:p>
        </p:txBody>
      </p:sp>
      <p:sp>
        <p:nvSpPr>
          <p:cNvPr id="3" name="Text Placeholder 16">
            <a:extLst>
              <a:ext uri="{FF2B5EF4-FFF2-40B4-BE49-F238E27FC236}">
                <a16:creationId xmlns:a16="http://schemas.microsoft.com/office/drawing/2014/main" id="{3746CC05-7A6A-4683-9AA1-5B464E9DDEDB}"/>
              </a:ext>
            </a:extLst>
          </p:cNvPr>
          <p:cNvSpPr txBox="1">
            <a:spLocks/>
          </p:cNvSpPr>
          <p:nvPr/>
        </p:nvSpPr>
        <p:spPr>
          <a:xfrm>
            <a:off x="4641157" y="2405102"/>
            <a:ext cx="4372204" cy="3221364"/>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900" i="1" dirty="0"/>
          </a:p>
          <a:p>
            <a:pPr marL="285750" indent="-285750">
              <a:buClr>
                <a:schemeClr val="accent2"/>
              </a:buClr>
              <a:buFont typeface="Arial" panose="020B0604020202020204" pitchFamily="34" charset="0"/>
              <a:buChar char="•"/>
            </a:pPr>
            <a:r>
              <a:rPr lang="en-US" sz="1400" dirty="0"/>
              <a:t>Create a specific </a:t>
            </a:r>
            <a:r>
              <a:rPr lang="en-US" sz="1400" dirty="0" err="1"/>
              <a:t>Dialogflow</a:t>
            </a:r>
            <a:r>
              <a:rPr lang="en-US" sz="1400" dirty="0"/>
              <a:t> agent</a:t>
            </a:r>
          </a:p>
          <a:p>
            <a:pPr marL="690563" lvl="1" indent="-285750"/>
            <a:r>
              <a:rPr lang="en-US" sz="1250" dirty="0"/>
              <a:t>With specific end of conversation : back to Concierge, or transfer to an agent</a:t>
            </a:r>
          </a:p>
          <a:p>
            <a:pPr marL="690563" lvl="1" indent="-285750"/>
            <a:r>
              <a:rPr lang="en-US" sz="1250" dirty="0"/>
              <a:t>With conversation recording (if needed)</a:t>
            </a:r>
          </a:p>
          <a:p>
            <a:pPr marL="690563" lvl="1" indent="-285750"/>
            <a:r>
              <a:rPr lang="en-US" sz="1250" dirty="0"/>
              <a:t>For a voice bot, the silence management</a:t>
            </a:r>
          </a:p>
          <a:p>
            <a:pPr marL="285750" indent="-285750">
              <a:buClr>
                <a:schemeClr val="accent2"/>
              </a:buClr>
              <a:buFont typeface="Arial" panose="020B0604020202020204" pitchFamily="34" charset="0"/>
              <a:buChar char="•"/>
            </a:pPr>
            <a:r>
              <a:rPr lang="en-US" sz="1400" dirty="0"/>
              <a:t>Export a json key to Concierge</a:t>
            </a:r>
          </a:p>
          <a:p>
            <a:pPr marL="285750" indent="-285750"/>
            <a:r>
              <a:rPr lang="en-US" sz="1400" dirty="0"/>
              <a:t>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600" dirty="0"/>
          </a:p>
        </p:txBody>
      </p:sp>
      <p:cxnSp>
        <p:nvCxnSpPr>
          <p:cNvPr id="4" name="Connecteur droit avec flèche 3">
            <a:extLst>
              <a:ext uri="{FF2B5EF4-FFF2-40B4-BE49-F238E27FC236}">
                <a16:creationId xmlns:a16="http://schemas.microsoft.com/office/drawing/2014/main" id="{E98BFEC2-9DC8-4C18-B995-7F322ED10F7B}"/>
              </a:ext>
            </a:extLst>
          </p:cNvPr>
          <p:cNvCxnSpPr>
            <a:cxnSpLocks/>
          </p:cNvCxnSpPr>
          <p:nvPr/>
        </p:nvCxnSpPr>
        <p:spPr>
          <a:xfrm>
            <a:off x="4402771" y="845705"/>
            <a:ext cx="0" cy="3818503"/>
          </a:xfrm>
          <a:prstGeom prst="straightConnector1">
            <a:avLst/>
          </a:prstGeom>
          <a:noFill/>
          <a:ln w="50800">
            <a:solidFill>
              <a:schemeClr val="accent2">
                <a:alpha val="60000"/>
              </a:schemeClr>
            </a:solidFill>
            <a:headEnd type="none"/>
          </a:ln>
        </p:spPr>
        <p:style>
          <a:lnRef idx="2">
            <a:schemeClr val="accent1">
              <a:shade val="50000"/>
            </a:schemeClr>
          </a:lnRef>
          <a:fillRef idx="1">
            <a:schemeClr val="accent1"/>
          </a:fillRef>
          <a:effectRef idx="0">
            <a:schemeClr val="accent1"/>
          </a:effectRef>
          <a:fontRef idx="minor">
            <a:schemeClr val="lt1"/>
          </a:fontRef>
        </p:style>
      </p:cxnSp>
      <p:sp>
        <p:nvSpPr>
          <p:cNvPr id="6" name="Rectangle 5">
            <a:extLst>
              <a:ext uri="{FF2B5EF4-FFF2-40B4-BE49-F238E27FC236}">
                <a16:creationId xmlns:a16="http://schemas.microsoft.com/office/drawing/2014/main" id="{0B32917D-0B9A-4CD0-9879-DDA033F302FD}"/>
              </a:ext>
            </a:extLst>
          </p:cNvPr>
          <p:cNvSpPr/>
          <p:nvPr/>
        </p:nvSpPr>
        <p:spPr>
          <a:xfrm>
            <a:off x="5555556" y="945136"/>
            <a:ext cx="2236054" cy="5148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Dialogflow</a:t>
            </a:r>
            <a:r>
              <a:rPr lang="fr-FR" dirty="0"/>
              <a:t> Team</a:t>
            </a:r>
          </a:p>
        </p:txBody>
      </p:sp>
      <p:sp>
        <p:nvSpPr>
          <p:cNvPr id="7" name="Rectangle 6">
            <a:extLst>
              <a:ext uri="{FF2B5EF4-FFF2-40B4-BE49-F238E27FC236}">
                <a16:creationId xmlns:a16="http://schemas.microsoft.com/office/drawing/2014/main" id="{326746D6-3F69-4CE7-A272-C4DF7E7520A6}"/>
              </a:ext>
            </a:extLst>
          </p:cNvPr>
          <p:cNvSpPr/>
          <p:nvPr/>
        </p:nvSpPr>
        <p:spPr>
          <a:xfrm>
            <a:off x="1013933" y="945136"/>
            <a:ext cx="2236054" cy="51483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chemeClr val="bg1"/>
                </a:solidFill>
              </a:rPr>
              <a:t>Concierge Team</a:t>
            </a:r>
          </a:p>
        </p:txBody>
      </p:sp>
      <p:sp>
        <p:nvSpPr>
          <p:cNvPr id="9" name="Text Placeholder 16">
            <a:extLst>
              <a:ext uri="{FF2B5EF4-FFF2-40B4-BE49-F238E27FC236}">
                <a16:creationId xmlns:a16="http://schemas.microsoft.com/office/drawing/2014/main" id="{00907044-F513-4D80-9022-9924DED35E3A}"/>
              </a:ext>
            </a:extLst>
          </p:cNvPr>
          <p:cNvSpPr txBox="1">
            <a:spLocks/>
          </p:cNvSpPr>
          <p:nvPr/>
        </p:nvSpPr>
        <p:spPr>
          <a:xfrm>
            <a:off x="199796" y="1612366"/>
            <a:ext cx="4079282" cy="3221364"/>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Clr>
                <a:schemeClr val="accent2"/>
              </a:buClr>
              <a:buFont typeface="Arial" panose="020B0604020202020204" pitchFamily="34" charset="0"/>
              <a:buChar char="•"/>
            </a:pPr>
            <a:r>
              <a:rPr lang="en-US" sz="1400" dirty="0"/>
              <a:t>Create or duplicate an existing “Concierge Instance” (IVR + Concierge)</a:t>
            </a:r>
          </a:p>
          <a:p>
            <a:pPr marL="285750" indent="-285750">
              <a:buClr>
                <a:schemeClr val="accent2"/>
              </a:buClr>
              <a:buFont typeface="Arial" panose="020B0604020202020204" pitchFamily="34" charset="0"/>
              <a:buChar char="•"/>
            </a:pPr>
            <a:r>
              <a:rPr lang="en-US" sz="1400" dirty="0"/>
              <a:t>Set the Welcome / Good bye messages on Concierge</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endParaRPr lang="en-US" sz="1400" dirty="0"/>
          </a:p>
          <a:p>
            <a:pPr marL="285750" indent="-285750">
              <a:buClr>
                <a:schemeClr val="accent2"/>
              </a:buClr>
              <a:buFont typeface="Arial" panose="020B0604020202020204" pitchFamily="34" charset="0"/>
              <a:buChar char="•"/>
            </a:pPr>
            <a:r>
              <a:rPr lang="en-US" sz="1400" dirty="0"/>
              <a:t>Integrate the “Json” key</a:t>
            </a:r>
          </a:p>
          <a:p>
            <a:pPr marL="285750" indent="-285750"/>
            <a:r>
              <a:rPr lang="en-US" sz="1400" dirty="0"/>
              <a:t>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569761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F0D1B32-96BA-4599-A690-1442F4514BCA}"/>
              </a:ext>
            </a:extLst>
          </p:cNvPr>
          <p:cNvSpPr>
            <a:spLocks noGrp="1"/>
          </p:cNvSpPr>
          <p:nvPr>
            <p:ph type="title"/>
          </p:nvPr>
        </p:nvSpPr>
        <p:spPr/>
        <p:txBody>
          <a:bodyPr/>
          <a:lstStyle/>
          <a:p>
            <a:r>
              <a:rPr lang="fr-FR" dirty="0" err="1"/>
              <a:t>Welcome</a:t>
            </a:r>
            <a:r>
              <a:rPr lang="fr-FR" dirty="0"/>
              <a:t> / good bye messages</a:t>
            </a:r>
          </a:p>
        </p:txBody>
      </p:sp>
      <p:sp>
        <p:nvSpPr>
          <p:cNvPr id="3" name="Text Placeholder 16">
            <a:extLst>
              <a:ext uri="{FF2B5EF4-FFF2-40B4-BE49-F238E27FC236}">
                <a16:creationId xmlns:a16="http://schemas.microsoft.com/office/drawing/2014/main" id="{3746CC05-7A6A-4683-9AA1-5B464E9DDEDB}"/>
              </a:ext>
            </a:extLst>
          </p:cNvPr>
          <p:cNvSpPr txBox="1">
            <a:spLocks/>
          </p:cNvSpPr>
          <p:nvPr/>
        </p:nvSpPr>
        <p:spPr>
          <a:xfrm>
            <a:off x="228600" y="668889"/>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pPr marL="285750" indent="-285750">
              <a:buClr>
                <a:schemeClr val="accent2"/>
              </a:buClr>
              <a:buFont typeface="Arial" panose="020B0604020202020204" pitchFamily="34" charset="0"/>
              <a:buChar char="•"/>
            </a:pPr>
            <a:r>
              <a:rPr lang="en-US" dirty="0"/>
              <a:t>These messages are modified with the Back Office (</a:t>
            </a:r>
            <a:r>
              <a:rPr lang="en-US" dirty="0" err="1"/>
              <a:t>Concierger</a:t>
            </a:r>
            <a:r>
              <a:rPr lang="en-US" dirty="0"/>
              <a:t> Dialog / Language Generation)</a:t>
            </a:r>
          </a:p>
          <a:p>
            <a:pPr marL="285750" indent="-285750">
              <a:buClr>
                <a:schemeClr val="accent2"/>
              </a:buClr>
              <a:buFont typeface="Arial" panose="020B0604020202020204" pitchFamily="34" charset="0"/>
              <a:buChar char="•"/>
            </a:pPr>
            <a:r>
              <a:rPr lang="fr-FR" u="sng" dirty="0">
                <a:hlinkClick r:id="rId3"/>
              </a:rPr>
              <a:t>https://concierge-demodigitale.prosodie.com/concierge-discover-ui/home/</a:t>
            </a:r>
            <a:endParaRPr lang="fr-FR" u="sng" dirty="0"/>
          </a:p>
          <a:p>
            <a:pPr marL="285750" indent="-285750">
              <a:buFont typeface="Arial" panose="020B0604020202020204" pitchFamily="34" charset="0"/>
              <a:buChar char="•"/>
            </a:pPr>
            <a:endParaRPr lang="en-US" sz="1400" dirty="0"/>
          </a:p>
          <a:p>
            <a:pPr marL="285750" indent="-285750"/>
            <a:r>
              <a:rPr lang="en-US" sz="1400" dirty="0"/>
              <a:t>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600" dirty="0"/>
          </a:p>
        </p:txBody>
      </p:sp>
      <p:pic>
        <p:nvPicPr>
          <p:cNvPr id="4" name="Image 3">
            <a:extLst>
              <a:ext uri="{FF2B5EF4-FFF2-40B4-BE49-F238E27FC236}">
                <a16:creationId xmlns:a16="http://schemas.microsoft.com/office/drawing/2014/main" id="{6582BF6A-993D-4043-B429-D2C57ED48A24}"/>
              </a:ext>
            </a:extLst>
          </p:cNvPr>
          <p:cNvPicPr>
            <a:picLocks noChangeAspect="1"/>
          </p:cNvPicPr>
          <p:nvPr/>
        </p:nvPicPr>
        <p:blipFill>
          <a:blip r:embed="rId4"/>
          <a:stretch>
            <a:fillRect/>
          </a:stretch>
        </p:blipFill>
        <p:spPr>
          <a:xfrm>
            <a:off x="1267691" y="1935402"/>
            <a:ext cx="6608618" cy="2631628"/>
          </a:xfrm>
          <a:prstGeom prst="rect">
            <a:avLst/>
          </a:prstGeom>
        </p:spPr>
      </p:pic>
    </p:spTree>
    <p:extLst>
      <p:ext uri="{BB962C8B-B14F-4D97-AF65-F5344CB8AC3E}">
        <p14:creationId xmlns:p14="http://schemas.microsoft.com/office/powerpoint/2010/main" val="3279374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79D9F62-12C7-45E5-9427-EF4E16C84F1E}"/>
              </a:ext>
            </a:extLst>
          </p:cNvPr>
          <p:cNvSpPr>
            <a:spLocks noGrp="1"/>
          </p:cNvSpPr>
          <p:nvPr>
            <p:ph type="title"/>
          </p:nvPr>
        </p:nvSpPr>
        <p:spPr/>
        <p:txBody>
          <a:bodyPr/>
          <a:lstStyle/>
          <a:p>
            <a:r>
              <a:rPr lang="fr-FR" dirty="0" err="1"/>
              <a:t>Creating</a:t>
            </a:r>
            <a:r>
              <a:rPr lang="fr-FR" dirty="0"/>
              <a:t> the .</a:t>
            </a:r>
            <a:r>
              <a:rPr lang="fr-FR" dirty="0" err="1"/>
              <a:t>json</a:t>
            </a:r>
            <a:endParaRPr lang="fr-FR" dirty="0"/>
          </a:p>
        </p:txBody>
      </p:sp>
      <p:sp>
        <p:nvSpPr>
          <p:cNvPr id="3" name="Text Placeholder 16">
            <a:extLst>
              <a:ext uri="{FF2B5EF4-FFF2-40B4-BE49-F238E27FC236}">
                <a16:creationId xmlns:a16="http://schemas.microsoft.com/office/drawing/2014/main" id="{43FCFF09-F6C3-4A56-9B3B-BAD6D35476B6}"/>
              </a:ext>
            </a:extLst>
          </p:cNvPr>
          <p:cNvSpPr txBox="1">
            <a:spLocks/>
          </p:cNvSpPr>
          <p:nvPr/>
        </p:nvSpPr>
        <p:spPr>
          <a:xfrm>
            <a:off x="425790" y="641332"/>
            <a:ext cx="8505268" cy="3642569"/>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On the service account page creation (</a:t>
            </a:r>
            <a:r>
              <a:rPr lang="en-US" dirty="0">
                <a:hlinkClick r:id="rId2"/>
              </a:rPr>
              <a:t>https://console.cloud.google.com</a:t>
            </a:r>
            <a:r>
              <a:rPr lang="en-US" dirty="0"/>
              <a:t>), add the role '</a:t>
            </a:r>
            <a:r>
              <a:rPr lang="en-US" dirty="0" err="1"/>
              <a:t>Dialogflow</a:t>
            </a:r>
            <a:r>
              <a:rPr lang="en-US" dirty="0"/>
              <a:t> API Client' and create a new private key (Type : JSON).</a:t>
            </a:r>
          </a:p>
          <a:p>
            <a:pPr marL="285750" indent="-285750">
              <a:buFont typeface="Arial" panose="020B0604020202020204" pitchFamily="34" charset="0"/>
              <a:buChar char="•"/>
            </a:pPr>
            <a:endParaRPr lang="en-US" sz="1600" dirty="0"/>
          </a:p>
        </p:txBody>
      </p:sp>
      <p:pic>
        <p:nvPicPr>
          <p:cNvPr id="5" name="Image 4">
            <a:extLst>
              <a:ext uri="{FF2B5EF4-FFF2-40B4-BE49-F238E27FC236}">
                <a16:creationId xmlns:a16="http://schemas.microsoft.com/office/drawing/2014/main" id="{A667D63C-D408-42B2-874C-521A16637803}"/>
              </a:ext>
            </a:extLst>
          </p:cNvPr>
          <p:cNvPicPr>
            <a:picLocks noChangeAspect="1"/>
          </p:cNvPicPr>
          <p:nvPr/>
        </p:nvPicPr>
        <p:blipFill>
          <a:blip r:embed="rId3"/>
          <a:stretch>
            <a:fillRect/>
          </a:stretch>
        </p:blipFill>
        <p:spPr>
          <a:xfrm>
            <a:off x="425790" y="1331528"/>
            <a:ext cx="5175730" cy="2828643"/>
          </a:xfrm>
          <a:prstGeom prst="rect">
            <a:avLst/>
          </a:prstGeom>
        </p:spPr>
      </p:pic>
      <p:sp>
        <p:nvSpPr>
          <p:cNvPr id="6" name="Ellipse 5">
            <a:extLst>
              <a:ext uri="{FF2B5EF4-FFF2-40B4-BE49-F238E27FC236}">
                <a16:creationId xmlns:a16="http://schemas.microsoft.com/office/drawing/2014/main" id="{47852252-3FAE-4E44-BDEE-3E2B2F985235}"/>
              </a:ext>
            </a:extLst>
          </p:cNvPr>
          <p:cNvSpPr/>
          <p:nvPr/>
        </p:nvSpPr>
        <p:spPr>
          <a:xfrm>
            <a:off x="1444892" y="1842760"/>
            <a:ext cx="862914" cy="244305"/>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llipse 7">
            <a:extLst>
              <a:ext uri="{FF2B5EF4-FFF2-40B4-BE49-F238E27FC236}">
                <a16:creationId xmlns:a16="http://schemas.microsoft.com/office/drawing/2014/main" id="{91A1C59C-291D-4BC2-AEA5-53A60597F20B}"/>
              </a:ext>
            </a:extLst>
          </p:cNvPr>
          <p:cNvSpPr/>
          <p:nvPr/>
        </p:nvSpPr>
        <p:spPr>
          <a:xfrm>
            <a:off x="425790" y="2847902"/>
            <a:ext cx="862914" cy="244305"/>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Image 8">
            <a:extLst>
              <a:ext uri="{FF2B5EF4-FFF2-40B4-BE49-F238E27FC236}">
                <a16:creationId xmlns:a16="http://schemas.microsoft.com/office/drawing/2014/main" id="{72F9F526-D01B-4089-B9F8-AF06825E9A88}"/>
              </a:ext>
            </a:extLst>
          </p:cNvPr>
          <p:cNvPicPr>
            <a:picLocks noChangeAspect="1"/>
          </p:cNvPicPr>
          <p:nvPr/>
        </p:nvPicPr>
        <p:blipFill>
          <a:blip r:embed="rId4"/>
          <a:stretch>
            <a:fillRect/>
          </a:stretch>
        </p:blipFill>
        <p:spPr>
          <a:xfrm>
            <a:off x="4896280" y="2354704"/>
            <a:ext cx="3395662" cy="2452687"/>
          </a:xfrm>
          <a:prstGeom prst="rect">
            <a:avLst/>
          </a:prstGeom>
        </p:spPr>
      </p:pic>
    </p:spTree>
    <p:extLst>
      <p:ext uri="{BB962C8B-B14F-4D97-AF65-F5344CB8AC3E}">
        <p14:creationId xmlns:p14="http://schemas.microsoft.com/office/powerpoint/2010/main" val="1890020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AC0B1D6-D275-4BAD-8DCF-D5136581D0FD}"/>
              </a:ext>
            </a:extLst>
          </p:cNvPr>
          <p:cNvSpPr>
            <a:spLocks noGrp="1"/>
          </p:cNvSpPr>
          <p:nvPr>
            <p:ph type="title"/>
          </p:nvPr>
        </p:nvSpPr>
        <p:spPr/>
        <p:txBody>
          <a:bodyPr/>
          <a:lstStyle/>
          <a:p>
            <a:r>
              <a:rPr lang="fr-FR" dirty="0" err="1"/>
              <a:t>Creating</a:t>
            </a:r>
            <a:r>
              <a:rPr lang="fr-FR" dirty="0"/>
              <a:t> the .</a:t>
            </a:r>
            <a:r>
              <a:rPr lang="fr-FR" dirty="0" err="1"/>
              <a:t>json</a:t>
            </a:r>
            <a:endParaRPr lang="fr-FR" dirty="0"/>
          </a:p>
        </p:txBody>
      </p:sp>
      <p:pic>
        <p:nvPicPr>
          <p:cNvPr id="5" name="Image 4">
            <a:extLst>
              <a:ext uri="{FF2B5EF4-FFF2-40B4-BE49-F238E27FC236}">
                <a16:creationId xmlns:a16="http://schemas.microsoft.com/office/drawing/2014/main" id="{273819F4-37D9-4ED6-BC79-8D91DA65E8BF}"/>
              </a:ext>
            </a:extLst>
          </p:cNvPr>
          <p:cNvPicPr>
            <a:picLocks noChangeAspect="1"/>
          </p:cNvPicPr>
          <p:nvPr/>
        </p:nvPicPr>
        <p:blipFill>
          <a:blip r:embed="rId3"/>
          <a:stretch>
            <a:fillRect/>
          </a:stretch>
        </p:blipFill>
        <p:spPr>
          <a:xfrm>
            <a:off x="275419" y="615638"/>
            <a:ext cx="3395662" cy="2452687"/>
          </a:xfrm>
          <a:prstGeom prst="rect">
            <a:avLst/>
          </a:prstGeom>
          <a:ln w="15875">
            <a:solidFill>
              <a:srgbClr val="0070C0"/>
            </a:solidFill>
          </a:ln>
        </p:spPr>
      </p:pic>
      <p:pic>
        <p:nvPicPr>
          <p:cNvPr id="3" name="Image 2">
            <a:extLst>
              <a:ext uri="{FF2B5EF4-FFF2-40B4-BE49-F238E27FC236}">
                <a16:creationId xmlns:a16="http://schemas.microsoft.com/office/drawing/2014/main" id="{DE92C772-F89C-461C-8792-998675820F21}"/>
              </a:ext>
            </a:extLst>
          </p:cNvPr>
          <p:cNvPicPr>
            <a:picLocks noChangeAspect="1"/>
          </p:cNvPicPr>
          <p:nvPr/>
        </p:nvPicPr>
        <p:blipFill>
          <a:blip r:embed="rId4"/>
          <a:stretch>
            <a:fillRect/>
          </a:stretch>
        </p:blipFill>
        <p:spPr>
          <a:xfrm>
            <a:off x="2166002" y="874103"/>
            <a:ext cx="3541946" cy="2809859"/>
          </a:xfrm>
          <a:prstGeom prst="rect">
            <a:avLst/>
          </a:prstGeom>
          <a:ln>
            <a:solidFill>
              <a:srgbClr val="0070C0"/>
            </a:solidFill>
          </a:ln>
        </p:spPr>
      </p:pic>
      <p:pic>
        <p:nvPicPr>
          <p:cNvPr id="4" name="Image 3">
            <a:extLst>
              <a:ext uri="{FF2B5EF4-FFF2-40B4-BE49-F238E27FC236}">
                <a16:creationId xmlns:a16="http://schemas.microsoft.com/office/drawing/2014/main" id="{E7A82273-70CD-4E90-8FEF-8E952F425C1F}"/>
              </a:ext>
            </a:extLst>
          </p:cNvPr>
          <p:cNvPicPr>
            <a:picLocks noChangeAspect="1"/>
          </p:cNvPicPr>
          <p:nvPr/>
        </p:nvPicPr>
        <p:blipFill>
          <a:blip r:embed="rId5"/>
          <a:stretch>
            <a:fillRect/>
          </a:stretch>
        </p:blipFill>
        <p:spPr>
          <a:xfrm>
            <a:off x="4870330" y="1342294"/>
            <a:ext cx="3105236" cy="3035748"/>
          </a:xfrm>
          <a:prstGeom prst="rect">
            <a:avLst/>
          </a:prstGeom>
          <a:ln>
            <a:solidFill>
              <a:srgbClr val="0070C0"/>
            </a:solidFill>
          </a:ln>
        </p:spPr>
      </p:pic>
      <p:sp>
        <p:nvSpPr>
          <p:cNvPr id="6" name="Ellipse 5">
            <a:extLst>
              <a:ext uri="{FF2B5EF4-FFF2-40B4-BE49-F238E27FC236}">
                <a16:creationId xmlns:a16="http://schemas.microsoft.com/office/drawing/2014/main" id="{BA102A24-4FCC-4F66-8F43-24841D36EB2A}"/>
              </a:ext>
            </a:extLst>
          </p:cNvPr>
          <p:cNvSpPr/>
          <p:nvPr/>
        </p:nvSpPr>
        <p:spPr>
          <a:xfrm>
            <a:off x="2171255" y="2738015"/>
            <a:ext cx="862914" cy="244305"/>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Ellipse 6">
            <a:extLst>
              <a:ext uri="{FF2B5EF4-FFF2-40B4-BE49-F238E27FC236}">
                <a16:creationId xmlns:a16="http://schemas.microsoft.com/office/drawing/2014/main" id="{48251909-5C7C-4661-AA27-F6ED78759FB4}"/>
              </a:ext>
            </a:extLst>
          </p:cNvPr>
          <p:cNvSpPr/>
          <p:nvPr/>
        </p:nvSpPr>
        <p:spPr>
          <a:xfrm>
            <a:off x="2946052" y="2431910"/>
            <a:ext cx="862914" cy="244305"/>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llipse 7">
            <a:extLst>
              <a:ext uri="{FF2B5EF4-FFF2-40B4-BE49-F238E27FC236}">
                <a16:creationId xmlns:a16="http://schemas.microsoft.com/office/drawing/2014/main" id="{4562BFF7-7AA7-44A6-A915-1FB28B74508B}"/>
              </a:ext>
            </a:extLst>
          </p:cNvPr>
          <p:cNvSpPr/>
          <p:nvPr/>
        </p:nvSpPr>
        <p:spPr>
          <a:xfrm>
            <a:off x="4795793" y="3707520"/>
            <a:ext cx="862914" cy="244305"/>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Image 8">
            <a:extLst>
              <a:ext uri="{FF2B5EF4-FFF2-40B4-BE49-F238E27FC236}">
                <a16:creationId xmlns:a16="http://schemas.microsoft.com/office/drawing/2014/main" id="{F30220D3-BB7B-4C37-8E93-5B30529019D8}"/>
              </a:ext>
            </a:extLst>
          </p:cNvPr>
          <p:cNvPicPr>
            <a:picLocks noChangeAspect="1"/>
          </p:cNvPicPr>
          <p:nvPr/>
        </p:nvPicPr>
        <p:blipFill>
          <a:blip r:embed="rId6"/>
          <a:stretch>
            <a:fillRect/>
          </a:stretch>
        </p:blipFill>
        <p:spPr>
          <a:xfrm>
            <a:off x="6422948" y="3435326"/>
            <a:ext cx="2415226" cy="1620804"/>
          </a:xfrm>
          <a:prstGeom prst="rect">
            <a:avLst/>
          </a:prstGeom>
          <a:ln>
            <a:solidFill>
              <a:srgbClr val="0070C0"/>
            </a:solidFill>
          </a:ln>
        </p:spPr>
      </p:pic>
      <p:sp>
        <p:nvSpPr>
          <p:cNvPr id="10" name="Ellipse 9">
            <a:extLst>
              <a:ext uri="{FF2B5EF4-FFF2-40B4-BE49-F238E27FC236}">
                <a16:creationId xmlns:a16="http://schemas.microsoft.com/office/drawing/2014/main" id="{436DA3C5-E3D8-4173-AE51-1233007BC5B0}"/>
              </a:ext>
            </a:extLst>
          </p:cNvPr>
          <p:cNvSpPr/>
          <p:nvPr/>
        </p:nvSpPr>
        <p:spPr>
          <a:xfrm>
            <a:off x="6247665" y="4070488"/>
            <a:ext cx="862914" cy="244305"/>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966129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544E057-DF3E-47F7-A03E-D728444C6F76}"/>
              </a:ext>
            </a:extLst>
          </p:cNvPr>
          <p:cNvSpPr>
            <a:spLocks noGrp="1"/>
          </p:cNvSpPr>
          <p:nvPr>
            <p:ph type="title"/>
          </p:nvPr>
        </p:nvSpPr>
        <p:spPr>
          <a:xfrm>
            <a:off x="0" y="58301"/>
            <a:ext cx="6975475" cy="808037"/>
          </a:xfrm>
        </p:spPr>
        <p:txBody>
          <a:bodyPr/>
          <a:lstStyle/>
          <a:p>
            <a:r>
              <a:rPr lang="fr-FR" dirty="0"/>
              <a:t>Silence management</a:t>
            </a:r>
          </a:p>
        </p:txBody>
      </p:sp>
      <p:sp>
        <p:nvSpPr>
          <p:cNvPr id="4" name="Bulle narrative : rectangle 3">
            <a:extLst>
              <a:ext uri="{FF2B5EF4-FFF2-40B4-BE49-F238E27FC236}">
                <a16:creationId xmlns:a16="http://schemas.microsoft.com/office/drawing/2014/main" id="{B77BE49E-8658-4CF0-BE40-DC8CC0070DBF}"/>
              </a:ext>
            </a:extLst>
          </p:cNvPr>
          <p:cNvSpPr/>
          <p:nvPr/>
        </p:nvSpPr>
        <p:spPr>
          <a:xfrm>
            <a:off x="533651" y="1134601"/>
            <a:ext cx="1533382" cy="318087"/>
          </a:xfrm>
          <a:prstGeom prst="wedgeRectCallout">
            <a:avLst>
              <a:gd name="adj1" fmla="val -56462"/>
              <a:gd name="adj2" fmla="val -1395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Silence)</a:t>
            </a:r>
          </a:p>
        </p:txBody>
      </p:sp>
      <p:sp>
        <p:nvSpPr>
          <p:cNvPr id="6" name="Bulle narrative : rectangle 5">
            <a:extLst>
              <a:ext uri="{FF2B5EF4-FFF2-40B4-BE49-F238E27FC236}">
                <a16:creationId xmlns:a16="http://schemas.microsoft.com/office/drawing/2014/main" id="{D2392579-800E-43B1-B989-76DF483D25F3}"/>
              </a:ext>
            </a:extLst>
          </p:cNvPr>
          <p:cNvSpPr/>
          <p:nvPr/>
        </p:nvSpPr>
        <p:spPr>
          <a:xfrm>
            <a:off x="533651" y="651453"/>
            <a:ext cx="2444915" cy="318087"/>
          </a:xfrm>
          <a:prstGeom prst="wedgeRectCallout">
            <a:avLst>
              <a:gd name="adj1" fmla="val 54686"/>
              <a:gd name="adj2" fmla="val -2242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Question ?</a:t>
            </a:r>
          </a:p>
        </p:txBody>
      </p:sp>
      <p:sp>
        <p:nvSpPr>
          <p:cNvPr id="21" name="Text Placeholder 16">
            <a:extLst>
              <a:ext uri="{FF2B5EF4-FFF2-40B4-BE49-F238E27FC236}">
                <a16:creationId xmlns:a16="http://schemas.microsoft.com/office/drawing/2014/main" id="{20AD9037-A18C-49D7-AEC0-1182E127EB00}"/>
              </a:ext>
            </a:extLst>
          </p:cNvPr>
          <p:cNvSpPr txBox="1">
            <a:spLocks/>
          </p:cNvSpPr>
          <p:nvPr/>
        </p:nvSpPr>
        <p:spPr>
          <a:xfrm>
            <a:off x="3250411" y="607174"/>
            <a:ext cx="5488739" cy="1269998"/>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50" dirty="0"/>
              <a:t>With a Concierge </a:t>
            </a:r>
            <a:r>
              <a:rPr lang="en-US" sz="1450" dirty="0" err="1"/>
              <a:t>Voicebot</a:t>
            </a:r>
            <a:r>
              <a:rPr lang="en-US" sz="1450" dirty="0"/>
              <a:t>, the query “_SILENCE_” is sent to </a:t>
            </a:r>
            <a:r>
              <a:rPr lang="en-US" sz="1450" dirty="0" err="1"/>
              <a:t>Dialogflow</a:t>
            </a:r>
            <a:r>
              <a:rPr lang="en-US" sz="1450" dirty="0"/>
              <a:t>.</a:t>
            </a:r>
          </a:p>
          <a:p>
            <a:r>
              <a:rPr lang="en-US" sz="1450" dirty="0"/>
              <a:t>The easy way to manage this : add a test into the fallback intent </a:t>
            </a: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sz="1600" dirty="0"/>
          </a:p>
        </p:txBody>
      </p:sp>
      <p:pic>
        <p:nvPicPr>
          <p:cNvPr id="5" name="Image 4">
            <a:extLst>
              <a:ext uri="{FF2B5EF4-FFF2-40B4-BE49-F238E27FC236}">
                <a16:creationId xmlns:a16="http://schemas.microsoft.com/office/drawing/2014/main" id="{D5A553B3-DFAB-4100-9A91-E609D4316533}"/>
              </a:ext>
            </a:extLst>
          </p:cNvPr>
          <p:cNvPicPr>
            <a:picLocks noChangeAspect="1"/>
          </p:cNvPicPr>
          <p:nvPr/>
        </p:nvPicPr>
        <p:blipFill>
          <a:blip r:embed="rId2"/>
          <a:stretch>
            <a:fillRect/>
          </a:stretch>
        </p:blipFill>
        <p:spPr>
          <a:xfrm>
            <a:off x="754692" y="1794362"/>
            <a:ext cx="7648575" cy="2028825"/>
          </a:xfrm>
          <a:prstGeom prst="rect">
            <a:avLst/>
          </a:prstGeom>
        </p:spPr>
      </p:pic>
      <p:sp>
        <p:nvSpPr>
          <p:cNvPr id="13" name="Text Placeholder 16">
            <a:extLst>
              <a:ext uri="{FF2B5EF4-FFF2-40B4-BE49-F238E27FC236}">
                <a16:creationId xmlns:a16="http://schemas.microsoft.com/office/drawing/2014/main" id="{E4515F10-1FA7-429D-AEAD-6410BE4F92D9}"/>
              </a:ext>
            </a:extLst>
          </p:cNvPr>
          <p:cNvSpPr txBox="1">
            <a:spLocks/>
          </p:cNvSpPr>
          <p:nvPr/>
        </p:nvSpPr>
        <p:spPr>
          <a:xfrm>
            <a:off x="478120" y="3901327"/>
            <a:ext cx="6355449" cy="1269998"/>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50" dirty="0"/>
              <a:t>Cunning plan: use two different answers in your fallback :</a:t>
            </a:r>
          </a:p>
          <a:p>
            <a:pPr marL="285750" indent="-285750">
              <a:buClr>
                <a:schemeClr val="accent2"/>
              </a:buClr>
              <a:buFont typeface="Arial" panose="020B0604020202020204" pitchFamily="34" charset="0"/>
              <a:buChar char="•"/>
            </a:pPr>
            <a:r>
              <a:rPr lang="en-US" sz="1450" dirty="0"/>
              <a:t>A specific “silence” answer</a:t>
            </a:r>
          </a:p>
          <a:p>
            <a:pPr marL="285750" indent="-285750">
              <a:buClr>
                <a:schemeClr val="accent2"/>
              </a:buClr>
              <a:buFont typeface="Arial" panose="020B0604020202020204" pitchFamily="34" charset="0"/>
              <a:buChar char="•"/>
            </a:pPr>
            <a:r>
              <a:rPr lang="en-US" sz="1450" dirty="0"/>
              <a:t>A default answer, in case of no understanding.</a:t>
            </a:r>
            <a:endParaRPr lang="en-US" dirty="0"/>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859872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76CBC3-5F3A-4F22-9F4C-FDD44002705D}"/>
              </a:ext>
            </a:extLst>
          </p:cNvPr>
          <p:cNvSpPr>
            <a:spLocks noGrp="1"/>
          </p:cNvSpPr>
          <p:nvPr>
            <p:ph type="title"/>
          </p:nvPr>
        </p:nvSpPr>
        <p:spPr/>
        <p:txBody>
          <a:bodyPr/>
          <a:lstStyle/>
          <a:p>
            <a:r>
              <a:rPr lang="fr-FR" dirty="0"/>
              <a:t>End of conversation</a:t>
            </a:r>
          </a:p>
        </p:txBody>
      </p:sp>
      <p:sp>
        <p:nvSpPr>
          <p:cNvPr id="3" name="Text Placeholder 16">
            <a:extLst>
              <a:ext uri="{FF2B5EF4-FFF2-40B4-BE49-F238E27FC236}">
                <a16:creationId xmlns:a16="http://schemas.microsoft.com/office/drawing/2014/main" id="{01DA068C-74C8-466E-ADAF-77F2C631EB79}"/>
              </a:ext>
            </a:extLst>
          </p:cNvPr>
          <p:cNvSpPr txBox="1">
            <a:spLocks/>
          </p:cNvSpPr>
          <p:nvPr/>
        </p:nvSpPr>
        <p:spPr>
          <a:xfrm>
            <a:off x="495591" y="697173"/>
            <a:ext cx="8100419" cy="3642569"/>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pPr marL="285750" indent="-285750">
              <a:buClr>
                <a:schemeClr val="accent2"/>
              </a:buClr>
              <a:buFont typeface="Arial" panose="020B0604020202020204" pitchFamily="34" charset="0"/>
              <a:buChar char="•"/>
            </a:pPr>
            <a:r>
              <a:rPr lang="en-US" dirty="0"/>
              <a:t>“End of conversation” + “=skill=“ in the response :</a:t>
            </a:r>
          </a:p>
          <a:p>
            <a:pPr marL="690563" lvl="1" indent="-285750">
              <a:buClr>
                <a:schemeClr val="accent2"/>
              </a:buClr>
            </a:pPr>
            <a:r>
              <a:rPr lang="en-US" dirty="0"/>
              <a:t>Concierge vocalize the answer (without “=skill”)</a:t>
            </a:r>
          </a:p>
          <a:p>
            <a:pPr marL="690563" lvl="1" indent="-285750">
              <a:buClr>
                <a:schemeClr val="accent2"/>
              </a:buClr>
            </a:pPr>
            <a:r>
              <a:rPr lang="en-US" dirty="0"/>
              <a:t>Concierge transfer to an agent with the skill “skill”</a:t>
            </a:r>
          </a:p>
          <a:p>
            <a:pPr marL="690563" lvl="1" indent="-285750"/>
            <a:endParaRPr lang="en-US" dirty="0"/>
          </a:p>
          <a:p>
            <a:pPr marL="690563" lvl="1" indent="-285750"/>
            <a:endParaRPr lang="en-US" dirty="0"/>
          </a:p>
          <a:p>
            <a:pPr marL="690563" lvl="1" indent="-285750"/>
            <a:endParaRPr lang="en-US" dirty="0"/>
          </a:p>
          <a:p>
            <a:pPr marL="690563" lvl="1" indent="-285750"/>
            <a:endParaRPr lang="en-US" dirty="0"/>
          </a:p>
          <a:p>
            <a:pPr marL="690563" lvl="1" indent="-285750"/>
            <a:endParaRPr lang="en-US" dirty="0"/>
          </a:p>
          <a:p>
            <a:pPr marL="690563" lvl="1" indent="-285750"/>
            <a:endParaRPr lang="en-US" dirty="0"/>
          </a:p>
          <a:p>
            <a:pPr marL="285750" indent="-285750">
              <a:buClr>
                <a:schemeClr val="accent2"/>
              </a:buClr>
              <a:buFont typeface="Arial" panose="020B0604020202020204" pitchFamily="34" charset="0"/>
              <a:buChar char="•"/>
            </a:pPr>
            <a:r>
              <a:rPr lang="en-US" dirty="0"/>
              <a:t>“End of conversation”, without any skill</a:t>
            </a:r>
          </a:p>
          <a:p>
            <a:pPr marL="690563" lvl="1" indent="-285750">
              <a:buClr>
                <a:schemeClr val="accent2"/>
              </a:buClr>
            </a:pPr>
            <a:r>
              <a:rPr lang="en-US" dirty="0"/>
              <a:t>Concierge vocalize the good bye text</a:t>
            </a:r>
          </a:p>
          <a:p>
            <a:pPr marL="690563" lvl="1" indent="-285750"/>
            <a:endParaRPr lang="en-US" dirty="0"/>
          </a:p>
          <a:p>
            <a:pPr marL="690563" lvl="1" indent="-285750"/>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sz="1600" dirty="0"/>
          </a:p>
        </p:txBody>
      </p:sp>
      <p:pic>
        <p:nvPicPr>
          <p:cNvPr id="4" name="Image 3">
            <a:extLst>
              <a:ext uri="{FF2B5EF4-FFF2-40B4-BE49-F238E27FC236}">
                <a16:creationId xmlns:a16="http://schemas.microsoft.com/office/drawing/2014/main" id="{8D518DBD-3270-465E-AF3C-45F7077FA975}"/>
              </a:ext>
            </a:extLst>
          </p:cNvPr>
          <p:cNvPicPr>
            <a:picLocks noChangeAspect="1"/>
          </p:cNvPicPr>
          <p:nvPr/>
        </p:nvPicPr>
        <p:blipFill>
          <a:blip r:embed="rId2"/>
          <a:stretch>
            <a:fillRect/>
          </a:stretch>
        </p:blipFill>
        <p:spPr>
          <a:xfrm>
            <a:off x="893617" y="1907573"/>
            <a:ext cx="7221683" cy="988915"/>
          </a:xfrm>
          <a:prstGeom prst="rect">
            <a:avLst/>
          </a:prstGeom>
        </p:spPr>
      </p:pic>
    </p:spTree>
    <p:extLst>
      <p:ext uri="{BB962C8B-B14F-4D97-AF65-F5344CB8AC3E}">
        <p14:creationId xmlns:p14="http://schemas.microsoft.com/office/powerpoint/2010/main" val="1651084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llipse 5">
            <a:extLst>
              <a:ext uri="{FF2B5EF4-FFF2-40B4-BE49-F238E27FC236}">
                <a16:creationId xmlns:a16="http://schemas.microsoft.com/office/drawing/2014/main" id="{0C04EDAC-5594-49D9-A348-ADF93F2EC4EE}"/>
              </a:ext>
            </a:extLst>
          </p:cNvPr>
          <p:cNvSpPr/>
          <p:nvPr/>
        </p:nvSpPr>
        <p:spPr>
          <a:xfrm>
            <a:off x="3418087" y="1021162"/>
            <a:ext cx="5311361" cy="5254433"/>
          </a:xfrm>
          <a:prstGeom prst="ellipse">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A58C9069-A253-0946-846F-2D00A4204D95}"/>
              </a:ext>
            </a:extLst>
          </p:cNvPr>
          <p:cNvSpPr>
            <a:spLocks noGrp="1"/>
          </p:cNvSpPr>
          <p:nvPr>
            <p:ph type="title"/>
          </p:nvPr>
        </p:nvSpPr>
        <p:spPr/>
        <p:txBody>
          <a:bodyPr/>
          <a:lstStyle/>
          <a:p>
            <a:r>
              <a:rPr lang="en-US" dirty="0" err="1"/>
              <a:t>Dialogflow</a:t>
            </a:r>
            <a:br>
              <a:rPr lang="en-US" dirty="0"/>
            </a:br>
            <a:r>
              <a:rPr lang="en-US" dirty="0"/>
              <a:t>Training</a:t>
            </a:r>
          </a:p>
        </p:txBody>
      </p:sp>
      <p:sp>
        <p:nvSpPr>
          <p:cNvPr id="3" name="Text Placeholder 2">
            <a:extLst>
              <a:ext uri="{FF2B5EF4-FFF2-40B4-BE49-F238E27FC236}">
                <a16:creationId xmlns:a16="http://schemas.microsoft.com/office/drawing/2014/main" id="{F52F02E1-A4DC-B244-BCC1-26DDC889B5C3}"/>
              </a:ext>
            </a:extLst>
          </p:cNvPr>
          <p:cNvSpPr>
            <a:spLocks noGrp="1"/>
          </p:cNvSpPr>
          <p:nvPr>
            <p:ph type="body" sz="quarter" idx="10"/>
          </p:nvPr>
        </p:nvSpPr>
        <p:spPr/>
        <p:txBody>
          <a:bodyPr/>
          <a:lstStyle/>
          <a:p>
            <a:r>
              <a:rPr lang="en-US" dirty="0"/>
              <a:t>Module 12 : Integration with Odigo</a:t>
            </a:r>
          </a:p>
        </p:txBody>
      </p:sp>
      <p:sp>
        <p:nvSpPr>
          <p:cNvPr id="7" name="Freeform 1">
            <a:extLst>
              <a:ext uri="{FF2B5EF4-FFF2-40B4-BE49-F238E27FC236}">
                <a16:creationId xmlns:a16="http://schemas.microsoft.com/office/drawing/2014/main" id="{C009C2CB-0D45-244B-8254-95D0D9E3683C}"/>
              </a:ext>
            </a:extLst>
          </p:cNvPr>
          <p:cNvSpPr>
            <a:spLocks noChangeArrowheads="1"/>
          </p:cNvSpPr>
          <p:nvPr/>
        </p:nvSpPr>
        <p:spPr bwMode="auto">
          <a:xfrm>
            <a:off x="6799803" y="0"/>
            <a:ext cx="2747583" cy="2612551"/>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408293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EEE4AB1-6BFC-4668-B1C0-F7460BB6D53B}"/>
              </a:ext>
            </a:extLst>
          </p:cNvPr>
          <p:cNvSpPr>
            <a:spLocks noGrp="1"/>
          </p:cNvSpPr>
          <p:nvPr>
            <p:ph type="title"/>
          </p:nvPr>
        </p:nvSpPr>
        <p:spPr/>
        <p:txBody>
          <a:bodyPr/>
          <a:lstStyle/>
          <a:p>
            <a:r>
              <a:rPr lang="fr-FR" dirty="0" err="1"/>
              <a:t>Sending</a:t>
            </a:r>
            <a:r>
              <a:rPr lang="fr-FR" dirty="0"/>
              <a:t> SMS </a:t>
            </a:r>
            <a:r>
              <a:rPr lang="fr-FR" dirty="0" err="1"/>
              <a:t>with</a:t>
            </a:r>
            <a:r>
              <a:rPr lang="fr-FR" dirty="0"/>
              <a:t> Odigo Campaign</a:t>
            </a:r>
          </a:p>
        </p:txBody>
      </p:sp>
      <p:sp>
        <p:nvSpPr>
          <p:cNvPr id="5" name="Text Placeholder 16">
            <a:extLst>
              <a:ext uri="{FF2B5EF4-FFF2-40B4-BE49-F238E27FC236}">
                <a16:creationId xmlns:a16="http://schemas.microsoft.com/office/drawing/2014/main" id="{EE2163ED-ED30-4427-BFB6-9714AEA76063}"/>
              </a:ext>
            </a:extLst>
          </p:cNvPr>
          <p:cNvSpPr txBox="1">
            <a:spLocks/>
          </p:cNvSpPr>
          <p:nvPr/>
        </p:nvSpPr>
        <p:spPr>
          <a:xfrm>
            <a:off x="495591" y="697173"/>
            <a:ext cx="8100419" cy="3642569"/>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pPr marL="285750" indent="-285750">
              <a:buClr>
                <a:schemeClr val="accent2"/>
              </a:buClr>
              <a:buFont typeface="Arial" panose="020B0604020202020204" pitchFamily="34" charset="0"/>
              <a:buChar char="•"/>
            </a:pPr>
            <a:r>
              <a:rPr lang="en-US" sz="1400" dirty="0"/>
              <a:t>Possibility of sending an SMS. </a:t>
            </a:r>
          </a:p>
          <a:p>
            <a:pPr marL="285750" indent="-285750">
              <a:buClr>
                <a:schemeClr val="accent2"/>
              </a:buClr>
              <a:buFont typeface="Arial" panose="020B0604020202020204" pitchFamily="34" charset="0"/>
              <a:buChar char="•"/>
            </a:pPr>
            <a:r>
              <a:rPr lang="en-US" sz="1400" dirty="0"/>
              <a:t>For testing : we have a demonstration Campaign account (not suitable for sending many SMS messages)</a:t>
            </a:r>
          </a:p>
          <a:p>
            <a:pPr marL="285750" indent="-285750">
              <a:buClr>
                <a:schemeClr val="accent2"/>
              </a:buClr>
              <a:buFont typeface="Arial" panose="020B0604020202020204" pitchFamily="34" charset="0"/>
              <a:buChar char="•"/>
            </a:pPr>
            <a:r>
              <a:rPr lang="en-US" sz="1400" dirty="0"/>
              <a:t>“</a:t>
            </a:r>
            <a:r>
              <a:rPr lang="en-US" sz="1400" dirty="0" err="1"/>
              <a:t>sMessage</a:t>
            </a:r>
            <a:r>
              <a:rPr lang="en-US" sz="1400" dirty="0"/>
              <a:t>” must be </a:t>
            </a:r>
            <a:r>
              <a:rPr lang="en-US" sz="1400" dirty="0" err="1"/>
              <a:t>url</a:t>
            </a:r>
            <a:r>
              <a:rPr lang="en-US" sz="1400" dirty="0"/>
              <a:t>-encode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sz="1600" dirty="0"/>
          </a:p>
        </p:txBody>
      </p:sp>
      <p:pic>
        <p:nvPicPr>
          <p:cNvPr id="4" name="Image 3">
            <a:extLst>
              <a:ext uri="{FF2B5EF4-FFF2-40B4-BE49-F238E27FC236}">
                <a16:creationId xmlns:a16="http://schemas.microsoft.com/office/drawing/2014/main" id="{1FB8B42B-49E1-48A7-BF48-6B23AC6205EB}"/>
              </a:ext>
            </a:extLst>
          </p:cNvPr>
          <p:cNvPicPr>
            <a:picLocks noChangeAspect="1"/>
          </p:cNvPicPr>
          <p:nvPr/>
        </p:nvPicPr>
        <p:blipFill>
          <a:blip r:embed="rId2"/>
          <a:stretch>
            <a:fillRect/>
          </a:stretch>
        </p:blipFill>
        <p:spPr>
          <a:xfrm>
            <a:off x="251902" y="2378906"/>
            <a:ext cx="8557051" cy="1960835"/>
          </a:xfrm>
          <a:prstGeom prst="rect">
            <a:avLst/>
          </a:prstGeom>
        </p:spPr>
      </p:pic>
    </p:spTree>
    <p:extLst>
      <p:ext uri="{BB962C8B-B14F-4D97-AF65-F5344CB8AC3E}">
        <p14:creationId xmlns:p14="http://schemas.microsoft.com/office/powerpoint/2010/main" val="1296816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71F2A30-0B24-411F-8CE6-71D8CFDE7A09}"/>
              </a:ext>
            </a:extLst>
          </p:cNvPr>
          <p:cNvSpPr>
            <a:spLocks noGrp="1"/>
          </p:cNvSpPr>
          <p:nvPr>
            <p:ph type="title"/>
          </p:nvPr>
        </p:nvSpPr>
        <p:spPr/>
        <p:txBody>
          <a:bodyPr/>
          <a:lstStyle/>
          <a:p>
            <a:r>
              <a:rPr lang="fr-FR" dirty="0" err="1"/>
              <a:t>Asking</a:t>
            </a:r>
            <a:r>
              <a:rPr lang="fr-FR" dirty="0"/>
              <a:t> a </a:t>
            </a:r>
            <a:r>
              <a:rPr lang="fr-FR" dirty="0" err="1"/>
              <a:t>callBack</a:t>
            </a:r>
            <a:endParaRPr lang="fr-FR" dirty="0"/>
          </a:p>
        </p:txBody>
      </p:sp>
      <p:pic>
        <p:nvPicPr>
          <p:cNvPr id="3" name="Image 2">
            <a:extLst>
              <a:ext uri="{FF2B5EF4-FFF2-40B4-BE49-F238E27FC236}">
                <a16:creationId xmlns:a16="http://schemas.microsoft.com/office/drawing/2014/main" id="{49200C44-814C-4877-920B-F4E1399469F6}"/>
              </a:ext>
            </a:extLst>
          </p:cNvPr>
          <p:cNvPicPr>
            <a:picLocks noChangeAspect="1"/>
          </p:cNvPicPr>
          <p:nvPr/>
        </p:nvPicPr>
        <p:blipFill>
          <a:blip r:embed="rId2"/>
          <a:stretch>
            <a:fillRect/>
          </a:stretch>
        </p:blipFill>
        <p:spPr>
          <a:xfrm>
            <a:off x="314105" y="981026"/>
            <a:ext cx="5919171" cy="3331848"/>
          </a:xfrm>
          <a:prstGeom prst="rect">
            <a:avLst/>
          </a:prstGeom>
        </p:spPr>
      </p:pic>
      <p:sp>
        <p:nvSpPr>
          <p:cNvPr id="4" name="Text Placeholder 16">
            <a:extLst>
              <a:ext uri="{FF2B5EF4-FFF2-40B4-BE49-F238E27FC236}">
                <a16:creationId xmlns:a16="http://schemas.microsoft.com/office/drawing/2014/main" id="{01E7BB01-2472-4593-A958-BF0B9F646D4B}"/>
              </a:ext>
            </a:extLst>
          </p:cNvPr>
          <p:cNvSpPr txBox="1">
            <a:spLocks/>
          </p:cNvSpPr>
          <p:nvPr/>
        </p:nvSpPr>
        <p:spPr>
          <a:xfrm>
            <a:off x="6393820" y="1074239"/>
            <a:ext cx="2502336" cy="2678466"/>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r>
              <a:rPr lang="en-US" dirty="0"/>
              <a:t>Parameters:</a:t>
            </a:r>
          </a:p>
          <a:p>
            <a:pPr marL="285750" indent="-285750">
              <a:buClr>
                <a:schemeClr val="accent2"/>
              </a:buClr>
              <a:buFont typeface="Arial" panose="020B0604020202020204" pitchFamily="34" charset="0"/>
              <a:buChar char="•"/>
            </a:pPr>
            <a:r>
              <a:rPr lang="en-US" dirty="0"/>
              <a:t>Phone number to call</a:t>
            </a:r>
          </a:p>
          <a:p>
            <a:pPr marL="285750" indent="-285750">
              <a:buClr>
                <a:schemeClr val="accent2"/>
              </a:buClr>
              <a:buFont typeface="Arial" panose="020B0604020202020204" pitchFamily="34" charset="0"/>
              <a:buChar char="•"/>
            </a:pPr>
            <a:r>
              <a:rPr lang="en-US" dirty="0"/>
              <a:t>Odigo Skill</a:t>
            </a:r>
          </a:p>
          <a:p>
            <a:pPr marL="285750" indent="-285750">
              <a:buClr>
                <a:schemeClr val="accent2"/>
              </a:buClr>
              <a:buFont typeface="Arial" panose="020B0604020202020204" pitchFamily="34" charset="0"/>
              <a:buChar char="•"/>
            </a:pPr>
            <a:r>
              <a:rPr lang="en-US" dirty="0"/>
              <a:t>Message to display on the consol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2581092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74DB22-090F-4760-A117-DB07FDAA44FC}"/>
              </a:ext>
            </a:extLst>
          </p:cNvPr>
          <p:cNvSpPr>
            <a:spLocks noGrp="1"/>
          </p:cNvSpPr>
          <p:nvPr>
            <p:ph type="title"/>
          </p:nvPr>
        </p:nvSpPr>
        <p:spPr>
          <a:xfrm>
            <a:off x="9526" y="1"/>
            <a:ext cx="5462006" cy="808037"/>
          </a:xfrm>
        </p:spPr>
        <p:txBody>
          <a:bodyPr/>
          <a:lstStyle/>
          <a:p>
            <a:r>
              <a:rPr lang="fr-FR" dirty="0"/>
              <a:t>Pricing Plans : </a:t>
            </a:r>
            <a:r>
              <a:rPr lang="fr-FR" dirty="0" err="1"/>
              <a:t>Dialogflow</a:t>
            </a:r>
            <a:r>
              <a:rPr lang="fr-FR" dirty="0"/>
              <a:t> CX</a:t>
            </a:r>
          </a:p>
        </p:txBody>
      </p:sp>
      <p:pic>
        <p:nvPicPr>
          <p:cNvPr id="4" name="Image 3">
            <a:extLst>
              <a:ext uri="{FF2B5EF4-FFF2-40B4-BE49-F238E27FC236}">
                <a16:creationId xmlns:a16="http://schemas.microsoft.com/office/drawing/2014/main" id="{33909D1D-DD09-46A9-AE61-B6BB46D0D0DA}"/>
              </a:ext>
            </a:extLst>
          </p:cNvPr>
          <p:cNvPicPr>
            <a:picLocks noChangeAspect="1"/>
          </p:cNvPicPr>
          <p:nvPr/>
        </p:nvPicPr>
        <p:blipFill>
          <a:blip r:embed="rId2"/>
          <a:stretch>
            <a:fillRect/>
          </a:stretch>
        </p:blipFill>
        <p:spPr>
          <a:xfrm>
            <a:off x="788020" y="621891"/>
            <a:ext cx="7273007" cy="4291150"/>
          </a:xfrm>
          <a:prstGeom prst="rect">
            <a:avLst/>
          </a:prstGeom>
        </p:spPr>
      </p:pic>
    </p:spTree>
    <p:extLst>
      <p:ext uri="{BB962C8B-B14F-4D97-AF65-F5344CB8AC3E}">
        <p14:creationId xmlns:p14="http://schemas.microsoft.com/office/powerpoint/2010/main" val="952581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EEE4AB1-6BFC-4668-B1C0-F7460BB6D53B}"/>
              </a:ext>
            </a:extLst>
          </p:cNvPr>
          <p:cNvSpPr>
            <a:spLocks noGrp="1"/>
          </p:cNvSpPr>
          <p:nvPr>
            <p:ph type="title"/>
          </p:nvPr>
        </p:nvSpPr>
        <p:spPr/>
        <p:txBody>
          <a:bodyPr/>
          <a:lstStyle/>
          <a:p>
            <a:r>
              <a:rPr lang="fr-FR" dirty="0" err="1"/>
              <a:t>Add</a:t>
            </a:r>
            <a:r>
              <a:rPr lang="fr-FR" dirty="0"/>
              <a:t> a conversation widget</a:t>
            </a:r>
          </a:p>
        </p:txBody>
      </p:sp>
      <p:sp>
        <p:nvSpPr>
          <p:cNvPr id="5" name="Text Placeholder 16">
            <a:extLst>
              <a:ext uri="{FF2B5EF4-FFF2-40B4-BE49-F238E27FC236}">
                <a16:creationId xmlns:a16="http://schemas.microsoft.com/office/drawing/2014/main" id="{EE2163ED-ED30-4427-BFB6-9714AEA76063}"/>
              </a:ext>
            </a:extLst>
          </p:cNvPr>
          <p:cNvSpPr txBox="1">
            <a:spLocks/>
          </p:cNvSpPr>
          <p:nvPr/>
        </p:nvSpPr>
        <p:spPr>
          <a:xfrm>
            <a:off x="870745" y="3747950"/>
            <a:ext cx="3225315" cy="907535"/>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200" dirty="0"/>
              <a:t>Each exchange (default / fallback / custom intent) is recorded in the context.</a:t>
            </a:r>
          </a:p>
          <a:p>
            <a:r>
              <a:rPr lang="en-US" sz="1200" dirty="0"/>
              <a:t>At the end of the conversation, the whole text is recorded (HTML).</a:t>
            </a:r>
          </a:p>
          <a:p>
            <a:pPr marL="285750" indent="-285750">
              <a:buFont typeface="Arial" panose="020B0604020202020204" pitchFamily="34" charset="0"/>
              <a:buChar char="•"/>
            </a:pPr>
            <a:endParaRPr lang="en-US" sz="1600" dirty="0"/>
          </a:p>
        </p:txBody>
      </p:sp>
      <p:sp>
        <p:nvSpPr>
          <p:cNvPr id="6" name="Bulle narrative : rectangle 5">
            <a:extLst>
              <a:ext uri="{FF2B5EF4-FFF2-40B4-BE49-F238E27FC236}">
                <a16:creationId xmlns:a16="http://schemas.microsoft.com/office/drawing/2014/main" id="{869811BA-C39B-4BDB-B550-3686AC2DB695}"/>
              </a:ext>
            </a:extLst>
          </p:cNvPr>
          <p:cNvSpPr/>
          <p:nvPr/>
        </p:nvSpPr>
        <p:spPr>
          <a:xfrm>
            <a:off x="1159999" y="941782"/>
            <a:ext cx="495591" cy="260122"/>
          </a:xfrm>
          <a:prstGeom prst="wedgeRectCallout">
            <a:avLst>
              <a:gd name="adj1" fmla="val -54837"/>
              <a:gd name="adj2" fmla="val -236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1</a:t>
            </a:r>
          </a:p>
        </p:txBody>
      </p:sp>
      <p:sp>
        <p:nvSpPr>
          <p:cNvPr id="4" name="Rectangle 3">
            <a:extLst>
              <a:ext uri="{FF2B5EF4-FFF2-40B4-BE49-F238E27FC236}">
                <a16:creationId xmlns:a16="http://schemas.microsoft.com/office/drawing/2014/main" id="{25549291-7470-4D3B-8678-4A48717C05F5}"/>
              </a:ext>
            </a:extLst>
          </p:cNvPr>
          <p:cNvSpPr/>
          <p:nvPr/>
        </p:nvSpPr>
        <p:spPr>
          <a:xfrm>
            <a:off x="928361" y="746877"/>
            <a:ext cx="3167699" cy="2887191"/>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Bulle narrative : rectangle 7">
            <a:extLst>
              <a:ext uri="{FF2B5EF4-FFF2-40B4-BE49-F238E27FC236}">
                <a16:creationId xmlns:a16="http://schemas.microsoft.com/office/drawing/2014/main" id="{059B8201-BF1E-4B6B-BEDF-7888A01532A6}"/>
              </a:ext>
            </a:extLst>
          </p:cNvPr>
          <p:cNvSpPr/>
          <p:nvPr/>
        </p:nvSpPr>
        <p:spPr>
          <a:xfrm>
            <a:off x="1347253" y="1266206"/>
            <a:ext cx="473848" cy="260122"/>
          </a:xfrm>
          <a:prstGeom prst="wedgeRectCallout">
            <a:avLst>
              <a:gd name="adj1" fmla="val 53696"/>
              <a:gd name="adj2" fmla="val -25604"/>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fr-FR" sz="1200" dirty="0">
                <a:solidFill>
                  <a:schemeClr val="bg1"/>
                </a:solidFill>
              </a:rPr>
              <a:t>2</a:t>
            </a:r>
          </a:p>
        </p:txBody>
      </p:sp>
      <p:sp>
        <p:nvSpPr>
          <p:cNvPr id="9" name="Bulle narrative : rectangle 8">
            <a:extLst>
              <a:ext uri="{FF2B5EF4-FFF2-40B4-BE49-F238E27FC236}">
                <a16:creationId xmlns:a16="http://schemas.microsoft.com/office/drawing/2014/main" id="{24D62597-C076-443B-BEC9-70083A50F63F}"/>
              </a:ext>
            </a:extLst>
          </p:cNvPr>
          <p:cNvSpPr/>
          <p:nvPr/>
        </p:nvSpPr>
        <p:spPr>
          <a:xfrm>
            <a:off x="1159998" y="1590629"/>
            <a:ext cx="495591" cy="260122"/>
          </a:xfrm>
          <a:prstGeom prst="wedgeRectCallout">
            <a:avLst>
              <a:gd name="adj1" fmla="val -54837"/>
              <a:gd name="adj2" fmla="val -236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3</a:t>
            </a:r>
          </a:p>
        </p:txBody>
      </p:sp>
      <p:sp>
        <p:nvSpPr>
          <p:cNvPr id="10" name="Bulle narrative : rectangle 9">
            <a:extLst>
              <a:ext uri="{FF2B5EF4-FFF2-40B4-BE49-F238E27FC236}">
                <a16:creationId xmlns:a16="http://schemas.microsoft.com/office/drawing/2014/main" id="{7D8B23A2-229C-464E-B76E-0060826DFEC2}"/>
              </a:ext>
            </a:extLst>
          </p:cNvPr>
          <p:cNvSpPr/>
          <p:nvPr/>
        </p:nvSpPr>
        <p:spPr>
          <a:xfrm>
            <a:off x="1347253" y="1920245"/>
            <a:ext cx="473848" cy="260122"/>
          </a:xfrm>
          <a:prstGeom prst="wedgeRectCallout">
            <a:avLst>
              <a:gd name="adj1" fmla="val 53696"/>
              <a:gd name="adj2" fmla="val -25604"/>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fr-FR" sz="1200" dirty="0">
                <a:solidFill>
                  <a:schemeClr val="bg1"/>
                </a:solidFill>
              </a:rPr>
              <a:t>4</a:t>
            </a:r>
          </a:p>
        </p:txBody>
      </p:sp>
      <p:sp>
        <p:nvSpPr>
          <p:cNvPr id="12" name="Cylindre 11">
            <a:extLst>
              <a:ext uri="{FF2B5EF4-FFF2-40B4-BE49-F238E27FC236}">
                <a16:creationId xmlns:a16="http://schemas.microsoft.com/office/drawing/2014/main" id="{40E0A7FF-6970-4BED-A863-D6E70B79FC8A}"/>
              </a:ext>
            </a:extLst>
          </p:cNvPr>
          <p:cNvSpPr/>
          <p:nvPr/>
        </p:nvSpPr>
        <p:spPr>
          <a:xfrm>
            <a:off x="2954479" y="910829"/>
            <a:ext cx="817834" cy="1384714"/>
          </a:xfrm>
          <a:prstGeom prst="ca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dirty="0" err="1"/>
              <a:t>Firebase</a:t>
            </a:r>
            <a:r>
              <a:rPr lang="fr-FR" sz="1050" dirty="0"/>
              <a:t> </a:t>
            </a:r>
            <a:r>
              <a:rPr lang="fr-FR" sz="1050" dirty="0" err="1"/>
              <a:t>Database</a:t>
            </a:r>
            <a:endParaRPr lang="fr-FR" sz="1050" dirty="0"/>
          </a:p>
        </p:txBody>
      </p:sp>
      <p:cxnSp>
        <p:nvCxnSpPr>
          <p:cNvPr id="13" name="Connecteur droit avec flèche 12">
            <a:extLst>
              <a:ext uri="{FF2B5EF4-FFF2-40B4-BE49-F238E27FC236}">
                <a16:creationId xmlns:a16="http://schemas.microsoft.com/office/drawing/2014/main" id="{AA024965-0BF3-40CF-8B1B-E8A4954BE179}"/>
              </a:ext>
            </a:extLst>
          </p:cNvPr>
          <p:cNvCxnSpPr>
            <a:cxnSpLocks/>
          </p:cNvCxnSpPr>
          <p:nvPr/>
        </p:nvCxnSpPr>
        <p:spPr>
          <a:xfrm flipH="1">
            <a:off x="1944668" y="2180367"/>
            <a:ext cx="817834" cy="0"/>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16" name="Text Placeholder 16">
            <a:extLst>
              <a:ext uri="{FF2B5EF4-FFF2-40B4-BE49-F238E27FC236}">
                <a16:creationId xmlns:a16="http://schemas.microsoft.com/office/drawing/2014/main" id="{C02A460B-F055-4541-ADC4-94FB1459A690}"/>
              </a:ext>
            </a:extLst>
          </p:cNvPr>
          <p:cNvSpPr txBox="1">
            <a:spLocks/>
          </p:cNvSpPr>
          <p:nvPr/>
        </p:nvSpPr>
        <p:spPr>
          <a:xfrm>
            <a:off x="1620668" y="2235537"/>
            <a:ext cx="1465833" cy="1097425"/>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1200" dirty="0"/>
              <a:t>end of conversation</a:t>
            </a:r>
          </a:p>
          <a:p>
            <a:pPr algn="ctr"/>
            <a:r>
              <a:rPr lang="en-US" sz="1200" dirty="0"/>
              <a:t>(key= phone number)</a:t>
            </a:r>
          </a:p>
        </p:txBody>
      </p:sp>
      <p:sp>
        <p:nvSpPr>
          <p:cNvPr id="18" name="Rectangle 17">
            <a:extLst>
              <a:ext uri="{FF2B5EF4-FFF2-40B4-BE49-F238E27FC236}">
                <a16:creationId xmlns:a16="http://schemas.microsoft.com/office/drawing/2014/main" id="{B471F1F2-7637-4398-92A1-FF165DF7F46E}"/>
              </a:ext>
            </a:extLst>
          </p:cNvPr>
          <p:cNvSpPr/>
          <p:nvPr/>
        </p:nvSpPr>
        <p:spPr>
          <a:xfrm>
            <a:off x="5290956" y="736771"/>
            <a:ext cx="3167699" cy="2887191"/>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9" name="Connecteur droit avec flèche 18">
            <a:extLst>
              <a:ext uri="{FF2B5EF4-FFF2-40B4-BE49-F238E27FC236}">
                <a16:creationId xmlns:a16="http://schemas.microsoft.com/office/drawing/2014/main" id="{F2629953-2837-4394-A751-383EEB02E76B}"/>
              </a:ext>
            </a:extLst>
          </p:cNvPr>
          <p:cNvCxnSpPr>
            <a:cxnSpLocks/>
          </p:cNvCxnSpPr>
          <p:nvPr/>
        </p:nvCxnSpPr>
        <p:spPr>
          <a:xfrm flipH="1">
            <a:off x="4302796" y="2160821"/>
            <a:ext cx="817834" cy="0"/>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20" name="Text Placeholder 16">
            <a:extLst>
              <a:ext uri="{FF2B5EF4-FFF2-40B4-BE49-F238E27FC236}">
                <a16:creationId xmlns:a16="http://schemas.microsoft.com/office/drawing/2014/main" id="{6B07AAB0-94BE-40A2-8EF6-FBF1C0F4F9CE}"/>
              </a:ext>
            </a:extLst>
          </p:cNvPr>
          <p:cNvSpPr txBox="1">
            <a:spLocks/>
          </p:cNvSpPr>
          <p:nvPr/>
        </p:nvSpPr>
        <p:spPr>
          <a:xfrm>
            <a:off x="3959210" y="2193369"/>
            <a:ext cx="1465833" cy="1097425"/>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1450" dirty="0"/>
              <a:t>Transfer / Callback / Search</a:t>
            </a:r>
            <a:endParaRPr lang="en-US" sz="1600" dirty="0"/>
          </a:p>
        </p:txBody>
      </p:sp>
      <p:sp>
        <p:nvSpPr>
          <p:cNvPr id="22" name="Organigramme : Carte perforée 21">
            <a:extLst>
              <a:ext uri="{FF2B5EF4-FFF2-40B4-BE49-F238E27FC236}">
                <a16:creationId xmlns:a16="http://schemas.microsoft.com/office/drawing/2014/main" id="{14FB0CE2-EF71-4064-A63F-E85683951C78}"/>
              </a:ext>
            </a:extLst>
          </p:cNvPr>
          <p:cNvSpPr/>
          <p:nvPr/>
        </p:nvSpPr>
        <p:spPr>
          <a:xfrm>
            <a:off x="7636184" y="872064"/>
            <a:ext cx="695633" cy="639458"/>
          </a:xfrm>
          <a:prstGeom prst="flowChartPunchedCard">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t>&lt;html&gt;…</a:t>
            </a:r>
          </a:p>
          <a:p>
            <a:pPr algn="ctr"/>
            <a:r>
              <a:rPr lang="fr-FR" sz="900" dirty="0"/>
              <a:t>&lt;/html&gt;</a:t>
            </a:r>
          </a:p>
        </p:txBody>
      </p:sp>
      <p:pic>
        <p:nvPicPr>
          <p:cNvPr id="23" name="Image 22">
            <a:extLst>
              <a:ext uri="{FF2B5EF4-FFF2-40B4-BE49-F238E27FC236}">
                <a16:creationId xmlns:a16="http://schemas.microsoft.com/office/drawing/2014/main" id="{4EFA3D91-6EEB-4A7C-9F39-64CD04BB73B2}"/>
              </a:ext>
            </a:extLst>
          </p:cNvPr>
          <p:cNvPicPr>
            <a:picLocks noChangeAspect="1"/>
          </p:cNvPicPr>
          <p:nvPr/>
        </p:nvPicPr>
        <p:blipFill>
          <a:blip r:embed="rId2"/>
          <a:stretch>
            <a:fillRect/>
          </a:stretch>
        </p:blipFill>
        <p:spPr>
          <a:xfrm>
            <a:off x="5617812" y="2192741"/>
            <a:ext cx="2575676" cy="1259667"/>
          </a:xfrm>
          <a:prstGeom prst="rect">
            <a:avLst/>
          </a:prstGeom>
        </p:spPr>
      </p:pic>
      <p:cxnSp>
        <p:nvCxnSpPr>
          <p:cNvPr id="24" name="Connecteur droit avec flèche 23">
            <a:extLst>
              <a:ext uri="{FF2B5EF4-FFF2-40B4-BE49-F238E27FC236}">
                <a16:creationId xmlns:a16="http://schemas.microsoft.com/office/drawing/2014/main" id="{DDEFC18B-89E9-455A-A8DC-7F6AEC21F439}"/>
              </a:ext>
            </a:extLst>
          </p:cNvPr>
          <p:cNvCxnSpPr>
            <a:cxnSpLocks/>
            <a:stCxn id="22" idx="2"/>
          </p:cNvCxnSpPr>
          <p:nvPr/>
        </p:nvCxnSpPr>
        <p:spPr>
          <a:xfrm flipH="1">
            <a:off x="7984000" y="1511522"/>
            <a:ext cx="1" cy="668844"/>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27" name="Text Placeholder 16">
            <a:extLst>
              <a:ext uri="{FF2B5EF4-FFF2-40B4-BE49-F238E27FC236}">
                <a16:creationId xmlns:a16="http://schemas.microsoft.com/office/drawing/2014/main" id="{80B0263A-E1E9-40FF-A8AE-72A6CF656A31}"/>
              </a:ext>
            </a:extLst>
          </p:cNvPr>
          <p:cNvSpPr txBox="1">
            <a:spLocks/>
          </p:cNvSpPr>
          <p:nvPr/>
        </p:nvSpPr>
        <p:spPr>
          <a:xfrm>
            <a:off x="5388139" y="1599488"/>
            <a:ext cx="2498510" cy="421699"/>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1200" dirty="0"/>
              <a:t>https://rules.prosodie.com/assets/voice_chat/conversations_V2.html?BSN=0683206134</a:t>
            </a:r>
          </a:p>
        </p:txBody>
      </p:sp>
      <p:cxnSp>
        <p:nvCxnSpPr>
          <p:cNvPr id="29" name="Connecteur droit avec flèche 28">
            <a:extLst>
              <a:ext uri="{FF2B5EF4-FFF2-40B4-BE49-F238E27FC236}">
                <a16:creationId xmlns:a16="http://schemas.microsoft.com/office/drawing/2014/main" id="{74014CC2-EA89-446B-BE05-CD58D62F1042}"/>
              </a:ext>
            </a:extLst>
          </p:cNvPr>
          <p:cNvCxnSpPr>
            <a:cxnSpLocks/>
          </p:cNvCxnSpPr>
          <p:nvPr/>
        </p:nvCxnSpPr>
        <p:spPr>
          <a:xfrm>
            <a:off x="3854384" y="1081301"/>
            <a:ext cx="3654962" cy="0"/>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31" name="Text Placeholder 16">
            <a:extLst>
              <a:ext uri="{FF2B5EF4-FFF2-40B4-BE49-F238E27FC236}">
                <a16:creationId xmlns:a16="http://schemas.microsoft.com/office/drawing/2014/main" id="{A8297B7E-E348-4DB8-9804-5340526B21BA}"/>
              </a:ext>
            </a:extLst>
          </p:cNvPr>
          <p:cNvSpPr txBox="1">
            <a:spLocks/>
          </p:cNvSpPr>
          <p:nvPr/>
        </p:nvSpPr>
        <p:spPr>
          <a:xfrm>
            <a:off x="4865553" y="820413"/>
            <a:ext cx="2498510" cy="421699"/>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1200" dirty="0" err="1"/>
              <a:t>XMLHttpRequest</a:t>
            </a:r>
            <a:r>
              <a:rPr lang="en-US" sz="1200" dirty="0"/>
              <a:t>()</a:t>
            </a:r>
          </a:p>
        </p:txBody>
      </p:sp>
      <p:cxnSp>
        <p:nvCxnSpPr>
          <p:cNvPr id="32" name="Connecteur droit avec flèche 31">
            <a:extLst>
              <a:ext uri="{FF2B5EF4-FFF2-40B4-BE49-F238E27FC236}">
                <a16:creationId xmlns:a16="http://schemas.microsoft.com/office/drawing/2014/main" id="{F0824354-96E1-4F5C-B400-AC996A053A4A}"/>
              </a:ext>
            </a:extLst>
          </p:cNvPr>
          <p:cNvCxnSpPr>
            <a:cxnSpLocks/>
          </p:cNvCxnSpPr>
          <p:nvPr/>
        </p:nvCxnSpPr>
        <p:spPr>
          <a:xfrm flipH="1">
            <a:off x="3899151" y="1242112"/>
            <a:ext cx="3660354" cy="0"/>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35" name="Text Placeholder 16">
            <a:extLst>
              <a:ext uri="{FF2B5EF4-FFF2-40B4-BE49-F238E27FC236}">
                <a16:creationId xmlns:a16="http://schemas.microsoft.com/office/drawing/2014/main" id="{E704FD11-9F40-462E-A302-3F198C25511E}"/>
              </a:ext>
            </a:extLst>
          </p:cNvPr>
          <p:cNvSpPr txBox="1">
            <a:spLocks/>
          </p:cNvSpPr>
          <p:nvPr/>
        </p:nvSpPr>
        <p:spPr>
          <a:xfrm>
            <a:off x="3486275" y="1281241"/>
            <a:ext cx="2498510" cy="421699"/>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1200" dirty="0"/>
              <a:t>HTML</a:t>
            </a:r>
          </a:p>
        </p:txBody>
      </p:sp>
      <p:sp>
        <p:nvSpPr>
          <p:cNvPr id="36" name="Text Placeholder 16">
            <a:extLst>
              <a:ext uri="{FF2B5EF4-FFF2-40B4-BE49-F238E27FC236}">
                <a16:creationId xmlns:a16="http://schemas.microsoft.com/office/drawing/2014/main" id="{F89FD13D-7847-4EB3-8A21-CAE38DA1AC30}"/>
              </a:ext>
            </a:extLst>
          </p:cNvPr>
          <p:cNvSpPr txBox="1">
            <a:spLocks/>
          </p:cNvSpPr>
          <p:nvPr/>
        </p:nvSpPr>
        <p:spPr>
          <a:xfrm>
            <a:off x="5290956" y="3747950"/>
            <a:ext cx="3225315" cy="907535"/>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200" dirty="0"/>
              <a:t>The widget is an HTML page :</a:t>
            </a:r>
          </a:p>
          <a:p>
            <a:pPr marL="171450" indent="-171450">
              <a:buFont typeface="Arial" panose="020B0604020202020204" pitchFamily="34" charset="0"/>
              <a:buChar char="•"/>
            </a:pPr>
            <a:r>
              <a:rPr lang="en-US" sz="1200" dirty="0"/>
              <a:t>https//rules.prosodie.com/explorer</a:t>
            </a:r>
          </a:p>
          <a:p>
            <a:pPr marL="171450" indent="-171450">
              <a:buFont typeface="Arial" panose="020B0604020202020204" pitchFamily="34" charset="0"/>
              <a:buChar char="•"/>
            </a:pPr>
            <a:r>
              <a:rPr lang="en-US" sz="1200" dirty="0"/>
              <a:t>https://rules.prosodie.com/assets</a:t>
            </a:r>
          </a:p>
          <a:p>
            <a:pPr marL="171450" indent="-171450">
              <a:buFont typeface="Arial" panose="020B0604020202020204" pitchFamily="34" charset="0"/>
              <a:buChar char="•"/>
            </a:pPr>
            <a:endParaRPr lang="en-US" sz="1200" dirty="0"/>
          </a:p>
          <a:p>
            <a:pPr marL="285750" indent="-285750">
              <a:buFont typeface="Arial" panose="020B0604020202020204" pitchFamily="34" charset="0"/>
              <a:buChar char="•"/>
            </a:pPr>
            <a:endParaRPr lang="en-US" sz="1600" dirty="0"/>
          </a:p>
        </p:txBody>
      </p:sp>
      <p:sp>
        <p:nvSpPr>
          <p:cNvPr id="37" name="Ellipse 36">
            <a:extLst>
              <a:ext uri="{FF2B5EF4-FFF2-40B4-BE49-F238E27FC236}">
                <a16:creationId xmlns:a16="http://schemas.microsoft.com/office/drawing/2014/main" id="{9D86F99B-E720-4259-930F-F86678F1CAB5}"/>
              </a:ext>
            </a:extLst>
          </p:cNvPr>
          <p:cNvSpPr/>
          <p:nvPr/>
        </p:nvSpPr>
        <p:spPr>
          <a:xfrm>
            <a:off x="7559505" y="2207951"/>
            <a:ext cx="862914" cy="1310046"/>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505206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EEE4AB1-6BFC-4668-B1C0-F7460BB6D53B}"/>
              </a:ext>
            </a:extLst>
          </p:cNvPr>
          <p:cNvSpPr>
            <a:spLocks noGrp="1"/>
          </p:cNvSpPr>
          <p:nvPr>
            <p:ph type="title"/>
          </p:nvPr>
        </p:nvSpPr>
        <p:spPr/>
        <p:txBody>
          <a:bodyPr/>
          <a:lstStyle/>
          <a:p>
            <a:r>
              <a:rPr lang="fr-FR" dirty="0" err="1"/>
              <a:t>Add</a:t>
            </a:r>
            <a:r>
              <a:rPr lang="fr-FR" dirty="0"/>
              <a:t> a conversation widget</a:t>
            </a:r>
          </a:p>
        </p:txBody>
      </p:sp>
      <p:sp>
        <p:nvSpPr>
          <p:cNvPr id="5" name="Text Placeholder 16">
            <a:extLst>
              <a:ext uri="{FF2B5EF4-FFF2-40B4-BE49-F238E27FC236}">
                <a16:creationId xmlns:a16="http://schemas.microsoft.com/office/drawing/2014/main" id="{EE2163ED-ED30-4427-BFB6-9714AEA76063}"/>
              </a:ext>
            </a:extLst>
          </p:cNvPr>
          <p:cNvSpPr txBox="1">
            <a:spLocks/>
          </p:cNvSpPr>
          <p:nvPr/>
        </p:nvSpPr>
        <p:spPr>
          <a:xfrm>
            <a:off x="830638" y="641332"/>
            <a:ext cx="8100419" cy="3642569"/>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pPr marL="285750" indent="-285750">
              <a:buClr>
                <a:schemeClr val="accent2"/>
              </a:buClr>
              <a:buFont typeface="Arial" panose="020B0604020202020204" pitchFamily="34" charset="0"/>
              <a:buChar char="•"/>
            </a:pPr>
            <a:r>
              <a:rPr lang="en-US" sz="1400" dirty="0"/>
              <a:t>Each intent must have a fulfillment</a:t>
            </a:r>
          </a:p>
          <a:p>
            <a:pPr marL="285750" indent="-285750">
              <a:buClr>
                <a:schemeClr val="accent2"/>
              </a:buClr>
              <a:buFont typeface="Arial" panose="020B0604020202020204" pitchFamily="34" charset="0"/>
              <a:buChar char="•"/>
            </a:pPr>
            <a:r>
              <a:rPr lang="en-US" sz="1400" dirty="0"/>
              <a:t>Each function must use the “</a:t>
            </a:r>
            <a:r>
              <a:rPr lang="en-US" sz="1400" i="1" dirty="0" err="1"/>
              <a:t>traite_Echange</a:t>
            </a:r>
            <a:r>
              <a:rPr lang="en-US" sz="1400" dirty="0"/>
              <a:t>” function to respond to the user.</a:t>
            </a:r>
          </a:p>
          <a:p>
            <a:pPr marL="690563" lvl="1" indent="-285750"/>
            <a:r>
              <a:rPr lang="en-US" sz="1400" dirty="0"/>
              <a:t>This function answers AND records the dialog into Firebase Database</a:t>
            </a:r>
          </a:p>
          <a:p>
            <a:pPr marL="285750" indent="-285750">
              <a:buClr>
                <a:schemeClr val="accent2"/>
              </a:buClr>
              <a:buFont typeface="Arial" panose="020B0604020202020204" pitchFamily="34" charset="0"/>
              <a:buChar char="•"/>
            </a:pPr>
            <a:r>
              <a:rPr lang="en-US" sz="1400" dirty="0"/>
              <a:t>Do not use “</a:t>
            </a:r>
            <a:r>
              <a:rPr lang="en-US" sz="1400" dirty="0" err="1"/>
              <a:t>agent.add</a:t>
            </a:r>
            <a:r>
              <a:rPr lang="en-US" sz="1400" dirty="0"/>
              <a:t>()” directly</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Clr>
                <a:schemeClr val="accent2"/>
              </a:buClr>
              <a:buFont typeface="Arial" panose="020B0604020202020204" pitchFamily="34" charset="0"/>
              <a:buChar char="•"/>
            </a:pPr>
            <a:r>
              <a:rPr lang="en-US" sz="1400" i="1" dirty="0" err="1"/>
              <a:t>Traite_Echange</a:t>
            </a:r>
            <a:r>
              <a:rPr lang="en-US" sz="1400" i="1" dirty="0"/>
              <a:t> (agent, User query text, Response text, true=end of conversatio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sz="1600" dirty="0"/>
          </a:p>
        </p:txBody>
      </p:sp>
      <p:pic>
        <p:nvPicPr>
          <p:cNvPr id="3" name="Image 2">
            <a:extLst>
              <a:ext uri="{FF2B5EF4-FFF2-40B4-BE49-F238E27FC236}">
                <a16:creationId xmlns:a16="http://schemas.microsoft.com/office/drawing/2014/main" id="{23F350A2-57E0-4DBF-8BD9-7CA6BA99E717}"/>
              </a:ext>
            </a:extLst>
          </p:cNvPr>
          <p:cNvPicPr>
            <a:picLocks noChangeAspect="1"/>
          </p:cNvPicPr>
          <p:nvPr/>
        </p:nvPicPr>
        <p:blipFill>
          <a:blip r:embed="rId2"/>
          <a:stretch>
            <a:fillRect/>
          </a:stretch>
        </p:blipFill>
        <p:spPr>
          <a:xfrm>
            <a:off x="1391701" y="2293089"/>
            <a:ext cx="6867525" cy="1171575"/>
          </a:xfrm>
          <a:prstGeom prst="rect">
            <a:avLst/>
          </a:prstGeom>
        </p:spPr>
      </p:pic>
    </p:spTree>
    <p:extLst>
      <p:ext uri="{BB962C8B-B14F-4D97-AF65-F5344CB8AC3E}">
        <p14:creationId xmlns:p14="http://schemas.microsoft.com/office/powerpoint/2010/main" val="2808508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EEE4AB1-6BFC-4668-B1C0-F7460BB6D53B}"/>
              </a:ext>
            </a:extLst>
          </p:cNvPr>
          <p:cNvSpPr>
            <a:spLocks noGrp="1"/>
          </p:cNvSpPr>
          <p:nvPr>
            <p:ph type="title"/>
          </p:nvPr>
        </p:nvSpPr>
        <p:spPr/>
        <p:txBody>
          <a:bodyPr/>
          <a:lstStyle/>
          <a:p>
            <a:r>
              <a:rPr lang="fr-FR" dirty="0" err="1"/>
              <a:t>Add</a:t>
            </a:r>
            <a:r>
              <a:rPr lang="fr-FR" dirty="0"/>
              <a:t> a conversation widget</a:t>
            </a:r>
          </a:p>
        </p:txBody>
      </p:sp>
      <p:sp>
        <p:nvSpPr>
          <p:cNvPr id="5" name="Text Placeholder 16">
            <a:extLst>
              <a:ext uri="{FF2B5EF4-FFF2-40B4-BE49-F238E27FC236}">
                <a16:creationId xmlns:a16="http://schemas.microsoft.com/office/drawing/2014/main" id="{EE2163ED-ED30-4427-BFB6-9714AEA76063}"/>
              </a:ext>
            </a:extLst>
          </p:cNvPr>
          <p:cNvSpPr txBox="1">
            <a:spLocks/>
          </p:cNvSpPr>
          <p:nvPr/>
        </p:nvSpPr>
        <p:spPr>
          <a:xfrm>
            <a:off x="4471792" y="641332"/>
            <a:ext cx="4459265" cy="3642569"/>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pPr marL="285750" indent="-285750">
              <a:buClr>
                <a:schemeClr val="accent2"/>
              </a:buClr>
              <a:buFont typeface="Arial" panose="020B0604020202020204" pitchFamily="34" charset="0"/>
              <a:buChar char="•"/>
            </a:pPr>
            <a:r>
              <a:rPr lang="en-US" dirty="0"/>
              <a:t>In Firebase Realtime Database, the key is :</a:t>
            </a:r>
          </a:p>
          <a:p>
            <a:pPr algn="ctr"/>
            <a:r>
              <a:rPr lang="en-US" i="1" dirty="0"/>
              <a:t>conversations/</a:t>
            </a:r>
            <a:r>
              <a:rPr lang="en-US" i="1" dirty="0" err="1"/>
              <a:t>phone_number</a:t>
            </a:r>
            <a:r>
              <a:rPr lang="en-US" i="1" dirty="0"/>
              <a:t>/date</a:t>
            </a:r>
          </a:p>
          <a:p>
            <a:pPr algn="ctr"/>
            <a:endParaRPr lang="en-US" i="1" dirty="0"/>
          </a:p>
          <a:p>
            <a:pPr marL="285750" indent="-285750">
              <a:buClr>
                <a:schemeClr val="accent2"/>
              </a:buClr>
              <a:buFont typeface="Arial" panose="020B0604020202020204" pitchFamily="34" charset="0"/>
              <a:buChar char="•"/>
            </a:pPr>
            <a:r>
              <a:rPr lang="en-US" dirty="0"/>
              <a:t>For a demonstrations, add a “conversation widget” to each client used in Odigo Console</a:t>
            </a:r>
          </a:p>
          <a:p>
            <a:pPr marL="690563" lvl="1" indent="-285750"/>
            <a:r>
              <a:rPr lang="en-US" dirty="0"/>
              <a:t>The key is the customer’s phone number (</a:t>
            </a:r>
            <a:r>
              <a:rPr lang="en-US" dirty="0" err="1"/>
              <a:t>Bsn</a:t>
            </a:r>
            <a:r>
              <a:rPr lang="en-US" dirty="0"/>
              <a:t>)</a:t>
            </a:r>
          </a:p>
          <a:p>
            <a:pPr marL="285750" indent="-285750">
              <a:buFont typeface="Arial" panose="020B0604020202020204" pitchFamily="34" charset="0"/>
              <a:buChar char="•"/>
            </a:pPr>
            <a:endParaRPr lang="en-US" sz="1600" dirty="0"/>
          </a:p>
        </p:txBody>
      </p:sp>
      <p:pic>
        <p:nvPicPr>
          <p:cNvPr id="4" name="Image 3">
            <a:extLst>
              <a:ext uri="{FF2B5EF4-FFF2-40B4-BE49-F238E27FC236}">
                <a16:creationId xmlns:a16="http://schemas.microsoft.com/office/drawing/2014/main" id="{9A00A3E0-DDDB-415B-AE76-24768C6AD9FF}"/>
              </a:ext>
            </a:extLst>
          </p:cNvPr>
          <p:cNvPicPr>
            <a:picLocks noChangeAspect="1"/>
          </p:cNvPicPr>
          <p:nvPr/>
        </p:nvPicPr>
        <p:blipFill>
          <a:blip r:embed="rId2"/>
          <a:stretch>
            <a:fillRect/>
          </a:stretch>
        </p:blipFill>
        <p:spPr>
          <a:xfrm>
            <a:off x="453186" y="777302"/>
            <a:ext cx="3839131" cy="3242880"/>
          </a:xfrm>
          <a:prstGeom prst="rect">
            <a:avLst/>
          </a:prstGeom>
        </p:spPr>
      </p:pic>
      <p:sp>
        <p:nvSpPr>
          <p:cNvPr id="6" name="Ellipse 5">
            <a:extLst>
              <a:ext uri="{FF2B5EF4-FFF2-40B4-BE49-F238E27FC236}">
                <a16:creationId xmlns:a16="http://schemas.microsoft.com/office/drawing/2014/main" id="{DE71625B-74CB-4715-8B46-714D097506DF}"/>
              </a:ext>
            </a:extLst>
          </p:cNvPr>
          <p:cNvSpPr/>
          <p:nvPr/>
        </p:nvSpPr>
        <p:spPr>
          <a:xfrm>
            <a:off x="544880" y="1781861"/>
            <a:ext cx="1122127" cy="319385"/>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388995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EEE4AB1-6BFC-4668-B1C0-F7460BB6D53B}"/>
              </a:ext>
            </a:extLst>
          </p:cNvPr>
          <p:cNvSpPr>
            <a:spLocks noGrp="1"/>
          </p:cNvSpPr>
          <p:nvPr>
            <p:ph type="title"/>
          </p:nvPr>
        </p:nvSpPr>
        <p:spPr/>
        <p:txBody>
          <a:bodyPr/>
          <a:lstStyle/>
          <a:p>
            <a:r>
              <a:rPr lang="fr-FR" dirty="0" err="1"/>
              <a:t>Add</a:t>
            </a:r>
            <a:r>
              <a:rPr lang="fr-FR" dirty="0"/>
              <a:t> a conversation widget</a:t>
            </a:r>
          </a:p>
        </p:txBody>
      </p:sp>
      <p:pic>
        <p:nvPicPr>
          <p:cNvPr id="3" name="Image 2">
            <a:extLst>
              <a:ext uri="{FF2B5EF4-FFF2-40B4-BE49-F238E27FC236}">
                <a16:creationId xmlns:a16="http://schemas.microsoft.com/office/drawing/2014/main" id="{E8A4EB5E-DF44-490B-B68F-3077E166C6FA}"/>
              </a:ext>
            </a:extLst>
          </p:cNvPr>
          <p:cNvPicPr>
            <a:picLocks noChangeAspect="1"/>
          </p:cNvPicPr>
          <p:nvPr/>
        </p:nvPicPr>
        <p:blipFill>
          <a:blip r:embed="rId2"/>
          <a:stretch>
            <a:fillRect/>
          </a:stretch>
        </p:blipFill>
        <p:spPr>
          <a:xfrm>
            <a:off x="205747" y="678868"/>
            <a:ext cx="5092343" cy="2530258"/>
          </a:xfrm>
          <a:prstGeom prst="rect">
            <a:avLst/>
          </a:prstGeom>
        </p:spPr>
      </p:pic>
      <p:sp>
        <p:nvSpPr>
          <p:cNvPr id="5" name="Text Placeholder 16">
            <a:extLst>
              <a:ext uri="{FF2B5EF4-FFF2-40B4-BE49-F238E27FC236}">
                <a16:creationId xmlns:a16="http://schemas.microsoft.com/office/drawing/2014/main" id="{EE2163ED-ED30-4427-BFB6-9714AEA76063}"/>
              </a:ext>
            </a:extLst>
          </p:cNvPr>
          <p:cNvSpPr txBox="1">
            <a:spLocks/>
          </p:cNvSpPr>
          <p:nvPr/>
        </p:nvSpPr>
        <p:spPr>
          <a:xfrm>
            <a:off x="5270349" y="726573"/>
            <a:ext cx="3864126" cy="3642569"/>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pPr marL="285750" indent="-285750">
              <a:buClr>
                <a:schemeClr val="accent2"/>
              </a:buClr>
              <a:buFont typeface="Arial" panose="020B0604020202020204" pitchFamily="34" charset="0"/>
              <a:buChar char="•"/>
            </a:pPr>
            <a:r>
              <a:rPr lang="en-US" dirty="0"/>
              <a:t>You can find all the widgets here:</a:t>
            </a:r>
          </a:p>
          <a:p>
            <a:pPr marL="690563" lvl="1" indent="-285750">
              <a:buClr>
                <a:schemeClr val="accent2"/>
              </a:buClr>
            </a:pPr>
            <a:r>
              <a:rPr lang="en-US" sz="1250" dirty="0"/>
              <a:t>https://rules.prosodie.com/explorer</a:t>
            </a:r>
          </a:p>
          <a:p>
            <a:pPr marL="690563" lvl="1" indent="-285750">
              <a:buClr>
                <a:schemeClr val="accent2"/>
              </a:buClr>
            </a:pPr>
            <a:endParaRPr lang="en-US" sz="1250" dirty="0"/>
          </a:p>
          <a:p>
            <a:pPr marL="285750" indent="-285750">
              <a:buClr>
                <a:schemeClr val="accent2"/>
              </a:buClr>
              <a:buFont typeface="Arial" panose="020B0604020202020204" pitchFamily="34" charset="0"/>
              <a:buChar char="•"/>
            </a:pPr>
            <a:r>
              <a:rPr lang="en-US" dirty="0"/>
              <a:t>The conversation widget :</a:t>
            </a:r>
          </a:p>
          <a:p>
            <a:pPr marL="690563" lvl="1" indent="-285750">
              <a:buClr>
                <a:schemeClr val="accent2"/>
              </a:buClr>
            </a:pPr>
            <a:r>
              <a:rPr lang="en-US" dirty="0" err="1"/>
              <a:t>Voice_chat</a:t>
            </a:r>
            <a:endParaRPr lang="en-US" dirty="0"/>
          </a:p>
          <a:p>
            <a:pPr marL="690563" lvl="1" indent="-285750">
              <a:buClr>
                <a:schemeClr val="accent2"/>
              </a:buClr>
            </a:pPr>
            <a:endParaRPr lang="en-US" dirty="0"/>
          </a:p>
          <a:p>
            <a:pPr marL="285750" indent="-285750">
              <a:buClr>
                <a:schemeClr val="accent2"/>
              </a:buClr>
              <a:buFont typeface="Arial" panose="020B0604020202020204" pitchFamily="34" charset="0"/>
              <a:buChar char="•"/>
            </a:pPr>
            <a:r>
              <a:rPr lang="en-US" dirty="0"/>
              <a:t>You can use it “as is”, but if you want customize it please create a new directory and copy the files. Do not modify the files in “</a:t>
            </a:r>
            <a:r>
              <a:rPr lang="en-US" dirty="0" err="1"/>
              <a:t>voice_chat</a:t>
            </a:r>
            <a:r>
              <a:rPr lang="en-US" dirty="0"/>
              <a:t>”</a:t>
            </a:r>
          </a:p>
          <a:p>
            <a:pPr marL="285750" indent="-285750">
              <a:buFont typeface="Arial" panose="020B0604020202020204" pitchFamily="34" charset="0"/>
              <a:buChar char="•"/>
            </a:pPr>
            <a:endParaRPr lang="en-US" sz="1600" dirty="0"/>
          </a:p>
        </p:txBody>
      </p:sp>
      <p:sp>
        <p:nvSpPr>
          <p:cNvPr id="6" name="Ellipse 5">
            <a:extLst>
              <a:ext uri="{FF2B5EF4-FFF2-40B4-BE49-F238E27FC236}">
                <a16:creationId xmlns:a16="http://schemas.microsoft.com/office/drawing/2014/main" id="{DE71625B-74CB-4715-8B46-714D097506DF}"/>
              </a:ext>
            </a:extLst>
          </p:cNvPr>
          <p:cNvSpPr/>
          <p:nvPr/>
        </p:nvSpPr>
        <p:spPr>
          <a:xfrm>
            <a:off x="87868" y="2152133"/>
            <a:ext cx="1122127" cy="319385"/>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avec flèche 6">
            <a:extLst>
              <a:ext uri="{FF2B5EF4-FFF2-40B4-BE49-F238E27FC236}">
                <a16:creationId xmlns:a16="http://schemas.microsoft.com/office/drawing/2014/main" id="{EDE0D178-A925-4EE4-A1D0-00013378D58B}"/>
              </a:ext>
            </a:extLst>
          </p:cNvPr>
          <p:cNvCxnSpPr>
            <a:cxnSpLocks/>
          </p:cNvCxnSpPr>
          <p:nvPr/>
        </p:nvCxnSpPr>
        <p:spPr>
          <a:xfrm flipH="1" flipV="1">
            <a:off x="732891" y="2471518"/>
            <a:ext cx="562891" cy="1283849"/>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pic>
        <p:nvPicPr>
          <p:cNvPr id="8" name="Image 7">
            <a:extLst>
              <a:ext uri="{FF2B5EF4-FFF2-40B4-BE49-F238E27FC236}">
                <a16:creationId xmlns:a16="http://schemas.microsoft.com/office/drawing/2014/main" id="{D2DD0D0C-A55F-415B-A81A-001A039837DA}"/>
              </a:ext>
            </a:extLst>
          </p:cNvPr>
          <p:cNvPicPr>
            <a:picLocks noChangeAspect="1"/>
          </p:cNvPicPr>
          <p:nvPr/>
        </p:nvPicPr>
        <p:blipFill>
          <a:blip r:embed="rId3"/>
          <a:stretch>
            <a:fillRect/>
          </a:stretch>
        </p:blipFill>
        <p:spPr>
          <a:xfrm>
            <a:off x="205747" y="3755367"/>
            <a:ext cx="5064601" cy="879747"/>
          </a:xfrm>
          <a:prstGeom prst="rect">
            <a:avLst/>
          </a:prstGeom>
        </p:spPr>
      </p:pic>
    </p:spTree>
    <p:extLst>
      <p:ext uri="{BB962C8B-B14F-4D97-AF65-F5344CB8AC3E}">
        <p14:creationId xmlns:p14="http://schemas.microsoft.com/office/powerpoint/2010/main" val="241228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EEE4AB1-6BFC-4668-B1C0-F7460BB6D53B}"/>
              </a:ext>
            </a:extLst>
          </p:cNvPr>
          <p:cNvSpPr>
            <a:spLocks noGrp="1"/>
          </p:cNvSpPr>
          <p:nvPr>
            <p:ph type="title"/>
          </p:nvPr>
        </p:nvSpPr>
        <p:spPr/>
        <p:txBody>
          <a:bodyPr/>
          <a:lstStyle/>
          <a:p>
            <a:r>
              <a:rPr lang="fr-FR" dirty="0" err="1"/>
              <a:t>Add</a:t>
            </a:r>
            <a:r>
              <a:rPr lang="fr-FR" dirty="0"/>
              <a:t> a conversation widget</a:t>
            </a:r>
          </a:p>
        </p:txBody>
      </p:sp>
      <p:sp>
        <p:nvSpPr>
          <p:cNvPr id="5" name="Text Placeholder 16">
            <a:extLst>
              <a:ext uri="{FF2B5EF4-FFF2-40B4-BE49-F238E27FC236}">
                <a16:creationId xmlns:a16="http://schemas.microsoft.com/office/drawing/2014/main" id="{EE2163ED-ED30-4427-BFB6-9714AEA76063}"/>
              </a:ext>
            </a:extLst>
          </p:cNvPr>
          <p:cNvSpPr txBox="1">
            <a:spLocks/>
          </p:cNvSpPr>
          <p:nvPr/>
        </p:nvSpPr>
        <p:spPr>
          <a:xfrm>
            <a:off x="1427968" y="4223223"/>
            <a:ext cx="7716032" cy="1057180"/>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50" i="1" dirty="0" err="1"/>
              <a:t>Url</a:t>
            </a:r>
            <a:r>
              <a:rPr lang="en-US" sz="1450" i="1" dirty="0"/>
              <a:t> = </a:t>
            </a:r>
            <a:r>
              <a:rPr lang="en-US" sz="1450" i="1" dirty="0">
                <a:hlinkClick r:id="rId3"/>
              </a:rPr>
              <a:t>https://rules.prosodie.com/assets/voice_chat/conversations_V2.html</a:t>
            </a:r>
            <a:endParaRPr lang="en-US" sz="1450" i="1" dirty="0"/>
          </a:p>
          <a:p>
            <a:r>
              <a:rPr lang="en-US" sz="1450" i="1" dirty="0" err="1"/>
              <a:t>Bsn</a:t>
            </a:r>
            <a:r>
              <a:rPr lang="en-US" sz="1450" i="1" dirty="0"/>
              <a:t> = phone number</a:t>
            </a:r>
            <a:endParaRPr lang="en-US" sz="1600" dirty="0"/>
          </a:p>
        </p:txBody>
      </p:sp>
      <p:cxnSp>
        <p:nvCxnSpPr>
          <p:cNvPr id="7" name="Connecteur droit avec flèche 6">
            <a:extLst>
              <a:ext uri="{FF2B5EF4-FFF2-40B4-BE49-F238E27FC236}">
                <a16:creationId xmlns:a16="http://schemas.microsoft.com/office/drawing/2014/main" id="{EDE0D178-A925-4EE4-A1D0-00013378D58B}"/>
              </a:ext>
            </a:extLst>
          </p:cNvPr>
          <p:cNvCxnSpPr>
            <a:cxnSpLocks/>
          </p:cNvCxnSpPr>
          <p:nvPr/>
        </p:nvCxnSpPr>
        <p:spPr>
          <a:xfrm flipH="1">
            <a:off x="2007512" y="1305192"/>
            <a:ext cx="477103" cy="1"/>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pic>
        <p:nvPicPr>
          <p:cNvPr id="4" name="Image 3">
            <a:extLst>
              <a:ext uri="{FF2B5EF4-FFF2-40B4-BE49-F238E27FC236}">
                <a16:creationId xmlns:a16="http://schemas.microsoft.com/office/drawing/2014/main" id="{D3F1F237-3D56-4E68-84F7-4FAC6FC1EEEF}"/>
              </a:ext>
            </a:extLst>
          </p:cNvPr>
          <p:cNvPicPr>
            <a:picLocks noChangeAspect="1"/>
          </p:cNvPicPr>
          <p:nvPr/>
        </p:nvPicPr>
        <p:blipFill>
          <a:blip r:embed="rId4"/>
          <a:stretch>
            <a:fillRect/>
          </a:stretch>
        </p:blipFill>
        <p:spPr>
          <a:xfrm>
            <a:off x="2487255" y="2501469"/>
            <a:ext cx="5071475" cy="1690492"/>
          </a:xfrm>
          <a:prstGeom prst="rect">
            <a:avLst/>
          </a:prstGeom>
        </p:spPr>
      </p:pic>
      <p:pic>
        <p:nvPicPr>
          <p:cNvPr id="10" name="Image 9">
            <a:extLst>
              <a:ext uri="{FF2B5EF4-FFF2-40B4-BE49-F238E27FC236}">
                <a16:creationId xmlns:a16="http://schemas.microsoft.com/office/drawing/2014/main" id="{E6CCC3C9-57EC-427E-A129-B3891F087F60}"/>
              </a:ext>
            </a:extLst>
          </p:cNvPr>
          <p:cNvPicPr>
            <a:picLocks noChangeAspect="1"/>
          </p:cNvPicPr>
          <p:nvPr/>
        </p:nvPicPr>
        <p:blipFill>
          <a:blip r:embed="rId5"/>
          <a:stretch>
            <a:fillRect/>
          </a:stretch>
        </p:blipFill>
        <p:spPr>
          <a:xfrm>
            <a:off x="2525685" y="808038"/>
            <a:ext cx="5071475" cy="1170846"/>
          </a:xfrm>
          <a:prstGeom prst="rect">
            <a:avLst/>
          </a:prstGeom>
        </p:spPr>
      </p:pic>
      <p:pic>
        <p:nvPicPr>
          <p:cNvPr id="11" name="Image 10">
            <a:extLst>
              <a:ext uri="{FF2B5EF4-FFF2-40B4-BE49-F238E27FC236}">
                <a16:creationId xmlns:a16="http://schemas.microsoft.com/office/drawing/2014/main" id="{D096D947-40A0-412F-B44F-BD91B732CE78}"/>
              </a:ext>
            </a:extLst>
          </p:cNvPr>
          <p:cNvPicPr>
            <a:picLocks noChangeAspect="1"/>
          </p:cNvPicPr>
          <p:nvPr/>
        </p:nvPicPr>
        <p:blipFill>
          <a:blip r:embed="rId6"/>
          <a:stretch>
            <a:fillRect/>
          </a:stretch>
        </p:blipFill>
        <p:spPr>
          <a:xfrm>
            <a:off x="586399" y="1075862"/>
            <a:ext cx="1353789" cy="458661"/>
          </a:xfrm>
          <a:prstGeom prst="rect">
            <a:avLst/>
          </a:prstGeom>
        </p:spPr>
      </p:pic>
      <p:cxnSp>
        <p:nvCxnSpPr>
          <p:cNvPr id="13" name="Connecteur droit avec flèche 12">
            <a:extLst>
              <a:ext uri="{FF2B5EF4-FFF2-40B4-BE49-F238E27FC236}">
                <a16:creationId xmlns:a16="http://schemas.microsoft.com/office/drawing/2014/main" id="{1195BB83-6AAC-44ED-9EA4-E8B767FD5638}"/>
              </a:ext>
            </a:extLst>
          </p:cNvPr>
          <p:cNvCxnSpPr>
            <a:cxnSpLocks/>
          </p:cNvCxnSpPr>
          <p:nvPr/>
        </p:nvCxnSpPr>
        <p:spPr>
          <a:xfrm flipV="1">
            <a:off x="4952562" y="2030446"/>
            <a:ext cx="1" cy="380609"/>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6" name="Ellipse 5">
            <a:extLst>
              <a:ext uri="{FF2B5EF4-FFF2-40B4-BE49-F238E27FC236}">
                <a16:creationId xmlns:a16="http://schemas.microsoft.com/office/drawing/2014/main" id="{DE71625B-74CB-4715-8B46-714D097506DF}"/>
              </a:ext>
            </a:extLst>
          </p:cNvPr>
          <p:cNvSpPr/>
          <p:nvPr/>
        </p:nvSpPr>
        <p:spPr>
          <a:xfrm>
            <a:off x="3425370" y="812567"/>
            <a:ext cx="959648" cy="263295"/>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03041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EEE4AB1-6BFC-4668-B1C0-F7460BB6D53B}"/>
              </a:ext>
            </a:extLst>
          </p:cNvPr>
          <p:cNvSpPr>
            <a:spLocks noGrp="1"/>
          </p:cNvSpPr>
          <p:nvPr>
            <p:ph type="title"/>
          </p:nvPr>
        </p:nvSpPr>
        <p:spPr/>
        <p:txBody>
          <a:bodyPr/>
          <a:lstStyle/>
          <a:p>
            <a:r>
              <a:rPr lang="fr-FR" dirty="0" err="1"/>
              <a:t>Add</a:t>
            </a:r>
            <a:r>
              <a:rPr lang="fr-FR" dirty="0"/>
              <a:t> a conversation widget</a:t>
            </a:r>
          </a:p>
        </p:txBody>
      </p:sp>
      <p:sp>
        <p:nvSpPr>
          <p:cNvPr id="5" name="Text Placeholder 16">
            <a:extLst>
              <a:ext uri="{FF2B5EF4-FFF2-40B4-BE49-F238E27FC236}">
                <a16:creationId xmlns:a16="http://schemas.microsoft.com/office/drawing/2014/main" id="{EE2163ED-ED30-4427-BFB6-9714AEA76063}"/>
              </a:ext>
            </a:extLst>
          </p:cNvPr>
          <p:cNvSpPr txBox="1">
            <a:spLocks/>
          </p:cNvSpPr>
          <p:nvPr/>
        </p:nvSpPr>
        <p:spPr>
          <a:xfrm>
            <a:off x="7678167" y="1231437"/>
            <a:ext cx="1465833" cy="1097425"/>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50" dirty="0"/>
              <a:t>Select older conversations</a:t>
            </a:r>
            <a:endParaRPr lang="en-US" sz="1600" dirty="0"/>
          </a:p>
        </p:txBody>
      </p:sp>
      <p:pic>
        <p:nvPicPr>
          <p:cNvPr id="3" name="Image 2">
            <a:extLst>
              <a:ext uri="{FF2B5EF4-FFF2-40B4-BE49-F238E27FC236}">
                <a16:creationId xmlns:a16="http://schemas.microsoft.com/office/drawing/2014/main" id="{632E86AB-14D8-402C-938B-1E96F8245D78}"/>
              </a:ext>
            </a:extLst>
          </p:cNvPr>
          <p:cNvPicPr>
            <a:picLocks noChangeAspect="1"/>
          </p:cNvPicPr>
          <p:nvPr/>
        </p:nvPicPr>
        <p:blipFill>
          <a:blip r:embed="rId2"/>
          <a:stretch>
            <a:fillRect/>
          </a:stretch>
        </p:blipFill>
        <p:spPr>
          <a:xfrm>
            <a:off x="243011" y="709507"/>
            <a:ext cx="6904665" cy="3376813"/>
          </a:xfrm>
          <a:prstGeom prst="rect">
            <a:avLst/>
          </a:prstGeom>
        </p:spPr>
      </p:pic>
      <p:cxnSp>
        <p:nvCxnSpPr>
          <p:cNvPr id="12" name="Connecteur droit avec flèche 11">
            <a:extLst>
              <a:ext uri="{FF2B5EF4-FFF2-40B4-BE49-F238E27FC236}">
                <a16:creationId xmlns:a16="http://schemas.microsoft.com/office/drawing/2014/main" id="{37D0E4DB-65BC-4AB6-847B-6CC37CFF6EBA}"/>
              </a:ext>
            </a:extLst>
          </p:cNvPr>
          <p:cNvCxnSpPr>
            <a:cxnSpLocks/>
          </p:cNvCxnSpPr>
          <p:nvPr/>
        </p:nvCxnSpPr>
        <p:spPr>
          <a:xfrm flipH="1">
            <a:off x="7084855" y="1440514"/>
            <a:ext cx="534859" cy="0"/>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723446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68A097-06C4-4932-B2B0-7F9261F2D45E}"/>
              </a:ext>
            </a:extLst>
          </p:cNvPr>
          <p:cNvSpPr>
            <a:spLocks noGrp="1"/>
          </p:cNvSpPr>
          <p:nvPr>
            <p:ph type="title"/>
          </p:nvPr>
        </p:nvSpPr>
        <p:spPr/>
        <p:txBody>
          <a:bodyPr/>
          <a:lstStyle/>
          <a:p>
            <a:r>
              <a:rPr lang="fr-FR" dirty="0"/>
              <a:t>Workshop</a:t>
            </a:r>
          </a:p>
        </p:txBody>
      </p:sp>
      <p:sp>
        <p:nvSpPr>
          <p:cNvPr id="3" name="Text Placeholder 16">
            <a:extLst>
              <a:ext uri="{FF2B5EF4-FFF2-40B4-BE49-F238E27FC236}">
                <a16:creationId xmlns:a16="http://schemas.microsoft.com/office/drawing/2014/main" id="{3B498790-F35B-4331-94A7-2B24C15AAA91}"/>
              </a:ext>
            </a:extLst>
          </p:cNvPr>
          <p:cNvSpPr txBox="1">
            <a:spLocks/>
          </p:cNvSpPr>
          <p:nvPr/>
        </p:nvSpPr>
        <p:spPr>
          <a:xfrm>
            <a:off x="436418" y="641332"/>
            <a:ext cx="8494639" cy="3642569"/>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pPr marL="285750" indent="-285750">
              <a:buClr>
                <a:schemeClr val="accent2"/>
              </a:buClr>
              <a:buFont typeface="Arial" panose="020B0604020202020204" pitchFamily="34" charset="0"/>
              <a:buChar char="•"/>
            </a:pPr>
            <a:r>
              <a:rPr lang="en-US" dirty="0"/>
              <a:t>From your bot “ordering Pizza”, add a conversation recording</a:t>
            </a:r>
          </a:p>
          <a:p>
            <a:pPr marL="690563" lvl="1" indent="-285750"/>
            <a:r>
              <a:rPr lang="en-US" dirty="0"/>
              <a:t>Of course, the phone-number is hardcoded</a:t>
            </a:r>
          </a:p>
          <a:p>
            <a:pPr marL="285750" indent="-285750">
              <a:buFont typeface="Arial" panose="020B0604020202020204" pitchFamily="34" charset="0"/>
              <a:buChar char="•"/>
            </a:pPr>
            <a:endParaRPr lang="en-US" dirty="0"/>
          </a:p>
          <a:p>
            <a:pPr marL="285750" indent="-285750">
              <a:buClr>
                <a:schemeClr val="accent2"/>
              </a:buClr>
              <a:buFont typeface="Arial" panose="020B0604020202020204" pitchFamily="34" charset="0"/>
              <a:buChar char="•"/>
            </a:pPr>
            <a:r>
              <a:rPr lang="en-US" dirty="0"/>
              <a:t>From your “Digital Demo”,</a:t>
            </a:r>
          </a:p>
          <a:p>
            <a:pPr marL="690563" lvl="1" indent="-285750"/>
            <a:r>
              <a:rPr lang="en-US" dirty="0"/>
              <a:t>Modify a contact, and add a conversation widget (with BSN=the previous phone number)</a:t>
            </a:r>
          </a:p>
          <a:p>
            <a:endParaRPr lang="en-US" dirty="0"/>
          </a:p>
          <a:p>
            <a:pPr marL="285750" indent="-285750">
              <a:buClr>
                <a:schemeClr val="accent2"/>
              </a:buClr>
              <a:buFont typeface="Arial" panose="020B0604020202020204" pitchFamily="34" charset="0"/>
              <a:buChar char="•"/>
            </a:pPr>
            <a:r>
              <a:rPr lang="en-US" dirty="0"/>
              <a:t>Test your bot (default + fallback + ordering pizza) and consult the contact screen.</a:t>
            </a:r>
          </a:p>
          <a:p>
            <a:pPr marL="285750" indent="-285750">
              <a:buFont typeface="Arial" panose="020B0604020202020204" pitchFamily="34" charset="0"/>
              <a:buChar char="•"/>
            </a:pPr>
            <a:endParaRPr lang="en-US" dirty="0"/>
          </a:p>
          <a:p>
            <a:pPr marL="285750" indent="-285750">
              <a:buClr>
                <a:schemeClr val="accent2"/>
              </a:buClr>
              <a:buFont typeface="Arial" panose="020B0604020202020204" pitchFamily="34" charset="0"/>
              <a:buChar char="•"/>
            </a:pPr>
            <a:r>
              <a:rPr lang="en-US" dirty="0">
                <a:solidFill>
                  <a:schemeClr val="accent2"/>
                </a:solidFill>
              </a:rPr>
              <a:t>Free : you can use the existing database !</a:t>
            </a:r>
          </a:p>
          <a:p>
            <a:pPr marL="285750" indent="-285750">
              <a:buFont typeface="Arial" panose="020B0604020202020204" pitchFamily="34" charset="0"/>
              <a:buChar char="•"/>
            </a:pPr>
            <a:endParaRPr lang="en-US" sz="1600" dirty="0"/>
          </a:p>
        </p:txBody>
      </p:sp>
      <p:sp>
        <p:nvSpPr>
          <p:cNvPr id="6" name="Bande diagonale 5">
            <a:extLst>
              <a:ext uri="{FF2B5EF4-FFF2-40B4-BE49-F238E27FC236}">
                <a16:creationId xmlns:a16="http://schemas.microsoft.com/office/drawing/2014/main" id="{125E8C23-5F42-4E1D-B71F-8BB049382FC6}"/>
              </a:ext>
            </a:extLst>
          </p:cNvPr>
          <p:cNvSpPr/>
          <p:nvPr/>
        </p:nvSpPr>
        <p:spPr>
          <a:xfrm rot="5400000">
            <a:off x="7236889" y="-6860"/>
            <a:ext cx="1908000" cy="1906223"/>
          </a:xfrm>
          <a:prstGeom prst="diagStripe">
            <a:avLst>
              <a:gd name="adj" fmla="val 6268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7" name="ZoneTexte 6">
            <a:extLst>
              <a:ext uri="{FF2B5EF4-FFF2-40B4-BE49-F238E27FC236}">
                <a16:creationId xmlns:a16="http://schemas.microsoft.com/office/drawing/2014/main" id="{4F843B24-5032-4D7A-8861-3D2EF054B93E}"/>
              </a:ext>
            </a:extLst>
          </p:cNvPr>
          <p:cNvSpPr txBox="1"/>
          <p:nvPr/>
        </p:nvSpPr>
        <p:spPr>
          <a:xfrm rot="2735380">
            <a:off x="7539304" y="520290"/>
            <a:ext cx="1712736" cy="480819"/>
          </a:xfrm>
          <a:prstGeom prst="rect">
            <a:avLst/>
          </a:prstGeom>
        </p:spPr>
        <p:txBody>
          <a:bodyPr wrap="square" lIns="72000" tIns="72000" rIns="72000" bIns="72000" rtlCol="0">
            <a:spAutoFit/>
          </a:bodyPr>
          <a:lstStyle/>
          <a:p>
            <a:pPr algn="ctr">
              <a:lnSpc>
                <a:spcPct val="120000"/>
              </a:lnSpc>
              <a:spcAft>
                <a:spcPts val="600"/>
              </a:spcAft>
            </a:pPr>
            <a:r>
              <a:rPr lang="fr-FR" sz="2000" b="1" dirty="0">
                <a:solidFill>
                  <a:schemeClr val="bg1"/>
                </a:solidFill>
                <a:latin typeface="Arial" panose="020B0604020202020204" pitchFamily="34" charset="0"/>
                <a:cs typeface="Arial" panose="020B0604020202020204" pitchFamily="34" charset="0"/>
              </a:rPr>
              <a:t>WORKSHOP</a:t>
            </a:r>
          </a:p>
        </p:txBody>
      </p:sp>
    </p:spTree>
    <p:extLst>
      <p:ext uri="{BB962C8B-B14F-4D97-AF65-F5344CB8AC3E}">
        <p14:creationId xmlns:p14="http://schemas.microsoft.com/office/powerpoint/2010/main" val="242004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llipse 5">
            <a:extLst>
              <a:ext uri="{FF2B5EF4-FFF2-40B4-BE49-F238E27FC236}">
                <a16:creationId xmlns:a16="http://schemas.microsoft.com/office/drawing/2014/main" id="{0C04EDAC-5594-49D9-A348-ADF93F2EC4EE}"/>
              </a:ext>
            </a:extLst>
          </p:cNvPr>
          <p:cNvSpPr/>
          <p:nvPr/>
        </p:nvSpPr>
        <p:spPr>
          <a:xfrm>
            <a:off x="3418087" y="1021162"/>
            <a:ext cx="5311361" cy="5254433"/>
          </a:xfrm>
          <a:prstGeom prst="ellipse">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A58C9069-A253-0946-846F-2D00A4204D95}"/>
              </a:ext>
            </a:extLst>
          </p:cNvPr>
          <p:cNvSpPr>
            <a:spLocks noGrp="1"/>
          </p:cNvSpPr>
          <p:nvPr>
            <p:ph type="title"/>
          </p:nvPr>
        </p:nvSpPr>
        <p:spPr/>
        <p:txBody>
          <a:bodyPr/>
          <a:lstStyle/>
          <a:p>
            <a:r>
              <a:rPr lang="en-US" dirty="0" err="1"/>
              <a:t>Dialogflow</a:t>
            </a:r>
            <a:br>
              <a:rPr lang="en-US" dirty="0"/>
            </a:br>
            <a:r>
              <a:rPr lang="en-US" dirty="0"/>
              <a:t>Training</a:t>
            </a:r>
          </a:p>
        </p:txBody>
      </p:sp>
      <p:sp>
        <p:nvSpPr>
          <p:cNvPr id="3" name="Text Placeholder 2">
            <a:extLst>
              <a:ext uri="{FF2B5EF4-FFF2-40B4-BE49-F238E27FC236}">
                <a16:creationId xmlns:a16="http://schemas.microsoft.com/office/drawing/2014/main" id="{F52F02E1-A4DC-B244-BCC1-26DDC889B5C3}"/>
              </a:ext>
            </a:extLst>
          </p:cNvPr>
          <p:cNvSpPr>
            <a:spLocks noGrp="1"/>
          </p:cNvSpPr>
          <p:nvPr>
            <p:ph type="body" sz="quarter" idx="10"/>
          </p:nvPr>
        </p:nvSpPr>
        <p:spPr/>
        <p:txBody>
          <a:bodyPr/>
          <a:lstStyle/>
          <a:p>
            <a:r>
              <a:rPr lang="en-US" dirty="0"/>
              <a:t>Module 13 : Tips and tricks</a:t>
            </a:r>
          </a:p>
        </p:txBody>
      </p:sp>
      <p:sp>
        <p:nvSpPr>
          <p:cNvPr id="7" name="Freeform 1">
            <a:extLst>
              <a:ext uri="{FF2B5EF4-FFF2-40B4-BE49-F238E27FC236}">
                <a16:creationId xmlns:a16="http://schemas.microsoft.com/office/drawing/2014/main" id="{C009C2CB-0D45-244B-8254-95D0D9E3683C}"/>
              </a:ext>
            </a:extLst>
          </p:cNvPr>
          <p:cNvSpPr>
            <a:spLocks noChangeArrowheads="1"/>
          </p:cNvSpPr>
          <p:nvPr/>
        </p:nvSpPr>
        <p:spPr bwMode="auto">
          <a:xfrm>
            <a:off x="6799803" y="0"/>
            <a:ext cx="2747583" cy="2612551"/>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192978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68A097-06C4-4932-B2B0-7F9261F2D45E}"/>
              </a:ext>
            </a:extLst>
          </p:cNvPr>
          <p:cNvSpPr>
            <a:spLocks noGrp="1"/>
          </p:cNvSpPr>
          <p:nvPr>
            <p:ph type="title"/>
          </p:nvPr>
        </p:nvSpPr>
        <p:spPr/>
        <p:txBody>
          <a:bodyPr/>
          <a:lstStyle/>
          <a:p>
            <a:r>
              <a:rPr lang="fr-FR" dirty="0" err="1"/>
              <a:t>Saving</a:t>
            </a:r>
            <a:r>
              <a:rPr lang="fr-FR" dirty="0"/>
              <a:t> and </a:t>
            </a:r>
            <a:r>
              <a:rPr lang="fr-FR" dirty="0" err="1"/>
              <a:t>restoring</a:t>
            </a:r>
            <a:r>
              <a:rPr lang="fr-FR" dirty="0"/>
              <a:t> agents</a:t>
            </a:r>
          </a:p>
        </p:txBody>
      </p:sp>
      <p:sp>
        <p:nvSpPr>
          <p:cNvPr id="3" name="Text Placeholder 16">
            <a:extLst>
              <a:ext uri="{FF2B5EF4-FFF2-40B4-BE49-F238E27FC236}">
                <a16:creationId xmlns:a16="http://schemas.microsoft.com/office/drawing/2014/main" id="{3B498790-F35B-4331-94A7-2B24C15AAA91}"/>
              </a:ext>
            </a:extLst>
          </p:cNvPr>
          <p:cNvSpPr txBox="1">
            <a:spLocks/>
          </p:cNvSpPr>
          <p:nvPr/>
        </p:nvSpPr>
        <p:spPr>
          <a:xfrm>
            <a:off x="436418" y="641332"/>
            <a:ext cx="8494639" cy="3642569"/>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pPr marL="285750" indent="-285750">
              <a:buFont typeface="Arial" panose="020B0604020202020204" pitchFamily="34" charset="0"/>
              <a:buChar char="•"/>
            </a:pPr>
            <a:r>
              <a:rPr lang="en-US" dirty="0"/>
              <a:t>You can easily save and restore an agent with the “export as…” and “import as…” functions.</a:t>
            </a:r>
          </a:p>
          <a:p>
            <a:pPr marL="285750" indent="-285750">
              <a:buFont typeface="Arial" panose="020B0604020202020204" pitchFamily="34" charset="0"/>
              <a:buChar char="•"/>
            </a:pPr>
            <a:endParaRPr lang="en-US" dirty="0">
              <a:solidFill>
                <a:schemeClr val="accent2"/>
              </a:solidFill>
            </a:endParaRPr>
          </a:p>
          <a:p>
            <a:pPr marL="285750" indent="-285750">
              <a:buFont typeface="Arial" panose="020B0604020202020204" pitchFamily="34" charset="0"/>
              <a:buChar char="•"/>
            </a:pPr>
            <a:r>
              <a:rPr lang="en-US" dirty="0">
                <a:solidFill>
                  <a:schemeClr val="accent2"/>
                </a:solidFill>
              </a:rPr>
              <a:t>These options do not save and restore the node.js fulfillments. </a:t>
            </a:r>
            <a:r>
              <a:rPr lang="en-US" dirty="0"/>
              <a:t>You have to manage yourself theses files.</a:t>
            </a:r>
          </a:p>
          <a:p>
            <a:pPr marL="285750" indent="-285750">
              <a:buFont typeface="Arial" panose="020B0604020202020204" pitchFamily="34" charset="0"/>
              <a:buChar char="•"/>
            </a:pPr>
            <a:endParaRPr lang="en-US" dirty="0">
              <a:solidFill>
                <a:schemeClr val="accent2"/>
              </a:solidFill>
            </a:endParaRPr>
          </a:p>
          <a:p>
            <a:pPr marL="285750" indent="-285750">
              <a:buFont typeface="Arial" panose="020B0604020202020204" pitchFamily="34" charset="0"/>
              <a:buChar char="•"/>
            </a:pPr>
            <a:r>
              <a:rPr lang="en-US" dirty="0">
                <a:solidFill>
                  <a:schemeClr val="accent2"/>
                </a:solidFill>
              </a:rPr>
              <a:t>These options do not save and restore “knowledge base” connectors.</a:t>
            </a:r>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681054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68A097-06C4-4932-B2B0-7F9261F2D45E}"/>
              </a:ext>
            </a:extLst>
          </p:cNvPr>
          <p:cNvSpPr>
            <a:spLocks noGrp="1"/>
          </p:cNvSpPr>
          <p:nvPr>
            <p:ph type="title"/>
          </p:nvPr>
        </p:nvSpPr>
        <p:spPr/>
        <p:txBody>
          <a:bodyPr/>
          <a:lstStyle/>
          <a:p>
            <a:r>
              <a:rPr lang="fr-FR" dirty="0"/>
              <a:t>Sentences to use</a:t>
            </a:r>
          </a:p>
        </p:txBody>
      </p:sp>
      <p:sp>
        <p:nvSpPr>
          <p:cNvPr id="3" name="Text Placeholder 16">
            <a:extLst>
              <a:ext uri="{FF2B5EF4-FFF2-40B4-BE49-F238E27FC236}">
                <a16:creationId xmlns:a16="http://schemas.microsoft.com/office/drawing/2014/main" id="{3B498790-F35B-4331-94A7-2B24C15AAA91}"/>
              </a:ext>
            </a:extLst>
          </p:cNvPr>
          <p:cNvSpPr txBox="1">
            <a:spLocks/>
          </p:cNvSpPr>
          <p:nvPr/>
        </p:nvSpPr>
        <p:spPr>
          <a:xfrm>
            <a:off x="436418" y="641332"/>
            <a:ext cx="8494639" cy="3642569"/>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pPr marL="285750" indent="-285750">
              <a:buClr>
                <a:schemeClr val="accent2"/>
              </a:buClr>
              <a:buFont typeface="Arial" panose="020B0604020202020204" pitchFamily="34" charset="0"/>
              <a:buChar char="•"/>
            </a:pPr>
            <a:r>
              <a:rPr lang="en-US" dirty="0"/>
              <a:t>Things to know :</a:t>
            </a:r>
          </a:p>
          <a:p>
            <a:pPr marL="690563" lvl="1" indent="-285750"/>
            <a:r>
              <a:rPr lang="en-US" dirty="0"/>
              <a:t>Concierge Voice (actual version) does not like short sentences (a “yes” or a “no” could be too short to be detected)</a:t>
            </a:r>
          </a:p>
          <a:p>
            <a:pPr marL="690563" lvl="1" indent="-285750"/>
            <a:r>
              <a:rPr lang="en-US" dirty="0"/>
              <a:t>Google Speech To Text gives better result with long sentences</a:t>
            </a:r>
          </a:p>
          <a:p>
            <a:pPr marL="690563" lvl="1" indent="-285750"/>
            <a:endParaRPr lang="en-US" dirty="0"/>
          </a:p>
          <a:p>
            <a:pPr marL="690563" lvl="1" indent="-285750"/>
            <a:endParaRPr lang="en-US" dirty="0"/>
          </a:p>
          <a:p>
            <a:pPr marL="285750" indent="-285750">
              <a:buClr>
                <a:schemeClr val="accent2"/>
              </a:buClr>
              <a:buFont typeface="Arial" panose="020B0604020202020204" pitchFamily="34" charset="0"/>
              <a:buChar char="•"/>
            </a:pPr>
            <a:r>
              <a:rPr lang="en-US" dirty="0"/>
              <a:t>“I prefer to speak to an agent” is better than a simple “yes”</a:t>
            </a:r>
          </a:p>
          <a:p>
            <a:pPr marL="690563" lvl="1" indent="-285750"/>
            <a:endParaRPr lang="en-US" dirty="0">
              <a:solidFill>
                <a:schemeClr val="accent2"/>
              </a:solidFill>
            </a:endParaRPr>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1663256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D43C2D0-F067-45AF-A55D-F3680F51DBC8}"/>
              </a:ext>
            </a:extLst>
          </p:cNvPr>
          <p:cNvSpPr>
            <a:spLocks noGrp="1"/>
          </p:cNvSpPr>
          <p:nvPr>
            <p:ph type="title"/>
          </p:nvPr>
        </p:nvSpPr>
        <p:spPr/>
        <p:txBody>
          <a:bodyPr/>
          <a:lstStyle/>
          <a:p>
            <a:r>
              <a:rPr lang="fr-FR" dirty="0" err="1"/>
              <a:t>Dialogflow</a:t>
            </a:r>
            <a:r>
              <a:rPr lang="fr-FR" dirty="0"/>
              <a:t> vs Alexa </a:t>
            </a:r>
            <a:r>
              <a:rPr lang="fr-FR" dirty="0" err="1"/>
              <a:t>Skills</a:t>
            </a:r>
            <a:endParaRPr lang="fr-FR" dirty="0"/>
          </a:p>
        </p:txBody>
      </p:sp>
      <p:pic>
        <p:nvPicPr>
          <p:cNvPr id="3" name="Image 2">
            <a:extLst>
              <a:ext uri="{FF2B5EF4-FFF2-40B4-BE49-F238E27FC236}">
                <a16:creationId xmlns:a16="http://schemas.microsoft.com/office/drawing/2014/main" id="{6EE7AFEA-96F2-4A5F-92DC-D0A7C2BEA179}"/>
              </a:ext>
            </a:extLst>
          </p:cNvPr>
          <p:cNvPicPr>
            <a:picLocks noChangeAspect="1"/>
          </p:cNvPicPr>
          <p:nvPr/>
        </p:nvPicPr>
        <p:blipFill>
          <a:blip r:embed="rId2"/>
          <a:stretch>
            <a:fillRect/>
          </a:stretch>
        </p:blipFill>
        <p:spPr>
          <a:xfrm>
            <a:off x="705526" y="921377"/>
            <a:ext cx="7465102" cy="3492472"/>
          </a:xfrm>
          <a:prstGeom prst="rect">
            <a:avLst/>
          </a:prstGeom>
          <a:solidFill>
            <a:schemeClr val="bg1"/>
          </a:solidFill>
        </p:spPr>
      </p:pic>
      <p:sp>
        <p:nvSpPr>
          <p:cNvPr id="4" name="Rectangle 3">
            <a:extLst>
              <a:ext uri="{FF2B5EF4-FFF2-40B4-BE49-F238E27FC236}">
                <a16:creationId xmlns:a16="http://schemas.microsoft.com/office/drawing/2014/main" id="{DCCE9FEB-EB9C-4208-BFF7-99A4D8795F58}"/>
              </a:ext>
            </a:extLst>
          </p:cNvPr>
          <p:cNvSpPr/>
          <p:nvPr/>
        </p:nvSpPr>
        <p:spPr>
          <a:xfrm>
            <a:off x="3538071" y="2342776"/>
            <a:ext cx="2205317" cy="735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4">
            <a:extLst>
              <a:ext uri="{FF2B5EF4-FFF2-40B4-BE49-F238E27FC236}">
                <a16:creationId xmlns:a16="http://schemas.microsoft.com/office/drawing/2014/main" id="{269B62CA-3D33-4B3B-878B-8055EBC15522}"/>
              </a:ext>
            </a:extLst>
          </p:cNvPr>
          <p:cNvSpPr/>
          <p:nvPr/>
        </p:nvSpPr>
        <p:spPr>
          <a:xfrm>
            <a:off x="6209553" y="2342776"/>
            <a:ext cx="1878105" cy="735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48867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68A097-06C4-4932-B2B0-7F9261F2D45E}"/>
              </a:ext>
            </a:extLst>
          </p:cNvPr>
          <p:cNvSpPr>
            <a:spLocks noGrp="1"/>
          </p:cNvSpPr>
          <p:nvPr>
            <p:ph type="title"/>
          </p:nvPr>
        </p:nvSpPr>
        <p:spPr/>
        <p:txBody>
          <a:bodyPr/>
          <a:lstStyle/>
          <a:p>
            <a:r>
              <a:rPr lang="fr-FR" dirty="0"/>
              <a:t>Dates</a:t>
            </a:r>
          </a:p>
        </p:txBody>
      </p:sp>
      <p:sp>
        <p:nvSpPr>
          <p:cNvPr id="3" name="Text Placeholder 16">
            <a:extLst>
              <a:ext uri="{FF2B5EF4-FFF2-40B4-BE49-F238E27FC236}">
                <a16:creationId xmlns:a16="http://schemas.microsoft.com/office/drawing/2014/main" id="{3B498790-F35B-4331-94A7-2B24C15AAA91}"/>
              </a:ext>
            </a:extLst>
          </p:cNvPr>
          <p:cNvSpPr txBox="1">
            <a:spLocks/>
          </p:cNvSpPr>
          <p:nvPr/>
        </p:nvSpPr>
        <p:spPr>
          <a:xfrm>
            <a:off x="436418" y="641332"/>
            <a:ext cx="8494639" cy="3642569"/>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pPr marL="285750" indent="-285750">
              <a:buClr>
                <a:schemeClr val="accent2"/>
              </a:buClr>
              <a:buFont typeface="Arial" panose="020B0604020202020204" pitchFamily="34" charset="0"/>
              <a:buChar char="•"/>
            </a:pPr>
            <a:r>
              <a:rPr lang="en-US" dirty="0"/>
              <a:t>Without any year, </a:t>
            </a:r>
            <a:r>
              <a:rPr lang="en-US" dirty="0" err="1"/>
              <a:t>Dialogflow</a:t>
            </a:r>
            <a:r>
              <a:rPr lang="en-US" dirty="0"/>
              <a:t> supposes the date is in the future.</a:t>
            </a:r>
          </a:p>
          <a:p>
            <a:endParaRPr lang="en-US" dirty="0">
              <a:solidFill>
                <a:schemeClr val="accent2"/>
              </a:solidFill>
            </a:endParaRPr>
          </a:p>
          <a:p>
            <a:endParaRPr lang="en-US" dirty="0">
              <a:solidFill>
                <a:schemeClr val="accent2"/>
              </a:solidFill>
            </a:endParaRPr>
          </a:p>
          <a:p>
            <a:endParaRPr lang="en-US" dirty="0">
              <a:solidFill>
                <a:schemeClr val="accent2"/>
              </a:solidFill>
            </a:endParaRPr>
          </a:p>
          <a:p>
            <a:endParaRPr lang="en-US" dirty="0">
              <a:solidFill>
                <a:schemeClr val="accent2"/>
              </a:solidFill>
            </a:endParaRPr>
          </a:p>
          <a:p>
            <a:endParaRPr lang="en-US" dirty="0">
              <a:solidFill>
                <a:schemeClr val="accent2"/>
              </a:solidFill>
            </a:endParaRPr>
          </a:p>
          <a:p>
            <a:endParaRPr lang="en-US" dirty="0">
              <a:solidFill>
                <a:schemeClr val="accent2"/>
              </a:solidFill>
            </a:endParaRPr>
          </a:p>
          <a:p>
            <a:r>
              <a:rPr lang="en-US" dirty="0"/>
              <a:t>We are August 8 2019 :</a:t>
            </a:r>
          </a:p>
          <a:p>
            <a:endParaRPr lang="en-US" dirty="0">
              <a:solidFill>
                <a:schemeClr val="accent2"/>
              </a:solidFill>
            </a:endParaRPr>
          </a:p>
          <a:p>
            <a:endParaRPr lang="en-US" dirty="0">
              <a:solidFill>
                <a:schemeClr val="accent2"/>
              </a:solidFill>
            </a:endParaRPr>
          </a:p>
          <a:p>
            <a:endParaRPr lang="en-US" dirty="0">
              <a:solidFill>
                <a:schemeClr val="accent2"/>
              </a:solidFill>
            </a:endParaRPr>
          </a:p>
          <a:p>
            <a:pPr marL="285750" indent="-285750">
              <a:buFont typeface="Arial" panose="020B0604020202020204" pitchFamily="34" charset="0"/>
              <a:buChar char="•"/>
            </a:pPr>
            <a:endParaRPr lang="en-US" sz="1600" dirty="0"/>
          </a:p>
        </p:txBody>
      </p:sp>
      <p:pic>
        <p:nvPicPr>
          <p:cNvPr id="4" name="Image 3">
            <a:extLst>
              <a:ext uri="{FF2B5EF4-FFF2-40B4-BE49-F238E27FC236}">
                <a16:creationId xmlns:a16="http://schemas.microsoft.com/office/drawing/2014/main" id="{0EB4776B-9AE4-45B1-9042-9D14107B64C7}"/>
              </a:ext>
            </a:extLst>
          </p:cNvPr>
          <p:cNvPicPr>
            <a:picLocks noChangeAspect="1"/>
          </p:cNvPicPr>
          <p:nvPr/>
        </p:nvPicPr>
        <p:blipFill>
          <a:blip r:embed="rId2"/>
          <a:stretch>
            <a:fillRect/>
          </a:stretch>
        </p:blipFill>
        <p:spPr>
          <a:xfrm>
            <a:off x="4094267" y="3377260"/>
            <a:ext cx="2710434" cy="1547972"/>
          </a:xfrm>
          <a:prstGeom prst="rect">
            <a:avLst/>
          </a:prstGeom>
        </p:spPr>
      </p:pic>
      <p:pic>
        <p:nvPicPr>
          <p:cNvPr id="5" name="Image 4">
            <a:extLst>
              <a:ext uri="{FF2B5EF4-FFF2-40B4-BE49-F238E27FC236}">
                <a16:creationId xmlns:a16="http://schemas.microsoft.com/office/drawing/2014/main" id="{6B8AB26B-9639-4A4E-994A-7AD599677197}"/>
              </a:ext>
            </a:extLst>
          </p:cNvPr>
          <p:cNvPicPr>
            <a:picLocks noChangeAspect="1"/>
          </p:cNvPicPr>
          <p:nvPr/>
        </p:nvPicPr>
        <p:blipFill>
          <a:blip r:embed="rId3"/>
          <a:stretch>
            <a:fillRect/>
          </a:stretch>
        </p:blipFill>
        <p:spPr>
          <a:xfrm>
            <a:off x="4094267" y="1509726"/>
            <a:ext cx="2704073" cy="1602867"/>
          </a:xfrm>
          <a:prstGeom prst="rect">
            <a:avLst/>
          </a:prstGeom>
        </p:spPr>
      </p:pic>
      <p:cxnSp>
        <p:nvCxnSpPr>
          <p:cNvPr id="6" name="Connecteur droit avec flèche 5">
            <a:extLst>
              <a:ext uri="{FF2B5EF4-FFF2-40B4-BE49-F238E27FC236}">
                <a16:creationId xmlns:a16="http://schemas.microsoft.com/office/drawing/2014/main" id="{8124EDFB-11B2-4CB5-94AF-2774FDA09407}"/>
              </a:ext>
            </a:extLst>
          </p:cNvPr>
          <p:cNvCxnSpPr>
            <a:cxnSpLocks/>
          </p:cNvCxnSpPr>
          <p:nvPr/>
        </p:nvCxnSpPr>
        <p:spPr>
          <a:xfrm flipH="1" flipV="1">
            <a:off x="3068877" y="3327825"/>
            <a:ext cx="1025390" cy="302292"/>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cxnSp>
        <p:nvCxnSpPr>
          <p:cNvPr id="7" name="Connecteur droit avec flèche 6">
            <a:extLst>
              <a:ext uri="{FF2B5EF4-FFF2-40B4-BE49-F238E27FC236}">
                <a16:creationId xmlns:a16="http://schemas.microsoft.com/office/drawing/2014/main" id="{51F9D077-49D5-46C3-B7DE-240A90C009E3}"/>
              </a:ext>
            </a:extLst>
          </p:cNvPr>
          <p:cNvCxnSpPr>
            <a:cxnSpLocks/>
          </p:cNvCxnSpPr>
          <p:nvPr/>
        </p:nvCxnSpPr>
        <p:spPr>
          <a:xfrm flipH="1">
            <a:off x="3068877" y="2852378"/>
            <a:ext cx="1025390" cy="309650"/>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032237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68A097-06C4-4932-B2B0-7F9261F2D45E}"/>
              </a:ext>
            </a:extLst>
          </p:cNvPr>
          <p:cNvSpPr>
            <a:spLocks noGrp="1"/>
          </p:cNvSpPr>
          <p:nvPr>
            <p:ph type="title"/>
          </p:nvPr>
        </p:nvSpPr>
        <p:spPr/>
        <p:txBody>
          <a:bodyPr/>
          <a:lstStyle/>
          <a:p>
            <a:r>
              <a:rPr lang="fr-FR" dirty="0" err="1"/>
              <a:t>Mega</a:t>
            </a:r>
            <a:r>
              <a:rPr lang="fr-FR" dirty="0"/>
              <a:t> Agents</a:t>
            </a:r>
          </a:p>
        </p:txBody>
      </p:sp>
      <p:sp>
        <p:nvSpPr>
          <p:cNvPr id="3" name="Text Placeholder 16">
            <a:extLst>
              <a:ext uri="{FF2B5EF4-FFF2-40B4-BE49-F238E27FC236}">
                <a16:creationId xmlns:a16="http://schemas.microsoft.com/office/drawing/2014/main" id="{3B498790-F35B-4331-94A7-2B24C15AAA91}"/>
              </a:ext>
            </a:extLst>
          </p:cNvPr>
          <p:cNvSpPr txBox="1">
            <a:spLocks/>
          </p:cNvSpPr>
          <p:nvPr/>
        </p:nvSpPr>
        <p:spPr>
          <a:xfrm>
            <a:off x="436418" y="641332"/>
            <a:ext cx="8494639" cy="3642569"/>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Clr>
                <a:schemeClr val="accent2"/>
              </a:buClr>
              <a:buFont typeface="Arial" panose="020B0604020202020204" pitchFamily="34" charset="0"/>
              <a:buChar char="•"/>
            </a:pPr>
            <a:r>
              <a:rPr lang="en-US" sz="1400" dirty="0"/>
              <a:t>Need to build a complex agent, with several conversational trees ?</a:t>
            </a:r>
          </a:p>
          <a:p>
            <a:pPr marL="285750" indent="-285750">
              <a:buClr>
                <a:schemeClr val="accent2"/>
              </a:buClr>
              <a:buFont typeface="Arial" panose="020B0604020202020204" pitchFamily="34" charset="0"/>
              <a:buChar char="•"/>
            </a:pPr>
            <a:r>
              <a:rPr lang="en-US" sz="1400" dirty="0"/>
              <a:t>Need to have several developers on a same agent ?</a:t>
            </a:r>
          </a:p>
          <a:p>
            <a:pPr marL="285750" indent="-285750">
              <a:buClr>
                <a:schemeClr val="accent2"/>
              </a:buClr>
              <a:buFont typeface="Arial" panose="020B0604020202020204" pitchFamily="34" charset="0"/>
              <a:buChar char="•"/>
            </a:pPr>
            <a:r>
              <a:rPr lang="en-US" sz="1400" dirty="0"/>
              <a:t>Need to have more than 2000 intents ?</a:t>
            </a:r>
          </a:p>
          <a:p>
            <a:endParaRPr lang="en-US" sz="800" dirty="0">
              <a:solidFill>
                <a:schemeClr val="accent2"/>
              </a:solidFill>
            </a:endParaRPr>
          </a:p>
          <a:p>
            <a:r>
              <a:rPr lang="en-US" sz="1400" dirty="0"/>
              <a:t>You can build a </a:t>
            </a:r>
            <a:r>
              <a:rPr lang="en-US" sz="1400" b="1" dirty="0">
                <a:solidFill>
                  <a:schemeClr val="accent2"/>
                </a:solidFill>
              </a:rPr>
              <a:t>“mega agent” :  </a:t>
            </a:r>
            <a:r>
              <a:rPr lang="en-US" sz="1400" dirty="0"/>
              <a:t>you can combine multiple </a:t>
            </a:r>
            <a:r>
              <a:rPr lang="en-US" sz="1400" dirty="0" err="1"/>
              <a:t>Dialogflow</a:t>
            </a:r>
            <a:r>
              <a:rPr lang="en-US" sz="1400" dirty="0"/>
              <a:t> agents, called sub-agents, into a single agent, called a mega agent. When you perform a detect intent request against a mega agent, all of the sub-agents are considered, and the best response from the sub-agents is returned.</a:t>
            </a:r>
          </a:p>
          <a:p>
            <a:endParaRPr lang="en-US" sz="1400" dirty="0"/>
          </a:p>
        </p:txBody>
      </p:sp>
      <p:pic>
        <p:nvPicPr>
          <p:cNvPr id="8" name="Image 7">
            <a:extLst>
              <a:ext uri="{FF2B5EF4-FFF2-40B4-BE49-F238E27FC236}">
                <a16:creationId xmlns:a16="http://schemas.microsoft.com/office/drawing/2014/main" id="{490E6CCE-DC6E-49B2-B59B-CC3DDFF3C44B}"/>
              </a:ext>
            </a:extLst>
          </p:cNvPr>
          <p:cNvPicPr>
            <a:picLocks noChangeAspect="1"/>
          </p:cNvPicPr>
          <p:nvPr/>
        </p:nvPicPr>
        <p:blipFill>
          <a:blip r:embed="rId2"/>
          <a:stretch>
            <a:fillRect/>
          </a:stretch>
        </p:blipFill>
        <p:spPr>
          <a:xfrm>
            <a:off x="255872" y="2701777"/>
            <a:ext cx="5762048" cy="2089963"/>
          </a:xfrm>
          <a:prstGeom prst="rect">
            <a:avLst/>
          </a:prstGeom>
        </p:spPr>
      </p:pic>
      <p:sp>
        <p:nvSpPr>
          <p:cNvPr id="9" name="Rectangle 8">
            <a:extLst>
              <a:ext uri="{FF2B5EF4-FFF2-40B4-BE49-F238E27FC236}">
                <a16:creationId xmlns:a16="http://schemas.microsoft.com/office/drawing/2014/main" id="{5794D369-076F-4D38-9C65-F2B92C81F27E}"/>
              </a:ext>
            </a:extLst>
          </p:cNvPr>
          <p:cNvSpPr/>
          <p:nvPr/>
        </p:nvSpPr>
        <p:spPr>
          <a:xfrm>
            <a:off x="6121184" y="3588086"/>
            <a:ext cx="2913137" cy="1131079"/>
          </a:xfrm>
          <a:prstGeom prst="rect">
            <a:avLst/>
          </a:prstGeom>
        </p:spPr>
        <p:txBody>
          <a:bodyPr wrap="square">
            <a:spAutoFit/>
          </a:bodyPr>
          <a:lstStyle/>
          <a:p>
            <a:r>
              <a:rPr lang="en-US" dirty="0"/>
              <a:t>Limits : </a:t>
            </a:r>
          </a:p>
          <a:p>
            <a:pPr marL="285750" indent="-285750">
              <a:buClr>
                <a:schemeClr val="accent2"/>
              </a:buClr>
              <a:buFont typeface="Arial" panose="020B0604020202020204" pitchFamily="34" charset="0"/>
              <a:buChar char="•"/>
            </a:pPr>
            <a:r>
              <a:rPr lang="en-US" dirty="0"/>
              <a:t>One GCP project by mega agent and sub-agents</a:t>
            </a:r>
          </a:p>
          <a:p>
            <a:pPr marL="285750" indent="-285750">
              <a:buClr>
                <a:schemeClr val="accent2"/>
              </a:buClr>
              <a:buFont typeface="Arial" panose="020B0604020202020204" pitchFamily="34" charset="0"/>
              <a:buChar char="•"/>
            </a:pPr>
            <a:r>
              <a:rPr lang="en-US" dirty="0"/>
              <a:t>max 10 sub-agents</a:t>
            </a:r>
          </a:p>
          <a:p>
            <a:pPr marL="285750" indent="-285750">
              <a:buClr>
                <a:schemeClr val="accent2"/>
              </a:buClr>
              <a:buFont typeface="Arial" panose="020B0604020202020204" pitchFamily="34" charset="0"/>
              <a:buChar char="•"/>
            </a:pPr>
            <a:r>
              <a:rPr lang="en-US" dirty="0"/>
              <a:t>no small-talks</a:t>
            </a:r>
          </a:p>
        </p:txBody>
      </p:sp>
      <p:sp>
        <p:nvSpPr>
          <p:cNvPr id="10" name="Ellipse 9">
            <a:extLst>
              <a:ext uri="{FF2B5EF4-FFF2-40B4-BE49-F238E27FC236}">
                <a16:creationId xmlns:a16="http://schemas.microsoft.com/office/drawing/2014/main" id="{552C43A0-62D9-41FD-89F4-5DEA245FFFC4}"/>
              </a:ext>
            </a:extLst>
          </p:cNvPr>
          <p:cNvSpPr/>
          <p:nvPr/>
        </p:nvSpPr>
        <p:spPr>
          <a:xfrm>
            <a:off x="152608" y="4314053"/>
            <a:ext cx="1240173" cy="447535"/>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75777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68A097-06C4-4932-B2B0-7F9261F2D45E}"/>
              </a:ext>
            </a:extLst>
          </p:cNvPr>
          <p:cNvSpPr>
            <a:spLocks noGrp="1"/>
          </p:cNvSpPr>
          <p:nvPr>
            <p:ph type="title"/>
          </p:nvPr>
        </p:nvSpPr>
        <p:spPr>
          <a:xfrm>
            <a:off x="9525" y="-38419"/>
            <a:ext cx="6975475" cy="808037"/>
          </a:xfrm>
        </p:spPr>
        <p:txBody>
          <a:bodyPr/>
          <a:lstStyle/>
          <a:p>
            <a:r>
              <a:rPr lang="fr-FR" dirty="0"/>
              <a:t>Links</a:t>
            </a:r>
          </a:p>
        </p:txBody>
      </p:sp>
      <p:sp>
        <p:nvSpPr>
          <p:cNvPr id="3" name="Text Placeholder 16">
            <a:extLst>
              <a:ext uri="{FF2B5EF4-FFF2-40B4-BE49-F238E27FC236}">
                <a16:creationId xmlns:a16="http://schemas.microsoft.com/office/drawing/2014/main" id="{3B498790-F35B-4331-94A7-2B24C15AAA91}"/>
              </a:ext>
            </a:extLst>
          </p:cNvPr>
          <p:cNvSpPr txBox="1">
            <a:spLocks/>
          </p:cNvSpPr>
          <p:nvPr/>
        </p:nvSpPr>
        <p:spPr>
          <a:xfrm>
            <a:off x="436418" y="641332"/>
            <a:ext cx="8494639" cy="3642569"/>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Clr>
                <a:schemeClr val="accent2"/>
              </a:buClr>
              <a:buFont typeface="Arial" panose="020B0604020202020204" pitchFamily="34" charset="0"/>
              <a:buChar char="•"/>
            </a:pPr>
            <a:r>
              <a:rPr lang="en-US" sz="1200" dirty="0"/>
              <a:t>Google Cloud Status Dashboard </a:t>
            </a:r>
          </a:p>
          <a:p>
            <a:pPr marL="690563" lvl="1" indent="-285750">
              <a:buClr>
                <a:schemeClr val="accent2"/>
              </a:buClr>
            </a:pPr>
            <a:r>
              <a:rPr lang="fr-FR" sz="1200" dirty="0">
                <a:hlinkClick r:id="rId3"/>
              </a:rPr>
              <a:t>https://status.cloud.google.com/</a:t>
            </a:r>
            <a:endParaRPr lang="fr-FR" sz="1200" dirty="0"/>
          </a:p>
          <a:p>
            <a:pPr marL="690563" lvl="1" indent="-285750"/>
            <a:endParaRPr lang="fr-FR" sz="1200" dirty="0"/>
          </a:p>
          <a:p>
            <a:pPr marL="285750" indent="-285750">
              <a:buClr>
                <a:schemeClr val="accent2"/>
              </a:buClr>
              <a:buFont typeface="Arial" panose="020B0604020202020204" pitchFamily="34" charset="0"/>
              <a:buChar char="•"/>
            </a:pPr>
            <a:r>
              <a:rPr lang="fr-FR" sz="1200" dirty="0" err="1"/>
              <a:t>Firebase</a:t>
            </a:r>
            <a:r>
              <a:rPr lang="fr-FR" sz="1200" dirty="0"/>
              <a:t> </a:t>
            </a:r>
            <a:r>
              <a:rPr lang="fr-FR" sz="1200" dirty="0" err="1"/>
              <a:t>Status</a:t>
            </a:r>
            <a:r>
              <a:rPr lang="fr-FR" sz="1200" dirty="0"/>
              <a:t> Dashboard</a:t>
            </a:r>
          </a:p>
          <a:p>
            <a:pPr marL="690563" lvl="1" indent="-285750">
              <a:buClr>
                <a:schemeClr val="accent2"/>
              </a:buClr>
            </a:pPr>
            <a:r>
              <a:rPr lang="fr-FR" sz="1200" dirty="0">
                <a:hlinkClick r:id="rId4"/>
              </a:rPr>
              <a:t>https://status.firebase.google.com/</a:t>
            </a:r>
            <a:endParaRPr lang="fr-FR" sz="1200" dirty="0"/>
          </a:p>
          <a:p>
            <a:pPr marL="285750" indent="-285750"/>
            <a:endParaRPr lang="en-US" sz="1200" dirty="0">
              <a:solidFill>
                <a:schemeClr val="accent2"/>
              </a:solidFill>
            </a:endParaRPr>
          </a:p>
          <a:p>
            <a:pPr marL="285750" indent="-285750">
              <a:buClr>
                <a:schemeClr val="accent2"/>
              </a:buClr>
              <a:buFont typeface="Arial" panose="020B0604020202020204" pitchFamily="34" charset="0"/>
              <a:buChar char="•"/>
            </a:pPr>
            <a:r>
              <a:rPr lang="en-US" sz="1200" dirty="0"/>
              <a:t>Samples </a:t>
            </a:r>
          </a:p>
          <a:p>
            <a:pPr marL="690563" lvl="1" indent="-285750">
              <a:buClr>
                <a:schemeClr val="accent2"/>
              </a:buClr>
            </a:pPr>
            <a:r>
              <a:rPr lang="en-US" sz="1200" dirty="0">
                <a:hlinkClick r:id="rId5"/>
              </a:rPr>
              <a:t>https://github.com/dialogflow</a:t>
            </a:r>
            <a:endParaRPr lang="en-US" sz="1200" dirty="0"/>
          </a:p>
          <a:p>
            <a:pPr marL="690563" lvl="1" indent="-285750">
              <a:buClr>
                <a:schemeClr val="accent2"/>
              </a:buClr>
            </a:pPr>
            <a:endParaRPr lang="en-US" sz="1200" dirty="0"/>
          </a:p>
          <a:p>
            <a:pPr marL="285750" indent="-285750">
              <a:buClr>
                <a:schemeClr val="accent2"/>
              </a:buClr>
              <a:buFont typeface="Arial" panose="020B0604020202020204" pitchFamily="34" charset="0"/>
              <a:buChar char="•"/>
            </a:pPr>
            <a:r>
              <a:rPr lang="en-US" sz="1200" dirty="0"/>
              <a:t>Assessing the quality of training phrases </a:t>
            </a:r>
          </a:p>
          <a:p>
            <a:pPr marL="690563" lvl="1" indent="-285750">
              <a:buClr>
                <a:schemeClr val="accent2"/>
              </a:buClr>
            </a:pPr>
            <a:r>
              <a:rPr lang="en-US" sz="1200" dirty="0">
                <a:hlinkClick r:id="rId6"/>
              </a:rPr>
              <a:t>https://cloud.google.com/solutions/assessing-the-quality-of-training-phrases-in-dialogflow-intents</a:t>
            </a:r>
            <a:endParaRPr lang="en-US" sz="1200" dirty="0"/>
          </a:p>
          <a:p>
            <a:pPr marL="690563" lvl="1" indent="-285750">
              <a:buClr>
                <a:schemeClr val="accent2"/>
              </a:buClr>
            </a:pPr>
            <a:endParaRPr lang="en-US" sz="1200" dirty="0"/>
          </a:p>
          <a:p>
            <a:pPr marL="285750" indent="-285750">
              <a:buClr>
                <a:schemeClr val="accent2"/>
              </a:buClr>
              <a:buFont typeface="Arial" panose="020B0604020202020204" pitchFamily="34" charset="0"/>
              <a:buChar char="•"/>
            </a:pPr>
            <a:r>
              <a:rPr lang="en-US" sz="1200" dirty="0"/>
              <a:t>SSML</a:t>
            </a:r>
          </a:p>
          <a:p>
            <a:pPr marL="690563" lvl="1" indent="-285750">
              <a:buClr>
                <a:schemeClr val="accent2"/>
              </a:buClr>
            </a:pPr>
            <a:r>
              <a:rPr lang="en-US" sz="1200" dirty="0">
                <a:hlinkClick r:id="rId7"/>
              </a:rPr>
              <a:t>https://developers.google.com/assistant/actions/reference/ssml</a:t>
            </a:r>
            <a:endParaRPr lang="en-US" sz="1200" dirty="0"/>
          </a:p>
          <a:p>
            <a:pPr marL="690563" lvl="1" indent="-285750">
              <a:buClr>
                <a:schemeClr val="accent2"/>
              </a:buClr>
            </a:pPr>
            <a:endParaRPr lang="en-US" sz="1450" dirty="0"/>
          </a:p>
          <a:p>
            <a:pPr marL="690563" lvl="1" indent="-285750">
              <a:buClr>
                <a:schemeClr val="accent2"/>
              </a:buClr>
            </a:pPr>
            <a:endParaRPr lang="en-US" sz="1450" dirty="0"/>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1733279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0894D2B-1756-5646-BD5A-55B31D852E96}"/>
              </a:ext>
            </a:extLst>
          </p:cNvPr>
          <p:cNvSpPr txBox="1"/>
          <p:nvPr/>
        </p:nvSpPr>
        <p:spPr>
          <a:xfrm>
            <a:off x="3475229" y="1978005"/>
            <a:ext cx="1835807" cy="595923"/>
          </a:xfrm>
          <a:prstGeom prst="rect">
            <a:avLst/>
          </a:prstGeom>
        </p:spPr>
        <p:txBody>
          <a:bodyPr wrap="square" lIns="432000" tIns="0" rIns="72000" bIns="72000" rtlCol="0">
            <a:spAutoFit/>
          </a:bodyPr>
          <a:lstStyle/>
          <a:p>
            <a:pPr>
              <a:spcBef>
                <a:spcPts val="1200"/>
              </a:spcBef>
              <a:spcAft>
                <a:spcPts val="450"/>
              </a:spcAft>
            </a:pPr>
            <a:r>
              <a:rPr lang="en-US" sz="800" b="1" dirty="0">
                <a:solidFill>
                  <a:schemeClr val="accent1"/>
                </a:solidFill>
                <a:cs typeface="Arial"/>
              </a:rPr>
              <a:t>Eric </a:t>
            </a:r>
            <a:r>
              <a:rPr lang="en-US" sz="800" b="1" dirty="0" err="1">
                <a:solidFill>
                  <a:schemeClr val="accent1"/>
                </a:solidFill>
                <a:cs typeface="Arial"/>
              </a:rPr>
              <a:t>Ginouillac</a:t>
            </a:r>
            <a:endParaRPr lang="en-US" sz="800" b="1" dirty="0">
              <a:solidFill>
                <a:schemeClr val="accent1"/>
              </a:solidFill>
              <a:cs typeface="Arial"/>
            </a:endParaRPr>
          </a:p>
          <a:p>
            <a:pPr>
              <a:lnSpc>
                <a:spcPts val="900"/>
              </a:lnSpc>
            </a:pPr>
            <a:r>
              <a:rPr lang="en-US" sz="700" dirty="0">
                <a:solidFill>
                  <a:schemeClr val="accent2"/>
                </a:solidFill>
                <a:cs typeface="Arial"/>
              </a:rPr>
              <a:t>Odigo Experience Presales</a:t>
            </a:r>
          </a:p>
          <a:p>
            <a:pPr>
              <a:lnSpc>
                <a:spcPts val="900"/>
              </a:lnSpc>
            </a:pPr>
            <a:r>
              <a:rPr lang="en-US" sz="700" dirty="0">
                <a:cs typeface="Arial"/>
              </a:rPr>
              <a:t>eric.ginouillac@odigo.com</a:t>
            </a:r>
          </a:p>
          <a:p>
            <a:pPr>
              <a:lnSpc>
                <a:spcPts val="900"/>
              </a:lnSpc>
            </a:pPr>
            <a:endParaRPr lang="en-US" sz="700" dirty="0">
              <a:cs typeface="Arial"/>
            </a:endParaRPr>
          </a:p>
        </p:txBody>
      </p:sp>
      <p:sp>
        <p:nvSpPr>
          <p:cNvPr id="3" name="TextBox 2">
            <a:extLst>
              <a:ext uri="{FF2B5EF4-FFF2-40B4-BE49-F238E27FC236}">
                <a16:creationId xmlns:a16="http://schemas.microsoft.com/office/drawing/2014/main" id="{9223C661-D736-C54F-B4DF-2587D18051A5}"/>
              </a:ext>
            </a:extLst>
          </p:cNvPr>
          <p:cNvSpPr txBox="1"/>
          <p:nvPr/>
        </p:nvSpPr>
        <p:spPr>
          <a:xfrm>
            <a:off x="5312115" y="1978005"/>
            <a:ext cx="1672886" cy="180425"/>
          </a:xfrm>
          <a:prstGeom prst="rect">
            <a:avLst/>
          </a:prstGeom>
        </p:spPr>
        <p:txBody>
          <a:bodyPr wrap="square" lIns="216000" tIns="0" rIns="72000" bIns="72000" rtlCol="0">
            <a:spAutoFit/>
          </a:bodyPr>
          <a:lstStyle/>
          <a:p>
            <a:pPr>
              <a:spcBef>
                <a:spcPts val="1200"/>
              </a:spcBef>
              <a:spcAft>
                <a:spcPts val="450"/>
              </a:spcAft>
            </a:pPr>
            <a:endParaRPr lang="en-US" sz="700" dirty="0">
              <a:cs typeface="Arial"/>
            </a:endParaRPr>
          </a:p>
        </p:txBody>
      </p:sp>
    </p:spTree>
    <p:extLst>
      <p:ext uri="{BB962C8B-B14F-4D97-AF65-F5344CB8AC3E}">
        <p14:creationId xmlns:p14="http://schemas.microsoft.com/office/powerpoint/2010/main" val="2758443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llipse 5">
            <a:extLst>
              <a:ext uri="{FF2B5EF4-FFF2-40B4-BE49-F238E27FC236}">
                <a16:creationId xmlns:a16="http://schemas.microsoft.com/office/drawing/2014/main" id="{0C04EDAC-5594-49D9-A348-ADF93F2EC4EE}"/>
              </a:ext>
            </a:extLst>
          </p:cNvPr>
          <p:cNvSpPr/>
          <p:nvPr/>
        </p:nvSpPr>
        <p:spPr>
          <a:xfrm>
            <a:off x="3418087" y="1021162"/>
            <a:ext cx="5311361" cy="5254433"/>
          </a:xfrm>
          <a:prstGeom prst="ellipse">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A58C9069-A253-0946-846F-2D00A4204D95}"/>
              </a:ext>
            </a:extLst>
          </p:cNvPr>
          <p:cNvSpPr>
            <a:spLocks noGrp="1"/>
          </p:cNvSpPr>
          <p:nvPr>
            <p:ph type="title"/>
          </p:nvPr>
        </p:nvSpPr>
        <p:spPr/>
        <p:txBody>
          <a:bodyPr/>
          <a:lstStyle/>
          <a:p>
            <a:r>
              <a:rPr lang="en-US" dirty="0" err="1"/>
              <a:t>Dialogflow</a:t>
            </a:r>
            <a:br>
              <a:rPr lang="en-US" dirty="0"/>
            </a:br>
            <a:r>
              <a:rPr lang="en-US" dirty="0"/>
              <a:t>Training</a:t>
            </a:r>
          </a:p>
        </p:txBody>
      </p:sp>
      <p:sp>
        <p:nvSpPr>
          <p:cNvPr id="3" name="Text Placeholder 2">
            <a:extLst>
              <a:ext uri="{FF2B5EF4-FFF2-40B4-BE49-F238E27FC236}">
                <a16:creationId xmlns:a16="http://schemas.microsoft.com/office/drawing/2014/main" id="{F52F02E1-A4DC-B244-BCC1-26DDC889B5C3}"/>
              </a:ext>
            </a:extLst>
          </p:cNvPr>
          <p:cNvSpPr>
            <a:spLocks noGrp="1"/>
          </p:cNvSpPr>
          <p:nvPr>
            <p:ph type="body" sz="quarter" idx="10"/>
          </p:nvPr>
        </p:nvSpPr>
        <p:spPr/>
        <p:txBody>
          <a:bodyPr/>
          <a:lstStyle/>
          <a:p>
            <a:r>
              <a:rPr lang="en-US" dirty="0"/>
              <a:t>Module 2 : Introduction to STT / TTS</a:t>
            </a:r>
          </a:p>
        </p:txBody>
      </p:sp>
      <p:sp>
        <p:nvSpPr>
          <p:cNvPr id="7" name="Freeform 1">
            <a:extLst>
              <a:ext uri="{FF2B5EF4-FFF2-40B4-BE49-F238E27FC236}">
                <a16:creationId xmlns:a16="http://schemas.microsoft.com/office/drawing/2014/main" id="{C009C2CB-0D45-244B-8254-95D0D9E3683C}"/>
              </a:ext>
            </a:extLst>
          </p:cNvPr>
          <p:cNvSpPr>
            <a:spLocks noChangeArrowheads="1"/>
          </p:cNvSpPr>
          <p:nvPr/>
        </p:nvSpPr>
        <p:spPr bwMode="auto">
          <a:xfrm>
            <a:off x="6799803" y="0"/>
            <a:ext cx="2747583" cy="2612551"/>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2283573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F3D6587-E048-4A0C-9427-357F9F75ED70}"/>
              </a:ext>
            </a:extLst>
          </p:cNvPr>
          <p:cNvSpPr>
            <a:spLocks noGrp="1"/>
          </p:cNvSpPr>
          <p:nvPr>
            <p:ph type="title"/>
          </p:nvPr>
        </p:nvSpPr>
        <p:spPr/>
        <p:txBody>
          <a:bodyPr/>
          <a:lstStyle/>
          <a:p>
            <a:r>
              <a:rPr lang="fr-FR" dirty="0"/>
              <a:t>Google STT and TTS </a:t>
            </a:r>
          </a:p>
        </p:txBody>
      </p:sp>
      <p:pic>
        <p:nvPicPr>
          <p:cNvPr id="4" name="Picture 10" descr="speech-api-lead">
            <a:extLst>
              <a:ext uri="{FF2B5EF4-FFF2-40B4-BE49-F238E27FC236}">
                <a16:creationId xmlns:a16="http://schemas.microsoft.com/office/drawing/2014/main" id="{44509F2A-2657-48CE-B86C-DA91D407C3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3530" y="958079"/>
            <a:ext cx="1188787" cy="67987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1AB62A17-B112-4FDF-A8F4-70CBB80664B0}"/>
              </a:ext>
            </a:extLst>
          </p:cNvPr>
          <p:cNvSpPr/>
          <p:nvPr/>
        </p:nvSpPr>
        <p:spPr>
          <a:xfrm>
            <a:off x="313530" y="657997"/>
            <a:ext cx="3336063" cy="300082"/>
          </a:xfrm>
          <a:prstGeom prst="rect">
            <a:avLst/>
          </a:prstGeom>
        </p:spPr>
        <p:txBody>
          <a:bodyPr wrap="square">
            <a:spAutoFit/>
          </a:bodyPr>
          <a:lstStyle/>
          <a:p>
            <a:r>
              <a:rPr lang="fr-FR" b="1" dirty="0">
                <a:solidFill>
                  <a:schemeClr val="accent2"/>
                </a:solidFill>
              </a:rPr>
              <a:t>STT : Speech To </a:t>
            </a:r>
            <a:r>
              <a:rPr lang="fr-FR" b="1" dirty="0" err="1">
                <a:solidFill>
                  <a:schemeClr val="accent2"/>
                </a:solidFill>
              </a:rPr>
              <a:t>Text</a:t>
            </a:r>
            <a:endParaRPr lang="fr-FR" b="1" dirty="0">
              <a:solidFill>
                <a:schemeClr val="accent2"/>
              </a:solidFill>
            </a:endParaRPr>
          </a:p>
        </p:txBody>
      </p:sp>
      <p:sp>
        <p:nvSpPr>
          <p:cNvPr id="6" name="Text Placeholder 16">
            <a:extLst>
              <a:ext uri="{FF2B5EF4-FFF2-40B4-BE49-F238E27FC236}">
                <a16:creationId xmlns:a16="http://schemas.microsoft.com/office/drawing/2014/main" id="{3801FD6A-4105-439B-BB45-589FD4277FB4}"/>
              </a:ext>
            </a:extLst>
          </p:cNvPr>
          <p:cNvSpPr txBox="1">
            <a:spLocks/>
          </p:cNvSpPr>
          <p:nvPr/>
        </p:nvSpPr>
        <p:spPr>
          <a:xfrm>
            <a:off x="1743816" y="657997"/>
            <a:ext cx="7153296" cy="1120897"/>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p>
          <a:p>
            <a:pPr marL="285750" indent="-285750">
              <a:buClr>
                <a:schemeClr val="accent2"/>
              </a:buClr>
              <a:buFont typeface="Arial" panose="020B0604020202020204" pitchFamily="34" charset="0"/>
              <a:buChar char="•"/>
            </a:pPr>
            <a:r>
              <a:rPr lang="en-US" sz="1400" dirty="0"/>
              <a:t>The Google Speech-to-Text API enables developers to convert audio to text by applying neural network models.</a:t>
            </a:r>
          </a:p>
          <a:p>
            <a:pPr marL="285750" indent="-285750">
              <a:buClr>
                <a:schemeClr val="accent2"/>
              </a:buClr>
              <a:buFont typeface="Arial" panose="020B0604020202020204" pitchFamily="34" charset="0"/>
              <a:buChar char="•"/>
            </a:pPr>
            <a:r>
              <a:rPr lang="en-US" sz="1400" dirty="0"/>
              <a:t>Returns text transcription in real time</a:t>
            </a:r>
          </a:p>
          <a:p>
            <a:pPr marL="285750" indent="-285750">
              <a:buClr>
                <a:schemeClr val="accent2"/>
              </a:buClr>
              <a:buFont typeface="Arial" panose="020B0604020202020204" pitchFamily="34" charset="0"/>
              <a:buChar char="•"/>
            </a:pPr>
            <a:r>
              <a:rPr lang="en-US" sz="1400" dirty="0"/>
              <a:t>Transcribes proper nouns and context-specific formatting (dates, phones numbers…)</a:t>
            </a:r>
          </a:p>
          <a:p>
            <a:pPr marL="285750" indent="-285750">
              <a:buClr>
                <a:schemeClr val="accent2"/>
              </a:buClr>
              <a:buFont typeface="Arial" panose="020B0604020202020204" pitchFamily="34" charset="0"/>
              <a:buChar char="•"/>
            </a:pPr>
            <a:r>
              <a:rPr lang="en-US" sz="1400" dirty="0"/>
              <a:t>Recognizes 120 languages and variants </a:t>
            </a:r>
          </a:p>
          <a:p>
            <a:pPr marL="285750" indent="-285750">
              <a:buClr>
                <a:schemeClr val="accent2"/>
              </a:buClr>
              <a:buFont typeface="Arial" panose="020B0604020202020204" pitchFamily="34" charset="0"/>
              <a:buChar char="•"/>
            </a:pPr>
            <a:r>
              <a:rPr lang="en-US" sz="1400" dirty="0">
                <a:hlinkClick r:id="rId4"/>
              </a:rPr>
              <a:t>https://cloud.google.com/speech-to-text</a:t>
            </a:r>
            <a:endParaRPr lang="en-US" sz="1400" dirty="0"/>
          </a:p>
          <a:p>
            <a:pPr marL="285750" indent="-285750">
              <a:buClr>
                <a:schemeClr val="accent2"/>
              </a:buClr>
              <a:buFont typeface="Arial" panose="020B0604020202020204" pitchFamily="34" charset="0"/>
              <a:buChar char="•"/>
            </a:pPr>
            <a:endParaRPr lang="en-US" dirty="0"/>
          </a:p>
        </p:txBody>
      </p:sp>
      <p:sp>
        <p:nvSpPr>
          <p:cNvPr id="7" name="Rectangle 6">
            <a:extLst>
              <a:ext uri="{FF2B5EF4-FFF2-40B4-BE49-F238E27FC236}">
                <a16:creationId xmlns:a16="http://schemas.microsoft.com/office/drawing/2014/main" id="{08B18F9A-14CC-4D82-BD57-D8D8779C8B68}"/>
              </a:ext>
            </a:extLst>
          </p:cNvPr>
          <p:cNvSpPr/>
          <p:nvPr/>
        </p:nvSpPr>
        <p:spPr>
          <a:xfrm>
            <a:off x="313528" y="2899553"/>
            <a:ext cx="3336063" cy="300082"/>
          </a:xfrm>
          <a:prstGeom prst="rect">
            <a:avLst/>
          </a:prstGeom>
        </p:spPr>
        <p:txBody>
          <a:bodyPr wrap="square">
            <a:spAutoFit/>
          </a:bodyPr>
          <a:lstStyle/>
          <a:p>
            <a:r>
              <a:rPr lang="fr-FR" b="1" dirty="0">
                <a:solidFill>
                  <a:schemeClr val="accent2"/>
                </a:solidFill>
              </a:rPr>
              <a:t>TTS : </a:t>
            </a:r>
            <a:r>
              <a:rPr lang="fr-FR" b="1" dirty="0" err="1">
                <a:solidFill>
                  <a:schemeClr val="accent2"/>
                </a:solidFill>
              </a:rPr>
              <a:t>Text</a:t>
            </a:r>
            <a:r>
              <a:rPr lang="fr-FR" b="1" dirty="0">
                <a:solidFill>
                  <a:schemeClr val="accent2"/>
                </a:solidFill>
              </a:rPr>
              <a:t> to Speech</a:t>
            </a:r>
          </a:p>
        </p:txBody>
      </p:sp>
      <p:sp>
        <p:nvSpPr>
          <p:cNvPr id="8" name="Text Placeholder 16">
            <a:extLst>
              <a:ext uri="{FF2B5EF4-FFF2-40B4-BE49-F238E27FC236}">
                <a16:creationId xmlns:a16="http://schemas.microsoft.com/office/drawing/2014/main" id="{A8875CBE-EFEE-427C-8EED-BF860D24D99C}"/>
              </a:ext>
            </a:extLst>
          </p:cNvPr>
          <p:cNvSpPr txBox="1">
            <a:spLocks/>
          </p:cNvSpPr>
          <p:nvPr/>
        </p:nvSpPr>
        <p:spPr>
          <a:xfrm>
            <a:off x="1743815" y="2899553"/>
            <a:ext cx="7153296" cy="1120897"/>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p>
          <a:p>
            <a:pPr marL="285750" indent="-285750">
              <a:buClr>
                <a:schemeClr val="accent2"/>
              </a:buClr>
              <a:buFont typeface="Arial" panose="020B0604020202020204" pitchFamily="34" charset="0"/>
              <a:buChar char="•"/>
            </a:pPr>
            <a:r>
              <a:rPr lang="en-US" sz="1400" dirty="0"/>
              <a:t>Google Cloud Text-to-Speech API converts text into human-like speech in more than 180 voices across 30+ languages and variants.</a:t>
            </a:r>
          </a:p>
          <a:p>
            <a:pPr marL="285750" indent="-285750">
              <a:buClr>
                <a:schemeClr val="accent2"/>
              </a:buClr>
              <a:buFont typeface="Arial" panose="020B0604020202020204" pitchFamily="34" charset="0"/>
              <a:buChar char="•"/>
            </a:pPr>
            <a:r>
              <a:rPr lang="en-US" sz="1400" dirty="0"/>
              <a:t>Two Voices :</a:t>
            </a:r>
          </a:p>
          <a:p>
            <a:pPr marL="690563" lvl="1" indent="-285750">
              <a:buClr>
                <a:schemeClr val="accent2"/>
              </a:buClr>
            </a:pPr>
            <a:r>
              <a:rPr lang="en-US" sz="1300" dirty="0"/>
              <a:t>DeepMind </a:t>
            </a:r>
            <a:r>
              <a:rPr lang="en-US" sz="1300" dirty="0" err="1"/>
              <a:t>WaveNet</a:t>
            </a:r>
            <a:r>
              <a:rPr lang="en-US" sz="1300" dirty="0"/>
              <a:t> voices that provide the natural-sounding speech.</a:t>
            </a:r>
          </a:p>
          <a:p>
            <a:pPr marL="690563" lvl="1" indent="-285750">
              <a:buClr>
                <a:schemeClr val="accent2"/>
              </a:buClr>
            </a:pPr>
            <a:r>
              <a:rPr lang="en-US" sz="1300" dirty="0"/>
              <a:t>Or standard Voices. Less natural, but cheaper.</a:t>
            </a:r>
          </a:p>
          <a:p>
            <a:pPr marL="285750" indent="-285750">
              <a:buClr>
                <a:schemeClr val="accent2"/>
              </a:buClr>
              <a:buFont typeface="Arial" panose="020B0604020202020204" pitchFamily="34" charset="0"/>
              <a:buChar char="•"/>
            </a:pPr>
            <a:r>
              <a:rPr lang="fr-FR" sz="1400" dirty="0">
                <a:hlinkClick r:id="rId5"/>
              </a:rPr>
              <a:t>https://cloud.google.com/text-to-speech</a:t>
            </a:r>
            <a:endParaRPr lang="en-US" sz="1400" dirty="0"/>
          </a:p>
        </p:txBody>
      </p:sp>
      <p:sp>
        <p:nvSpPr>
          <p:cNvPr id="10" name="AutoShape 2" descr="High-Fidelity Speech Synthesis">
            <a:extLst>
              <a:ext uri="{FF2B5EF4-FFF2-40B4-BE49-F238E27FC236}">
                <a16:creationId xmlns:a16="http://schemas.microsoft.com/office/drawing/2014/main" id="{923FE7F9-7F3C-4515-89FD-69E687E2A5C9}"/>
              </a:ext>
            </a:extLst>
          </p:cNvPr>
          <p:cNvSpPr>
            <a:spLocks noChangeAspect="1" noChangeArrowheads="1"/>
          </p:cNvSpPr>
          <p:nvPr/>
        </p:nvSpPr>
        <p:spPr bwMode="auto">
          <a:xfrm>
            <a:off x="4392168" y="2254309"/>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11" name="AutoShape 4" descr="High-Fidelity Speech Synthesis">
            <a:extLst>
              <a:ext uri="{FF2B5EF4-FFF2-40B4-BE49-F238E27FC236}">
                <a16:creationId xmlns:a16="http://schemas.microsoft.com/office/drawing/2014/main" id="{79D8E28A-B0C7-43BE-9626-0D3750D3A431}"/>
              </a:ext>
            </a:extLst>
          </p:cNvPr>
          <p:cNvSpPr>
            <a:spLocks noChangeAspect="1" noChangeArrowheads="1"/>
          </p:cNvSpPr>
          <p:nvPr/>
        </p:nvSpPr>
        <p:spPr bwMode="auto">
          <a:xfrm>
            <a:off x="4544568" y="2406709"/>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13" name="Image 12">
            <a:extLst>
              <a:ext uri="{FF2B5EF4-FFF2-40B4-BE49-F238E27FC236}">
                <a16:creationId xmlns:a16="http://schemas.microsoft.com/office/drawing/2014/main" id="{F585B991-65C3-4DB3-A7E2-9DBE3E2A2C04}"/>
              </a:ext>
            </a:extLst>
          </p:cNvPr>
          <p:cNvPicPr>
            <a:picLocks noChangeAspect="1"/>
          </p:cNvPicPr>
          <p:nvPr/>
        </p:nvPicPr>
        <p:blipFill>
          <a:blip r:embed="rId6"/>
          <a:stretch>
            <a:fillRect/>
          </a:stretch>
        </p:blipFill>
        <p:spPr>
          <a:xfrm>
            <a:off x="199056" y="3273754"/>
            <a:ext cx="1417734" cy="672577"/>
          </a:xfrm>
          <a:prstGeom prst="rect">
            <a:avLst/>
          </a:prstGeom>
        </p:spPr>
      </p:pic>
    </p:spTree>
    <p:extLst>
      <p:ext uri="{BB962C8B-B14F-4D97-AF65-F5344CB8AC3E}">
        <p14:creationId xmlns:p14="http://schemas.microsoft.com/office/powerpoint/2010/main" val="11801922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2FDACEE-282A-4427-BD56-0CF6C7519AF6}"/>
              </a:ext>
            </a:extLst>
          </p:cNvPr>
          <p:cNvSpPr>
            <a:spLocks noGrp="1"/>
          </p:cNvSpPr>
          <p:nvPr>
            <p:ph type="title"/>
          </p:nvPr>
        </p:nvSpPr>
        <p:spPr/>
        <p:txBody>
          <a:bodyPr/>
          <a:lstStyle/>
          <a:p>
            <a:r>
              <a:rPr lang="fr-FR" dirty="0"/>
              <a:t>STT – Speech To </a:t>
            </a:r>
            <a:r>
              <a:rPr lang="fr-FR" dirty="0" err="1"/>
              <a:t>Text</a:t>
            </a:r>
            <a:endParaRPr lang="fr-FR" dirty="0"/>
          </a:p>
        </p:txBody>
      </p:sp>
      <p:sp>
        <p:nvSpPr>
          <p:cNvPr id="5" name="Rectangle 4">
            <a:extLst>
              <a:ext uri="{FF2B5EF4-FFF2-40B4-BE49-F238E27FC236}">
                <a16:creationId xmlns:a16="http://schemas.microsoft.com/office/drawing/2014/main" id="{28DCFF44-31CD-4B20-877C-2E21580DF162}"/>
              </a:ext>
            </a:extLst>
          </p:cNvPr>
          <p:cNvSpPr/>
          <p:nvPr/>
        </p:nvSpPr>
        <p:spPr>
          <a:xfrm>
            <a:off x="340962" y="823038"/>
            <a:ext cx="3336063" cy="300082"/>
          </a:xfrm>
          <a:prstGeom prst="rect">
            <a:avLst/>
          </a:prstGeom>
        </p:spPr>
        <p:txBody>
          <a:bodyPr wrap="square">
            <a:spAutoFit/>
          </a:bodyPr>
          <a:lstStyle/>
          <a:p>
            <a:r>
              <a:rPr lang="fr-FR" b="1" dirty="0">
                <a:solidFill>
                  <a:schemeClr val="accent2"/>
                </a:solidFill>
              </a:rPr>
              <a:t>Basic transcription </a:t>
            </a:r>
          </a:p>
        </p:txBody>
      </p:sp>
      <p:cxnSp>
        <p:nvCxnSpPr>
          <p:cNvPr id="17" name="Connecteur droit avec flèche 16">
            <a:extLst>
              <a:ext uri="{FF2B5EF4-FFF2-40B4-BE49-F238E27FC236}">
                <a16:creationId xmlns:a16="http://schemas.microsoft.com/office/drawing/2014/main" id="{59C77EA1-D3F9-4DF1-86B8-790399C1F5E1}"/>
              </a:ext>
            </a:extLst>
          </p:cNvPr>
          <p:cNvCxnSpPr>
            <a:cxnSpLocks/>
          </p:cNvCxnSpPr>
          <p:nvPr/>
        </p:nvCxnSpPr>
        <p:spPr>
          <a:xfrm flipH="1">
            <a:off x="1722618" y="1588994"/>
            <a:ext cx="1226145" cy="0"/>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pic>
        <p:nvPicPr>
          <p:cNvPr id="56330" name="Picture 10" descr="speech-api-lead">
            <a:extLst>
              <a:ext uri="{FF2B5EF4-FFF2-40B4-BE49-F238E27FC236}">
                <a16:creationId xmlns:a16="http://schemas.microsoft.com/office/drawing/2014/main" id="{05F1CA3C-8B79-4AF0-B95B-4E91EE70D0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52166" y="1051950"/>
            <a:ext cx="1188787" cy="679875"/>
          </a:xfrm>
          <a:prstGeom prst="rect">
            <a:avLst/>
          </a:prstGeom>
          <a:noFill/>
          <a:extLst>
            <a:ext uri="{909E8E84-426E-40DD-AFC4-6F175D3DCCD1}">
              <a14:hiddenFill xmlns:a14="http://schemas.microsoft.com/office/drawing/2010/main">
                <a:solidFill>
                  <a:srgbClr val="FFFFFF"/>
                </a:solidFill>
              </a14:hiddenFill>
            </a:ext>
          </a:extLst>
        </p:spPr>
      </p:pic>
      <p:cxnSp>
        <p:nvCxnSpPr>
          <p:cNvPr id="26" name="Connecteur droit avec flèche 25">
            <a:extLst>
              <a:ext uri="{FF2B5EF4-FFF2-40B4-BE49-F238E27FC236}">
                <a16:creationId xmlns:a16="http://schemas.microsoft.com/office/drawing/2014/main" id="{36B8EB2F-AA2E-4A59-94B8-2960A8EC0C65}"/>
              </a:ext>
            </a:extLst>
          </p:cNvPr>
          <p:cNvCxnSpPr>
            <a:cxnSpLocks/>
          </p:cNvCxnSpPr>
          <p:nvPr/>
        </p:nvCxnSpPr>
        <p:spPr>
          <a:xfrm flipH="1">
            <a:off x="4316962" y="1588994"/>
            <a:ext cx="1083239" cy="0"/>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27" name="Rectangle 26">
            <a:extLst>
              <a:ext uri="{FF2B5EF4-FFF2-40B4-BE49-F238E27FC236}">
                <a16:creationId xmlns:a16="http://schemas.microsoft.com/office/drawing/2014/main" id="{3C45C826-2E9C-4B4C-A650-F0DE829A7B1D}"/>
              </a:ext>
            </a:extLst>
          </p:cNvPr>
          <p:cNvSpPr/>
          <p:nvPr/>
        </p:nvSpPr>
        <p:spPr>
          <a:xfrm>
            <a:off x="340962" y="2607566"/>
            <a:ext cx="5953512" cy="300082"/>
          </a:xfrm>
          <a:prstGeom prst="rect">
            <a:avLst/>
          </a:prstGeom>
        </p:spPr>
        <p:txBody>
          <a:bodyPr wrap="square">
            <a:spAutoFit/>
          </a:bodyPr>
          <a:lstStyle/>
          <a:p>
            <a:r>
              <a:rPr lang="fr-FR" b="1" dirty="0">
                <a:solidFill>
                  <a:schemeClr val="accent2"/>
                </a:solidFill>
              </a:rPr>
              <a:t>Transcription </a:t>
            </a:r>
            <a:r>
              <a:rPr lang="fr-FR" b="1" dirty="0" err="1">
                <a:solidFill>
                  <a:schemeClr val="accent2"/>
                </a:solidFill>
              </a:rPr>
              <a:t>with</a:t>
            </a:r>
            <a:r>
              <a:rPr lang="fr-FR" b="1" dirty="0">
                <a:solidFill>
                  <a:schemeClr val="accent2"/>
                </a:solidFill>
              </a:rPr>
              <a:t> speech adaptation (</a:t>
            </a:r>
            <a:r>
              <a:rPr lang="fr-FR" b="1" dirty="0" err="1">
                <a:solidFill>
                  <a:schemeClr val="accent2"/>
                </a:solidFill>
              </a:rPr>
              <a:t>with</a:t>
            </a:r>
            <a:r>
              <a:rPr lang="fr-FR" b="1" dirty="0">
                <a:solidFill>
                  <a:schemeClr val="accent2"/>
                </a:solidFill>
              </a:rPr>
              <a:t> a </a:t>
            </a:r>
            <a:r>
              <a:rPr lang="fr-FR" b="1" dirty="0" err="1">
                <a:solidFill>
                  <a:schemeClr val="accent2"/>
                </a:solidFill>
              </a:rPr>
              <a:t>dictionnary</a:t>
            </a:r>
            <a:r>
              <a:rPr lang="fr-FR" b="1" dirty="0">
                <a:solidFill>
                  <a:schemeClr val="accent2"/>
                </a:solidFill>
              </a:rPr>
              <a:t>)</a:t>
            </a:r>
          </a:p>
        </p:txBody>
      </p:sp>
      <p:sp>
        <p:nvSpPr>
          <p:cNvPr id="28" name="Freeform 721">
            <a:extLst>
              <a:ext uri="{FF2B5EF4-FFF2-40B4-BE49-F238E27FC236}">
                <a16:creationId xmlns:a16="http://schemas.microsoft.com/office/drawing/2014/main" id="{E20E1DC0-2B44-40FB-9F50-1CEF2A81238A}"/>
              </a:ext>
            </a:extLst>
          </p:cNvPr>
          <p:cNvSpPr>
            <a:spLocks noChangeAspect="1"/>
          </p:cNvSpPr>
          <p:nvPr/>
        </p:nvSpPr>
        <p:spPr bwMode="auto">
          <a:xfrm>
            <a:off x="631572" y="3055587"/>
            <a:ext cx="1015038" cy="555318"/>
          </a:xfrm>
          <a:custGeom>
            <a:avLst/>
            <a:gdLst/>
            <a:ahLst/>
            <a:cxnLst>
              <a:cxn ang="0">
                <a:pos x="44" y="112"/>
              </a:cxn>
              <a:cxn ang="0">
                <a:pos x="36" y="144"/>
              </a:cxn>
              <a:cxn ang="0">
                <a:pos x="93" y="103"/>
              </a:cxn>
              <a:cxn ang="0">
                <a:pos x="113" y="57"/>
              </a:cxn>
              <a:cxn ang="0">
                <a:pos x="56" y="0"/>
              </a:cxn>
              <a:cxn ang="0">
                <a:pos x="0" y="57"/>
              </a:cxn>
              <a:cxn ang="0">
                <a:pos x="26" y="105"/>
              </a:cxn>
            </a:cxnLst>
            <a:rect l="0" t="0" r="r" b="b"/>
            <a:pathLst>
              <a:path w="113" h="144">
                <a:moveTo>
                  <a:pt x="44" y="112"/>
                </a:moveTo>
                <a:cubicBezTo>
                  <a:pt x="36" y="144"/>
                  <a:pt x="36" y="144"/>
                  <a:pt x="36" y="144"/>
                </a:cubicBezTo>
                <a:cubicBezTo>
                  <a:pt x="36" y="144"/>
                  <a:pt x="80" y="116"/>
                  <a:pt x="93" y="103"/>
                </a:cubicBezTo>
                <a:cubicBezTo>
                  <a:pt x="102" y="94"/>
                  <a:pt x="113" y="81"/>
                  <a:pt x="113" y="57"/>
                </a:cubicBezTo>
                <a:cubicBezTo>
                  <a:pt x="113" y="25"/>
                  <a:pt x="88" y="0"/>
                  <a:pt x="56" y="0"/>
                </a:cubicBezTo>
                <a:cubicBezTo>
                  <a:pt x="25" y="0"/>
                  <a:pt x="0" y="25"/>
                  <a:pt x="0" y="57"/>
                </a:cubicBezTo>
                <a:cubicBezTo>
                  <a:pt x="0" y="77"/>
                  <a:pt x="10" y="95"/>
                  <a:pt x="26" y="105"/>
                </a:cubicBezTo>
              </a:path>
            </a:pathLst>
          </a:custGeom>
          <a:solidFill>
            <a:srgbClr val="FFFFFF"/>
          </a:solid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algn="ctr"/>
            <a:r>
              <a:rPr lang="en-US" sz="1200" dirty="0">
                <a:latin typeface="Arial" pitchFamily="34" charset="0"/>
                <a:cs typeface="Arial" pitchFamily="34" charset="0"/>
              </a:rPr>
              <a:t>“Proud of Odigo”</a:t>
            </a:r>
          </a:p>
        </p:txBody>
      </p:sp>
      <p:cxnSp>
        <p:nvCxnSpPr>
          <p:cNvPr id="29" name="Connecteur droit avec flèche 28">
            <a:extLst>
              <a:ext uri="{FF2B5EF4-FFF2-40B4-BE49-F238E27FC236}">
                <a16:creationId xmlns:a16="http://schemas.microsoft.com/office/drawing/2014/main" id="{633671DE-2B0F-491A-A637-C04ECBF30F14}"/>
              </a:ext>
            </a:extLst>
          </p:cNvPr>
          <p:cNvCxnSpPr>
            <a:cxnSpLocks/>
          </p:cNvCxnSpPr>
          <p:nvPr/>
        </p:nvCxnSpPr>
        <p:spPr>
          <a:xfrm flipH="1" flipV="1">
            <a:off x="1722618" y="3373591"/>
            <a:ext cx="1226145" cy="142763"/>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pic>
        <p:nvPicPr>
          <p:cNvPr id="30" name="Picture 10" descr="speech-api-lead">
            <a:extLst>
              <a:ext uri="{FF2B5EF4-FFF2-40B4-BE49-F238E27FC236}">
                <a16:creationId xmlns:a16="http://schemas.microsoft.com/office/drawing/2014/main" id="{009582BE-74CE-4740-B9A5-2F99045C550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52166" y="3141774"/>
            <a:ext cx="1188787" cy="679875"/>
          </a:xfrm>
          <a:prstGeom prst="rect">
            <a:avLst/>
          </a:prstGeom>
          <a:noFill/>
          <a:extLst>
            <a:ext uri="{909E8E84-426E-40DD-AFC4-6F175D3DCCD1}">
              <a14:hiddenFill xmlns:a14="http://schemas.microsoft.com/office/drawing/2010/main">
                <a:solidFill>
                  <a:srgbClr val="FFFFFF"/>
                </a:solidFill>
              </a14:hiddenFill>
            </a:ext>
          </a:extLst>
        </p:spPr>
      </p:pic>
      <p:cxnSp>
        <p:nvCxnSpPr>
          <p:cNvPr id="31" name="Connecteur droit avec flèche 30">
            <a:extLst>
              <a:ext uri="{FF2B5EF4-FFF2-40B4-BE49-F238E27FC236}">
                <a16:creationId xmlns:a16="http://schemas.microsoft.com/office/drawing/2014/main" id="{607D5B2C-CE7E-42FE-8E87-F96D0A118774}"/>
              </a:ext>
            </a:extLst>
          </p:cNvPr>
          <p:cNvCxnSpPr>
            <a:cxnSpLocks/>
          </p:cNvCxnSpPr>
          <p:nvPr/>
        </p:nvCxnSpPr>
        <p:spPr>
          <a:xfrm flipH="1">
            <a:off x="4316962" y="3678818"/>
            <a:ext cx="1119819" cy="0"/>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14" name="Rectangle : avec coin rogné 13">
            <a:extLst>
              <a:ext uri="{FF2B5EF4-FFF2-40B4-BE49-F238E27FC236}">
                <a16:creationId xmlns:a16="http://schemas.microsoft.com/office/drawing/2014/main" id="{C1D00A5C-9542-4519-B082-BC09051030E2}"/>
              </a:ext>
            </a:extLst>
          </p:cNvPr>
          <p:cNvSpPr/>
          <p:nvPr/>
        </p:nvSpPr>
        <p:spPr>
          <a:xfrm>
            <a:off x="631571" y="3821648"/>
            <a:ext cx="1015530" cy="492513"/>
          </a:xfrm>
          <a:prstGeom prst="snip1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tx1"/>
                </a:solidFill>
              </a:rPr>
              <a:t>« Odigo »</a:t>
            </a:r>
          </a:p>
          <a:p>
            <a:pPr algn="ctr"/>
            <a:r>
              <a:rPr lang="fr-FR" sz="800" dirty="0">
                <a:solidFill>
                  <a:schemeClr val="tx1"/>
                </a:solidFill>
              </a:rPr>
              <a:t>« </a:t>
            </a:r>
            <a:r>
              <a:rPr lang="fr-FR" sz="800" dirty="0" err="1">
                <a:solidFill>
                  <a:schemeClr val="tx1"/>
                </a:solidFill>
              </a:rPr>
              <a:t>CapGemini</a:t>
            </a:r>
            <a:r>
              <a:rPr lang="fr-FR" sz="800" dirty="0">
                <a:solidFill>
                  <a:schemeClr val="tx1"/>
                </a:solidFill>
              </a:rPr>
              <a:t> »</a:t>
            </a:r>
          </a:p>
        </p:txBody>
      </p:sp>
      <p:cxnSp>
        <p:nvCxnSpPr>
          <p:cNvPr id="36" name="Connecteur droit avec flèche 35">
            <a:extLst>
              <a:ext uri="{FF2B5EF4-FFF2-40B4-BE49-F238E27FC236}">
                <a16:creationId xmlns:a16="http://schemas.microsoft.com/office/drawing/2014/main" id="{C341BCCA-375E-4C46-932B-9065978CE058}"/>
              </a:ext>
            </a:extLst>
          </p:cNvPr>
          <p:cNvCxnSpPr>
            <a:cxnSpLocks/>
          </p:cNvCxnSpPr>
          <p:nvPr/>
        </p:nvCxnSpPr>
        <p:spPr>
          <a:xfrm flipH="1">
            <a:off x="1722618" y="3758844"/>
            <a:ext cx="1226145" cy="142762"/>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40" name="Freeform 721">
            <a:extLst>
              <a:ext uri="{FF2B5EF4-FFF2-40B4-BE49-F238E27FC236}">
                <a16:creationId xmlns:a16="http://schemas.microsoft.com/office/drawing/2014/main" id="{20A2A849-7DF3-4951-BB4C-7CFE2BA87014}"/>
              </a:ext>
            </a:extLst>
          </p:cNvPr>
          <p:cNvSpPr>
            <a:spLocks noChangeAspect="1"/>
          </p:cNvSpPr>
          <p:nvPr/>
        </p:nvSpPr>
        <p:spPr bwMode="auto">
          <a:xfrm>
            <a:off x="631572" y="1311335"/>
            <a:ext cx="1015038" cy="555318"/>
          </a:xfrm>
          <a:custGeom>
            <a:avLst/>
            <a:gdLst/>
            <a:ahLst/>
            <a:cxnLst>
              <a:cxn ang="0">
                <a:pos x="44" y="112"/>
              </a:cxn>
              <a:cxn ang="0">
                <a:pos x="36" y="144"/>
              </a:cxn>
              <a:cxn ang="0">
                <a:pos x="93" y="103"/>
              </a:cxn>
              <a:cxn ang="0">
                <a:pos x="113" y="57"/>
              </a:cxn>
              <a:cxn ang="0">
                <a:pos x="56" y="0"/>
              </a:cxn>
              <a:cxn ang="0">
                <a:pos x="0" y="57"/>
              </a:cxn>
              <a:cxn ang="0">
                <a:pos x="26" y="105"/>
              </a:cxn>
            </a:cxnLst>
            <a:rect l="0" t="0" r="r" b="b"/>
            <a:pathLst>
              <a:path w="113" h="144">
                <a:moveTo>
                  <a:pt x="44" y="112"/>
                </a:moveTo>
                <a:cubicBezTo>
                  <a:pt x="36" y="144"/>
                  <a:pt x="36" y="144"/>
                  <a:pt x="36" y="144"/>
                </a:cubicBezTo>
                <a:cubicBezTo>
                  <a:pt x="36" y="144"/>
                  <a:pt x="80" y="116"/>
                  <a:pt x="93" y="103"/>
                </a:cubicBezTo>
                <a:cubicBezTo>
                  <a:pt x="102" y="94"/>
                  <a:pt x="113" y="81"/>
                  <a:pt x="113" y="57"/>
                </a:cubicBezTo>
                <a:cubicBezTo>
                  <a:pt x="113" y="25"/>
                  <a:pt x="88" y="0"/>
                  <a:pt x="56" y="0"/>
                </a:cubicBezTo>
                <a:cubicBezTo>
                  <a:pt x="25" y="0"/>
                  <a:pt x="0" y="25"/>
                  <a:pt x="0" y="57"/>
                </a:cubicBezTo>
                <a:cubicBezTo>
                  <a:pt x="0" y="77"/>
                  <a:pt x="10" y="95"/>
                  <a:pt x="26" y="105"/>
                </a:cubicBezTo>
              </a:path>
            </a:pathLst>
          </a:custGeom>
          <a:solidFill>
            <a:srgbClr val="FFFFFF"/>
          </a:solid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algn="ctr"/>
            <a:r>
              <a:rPr lang="en-US" sz="1200" dirty="0">
                <a:latin typeface="Arial" pitchFamily="34" charset="0"/>
                <a:cs typeface="Arial" pitchFamily="34" charset="0"/>
              </a:rPr>
              <a:t>“Proud of Odigo”</a:t>
            </a:r>
          </a:p>
        </p:txBody>
      </p:sp>
      <p:sp>
        <p:nvSpPr>
          <p:cNvPr id="42" name="Rectangle 41">
            <a:extLst>
              <a:ext uri="{FF2B5EF4-FFF2-40B4-BE49-F238E27FC236}">
                <a16:creationId xmlns:a16="http://schemas.microsoft.com/office/drawing/2014/main" id="{1523200F-12B9-4F16-ACEF-7B7E292DCCEA}"/>
              </a:ext>
            </a:extLst>
          </p:cNvPr>
          <p:cNvSpPr/>
          <p:nvPr/>
        </p:nvSpPr>
        <p:spPr>
          <a:xfrm rot="21212142">
            <a:off x="1658368" y="3884619"/>
            <a:ext cx="1399094" cy="276999"/>
          </a:xfrm>
          <a:prstGeom prst="rect">
            <a:avLst/>
          </a:prstGeom>
        </p:spPr>
        <p:txBody>
          <a:bodyPr wrap="square">
            <a:spAutoFit/>
          </a:bodyPr>
          <a:lstStyle/>
          <a:p>
            <a:r>
              <a:rPr lang="fr-FR" sz="1200" dirty="0" err="1">
                <a:solidFill>
                  <a:srgbClr val="0070C0"/>
                </a:solidFill>
              </a:rPr>
              <a:t>speechContexts</a:t>
            </a:r>
            <a:endParaRPr lang="fr-FR" sz="1200" dirty="0">
              <a:solidFill>
                <a:srgbClr val="0070C0"/>
              </a:solidFill>
            </a:endParaRPr>
          </a:p>
        </p:txBody>
      </p:sp>
      <p:sp>
        <p:nvSpPr>
          <p:cNvPr id="43" name="Rectangle 42">
            <a:extLst>
              <a:ext uri="{FF2B5EF4-FFF2-40B4-BE49-F238E27FC236}">
                <a16:creationId xmlns:a16="http://schemas.microsoft.com/office/drawing/2014/main" id="{7C33FEE6-6461-4638-95A5-2E7F9AADC0D5}"/>
              </a:ext>
            </a:extLst>
          </p:cNvPr>
          <p:cNvSpPr/>
          <p:nvPr/>
        </p:nvSpPr>
        <p:spPr>
          <a:xfrm>
            <a:off x="5400201" y="3506659"/>
            <a:ext cx="2096577" cy="300082"/>
          </a:xfrm>
          <a:prstGeom prst="rect">
            <a:avLst/>
          </a:prstGeom>
        </p:spPr>
        <p:txBody>
          <a:bodyPr wrap="square">
            <a:spAutoFit/>
          </a:bodyPr>
          <a:lstStyle/>
          <a:p>
            <a:r>
              <a:rPr lang="fr-FR" dirty="0"/>
              <a:t>« </a:t>
            </a:r>
            <a:r>
              <a:rPr lang="fr-FR" dirty="0" err="1"/>
              <a:t>Proud</a:t>
            </a:r>
            <a:r>
              <a:rPr lang="fr-FR" dirty="0"/>
              <a:t> of Odigo »</a:t>
            </a:r>
          </a:p>
        </p:txBody>
      </p:sp>
      <p:sp>
        <p:nvSpPr>
          <p:cNvPr id="47" name="Rectangle 46">
            <a:extLst>
              <a:ext uri="{FF2B5EF4-FFF2-40B4-BE49-F238E27FC236}">
                <a16:creationId xmlns:a16="http://schemas.microsoft.com/office/drawing/2014/main" id="{CD2BCAA9-94DE-48EC-8A2A-E2CEE50CDE0D}"/>
              </a:ext>
            </a:extLst>
          </p:cNvPr>
          <p:cNvSpPr/>
          <p:nvPr/>
        </p:nvSpPr>
        <p:spPr>
          <a:xfrm>
            <a:off x="7356592" y="2902532"/>
            <a:ext cx="1730701" cy="1384995"/>
          </a:xfrm>
          <a:prstGeom prst="rect">
            <a:avLst/>
          </a:prstGeom>
          <a:ln w="34925">
            <a:solidFill>
              <a:schemeClr val="accent2"/>
            </a:solidFill>
            <a:prstDash val="dash"/>
          </a:ln>
        </p:spPr>
        <p:txBody>
          <a:bodyPr wrap="square">
            <a:spAutoFit/>
          </a:bodyPr>
          <a:lstStyle/>
          <a:p>
            <a:r>
              <a:rPr lang="fr-FR" sz="1200" dirty="0">
                <a:solidFill>
                  <a:schemeClr val="accent2"/>
                </a:solidFill>
              </a:rPr>
              <a:t>Feedback:</a:t>
            </a:r>
          </a:p>
          <a:p>
            <a:r>
              <a:rPr lang="fr-FR" sz="1200" dirty="0"/>
              <a:t>For a </a:t>
            </a:r>
            <a:r>
              <a:rPr lang="fr-FR" sz="1200" dirty="0" err="1"/>
              <a:t>customer</a:t>
            </a:r>
            <a:r>
              <a:rPr lang="fr-FR" sz="1200" dirty="0"/>
              <a:t>, </a:t>
            </a:r>
            <a:r>
              <a:rPr lang="fr-FR" sz="1200" dirty="0" err="1"/>
              <a:t>with</a:t>
            </a:r>
            <a:r>
              <a:rPr lang="fr-FR" sz="1200" dirty="0"/>
              <a:t> </a:t>
            </a:r>
            <a:r>
              <a:rPr lang="fr-FR" sz="1200" dirty="0" err="1"/>
              <a:t>just</a:t>
            </a:r>
            <a:r>
              <a:rPr lang="fr-FR" sz="1200" dirty="0"/>
              <a:t> 30 </a:t>
            </a:r>
            <a:r>
              <a:rPr lang="fr-FR" sz="1200" dirty="0" err="1"/>
              <a:t>words</a:t>
            </a:r>
            <a:r>
              <a:rPr lang="fr-FR" sz="1200" dirty="0"/>
              <a:t> in </a:t>
            </a:r>
            <a:r>
              <a:rPr lang="fr-FR" sz="1200" i="1" dirty="0" err="1"/>
              <a:t>speechContexts</a:t>
            </a:r>
            <a:r>
              <a:rPr lang="fr-FR" sz="1200" dirty="0"/>
              <a:t>, </a:t>
            </a:r>
            <a:endParaRPr lang="en-US" sz="1200" dirty="0"/>
          </a:p>
          <a:p>
            <a:r>
              <a:rPr lang="en-US" sz="1200" dirty="0"/>
              <a:t>the recognition rate has increased by 20 points.</a:t>
            </a:r>
            <a:endParaRPr lang="fr-FR" sz="1200" dirty="0"/>
          </a:p>
        </p:txBody>
      </p:sp>
      <p:sp>
        <p:nvSpPr>
          <p:cNvPr id="48" name="Rectangle 47">
            <a:extLst>
              <a:ext uri="{FF2B5EF4-FFF2-40B4-BE49-F238E27FC236}">
                <a16:creationId xmlns:a16="http://schemas.microsoft.com/office/drawing/2014/main" id="{B6F8396B-1B56-41F4-976A-00CC203E1284}"/>
              </a:ext>
            </a:extLst>
          </p:cNvPr>
          <p:cNvSpPr/>
          <p:nvPr/>
        </p:nvSpPr>
        <p:spPr>
          <a:xfrm>
            <a:off x="5436781" y="1448982"/>
            <a:ext cx="2096577" cy="300082"/>
          </a:xfrm>
          <a:prstGeom prst="rect">
            <a:avLst/>
          </a:prstGeom>
        </p:spPr>
        <p:txBody>
          <a:bodyPr wrap="square">
            <a:spAutoFit/>
          </a:bodyPr>
          <a:lstStyle/>
          <a:p>
            <a:r>
              <a:rPr lang="fr-FR" dirty="0"/>
              <a:t>« </a:t>
            </a:r>
            <a:r>
              <a:rPr lang="fr-FR" dirty="0" err="1"/>
              <a:t>Proud</a:t>
            </a:r>
            <a:r>
              <a:rPr lang="fr-FR" dirty="0"/>
              <a:t> of </a:t>
            </a:r>
            <a:r>
              <a:rPr lang="fr-FR" dirty="0" err="1"/>
              <a:t>her</a:t>
            </a:r>
            <a:r>
              <a:rPr lang="fr-FR" dirty="0"/>
              <a:t> go »</a:t>
            </a:r>
          </a:p>
        </p:txBody>
      </p:sp>
    </p:spTree>
    <p:extLst>
      <p:ext uri="{BB962C8B-B14F-4D97-AF65-F5344CB8AC3E}">
        <p14:creationId xmlns:p14="http://schemas.microsoft.com/office/powerpoint/2010/main" val="37627008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
            <a:extLst>
              <a:ext uri="{FF2B5EF4-FFF2-40B4-BE49-F238E27FC236}">
                <a16:creationId xmlns:a16="http://schemas.microsoft.com/office/drawing/2014/main" id="{EF4AE1B5-5616-47EB-AB67-1476F5430F5B}"/>
              </a:ext>
            </a:extLst>
          </p:cNvPr>
          <p:cNvSpPr>
            <a:spLocks noGrp="1"/>
          </p:cNvSpPr>
          <p:nvPr>
            <p:ph type="title"/>
          </p:nvPr>
        </p:nvSpPr>
        <p:spPr>
          <a:xfrm>
            <a:off x="9525" y="1"/>
            <a:ext cx="6975475" cy="808037"/>
          </a:xfrm>
        </p:spPr>
        <p:txBody>
          <a:bodyPr/>
          <a:lstStyle/>
          <a:p>
            <a:r>
              <a:rPr lang="fr-FR" dirty="0"/>
              <a:t>STT – Speech To </a:t>
            </a:r>
            <a:r>
              <a:rPr lang="fr-FR" dirty="0" err="1"/>
              <a:t>Text</a:t>
            </a:r>
            <a:endParaRPr lang="fr-FR" dirty="0"/>
          </a:p>
        </p:txBody>
      </p:sp>
      <p:sp>
        <p:nvSpPr>
          <p:cNvPr id="4" name="Rectangle 3">
            <a:extLst>
              <a:ext uri="{FF2B5EF4-FFF2-40B4-BE49-F238E27FC236}">
                <a16:creationId xmlns:a16="http://schemas.microsoft.com/office/drawing/2014/main" id="{D789723D-A7F0-4CA0-BF09-A3AD68E7FB03}"/>
              </a:ext>
            </a:extLst>
          </p:cNvPr>
          <p:cNvSpPr/>
          <p:nvPr/>
        </p:nvSpPr>
        <p:spPr>
          <a:xfrm>
            <a:off x="340962" y="823038"/>
            <a:ext cx="3336063" cy="300082"/>
          </a:xfrm>
          <a:prstGeom prst="rect">
            <a:avLst/>
          </a:prstGeom>
        </p:spPr>
        <p:txBody>
          <a:bodyPr wrap="square">
            <a:spAutoFit/>
          </a:bodyPr>
          <a:lstStyle/>
          <a:p>
            <a:r>
              <a:rPr lang="fr-FR" b="1" dirty="0" err="1">
                <a:solidFill>
                  <a:schemeClr val="accent2"/>
                </a:solidFill>
              </a:rPr>
              <a:t>SpeechContext</a:t>
            </a:r>
            <a:r>
              <a:rPr lang="fr-FR" b="1" dirty="0">
                <a:solidFill>
                  <a:schemeClr val="accent2"/>
                </a:solidFill>
              </a:rPr>
              <a:t> </a:t>
            </a:r>
            <a:r>
              <a:rPr lang="fr-FR" b="1" dirty="0" err="1">
                <a:solidFill>
                  <a:schemeClr val="accent2"/>
                </a:solidFill>
              </a:rPr>
              <a:t>limits</a:t>
            </a:r>
            <a:endParaRPr lang="fr-FR" b="1" dirty="0">
              <a:solidFill>
                <a:schemeClr val="accent2"/>
              </a:solidFill>
            </a:endParaRPr>
          </a:p>
        </p:txBody>
      </p:sp>
      <p:pic>
        <p:nvPicPr>
          <p:cNvPr id="5" name="Image 4">
            <a:extLst>
              <a:ext uri="{FF2B5EF4-FFF2-40B4-BE49-F238E27FC236}">
                <a16:creationId xmlns:a16="http://schemas.microsoft.com/office/drawing/2014/main" id="{5126942D-DE8F-4D53-B98B-B96A44941B60}"/>
              </a:ext>
            </a:extLst>
          </p:cNvPr>
          <p:cNvPicPr>
            <a:picLocks noChangeAspect="1"/>
          </p:cNvPicPr>
          <p:nvPr/>
        </p:nvPicPr>
        <p:blipFill>
          <a:blip r:embed="rId2"/>
          <a:stretch>
            <a:fillRect/>
          </a:stretch>
        </p:blipFill>
        <p:spPr>
          <a:xfrm>
            <a:off x="1758650" y="1252792"/>
            <a:ext cx="5378726" cy="1568531"/>
          </a:xfrm>
          <a:prstGeom prst="rect">
            <a:avLst/>
          </a:prstGeom>
        </p:spPr>
      </p:pic>
      <p:sp>
        <p:nvSpPr>
          <p:cNvPr id="6" name="Rectangle 5">
            <a:extLst>
              <a:ext uri="{FF2B5EF4-FFF2-40B4-BE49-F238E27FC236}">
                <a16:creationId xmlns:a16="http://schemas.microsoft.com/office/drawing/2014/main" id="{C23E7B65-D151-435E-8C20-D0A06CD28344}"/>
              </a:ext>
            </a:extLst>
          </p:cNvPr>
          <p:cNvSpPr/>
          <p:nvPr/>
        </p:nvSpPr>
        <p:spPr>
          <a:xfrm>
            <a:off x="359843" y="3204374"/>
            <a:ext cx="5722207" cy="300082"/>
          </a:xfrm>
          <a:prstGeom prst="rect">
            <a:avLst/>
          </a:prstGeom>
        </p:spPr>
        <p:txBody>
          <a:bodyPr wrap="none">
            <a:spAutoFit/>
          </a:bodyPr>
          <a:lstStyle/>
          <a:p>
            <a:r>
              <a:rPr lang="en-US" dirty="0"/>
              <a:t>Remember : the dictionary is fully transmitted in </a:t>
            </a:r>
            <a:r>
              <a:rPr lang="en-US" b="1" dirty="0">
                <a:solidFill>
                  <a:schemeClr val="accent2"/>
                </a:solidFill>
              </a:rPr>
              <a:t>each</a:t>
            </a:r>
            <a:r>
              <a:rPr lang="en-US" dirty="0"/>
              <a:t> request.</a:t>
            </a:r>
          </a:p>
        </p:txBody>
      </p:sp>
    </p:spTree>
    <p:extLst>
      <p:ext uri="{BB962C8B-B14F-4D97-AF65-F5344CB8AC3E}">
        <p14:creationId xmlns:p14="http://schemas.microsoft.com/office/powerpoint/2010/main" val="29042272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7C2C6D66-98F0-A842-84C9-4D6B3B8B60C9}"/>
              </a:ext>
            </a:extLst>
          </p:cNvPr>
          <p:cNvSpPr>
            <a:spLocks noGrp="1"/>
          </p:cNvSpPr>
          <p:nvPr>
            <p:ph type="title"/>
          </p:nvPr>
        </p:nvSpPr>
        <p:spPr/>
        <p:txBody>
          <a:bodyPr/>
          <a:lstStyle/>
          <a:p>
            <a:r>
              <a:rPr lang="en-US" dirty="0"/>
              <a:t>Target</a:t>
            </a:r>
          </a:p>
        </p:txBody>
      </p:sp>
      <p:sp>
        <p:nvSpPr>
          <p:cNvPr id="38" name="Text Placeholder 37">
            <a:extLst>
              <a:ext uri="{FF2B5EF4-FFF2-40B4-BE49-F238E27FC236}">
                <a16:creationId xmlns:a16="http://schemas.microsoft.com/office/drawing/2014/main" id="{047C684C-BB42-8A4B-BAB6-EEF178BE083B}"/>
              </a:ext>
            </a:extLst>
          </p:cNvPr>
          <p:cNvSpPr>
            <a:spLocks noGrp="1"/>
          </p:cNvSpPr>
          <p:nvPr>
            <p:ph type="body" idx="19"/>
          </p:nvPr>
        </p:nvSpPr>
        <p:spPr>
          <a:xfrm>
            <a:off x="5643107" y="347278"/>
            <a:ext cx="2882685" cy="395288"/>
          </a:xfrm>
        </p:spPr>
        <p:txBody>
          <a:bodyPr/>
          <a:lstStyle/>
          <a:p>
            <a:endParaRPr lang="en-US" sz="1200" b="1" dirty="0"/>
          </a:p>
          <a:p>
            <a:pPr algn="ctr"/>
            <a:r>
              <a:rPr lang="en-US" sz="1200" b="1" dirty="0"/>
              <a:t>Creating a bot with Concierge and </a:t>
            </a:r>
            <a:r>
              <a:rPr lang="en-US" sz="1200" b="1" dirty="0" err="1"/>
              <a:t>Dialogflow</a:t>
            </a:r>
            <a:endParaRPr lang="en-US" sz="1200" b="1" dirty="0"/>
          </a:p>
        </p:txBody>
      </p:sp>
      <p:sp>
        <p:nvSpPr>
          <p:cNvPr id="16" name="Arc 15">
            <a:extLst>
              <a:ext uri="{FF2B5EF4-FFF2-40B4-BE49-F238E27FC236}">
                <a16:creationId xmlns:a16="http://schemas.microsoft.com/office/drawing/2014/main" id="{B0CE3433-0BA4-414B-9459-9A0142CE7E21}"/>
              </a:ext>
            </a:extLst>
          </p:cNvPr>
          <p:cNvSpPr/>
          <p:nvPr/>
        </p:nvSpPr>
        <p:spPr>
          <a:xfrm rot="9049411">
            <a:off x="1110801" y="1525903"/>
            <a:ext cx="6139701" cy="1540309"/>
          </a:xfrm>
          <a:prstGeom prst="arc">
            <a:avLst>
              <a:gd name="adj1" fmla="val 11086048"/>
              <a:gd name="adj2" fmla="val 21322351"/>
            </a:avLst>
          </a:prstGeom>
          <a:noFill/>
          <a:ln w="63500">
            <a:solidFill>
              <a:schemeClr val="accent2"/>
            </a:solidFill>
            <a:head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p>
        </p:txBody>
      </p:sp>
      <p:sp>
        <p:nvSpPr>
          <p:cNvPr id="55" name="Forme libre : forme 54">
            <a:extLst>
              <a:ext uri="{FF2B5EF4-FFF2-40B4-BE49-F238E27FC236}">
                <a16:creationId xmlns:a16="http://schemas.microsoft.com/office/drawing/2014/main" id="{CFB3D3FF-84C9-4BBC-AA12-4423A86456CD}"/>
              </a:ext>
            </a:extLst>
          </p:cNvPr>
          <p:cNvSpPr/>
          <p:nvPr/>
        </p:nvSpPr>
        <p:spPr>
          <a:xfrm>
            <a:off x="2158229" y="1092318"/>
            <a:ext cx="4558916" cy="3003392"/>
          </a:xfrm>
          <a:custGeom>
            <a:avLst/>
            <a:gdLst>
              <a:gd name="connsiteX0" fmla="*/ 0 w 4558916"/>
              <a:gd name="connsiteY0" fmla="*/ 2180762 h 3003392"/>
              <a:gd name="connsiteX1" fmla="*/ 964018 w 4558916"/>
              <a:gd name="connsiteY1" fmla="*/ 557524 h 3003392"/>
              <a:gd name="connsiteX2" fmla="*/ 1587795 w 4558916"/>
              <a:gd name="connsiteY2" fmla="*/ 1776724 h 3003392"/>
              <a:gd name="connsiteX3" fmla="*/ 1949302 w 4558916"/>
              <a:gd name="connsiteY3" fmla="*/ 2691124 h 3003392"/>
              <a:gd name="connsiteX4" fmla="*/ 2799907 w 4558916"/>
              <a:gd name="connsiteY4" fmla="*/ 2995924 h 3003392"/>
              <a:gd name="connsiteX5" fmla="*/ 3565451 w 4558916"/>
              <a:gd name="connsiteY5" fmla="*/ 2435943 h 3003392"/>
              <a:gd name="connsiteX6" fmla="*/ 3154325 w 4558916"/>
              <a:gd name="connsiteY6" fmla="*/ 238548 h 3003392"/>
              <a:gd name="connsiteX7" fmla="*/ 4401879 w 4558916"/>
              <a:gd name="connsiteY7" fmla="*/ 32985 h 3003392"/>
              <a:gd name="connsiteX8" fmla="*/ 4522381 w 4558916"/>
              <a:gd name="connsiteY8" fmla="*/ 4631 h 3003392"/>
              <a:gd name="connsiteX9" fmla="*/ 4231758 w 4558916"/>
              <a:gd name="connsiteY9" fmla="*/ 4631 h 3003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8916" h="3003392">
                <a:moveTo>
                  <a:pt x="0" y="2180762"/>
                </a:moveTo>
                <a:cubicBezTo>
                  <a:pt x="349693" y="1402813"/>
                  <a:pt x="699386" y="624864"/>
                  <a:pt x="964018" y="557524"/>
                </a:cubicBezTo>
                <a:cubicBezTo>
                  <a:pt x="1228651" y="490184"/>
                  <a:pt x="1423581" y="1421124"/>
                  <a:pt x="1587795" y="1776724"/>
                </a:cubicBezTo>
                <a:cubicBezTo>
                  <a:pt x="1752009" y="2132324"/>
                  <a:pt x="1747283" y="2487924"/>
                  <a:pt x="1949302" y="2691124"/>
                </a:cubicBezTo>
                <a:cubicBezTo>
                  <a:pt x="2151321" y="2894324"/>
                  <a:pt x="2530549" y="3038454"/>
                  <a:pt x="2799907" y="2995924"/>
                </a:cubicBezTo>
                <a:cubicBezTo>
                  <a:pt x="3069265" y="2953394"/>
                  <a:pt x="3506381" y="2895506"/>
                  <a:pt x="3565451" y="2435943"/>
                </a:cubicBezTo>
                <a:cubicBezTo>
                  <a:pt x="3624521" y="1976380"/>
                  <a:pt x="3014920" y="639041"/>
                  <a:pt x="3154325" y="238548"/>
                </a:cubicBezTo>
                <a:cubicBezTo>
                  <a:pt x="3293730" y="-161945"/>
                  <a:pt x="4173870" y="71971"/>
                  <a:pt x="4401879" y="32985"/>
                </a:cubicBezTo>
                <a:cubicBezTo>
                  <a:pt x="4629888" y="-6001"/>
                  <a:pt x="4550734" y="9357"/>
                  <a:pt x="4522381" y="4631"/>
                </a:cubicBezTo>
                <a:cubicBezTo>
                  <a:pt x="4494028" y="-95"/>
                  <a:pt x="4205767" y="-2458"/>
                  <a:pt x="4231758" y="4631"/>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Forme libre : forme 55">
            <a:extLst>
              <a:ext uri="{FF2B5EF4-FFF2-40B4-BE49-F238E27FC236}">
                <a16:creationId xmlns:a16="http://schemas.microsoft.com/office/drawing/2014/main" id="{30D1A9C4-4B9A-4705-B0A8-9E45973B6EEB}"/>
              </a:ext>
            </a:extLst>
          </p:cNvPr>
          <p:cNvSpPr/>
          <p:nvPr/>
        </p:nvSpPr>
        <p:spPr>
          <a:xfrm>
            <a:off x="1768368" y="1174921"/>
            <a:ext cx="5217042" cy="3001808"/>
          </a:xfrm>
          <a:custGeom>
            <a:avLst/>
            <a:gdLst>
              <a:gd name="connsiteX0" fmla="*/ 0 w 5217042"/>
              <a:gd name="connsiteY0" fmla="*/ 2601433 h 3001808"/>
              <a:gd name="connsiteX1" fmla="*/ 418214 w 5217042"/>
              <a:gd name="connsiteY1" fmla="*/ 1205024 h 3001808"/>
              <a:gd name="connsiteX2" fmla="*/ 1318437 w 5217042"/>
              <a:gd name="connsiteY2" fmla="*/ 2998382 h 3001808"/>
              <a:gd name="connsiteX3" fmla="*/ 1722475 w 5217042"/>
              <a:gd name="connsiteY3" fmla="*/ 1687033 h 3001808"/>
              <a:gd name="connsiteX4" fmla="*/ 2970028 w 5217042"/>
              <a:gd name="connsiteY4" fmla="*/ 2799907 h 3001808"/>
              <a:gd name="connsiteX5" fmla="*/ 2870791 w 5217042"/>
              <a:gd name="connsiteY5" fmla="*/ 205563 h 3001808"/>
              <a:gd name="connsiteX6" fmla="*/ 4536558 w 5217042"/>
              <a:gd name="connsiteY6" fmla="*/ 1708298 h 3001808"/>
              <a:gd name="connsiteX7" fmla="*/ 5217042 w 5217042"/>
              <a:gd name="connsiteY7" fmla="*/ 0 h 300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17042" h="3001808">
                <a:moveTo>
                  <a:pt x="0" y="2601433"/>
                </a:moveTo>
                <a:cubicBezTo>
                  <a:pt x="99237" y="1870149"/>
                  <a:pt x="198475" y="1138866"/>
                  <a:pt x="418214" y="1205024"/>
                </a:cubicBezTo>
                <a:cubicBezTo>
                  <a:pt x="637954" y="1271182"/>
                  <a:pt x="1101060" y="2918047"/>
                  <a:pt x="1318437" y="2998382"/>
                </a:cubicBezTo>
                <a:cubicBezTo>
                  <a:pt x="1535814" y="3078717"/>
                  <a:pt x="1447210" y="1720112"/>
                  <a:pt x="1722475" y="1687033"/>
                </a:cubicBezTo>
                <a:cubicBezTo>
                  <a:pt x="1997740" y="1653954"/>
                  <a:pt x="2778642" y="3046818"/>
                  <a:pt x="2970028" y="2799907"/>
                </a:cubicBezTo>
                <a:cubicBezTo>
                  <a:pt x="3161414" y="2552996"/>
                  <a:pt x="2609703" y="387498"/>
                  <a:pt x="2870791" y="205563"/>
                </a:cubicBezTo>
                <a:cubicBezTo>
                  <a:pt x="3131879" y="23628"/>
                  <a:pt x="4145516" y="1742558"/>
                  <a:pt x="4536558" y="1708298"/>
                </a:cubicBezTo>
                <a:cubicBezTo>
                  <a:pt x="4927600" y="1674038"/>
                  <a:pt x="4964223" y="147674"/>
                  <a:pt x="5217042" y="0"/>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5" name="Picture 2" descr="Résultat de recherche d'images pour &quot;icone départ&quot;">
            <a:extLst>
              <a:ext uri="{FF2B5EF4-FFF2-40B4-BE49-F238E27FC236}">
                <a16:creationId xmlns:a16="http://schemas.microsoft.com/office/drawing/2014/main" id="{987CF45F-2D99-4728-817B-9E5786FFAC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1370" y="3352488"/>
            <a:ext cx="762822" cy="7628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377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2FDACEE-282A-4427-BD56-0CF6C7519AF6}"/>
              </a:ext>
            </a:extLst>
          </p:cNvPr>
          <p:cNvSpPr>
            <a:spLocks noGrp="1"/>
          </p:cNvSpPr>
          <p:nvPr>
            <p:ph type="title"/>
          </p:nvPr>
        </p:nvSpPr>
        <p:spPr/>
        <p:txBody>
          <a:bodyPr/>
          <a:lstStyle/>
          <a:p>
            <a:r>
              <a:rPr lang="fr-FR" dirty="0"/>
              <a:t>STT – Speech To </a:t>
            </a:r>
            <a:r>
              <a:rPr lang="fr-FR" dirty="0" err="1"/>
              <a:t>Text</a:t>
            </a:r>
            <a:endParaRPr lang="fr-FR" dirty="0"/>
          </a:p>
        </p:txBody>
      </p:sp>
      <p:sp>
        <p:nvSpPr>
          <p:cNvPr id="5" name="Rectangle 4">
            <a:extLst>
              <a:ext uri="{FF2B5EF4-FFF2-40B4-BE49-F238E27FC236}">
                <a16:creationId xmlns:a16="http://schemas.microsoft.com/office/drawing/2014/main" id="{28DCFF44-31CD-4B20-877C-2E21580DF162}"/>
              </a:ext>
            </a:extLst>
          </p:cNvPr>
          <p:cNvSpPr/>
          <p:nvPr/>
        </p:nvSpPr>
        <p:spPr>
          <a:xfrm>
            <a:off x="340962" y="823038"/>
            <a:ext cx="3336063" cy="300082"/>
          </a:xfrm>
          <a:prstGeom prst="rect">
            <a:avLst/>
          </a:prstGeom>
        </p:spPr>
        <p:txBody>
          <a:bodyPr wrap="square">
            <a:spAutoFit/>
          </a:bodyPr>
          <a:lstStyle/>
          <a:p>
            <a:r>
              <a:rPr lang="fr-FR" b="1" dirty="0">
                <a:solidFill>
                  <a:schemeClr val="accent2"/>
                </a:solidFill>
              </a:rPr>
              <a:t>New Beta options </a:t>
            </a:r>
          </a:p>
        </p:txBody>
      </p:sp>
      <p:sp>
        <p:nvSpPr>
          <p:cNvPr id="19" name="Freeform 721">
            <a:extLst>
              <a:ext uri="{FF2B5EF4-FFF2-40B4-BE49-F238E27FC236}">
                <a16:creationId xmlns:a16="http://schemas.microsoft.com/office/drawing/2014/main" id="{6459F1F7-35DD-448B-BCD2-76D034F50071}"/>
              </a:ext>
            </a:extLst>
          </p:cNvPr>
          <p:cNvSpPr>
            <a:spLocks noChangeAspect="1"/>
          </p:cNvSpPr>
          <p:nvPr/>
        </p:nvSpPr>
        <p:spPr bwMode="auto">
          <a:xfrm>
            <a:off x="969936" y="1979021"/>
            <a:ext cx="1015038" cy="555318"/>
          </a:xfrm>
          <a:custGeom>
            <a:avLst/>
            <a:gdLst/>
            <a:ahLst/>
            <a:cxnLst>
              <a:cxn ang="0">
                <a:pos x="44" y="112"/>
              </a:cxn>
              <a:cxn ang="0">
                <a:pos x="36" y="144"/>
              </a:cxn>
              <a:cxn ang="0">
                <a:pos x="93" y="103"/>
              </a:cxn>
              <a:cxn ang="0">
                <a:pos x="113" y="57"/>
              </a:cxn>
              <a:cxn ang="0">
                <a:pos x="56" y="0"/>
              </a:cxn>
              <a:cxn ang="0">
                <a:pos x="0" y="57"/>
              </a:cxn>
              <a:cxn ang="0">
                <a:pos x="26" y="105"/>
              </a:cxn>
            </a:cxnLst>
            <a:rect l="0" t="0" r="r" b="b"/>
            <a:pathLst>
              <a:path w="113" h="144">
                <a:moveTo>
                  <a:pt x="44" y="112"/>
                </a:moveTo>
                <a:cubicBezTo>
                  <a:pt x="36" y="144"/>
                  <a:pt x="36" y="144"/>
                  <a:pt x="36" y="144"/>
                </a:cubicBezTo>
                <a:cubicBezTo>
                  <a:pt x="36" y="144"/>
                  <a:pt x="80" y="116"/>
                  <a:pt x="93" y="103"/>
                </a:cubicBezTo>
                <a:cubicBezTo>
                  <a:pt x="102" y="94"/>
                  <a:pt x="113" y="81"/>
                  <a:pt x="113" y="57"/>
                </a:cubicBezTo>
                <a:cubicBezTo>
                  <a:pt x="113" y="25"/>
                  <a:pt x="88" y="0"/>
                  <a:pt x="56" y="0"/>
                </a:cubicBezTo>
                <a:cubicBezTo>
                  <a:pt x="25" y="0"/>
                  <a:pt x="0" y="25"/>
                  <a:pt x="0" y="57"/>
                </a:cubicBezTo>
                <a:cubicBezTo>
                  <a:pt x="0" y="77"/>
                  <a:pt x="10" y="95"/>
                  <a:pt x="26" y="105"/>
                </a:cubicBezTo>
              </a:path>
            </a:pathLst>
          </a:custGeom>
          <a:solidFill>
            <a:srgbClr val="FFFFFF"/>
          </a:solid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algn="ctr"/>
            <a:r>
              <a:rPr lang="en-US" sz="1200" dirty="0">
                <a:latin typeface="Arial" pitchFamily="34" charset="0"/>
                <a:cs typeface="Arial" pitchFamily="34" charset="0"/>
              </a:rPr>
              <a:t>“</a:t>
            </a:r>
            <a:r>
              <a:rPr lang="en-US" sz="1200" dirty="0" err="1">
                <a:latin typeface="Arial" pitchFamily="34" charset="0"/>
                <a:cs typeface="Arial" pitchFamily="34" charset="0"/>
              </a:rPr>
              <a:t>aaa</a:t>
            </a:r>
            <a:r>
              <a:rPr lang="en-US" sz="1200" dirty="0">
                <a:latin typeface="Arial" pitchFamily="34" charset="0"/>
                <a:cs typeface="Arial" pitchFamily="34" charset="0"/>
              </a:rPr>
              <a:t>”</a:t>
            </a:r>
          </a:p>
        </p:txBody>
      </p:sp>
      <p:cxnSp>
        <p:nvCxnSpPr>
          <p:cNvPr id="20" name="Connecteur droit avec flèche 19">
            <a:extLst>
              <a:ext uri="{FF2B5EF4-FFF2-40B4-BE49-F238E27FC236}">
                <a16:creationId xmlns:a16="http://schemas.microsoft.com/office/drawing/2014/main" id="{2A1D71A5-E1DF-4ABC-9F67-001D04302123}"/>
              </a:ext>
            </a:extLst>
          </p:cNvPr>
          <p:cNvCxnSpPr>
            <a:cxnSpLocks/>
          </p:cNvCxnSpPr>
          <p:nvPr/>
        </p:nvCxnSpPr>
        <p:spPr>
          <a:xfrm flipH="1" flipV="1">
            <a:off x="2060982" y="2297025"/>
            <a:ext cx="1226145" cy="142763"/>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pic>
        <p:nvPicPr>
          <p:cNvPr id="21" name="Picture 10" descr="speech-api-lead">
            <a:extLst>
              <a:ext uri="{FF2B5EF4-FFF2-40B4-BE49-F238E27FC236}">
                <a16:creationId xmlns:a16="http://schemas.microsoft.com/office/drawing/2014/main" id="{285731E6-7DFC-4059-8BC9-A15FC6FEBE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90530" y="2065208"/>
            <a:ext cx="1188787" cy="679875"/>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Connecteur droit avec flèche 21">
            <a:extLst>
              <a:ext uri="{FF2B5EF4-FFF2-40B4-BE49-F238E27FC236}">
                <a16:creationId xmlns:a16="http://schemas.microsoft.com/office/drawing/2014/main" id="{EB759F7D-45F5-49F5-A256-2DA7043E7CC7}"/>
              </a:ext>
            </a:extLst>
          </p:cNvPr>
          <p:cNvCxnSpPr>
            <a:cxnSpLocks/>
          </p:cNvCxnSpPr>
          <p:nvPr/>
        </p:nvCxnSpPr>
        <p:spPr>
          <a:xfrm flipH="1">
            <a:off x="4655327" y="2602252"/>
            <a:ext cx="625510" cy="0"/>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23" name="Rectangle : avec coin rogné 22">
            <a:extLst>
              <a:ext uri="{FF2B5EF4-FFF2-40B4-BE49-F238E27FC236}">
                <a16:creationId xmlns:a16="http://schemas.microsoft.com/office/drawing/2014/main" id="{A2E36B3F-4299-46DA-8468-0E285A693C39}"/>
              </a:ext>
            </a:extLst>
          </p:cNvPr>
          <p:cNvSpPr/>
          <p:nvPr/>
        </p:nvSpPr>
        <p:spPr>
          <a:xfrm>
            <a:off x="969935" y="2745082"/>
            <a:ext cx="1015530" cy="492513"/>
          </a:xfrm>
          <a:prstGeom prst="snip1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tx1"/>
                </a:solidFill>
              </a:rPr>
              <a:t>« </a:t>
            </a:r>
            <a:r>
              <a:rPr lang="fr-FR" sz="800" dirty="0" err="1">
                <a:solidFill>
                  <a:schemeClr val="tx1"/>
                </a:solidFill>
              </a:rPr>
              <a:t>bbb</a:t>
            </a:r>
            <a:r>
              <a:rPr lang="fr-FR" sz="800" dirty="0">
                <a:solidFill>
                  <a:schemeClr val="tx1"/>
                </a:solidFill>
              </a:rPr>
              <a:t> »</a:t>
            </a:r>
          </a:p>
          <a:p>
            <a:pPr algn="ctr"/>
            <a:r>
              <a:rPr lang="fr-FR" sz="800" dirty="0">
                <a:solidFill>
                  <a:schemeClr val="tx1"/>
                </a:solidFill>
              </a:rPr>
              <a:t>« ccc »</a:t>
            </a:r>
          </a:p>
        </p:txBody>
      </p:sp>
      <p:cxnSp>
        <p:nvCxnSpPr>
          <p:cNvPr id="24" name="Connecteur droit avec flèche 23">
            <a:extLst>
              <a:ext uri="{FF2B5EF4-FFF2-40B4-BE49-F238E27FC236}">
                <a16:creationId xmlns:a16="http://schemas.microsoft.com/office/drawing/2014/main" id="{F61AFB07-20EF-4135-98CD-D06A3CECBE59}"/>
              </a:ext>
            </a:extLst>
          </p:cNvPr>
          <p:cNvCxnSpPr>
            <a:cxnSpLocks/>
          </p:cNvCxnSpPr>
          <p:nvPr/>
        </p:nvCxnSpPr>
        <p:spPr>
          <a:xfrm flipH="1">
            <a:off x="2060982" y="2682278"/>
            <a:ext cx="1226145" cy="142762"/>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25" name="Rectangle 24">
            <a:extLst>
              <a:ext uri="{FF2B5EF4-FFF2-40B4-BE49-F238E27FC236}">
                <a16:creationId xmlns:a16="http://schemas.microsoft.com/office/drawing/2014/main" id="{B7FCC3DB-0475-46B9-9A67-D31BFFC617AE}"/>
              </a:ext>
            </a:extLst>
          </p:cNvPr>
          <p:cNvSpPr/>
          <p:nvPr/>
        </p:nvSpPr>
        <p:spPr>
          <a:xfrm rot="21212142">
            <a:off x="1996732" y="2808053"/>
            <a:ext cx="1399094" cy="276999"/>
          </a:xfrm>
          <a:prstGeom prst="rect">
            <a:avLst/>
          </a:prstGeom>
        </p:spPr>
        <p:txBody>
          <a:bodyPr wrap="square">
            <a:spAutoFit/>
          </a:bodyPr>
          <a:lstStyle/>
          <a:p>
            <a:r>
              <a:rPr lang="fr-FR" sz="1200" dirty="0" err="1">
                <a:solidFill>
                  <a:srgbClr val="0070C0"/>
                </a:solidFill>
              </a:rPr>
              <a:t>speechContexts</a:t>
            </a:r>
            <a:endParaRPr lang="fr-FR" sz="1200" dirty="0">
              <a:solidFill>
                <a:srgbClr val="0070C0"/>
              </a:solidFill>
            </a:endParaRPr>
          </a:p>
        </p:txBody>
      </p:sp>
      <p:sp>
        <p:nvSpPr>
          <p:cNvPr id="32" name="Rectangle 31">
            <a:extLst>
              <a:ext uri="{FF2B5EF4-FFF2-40B4-BE49-F238E27FC236}">
                <a16:creationId xmlns:a16="http://schemas.microsoft.com/office/drawing/2014/main" id="{180EA6EB-DACF-4A69-B713-D3CF7EFD2D55}"/>
              </a:ext>
            </a:extLst>
          </p:cNvPr>
          <p:cNvSpPr/>
          <p:nvPr/>
        </p:nvSpPr>
        <p:spPr>
          <a:xfrm>
            <a:off x="5280838" y="2445000"/>
            <a:ext cx="871870" cy="300082"/>
          </a:xfrm>
          <a:prstGeom prst="rect">
            <a:avLst/>
          </a:prstGeom>
        </p:spPr>
        <p:txBody>
          <a:bodyPr wrap="square">
            <a:spAutoFit/>
          </a:bodyPr>
          <a:lstStyle/>
          <a:p>
            <a:r>
              <a:rPr lang="fr-FR" dirty="0"/>
              <a:t>« </a:t>
            </a:r>
            <a:r>
              <a:rPr lang="fr-FR" dirty="0" err="1"/>
              <a:t>aaa</a:t>
            </a:r>
            <a:r>
              <a:rPr lang="fr-FR" dirty="0"/>
              <a:t> »</a:t>
            </a:r>
          </a:p>
        </p:txBody>
      </p:sp>
      <p:cxnSp>
        <p:nvCxnSpPr>
          <p:cNvPr id="33" name="Connecteur droit avec flèche 32">
            <a:extLst>
              <a:ext uri="{FF2B5EF4-FFF2-40B4-BE49-F238E27FC236}">
                <a16:creationId xmlns:a16="http://schemas.microsoft.com/office/drawing/2014/main" id="{F9B9FFFA-5BF3-4784-866B-AB3E06A41972}"/>
              </a:ext>
            </a:extLst>
          </p:cNvPr>
          <p:cNvCxnSpPr>
            <a:cxnSpLocks/>
          </p:cNvCxnSpPr>
          <p:nvPr/>
        </p:nvCxnSpPr>
        <p:spPr>
          <a:xfrm flipH="1">
            <a:off x="4095204" y="2823502"/>
            <a:ext cx="1" cy="679875"/>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cxnSp>
        <p:nvCxnSpPr>
          <p:cNvPr id="34" name="Connecteur droit avec flèche 33">
            <a:extLst>
              <a:ext uri="{FF2B5EF4-FFF2-40B4-BE49-F238E27FC236}">
                <a16:creationId xmlns:a16="http://schemas.microsoft.com/office/drawing/2014/main" id="{9E71B956-E2AC-4586-B27A-CE74E94FFEEA}"/>
              </a:ext>
            </a:extLst>
          </p:cNvPr>
          <p:cNvCxnSpPr>
            <a:cxnSpLocks/>
          </p:cNvCxnSpPr>
          <p:nvPr/>
        </p:nvCxnSpPr>
        <p:spPr>
          <a:xfrm flipH="1" flipV="1">
            <a:off x="4095204" y="1608186"/>
            <a:ext cx="1" cy="738952"/>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35" name="Rectangle 34">
            <a:extLst>
              <a:ext uri="{FF2B5EF4-FFF2-40B4-BE49-F238E27FC236}">
                <a16:creationId xmlns:a16="http://schemas.microsoft.com/office/drawing/2014/main" id="{D0EE2D8D-DD99-4C64-80D3-F5F7AF1256EA}"/>
              </a:ext>
            </a:extLst>
          </p:cNvPr>
          <p:cNvSpPr/>
          <p:nvPr/>
        </p:nvSpPr>
        <p:spPr>
          <a:xfrm>
            <a:off x="2723428" y="707621"/>
            <a:ext cx="2743549" cy="830997"/>
          </a:xfrm>
          <a:prstGeom prst="rect">
            <a:avLst/>
          </a:prstGeom>
          <a:ln w="34925">
            <a:solidFill>
              <a:schemeClr val="accent2"/>
            </a:solidFill>
            <a:prstDash val="dash"/>
          </a:ln>
        </p:spPr>
        <p:txBody>
          <a:bodyPr wrap="square">
            <a:spAutoFit/>
          </a:bodyPr>
          <a:lstStyle/>
          <a:p>
            <a:r>
              <a:rPr lang="fr-FR" sz="1200" dirty="0">
                <a:solidFill>
                  <a:schemeClr val="accent2"/>
                </a:solidFill>
              </a:rPr>
              <a:t>Boost:</a:t>
            </a:r>
          </a:p>
          <a:p>
            <a:r>
              <a:rPr lang="fr-FR" sz="1200" dirty="0"/>
              <a:t>Value (0 – 20). </a:t>
            </a:r>
            <a:r>
              <a:rPr lang="en-US" sz="1200" dirty="0"/>
              <a:t>To amplify the effect of speech adaptation, you can use boost-based adaptation</a:t>
            </a:r>
            <a:r>
              <a:rPr lang="fr-FR" sz="1200" dirty="0"/>
              <a:t> </a:t>
            </a:r>
          </a:p>
        </p:txBody>
      </p:sp>
      <p:sp>
        <p:nvSpPr>
          <p:cNvPr id="15" name="Rectangle 14">
            <a:extLst>
              <a:ext uri="{FF2B5EF4-FFF2-40B4-BE49-F238E27FC236}">
                <a16:creationId xmlns:a16="http://schemas.microsoft.com/office/drawing/2014/main" id="{B644E913-52DD-4402-BF5D-6CA0BF7FE5A8}"/>
              </a:ext>
            </a:extLst>
          </p:cNvPr>
          <p:cNvSpPr/>
          <p:nvPr/>
        </p:nvSpPr>
        <p:spPr>
          <a:xfrm>
            <a:off x="2723434" y="3581796"/>
            <a:ext cx="2743543" cy="1015663"/>
          </a:xfrm>
          <a:prstGeom prst="rect">
            <a:avLst/>
          </a:prstGeom>
          <a:ln w="34925">
            <a:solidFill>
              <a:schemeClr val="accent2"/>
            </a:solidFill>
            <a:prstDash val="dash"/>
          </a:ln>
        </p:spPr>
        <p:txBody>
          <a:bodyPr wrap="square">
            <a:spAutoFit/>
          </a:bodyPr>
          <a:lstStyle/>
          <a:p>
            <a:r>
              <a:rPr lang="fr-FR" sz="1200" dirty="0">
                <a:solidFill>
                  <a:schemeClr val="accent2"/>
                </a:solidFill>
              </a:rPr>
              <a:t>Classes:</a:t>
            </a:r>
          </a:p>
          <a:p>
            <a:r>
              <a:rPr lang="en-US" sz="1200" dirty="0"/>
              <a:t>Classes represent groups of words that represent common concepts that occur in natural language.</a:t>
            </a:r>
          </a:p>
        </p:txBody>
      </p:sp>
      <p:pic>
        <p:nvPicPr>
          <p:cNvPr id="7" name="Image 6">
            <a:extLst>
              <a:ext uri="{FF2B5EF4-FFF2-40B4-BE49-F238E27FC236}">
                <a16:creationId xmlns:a16="http://schemas.microsoft.com/office/drawing/2014/main" id="{97EA4EBF-95DD-4586-8A84-30FB6F76DB5E}"/>
              </a:ext>
            </a:extLst>
          </p:cNvPr>
          <p:cNvPicPr>
            <a:picLocks noChangeAspect="1"/>
          </p:cNvPicPr>
          <p:nvPr/>
        </p:nvPicPr>
        <p:blipFill>
          <a:blip r:embed="rId4"/>
          <a:stretch>
            <a:fillRect/>
          </a:stretch>
        </p:blipFill>
        <p:spPr>
          <a:xfrm>
            <a:off x="6390928" y="808037"/>
            <a:ext cx="2245198" cy="4204019"/>
          </a:xfrm>
          <a:prstGeom prst="rect">
            <a:avLst/>
          </a:prstGeom>
        </p:spPr>
      </p:pic>
      <p:cxnSp>
        <p:nvCxnSpPr>
          <p:cNvPr id="26" name="Connecteur droit avec flèche 25">
            <a:extLst>
              <a:ext uri="{FF2B5EF4-FFF2-40B4-BE49-F238E27FC236}">
                <a16:creationId xmlns:a16="http://schemas.microsoft.com/office/drawing/2014/main" id="{D6415371-2876-411D-B4A5-AC61C2618E52}"/>
              </a:ext>
            </a:extLst>
          </p:cNvPr>
          <p:cNvCxnSpPr>
            <a:cxnSpLocks/>
          </p:cNvCxnSpPr>
          <p:nvPr/>
        </p:nvCxnSpPr>
        <p:spPr>
          <a:xfrm flipH="1">
            <a:off x="5584364" y="4094876"/>
            <a:ext cx="731195" cy="0"/>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27" name="Bande diagonale 26">
            <a:extLst>
              <a:ext uri="{FF2B5EF4-FFF2-40B4-BE49-F238E27FC236}">
                <a16:creationId xmlns:a16="http://schemas.microsoft.com/office/drawing/2014/main" id="{7E17AF10-C304-43D2-8733-77F017F475B0}"/>
              </a:ext>
            </a:extLst>
          </p:cNvPr>
          <p:cNvSpPr/>
          <p:nvPr/>
        </p:nvSpPr>
        <p:spPr>
          <a:xfrm rot="5400000">
            <a:off x="7236889" y="-6860"/>
            <a:ext cx="1908000" cy="1906223"/>
          </a:xfrm>
          <a:prstGeom prst="diagStripe">
            <a:avLst>
              <a:gd name="adj" fmla="val 62681"/>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28" name="ZoneTexte 27">
            <a:extLst>
              <a:ext uri="{FF2B5EF4-FFF2-40B4-BE49-F238E27FC236}">
                <a16:creationId xmlns:a16="http://schemas.microsoft.com/office/drawing/2014/main" id="{24146882-E109-4C52-AF5C-E1359C6534BC}"/>
              </a:ext>
            </a:extLst>
          </p:cNvPr>
          <p:cNvSpPr txBox="1"/>
          <p:nvPr/>
        </p:nvSpPr>
        <p:spPr>
          <a:xfrm rot="2735380">
            <a:off x="7539304" y="419685"/>
            <a:ext cx="1712736" cy="682028"/>
          </a:xfrm>
          <a:prstGeom prst="rect">
            <a:avLst/>
          </a:prstGeom>
        </p:spPr>
        <p:txBody>
          <a:bodyPr wrap="square" lIns="72000" tIns="72000" rIns="72000" bIns="72000" rtlCol="0">
            <a:spAutoFit/>
          </a:bodyPr>
          <a:lstStyle/>
          <a:p>
            <a:pPr algn="ctr">
              <a:lnSpc>
                <a:spcPct val="120000"/>
              </a:lnSpc>
              <a:spcAft>
                <a:spcPts val="600"/>
              </a:spcAft>
            </a:pPr>
            <a:r>
              <a:rPr lang="fr-FR" sz="3200" b="1" dirty="0">
                <a:solidFill>
                  <a:schemeClr val="bg1"/>
                </a:solidFill>
                <a:latin typeface="Arial" panose="020B0604020202020204" pitchFamily="34" charset="0"/>
                <a:cs typeface="Arial" panose="020B0604020202020204" pitchFamily="34" charset="0"/>
              </a:rPr>
              <a:t>BETA</a:t>
            </a:r>
          </a:p>
        </p:txBody>
      </p:sp>
    </p:spTree>
    <p:extLst>
      <p:ext uri="{BB962C8B-B14F-4D97-AF65-F5344CB8AC3E}">
        <p14:creationId xmlns:p14="http://schemas.microsoft.com/office/powerpoint/2010/main" val="36096068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E996262-986C-441E-B407-AEBFBE54B1F7}"/>
              </a:ext>
            </a:extLst>
          </p:cNvPr>
          <p:cNvSpPr>
            <a:spLocks noGrp="1"/>
          </p:cNvSpPr>
          <p:nvPr>
            <p:ph type="title"/>
          </p:nvPr>
        </p:nvSpPr>
        <p:spPr/>
        <p:txBody>
          <a:bodyPr/>
          <a:lstStyle/>
          <a:p>
            <a:r>
              <a:rPr lang="fr-FR" dirty="0"/>
              <a:t>STT – Speech To </a:t>
            </a:r>
            <a:r>
              <a:rPr lang="fr-FR" dirty="0" err="1"/>
              <a:t>Text</a:t>
            </a:r>
            <a:r>
              <a:rPr lang="fr-FR" dirty="0"/>
              <a:t> - Benchmark</a:t>
            </a:r>
          </a:p>
        </p:txBody>
      </p:sp>
      <p:pic>
        <p:nvPicPr>
          <p:cNvPr id="4" name="Image 3">
            <a:extLst>
              <a:ext uri="{FF2B5EF4-FFF2-40B4-BE49-F238E27FC236}">
                <a16:creationId xmlns:a16="http://schemas.microsoft.com/office/drawing/2014/main" id="{2A1B8EE0-B2E5-474C-8144-81612EB6A685}"/>
              </a:ext>
            </a:extLst>
          </p:cNvPr>
          <p:cNvPicPr>
            <a:picLocks noChangeAspect="1"/>
          </p:cNvPicPr>
          <p:nvPr/>
        </p:nvPicPr>
        <p:blipFill>
          <a:blip r:embed="rId2"/>
          <a:stretch>
            <a:fillRect/>
          </a:stretch>
        </p:blipFill>
        <p:spPr>
          <a:xfrm>
            <a:off x="3324447" y="611062"/>
            <a:ext cx="5564784" cy="4170931"/>
          </a:xfrm>
          <a:prstGeom prst="rect">
            <a:avLst/>
          </a:prstGeom>
        </p:spPr>
      </p:pic>
      <p:sp>
        <p:nvSpPr>
          <p:cNvPr id="5" name="Rectangle 4">
            <a:extLst>
              <a:ext uri="{FF2B5EF4-FFF2-40B4-BE49-F238E27FC236}">
                <a16:creationId xmlns:a16="http://schemas.microsoft.com/office/drawing/2014/main" id="{772C7995-259A-419F-87A3-2272F1FE1D2E}"/>
              </a:ext>
            </a:extLst>
          </p:cNvPr>
          <p:cNvSpPr/>
          <p:nvPr/>
        </p:nvSpPr>
        <p:spPr>
          <a:xfrm>
            <a:off x="254769" y="1445618"/>
            <a:ext cx="3069678" cy="1231106"/>
          </a:xfrm>
          <a:prstGeom prst="rect">
            <a:avLst/>
          </a:prstGeom>
        </p:spPr>
        <p:txBody>
          <a:bodyPr wrap="square">
            <a:spAutoFit/>
          </a:bodyPr>
          <a:lstStyle/>
          <a:p>
            <a:r>
              <a:rPr lang="fr-FR" sz="1400" dirty="0" err="1"/>
              <a:t>We</a:t>
            </a:r>
            <a:r>
              <a:rPr lang="fr-FR" sz="1400" dirty="0"/>
              <a:t> </a:t>
            </a:r>
            <a:r>
              <a:rPr lang="fr-FR" sz="1400" dirty="0" err="1"/>
              <a:t>benchmarked</a:t>
            </a:r>
            <a:r>
              <a:rPr lang="fr-FR" sz="1400" dirty="0"/>
              <a:t> Google STT :</a:t>
            </a:r>
          </a:p>
          <a:p>
            <a:pPr marL="285750" indent="-285750">
              <a:buClr>
                <a:schemeClr val="accent2"/>
              </a:buClr>
              <a:buFont typeface="Arial" panose="020B0604020202020204" pitchFamily="34" charset="0"/>
              <a:buChar char="•"/>
            </a:pPr>
            <a:r>
              <a:rPr lang="fr-FR" sz="1200" dirty="0"/>
              <a:t>Postal </a:t>
            </a:r>
            <a:r>
              <a:rPr lang="fr-FR" sz="1200" dirty="0" err="1"/>
              <a:t>adress</a:t>
            </a:r>
            <a:r>
              <a:rPr lang="fr-FR" sz="1200" dirty="0"/>
              <a:t> : </a:t>
            </a:r>
            <a:r>
              <a:rPr lang="fr-FR" sz="1200" b="1" dirty="0">
                <a:solidFill>
                  <a:srgbClr val="00B050"/>
                </a:solidFill>
              </a:rPr>
              <a:t>OK</a:t>
            </a:r>
          </a:p>
          <a:p>
            <a:pPr marL="285750" indent="-285750">
              <a:buClr>
                <a:schemeClr val="accent2"/>
              </a:buClr>
              <a:buFont typeface="Arial" panose="020B0604020202020204" pitchFamily="34" charset="0"/>
              <a:buChar char="•"/>
            </a:pPr>
            <a:r>
              <a:rPr lang="fr-FR" sz="1200" dirty="0"/>
              <a:t>IBAN (</a:t>
            </a:r>
            <a:r>
              <a:rPr lang="fr-FR" sz="1200" dirty="0" err="1"/>
              <a:t>alphanumeric</a:t>
            </a:r>
            <a:r>
              <a:rPr lang="fr-FR" sz="1200" dirty="0"/>
              <a:t>) : </a:t>
            </a:r>
            <a:r>
              <a:rPr lang="fr-FR" sz="1200" b="1" dirty="0">
                <a:solidFill>
                  <a:srgbClr val="C00000"/>
                </a:solidFill>
              </a:rPr>
              <a:t>KO</a:t>
            </a:r>
            <a:endParaRPr lang="fr-FR" sz="1200" dirty="0"/>
          </a:p>
          <a:p>
            <a:pPr marL="285750" indent="-285750">
              <a:buClr>
                <a:schemeClr val="accent2"/>
              </a:buClr>
              <a:buFont typeface="Arial" panose="020B0604020202020204" pitchFamily="34" charset="0"/>
              <a:buChar char="•"/>
            </a:pPr>
            <a:r>
              <a:rPr lang="fr-FR" sz="1200" dirty="0"/>
              <a:t>Emails : </a:t>
            </a:r>
            <a:r>
              <a:rPr lang="fr-FR" sz="1200" b="1" dirty="0">
                <a:solidFill>
                  <a:srgbClr val="C00000"/>
                </a:solidFill>
              </a:rPr>
              <a:t>KO</a:t>
            </a:r>
          </a:p>
          <a:p>
            <a:pPr marL="285750" indent="-285750">
              <a:buClr>
                <a:schemeClr val="accent2"/>
              </a:buClr>
              <a:buFont typeface="Arial" panose="020B0604020202020204" pitchFamily="34" charset="0"/>
              <a:buChar char="•"/>
            </a:pPr>
            <a:r>
              <a:rPr lang="fr-FR" sz="1200" dirty="0"/>
              <a:t>First </a:t>
            </a:r>
            <a:r>
              <a:rPr lang="fr-FR" sz="1200" dirty="0" err="1"/>
              <a:t>name</a:t>
            </a:r>
            <a:r>
              <a:rPr lang="fr-FR" sz="1200" dirty="0"/>
              <a:t> / second </a:t>
            </a:r>
            <a:r>
              <a:rPr lang="fr-FR" sz="1200" dirty="0" err="1"/>
              <a:t>name</a:t>
            </a:r>
            <a:r>
              <a:rPr lang="fr-FR" sz="1200" dirty="0"/>
              <a:t> : </a:t>
            </a:r>
            <a:r>
              <a:rPr lang="fr-FR" sz="1200" b="1" dirty="0">
                <a:solidFill>
                  <a:srgbClr val="00B050"/>
                </a:solidFill>
              </a:rPr>
              <a:t>OK</a:t>
            </a:r>
            <a:endParaRPr lang="fr-FR" sz="1200" dirty="0"/>
          </a:p>
          <a:p>
            <a:pPr marL="285750" indent="-285750">
              <a:buClr>
                <a:schemeClr val="accent2"/>
              </a:buClr>
              <a:buFont typeface="Arial" panose="020B0604020202020204" pitchFamily="34" charset="0"/>
              <a:buChar char="•"/>
            </a:pPr>
            <a:r>
              <a:rPr lang="fr-FR" sz="1200" dirty="0"/>
              <a:t>Numbers : </a:t>
            </a:r>
            <a:r>
              <a:rPr lang="fr-FR" sz="1200" b="1" dirty="0">
                <a:solidFill>
                  <a:srgbClr val="00B050"/>
                </a:solidFill>
              </a:rPr>
              <a:t>OK</a:t>
            </a:r>
            <a:endParaRPr lang="fr-FR" sz="1200" dirty="0"/>
          </a:p>
        </p:txBody>
      </p:sp>
    </p:spTree>
    <p:extLst>
      <p:ext uri="{BB962C8B-B14F-4D97-AF65-F5344CB8AC3E}">
        <p14:creationId xmlns:p14="http://schemas.microsoft.com/office/powerpoint/2010/main" val="11655017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2FDACEE-282A-4427-BD56-0CF6C7519AF6}"/>
              </a:ext>
            </a:extLst>
          </p:cNvPr>
          <p:cNvSpPr>
            <a:spLocks noGrp="1"/>
          </p:cNvSpPr>
          <p:nvPr>
            <p:ph type="title"/>
          </p:nvPr>
        </p:nvSpPr>
        <p:spPr/>
        <p:txBody>
          <a:bodyPr/>
          <a:lstStyle/>
          <a:p>
            <a:r>
              <a:rPr lang="fr-FR" dirty="0"/>
              <a:t>TTS – </a:t>
            </a:r>
            <a:r>
              <a:rPr lang="fr-FR" dirty="0" err="1"/>
              <a:t>Text</a:t>
            </a:r>
            <a:r>
              <a:rPr lang="fr-FR" dirty="0"/>
              <a:t> To Speech</a:t>
            </a:r>
          </a:p>
        </p:txBody>
      </p:sp>
      <p:pic>
        <p:nvPicPr>
          <p:cNvPr id="3" name="Image 2">
            <a:extLst>
              <a:ext uri="{FF2B5EF4-FFF2-40B4-BE49-F238E27FC236}">
                <a16:creationId xmlns:a16="http://schemas.microsoft.com/office/drawing/2014/main" id="{CF287A75-3398-4C3D-8FC8-D7466DC0C79A}"/>
              </a:ext>
            </a:extLst>
          </p:cNvPr>
          <p:cNvPicPr>
            <a:picLocks noChangeAspect="1"/>
          </p:cNvPicPr>
          <p:nvPr/>
        </p:nvPicPr>
        <p:blipFill>
          <a:blip r:embed="rId2"/>
          <a:stretch>
            <a:fillRect/>
          </a:stretch>
        </p:blipFill>
        <p:spPr>
          <a:xfrm>
            <a:off x="3828081" y="808038"/>
            <a:ext cx="4754015" cy="3016221"/>
          </a:xfrm>
          <a:prstGeom prst="rect">
            <a:avLst/>
          </a:prstGeom>
        </p:spPr>
      </p:pic>
      <p:sp>
        <p:nvSpPr>
          <p:cNvPr id="4" name="Text Placeholder 16">
            <a:extLst>
              <a:ext uri="{FF2B5EF4-FFF2-40B4-BE49-F238E27FC236}">
                <a16:creationId xmlns:a16="http://schemas.microsoft.com/office/drawing/2014/main" id="{5DD37C95-5359-431E-9CA3-EB8F1D1BD23A}"/>
              </a:ext>
            </a:extLst>
          </p:cNvPr>
          <p:cNvSpPr txBox="1">
            <a:spLocks/>
          </p:cNvSpPr>
          <p:nvPr/>
        </p:nvSpPr>
        <p:spPr>
          <a:xfrm>
            <a:off x="3770015" y="3824259"/>
            <a:ext cx="3772325" cy="1873117"/>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FR" sz="1400" dirty="0">
                <a:hlinkClick r:id="rId3"/>
              </a:rPr>
              <a:t>https://cloud.google.com/text-to-speech/docs/voices</a:t>
            </a:r>
            <a:endParaRPr lang="en-US" dirty="0"/>
          </a:p>
        </p:txBody>
      </p:sp>
      <p:sp>
        <p:nvSpPr>
          <p:cNvPr id="5" name="Rectangle 4">
            <a:extLst>
              <a:ext uri="{FF2B5EF4-FFF2-40B4-BE49-F238E27FC236}">
                <a16:creationId xmlns:a16="http://schemas.microsoft.com/office/drawing/2014/main" id="{28DCFF44-31CD-4B20-877C-2E21580DF162}"/>
              </a:ext>
            </a:extLst>
          </p:cNvPr>
          <p:cNvSpPr/>
          <p:nvPr/>
        </p:nvSpPr>
        <p:spPr>
          <a:xfrm>
            <a:off x="340962" y="583851"/>
            <a:ext cx="3336063" cy="4039567"/>
          </a:xfrm>
          <a:prstGeom prst="rect">
            <a:avLst/>
          </a:prstGeom>
        </p:spPr>
        <p:txBody>
          <a:bodyPr wrap="square">
            <a:spAutoFit/>
          </a:bodyPr>
          <a:lstStyle/>
          <a:p>
            <a:r>
              <a:rPr lang="en-US" dirty="0"/>
              <a:t>The voices can differ in how they are produced. </a:t>
            </a:r>
          </a:p>
          <a:p>
            <a:endParaRPr lang="en-US" dirty="0"/>
          </a:p>
          <a:p>
            <a:r>
              <a:rPr lang="en-US" dirty="0"/>
              <a:t>One common speech technology, </a:t>
            </a:r>
            <a:r>
              <a:rPr lang="en-US" b="1" dirty="0">
                <a:solidFill>
                  <a:schemeClr val="accent2"/>
                </a:solidFill>
              </a:rPr>
              <a:t>parametric</a:t>
            </a:r>
            <a:r>
              <a:rPr lang="en-US" dirty="0"/>
              <a:t> text-to-speech, typically generates audio data by passing outputs through signal processing algorithms.</a:t>
            </a:r>
          </a:p>
          <a:p>
            <a:endParaRPr lang="en-US" dirty="0"/>
          </a:p>
          <a:p>
            <a:r>
              <a:rPr lang="en-US" dirty="0"/>
              <a:t>Google introduced a new way to generate audio : </a:t>
            </a:r>
            <a:r>
              <a:rPr lang="en-US" b="1" dirty="0" err="1">
                <a:solidFill>
                  <a:schemeClr val="accent2"/>
                </a:solidFill>
              </a:rPr>
              <a:t>WaveNet</a:t>
            </a:r>
            <a:r>
              <a:rPr lang="en-US" dirty="0"/>
              <a:t>. A </a:t>
            </a:r>
            <a:r>
              <a:rPr lang="en-US" dirty="0" err="1"/>
              <a:t>Wavenet</a:t>
            </a:r>
            <a:r>
              <a:rPr lang="en-US" dirty="0"/>
              <a:t> model creates raw audio waveforms from scratch. The model uses a neural network that has been trained using a large volume of speech samples. </a:t>
            </a:r>
          </a:p>
          <a:p>
            <a:endParaRPr lang="fr-FR" dirty="0"/>
          </a:p>
          <a:p>
            <a:r>
              <a:rPr lang="fr-FR" dirty="0" err="1"/>
              <a:t>With</a:t>
            </a:r>
            <a:r>
              <a:rPr lang="fr-FR" dirty="0"/>
              <a:t> Google Speech, </a:t>
            </a:r>
            <a:r>
              <a:rPr lang="fr-FR" dirty="0" err="1"/>
              <a:t>you</a:t>
            </a:r>
            <a:r>
              <a:rPr lang="fr-FR" dirty="0"/>
              <a:t> can use « standard » or « </a:t>
            </a:r>
            <a:r>
              <a:rPr lang="fr-FR" dirty="0" err="1"/>
              <a:t>Wavenet</a:t>
            </a:r>
            <a:r>
              <a:rPr lang="fr-FR" dirty="0"/>
              <a:t> » </a:t>
            </a:r>
            <a:r>
              <a:rPr lang="fr-FR" dirty="0" err="1"/>
              <a:t>voices</a:t>
            </a:r>
            <a:r>
              <a:rPr lang="fr-FR" dirty="0"/>
              <a:t>.</a:t>
            </a:r>
          </a:p>
        </p:txBody>
      </p:sp>
    </p:spTree>
    <p:extLst>
      <p:ext uri="{BB962C8B-B14F-4D97-AF65-F5344CB8AC3E}">
        <p14:creationId xmlns:p14="http://schemas.microsoft.com/office/powerpoint/2010/main" val="5557529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FB4633D-2FAB-4EC5-9A58-D7A9643A7578}"/>
              </a:ext>
            </a:extLst>
          </p:cNvPr>
          <p:cNvSpPr>
            <a:spLocks noGrp="1"/>
          </p:cNvSpPr>
          <p:nvPr>
            <p:ph type="title"/>
          </p:nvPr>
        </p:nvSpPr>
        <p:spPr/>
        <p:txBody>
          <a:bodyPr/>
          <a:lstStyle/>
          <a:p>
            <a:r>
              <a:rPr lang="fr-FR" dirty="0"/>
              <a:t>TTS – </a:t>
            </a:r>
            <a:r>
              <a:rPr lang="fr-FR" dirty="0" err="1"/>
              <a:t>Text</a:t>
            </a:r>
            <a:r>
              <a:rPr lang="fr-FR" dirty="0"/>
              <a:t> To Speech</a:t>
            </a:r>
          </a:p>
        </p:txBody>
      </p:sp>
      <p:sp>
        <p:nvSpPr>
          <p:cNvPr id="4" name="Rectangle 3">
            <a:extLst>
              <a:ext uri="{FF2B5EF4-FFF2-40B4-BE49-F238E27FC236}">
                <a16:creationId xmlns:a16="http://schemas.microsoft.com/office/drawing/2014/main" id="{98E8FDC5-DFFD-4714-8DE3-9FB8012C42F8}"/>
              </a:ext>
            </a:extLst>
          </p:cNvPr>
          <p:cNvSpPr/>
          <p:nvPr/>
        </p:nvSpPr>
        <p:spPr>
          <a:xfrm>
            <a:off x="164593" y="1188721"/>
            <a:ext cx="8129016" cy="3881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dirty="0">
                <a:solidFill>
                  <a:schemeClr val="accent2"/>
                </a:solidFill>
              </a:rPr>
              <a:t>&lt;</a:t>
            </a:r>
            <a:r>
              <a:rPr lang="fr-FR" sz="1100" dirty="0" err="1">
                <a:solidFill>
                  <a:schemeClr val="accent2"/>
                </a:solidFill>
              </a:rPr>
              <a:t>speak</a:t>
            </a:r>
            <a:r>
              <a:rPr lang="fr-FR" sz="1100" dirty="0">
                <a:solidFill>
                  <a:schemeClr val="accent2"/>
                </a:solidFill>
              </a:rPr>
              <a:t>&gt;</a:t>
            </a:r>
          </a:p>
          <a:p>
            <a:r>
              <a:rPr lang="fr-FR" sz="1100" dirty="0">
                <a:solidFill>
                  <a:schemeClr val="accent2"/>
                </a:solidFill>
              </a:rPr>
              <a:t>&lt;p&gt;&lt;s&gt;</a:t>
            </a:r>
          </a:p>
          <a:p>
            <a:r>
              <a:rPr lang="fr-FR" sz="1100" dirty="0">
                <a:solidFill>
                  <a:schemeClr val="accent2"/>
                </a:solidFill>
              </a:rPr>
              <a:t>&lt;</a:t>
            </a:r>
            <a:r>
              <a:rPr lang="fr-FR" sz="1100" dirty="0" err="1">
                <a:solidFill>
                  <a:schemeClr val="accent2"/>
                </a:solidFill>
              </a:rPr>
              <a:t>emphasis</a:t>
            </a:r>
            <a:r>
              <a:rPr lang="fr-FR" sz="1100" dirty="0">
                <a:solidFill>
                  <a:schemeClr val="accent2"/>
                </a:solidFill>
              </a:rPr>
              <a:t> </a:t>
            </a:r>
            <a:r>
              <a:rPr lang="fr-FR" sz="1100" dirty="0" err="1">
                <a:solidFill>
                  <a:schemeClr val="accent2"/>
                </a:solidFill>
              </a:rPr>
              <a:t>level</a:t>
            </a:r>
            <a:r>
              <a:rPr lang="fr-FR" sz="1100" dirty="0">
                <a:solidFill>
                  <a:schemeClr val="accent2"/>
                </a:solidFill>
              </a:rPr>
              <a:t>="</a:t>
            </a:r>
            <a:r>
              <a:rPr lang="fr-FR" sz="1100" dirty="0" err="1">
                <a:solidFill>
                  <a:schemeClr val="accent2"/>
                </a:solidFill>
              </a:rPr>
              <a:t>strong</a:t>
            </a:r>
            <a:r>
              <a:rPr lang="fr-FR" sz="1100" dirty="0">
                <a:solidFill>
                  <a:schemeClr val="accent2"/>
                </a:solidFill>
              </a:rPr>
              <a:t>"&gt;</a:t>
            </a:r>
          </a:p>
          <a:p>
            <a:r>
              <a:rPr lang="fr-FR" sz="1100" dirty="0">
                <a:solidFill>
                  <a:schemeClr val="bg1"/>
                </a:solidFill>
              </a:rPr>
              <a:t>Mais vous savez, </a:t>
            </a:r>
          </a:p>
          <a:p>
            <a:r>
              <a:rPr lang="fr-FR" sz="1100" dirty="0">
                <a:solidFill>
                  <a:schemeClr val="accent2"/>
                </a:solidFill>
              </a:rPr>
              <a:t>&lt;/</a:t>
            </a:r>
            <a:r>
              <a:rPr lang="fr-FR" sz="1100" dirty="0" err="1">
                <a:solidFill>
                  <a:schemeClr val="accent2"/>
                </a:solidFill>
              </a:rPr>
              <a:t>emphasis</a:t>
            </a:r>
            <a:r>
              <a:rPr lang="fr-FR" sz="1100" dirty="0">
                <a:solidFill>
                  <a:schemeClr val="accent2"/>
                </a:solidFill>
              </a:rPr>
              <a:t>&gt;</a:t>
            </a:r>
          </a:p>
          <a:p>
            <a:r>
              <a:rPr lang="fr-FR" sz="1100" dirty="0">
                <a:solidFill>
                  <a:schemeClr val="bg1"/>
                </a:solidFill>
              </a:rPr>
              <a:t>moi je ne crois pas qu'il y ait de bonne ou de mauvaise situation. </a:t>
            </a:r>
          </a:p>
          <a:p>
            <a:r>
              <a:rPr lang="fr-FR" sz="1100" dirty="0">
                <a:solidFill>
                  <a:schemeClr val="accent2"/>
                </a:solidFill>
              </a:rPr>
              <a:t>&lt;/s&gt;&lt;s&gt;</a:t>
            </a:r>
          </a:p>
          <a:p>
            <a:r>
              <a:rPr lang="fr-FR" sz="1100" dirty="0">
                <a:solidFill>
                  <a:schemeClr val="accent2"/>
                </a:solidFill>
              </a:rPr>
              <a:t>&lt;break time="800ms"/&gt;</a:t>
            </a:r>
          </a:p>
          <a:p>
            <a:r>
              <a:rPr lang="fr-FR" sz="1100" dirty="0">
                <a:solidFill>
                  <a:schemeClr val="accent2"/>
                </a:solidFill>
              </a:rPr>
              <a:t>&lt;</a:t>
            </a:r>
            <a:r>
              <a:rPr lang="fr-FR" sz="1100" dirty="0" err="1">
                <a:solidFill>
                  <a:schemeClr val="accent2"/>
                </a:solidFill>
              </a:rPr>
              <a:t>prosody</a:t>
            </a:r>
            <a:r>
              <a:rPr lang="fr-FR" sz="1100" dirty="0">
                <a:solidFill>
                  <a:schemeClr val="accent2"/>
                </a:solidFill>
              </a:rPr>
              <a:t> rate="slow"&gt;</a:t>
            </a:r>
          </a:p>
          <a:p>
            <a:r>
              <a:rPr lang="fr-FR" sz="1100" dirty="0">
                <a:solidFill>
                  <a:schemeClr val="bg1"/>
                </a:solidFill>
              </a:rPr>
              <a:t>Moi, si je devais résumer ma vie aujourd'hui avec vous, </a:t>
            </a:r>
          </a:p>
          <a:p>
            <a:r>
              <a:rPr lang="fr-FR" sz="1100" dirty="0">
                <a:solidFill>
                  <a:schemeClr val="accent2"/>
                </a:solidFill>
              </a:rPr>
              <a:t>&lt;/</a:t>
            </a:r>
            <a:r>
              <a:rPr lang="fr-FR" sz="1100" dirty="0" err="1">
                <a:solidFill>
                  <a:schemeClr val="accent2"/>
                </a:solidFill>
              </a:rPr>
              <a:t>prosody</a:t>
            </a:r>
            <a:r>
              <a:rPr lang="fr-FR" sz="1100" dirty="0">
                <a:solidFill>
                  <a:schemeClr val="accent2"/>
                </a:solidFill>
              </a:rPr>
              <a:t>&gt;</a:t>
            </a:r>
          </a:p>
          <a:p>
            <a:r>
              <a:rPr lang="fr-FR" sz="1100" dirty="0">
                <a:solidFill>
                  <a:schemeClr val="bg1"/>
                </a:solidFill>
              </a:rPr>
              <a:t>je dirais que c'est d'abord </a:t>
            </a:r>
            <a:r>
              <a:rPr lang="fr-FR" sz="1100" dirty="0">
                <a:solidFill>
                  <a:schemeClr val="accent2"/>
                </a:solidFill>
              </a:rPr>
              <a:t>&lt;</a:t>
            </a:r>
            <a:r>
              <a:rPr lang="fr-FR" sz="1100" dirty="0" err="1">
                <a:solidFill>
                  <a:schemeClr val="accent2"/>
                </a:solidFill>
              </a:rPr>
              <a:t>emphasis</a:t>
            </a:r>
            <a:r>
              <a:rPr lang="fr-FR" sz="1100" dirty="0">
                <a:solidFill>
                  <a:schemeClr val="accent2"/>
                </a:solidFill>
              </a:rPr>
              <a:t> </a:t>
            </a:r>
            <a:r>
              <a:rPr lang="fr-FR" sz="1100" dirty="0" err="1">
                <a:solidFill>
                  <a:schemeClr val="accent2"/>
                </a:solidFill>
              </a:rPr>
              <a:t>level</a:t>
            </a:r>
            <a:r>
              <a:rPr lang="fr-FR" sz="1100" dirty="0">
                <a:solidFill>
                  <a:schemeClr val="accent2"/>
                </a:solidFill>
              </a:rPr>
              <a:t>="</a:t>
            </a:r>
            <a:r>
              <a:rPr lang="fr-FR" sz="1100" dirty="0" err="1">
                <a:solidFill>
                  <a:schemeClr val="accent2"/>
                </a:solidFill>
              </a:rPr>
              <a:t>strong</a:t>
            </a:r>
            <a:r>
              <a:rPr lang="fr-FR" sz="1100" dirty="0">
                <a:solidFill>
                  <a:schemeClr val="accent2"/>
                </a:solidFill>
              </a:rPr>
              <a:t>"&gt;</a:t>
            </a:r>
            <a:r>
              <a:rPr lang="fr-FR" sz="1100" dirty="0">
                <a:solidFill>
                  <a:schemeClr val="bg1"/>
                </a:solidFill>
              </a:rPr>
              <a:t>des rencontres</a:t>
            </a:r>
            <a:r>
              <a:rPr lang="fr-FR" sz="1100" dirty="0">
                <a:solidFill>
                  <a:schemeClr val="accent2"/>
                </a:solidFill>
              </a:rPr>
              <a:t>&lt;/</a:t>
            </a:r>
            <a:r>
              <a:rPr lang="fr-FR" sz="1100" dirty="0" err="1">
                <a:solidFill>
                  <a:schemeClr val="accent2"/>
                </a:solidFill>
              </a:rPr>
              <a:t>emphasis</a:t>
            </a:r>
            <a:r>
              <a:rPr lang="fr-FR" sz="1100" dirty="0">
                <a:solidFill>
                  <a:schemeClr val="accent2"/>
                </a:solidFill>
              </a:rPr>
              <a:t>&gt;, </a:t>
            </a:r>
            <a:r>
              <a:rPr lang="fr-FR" sz="1100" dirty="0">
                <a:solidFill>
                  <a:schemeClr val="bg1"/>
                </a:solidFill>
              </a:rPr>
              <a:t>des gens qui m'ont tendu la main, peut-être à un moment où je ne pouvais pas</a:t>
            </a:r>
            <a:r>
              <a:rPr lang="fr-FR" sz="1100" dirty="0">
                <a:solidFill>
                  <a:schemeClr val="accent2"/>
                </a:solidFill>
              </a:rPr>
              <a:t>, &lt;break time="200ms"/&gt; </a:t>
            </a:r>
            <a:r>
              <a:rPr lang="fr-FR" sz="1100" dirty="0">
                <a:solidFill>
                  <a:schemeClr val="bg1"/>
                </a:solidFill>
              </a:rPr>
              <a:t>où j'étais seul chez moi. </a:t>
            </a:r>
            <a:r>
              <a:rPr lang="fr-FR" sz="1100" dirty="0">
                <a:solidFill>
                  <a:schemeClr val="accent2"/>
                </a:solidFill>
              </a:rPr>
              <a:t>&lt;/s&gt;</a:t>
            </a:r>
          </a:p>
          <a:p>
            <a:r>
              <a:rPr lang="fr-FR" sz="1100" dirty="0">
                <a:solidFill>
                  <a:schemeClr val="accent2"/>
                </a:solidFill>
              </a:rPr>
              <a:t>&lt;break time="1000ms"/&gt;</a:t>
            </a:r>
          </a:p>
          <a:p>
            <a:r>
              <a:rPr lang="fr-FR" sz="1100" dirty="0">
                <a:solidFill>
                  <a:schemeClr val="accent2"/>
                </a:solidFill>
              </a:rPr>
              <a:t>&lt;s&gt;</a:t>
            </a:r>
          </a:p>
          <a:p>
            <a:r>
              <a:rPr lang="fr-FR" sz="1100" dirty="0">
                <a:solidFill>
                  <a:schemeClr val="accent2"/>
                </a:solidFill>
              </a:rPr>
              <a:t>&lt;</a:t>
            </a:r>
            <a:r>
              <a:rPr lang="fr-FR" sz="1100" dirty="0" err="1">
                <a:solidFill>
                  <a:schemeClr val="accent2"/>
                </a:solidFill>
              </a:rPr>
              <a:t>prosody</a:t>
            </a:r>
            <a:r>
              <a:rPr lang="fr-FR" sz="1100" dirty="0">
                <a:solidFill>
                  <a:schemeClr val="accent2"/>
                </a:solidFill>
              </a:rPr>
              <a:t> rate="slow"&gt;</a:t>
            </a:r>
          </a:p>
          <a:p>
            <a:r>
              <a:rPr lang="fr-FR" sz="1100" dirty="0">
                <a:solidFill>
                  <a:schemeClr val="accent2"/>
                </a:solidFill>
              </a:rPr>
              <a:t>&lt;</a:t>
            </a:r>
            <a:r>
              <a:rPr lang="fr-FR" sz="1100" dirty="0" err="1">
                <a:solidFill>
                  <a:schemeClr val="accent2"/>
                </a:solidFill>
              </a:rPr>
              <a:t>emphasis</a:t>
            </a:r>
            <a:r>
              <a:rPr lang="fr-FR" sz="1100" dirty="0">
                <a:solidFill>
                  <a:schemeClr val="accent2"/>
                </a:solidFill>
              </a:rPr>
              <a:t> </a:t>
            </a:r>
            <a:r>
              <a:rPr lang="fr-FR" sz="1100" dirty="0" err="1">
                <a:solidFill>
                  <a:schemeClr val="accent2"/>
                </a:solidFill>
              </a:rPr>
              <a:t>level</a:t>
            </a:r>
            <a:r>
              <a:rPr lang="fr-FR" sz="1100" dirty="0">
                <a:solidFill>
                  <a:schemeClr val="accent2"/>
                </a:solidFill>
              </a:rPr>
              <a:t>="</a:t>
            </a:r>
            <a:r>
              <a:rPr lang="fr-FR" sz="1100" dirty="0" err="1">
                <a:solidFill>
                  <a:schemeClr val="accent2"/>
                </a:solidFill>
              </a:rPr>
              <a:t>reduced</a:t>
            </a:r>
            <a:r>
              <a:rPr lang="fr-FR" sz="1100" dirty="0">
                <a:solidFill>
                  <a:schemeClr val="accent2"/>
                </a:solidFill>
              </a:rPr>
              <a:t>"&gt;</a:t>
            </a:r>
          </a:p>
          <a:p>
            <a:r>
              <a:rPr lang="fr-FR" sz="1100" dirty="0">
                <a:solidFill>
                  <a:schemeClr val="bg1"/>
                </a:solidFill>
              </a:rPr>
              <a:t>Et c'est assez curieux de se dire que les hasards, les rencontres, forgent une destinée...</a:t>
            </a:r>
          </a:p>
          <a:p>
            <a:r>
              <a:rPr lang="fr-FR" sz="1100" dirty="0">
                <a:solidFill>
                  <a:schemeClr val="accent2"/>
                </a:solidFill>
              </a:rPr>
              <a:t>&lt;/</a:t>
            </a:r>
            <a:r>
              <a:rPr lang="fr-FR" sz="1100" dirty="0" err="1">
                <a:solidFill>
                  <a:schemeClr val="accent2"/>
                </a:solidFill>
              </a:rPr>
              <a:t>emphasis</a:t>
            </a:r>
            <a:r>
              <a:rPr lang="fr-FR" sz="1100" dirty="0">
                <a:solidFill>
                  <a:schemeClr val="accent2"/>
                </a:solidFill>
              </a:rPr>
              <a:t>&gt;</a:t>
            </a:r>
          </a:p>
          <a:p>
            <a:r>
              <a:rPr lang="fr-FR" sz="1100" dirty="0">
                <a:solidFill>
                  <a:schemeClr val="accent2"/>
                </a:solidFill>
              </a:rPr>
              <a:t>&lt;/</a:t>
            </a:r>
            <a:r>
              <a:rPr lang="fr-FR" sz="1100" dirty="0" err="1">
                <a:solidFill>
                  <a:schemeClr val="accent2"/>
                </a:solidFill>
              </a:rPr>
              <a:t>prosody</a:t>
            </a:r>
            <a:r>
              <a:rPr lang="fr-FR" sz="1100" dirty="0">
                <a:solidFill>
                  <a:schemeClr val="accent2"/>
                </a:solidFill>
              </a:rPr>
              <a:t>&gt;</a:t>
            </a:r>
          </a:p>
          <a:p>
            <a:r>
              <a:rPr lang="fr-FR" sz="1100" dirty="0">
                <a:solidFill>
                  <a:schemeClr val="accent2"/>
                </a:solidFill>
              </a:rPr>
              <a:t>&lt;/s&gt;&lt;/p&gt;</a:t>
            </a:r>
          </a:p>
          <a:p>
            <a:r>
              <a:rPr lang="fr-FR" sz="1100" dirty="0">
                <a:solidFill>
                  <a:schemeClr val="accent2"/>
                </a:solidFill>
              </a:rPr>
              <a:t>&lt;/</a:t>
            </a:r>
            <a:r>
              <a:rPr lang="fr-FR" sz="1100" dirty="0" err="1">
                <a:solidFill>
                  <a:schemeClr val="accent2"/>
                </a:solidFill>
              </a:rPr>
              <a:t>speak</a:t>
            </a:r>
            <a:r>
              <a:rPr lang="fr-FR" sz="1100" dirty="0">
                <a:solidFill>
                  <a:schemeClr val="accent2"/>
                </a:solidFill>
              </a:rPr>
              <a:t>&gt;</a:t>
            </a:r>
          </a:p>
        </p:txBody>
      </p:sp>
      <p:pic>
        <p:nvPicPr>
          <p:cNvPr id="5" name="Image 4">
            <a:extLst>
              <a:ext uri="{FF2B5EF4-FFF2-40B4-BE49-F238E27FC236}">
                <a16:creationId xmlns:a16="http://schemas.microsoft.com/office/drawing/2014/main" id="{A6375D89-0887-4BAF-B0ED-B98B513A45C3}"/>
              </a:ext>
            </a:extLst>
          </p:cNvPr>
          <p:cNvPicPr>
            <a:picLocks noChangeAspect="1"/>
          </p:cNvPicPr>
          <p:nvPr/>
        </p:nvPicPr>
        <p:blipFill>
          <a:blip r:embed="rId3"/>
          <a:stretch>
            <a:fillRect/>
          </a:stretch>
        </p:blipFill>
        <p:spPr>
          <a:xfrm>
            <a:off x="3869242" y="73030"/>
            <a:ext cx="5211163" cy="2304768"/>
          </a:xfrm>
          <a:prstGeom prst="rect">
            <a:avLst/>
          </a:prstGeom>
        </p:spPr>
      </p:pic>
      <p:sp>
        <p:nvSpPr>
          <p:cNvPr id="7" name="Text Placeholder 16">
            <a:extLst>
              <a:ext uri="{FF2B5EF4-FFF2-40B4-BE49-F238E27FC236}">
                <a16:creationId xmlns:a16="http://schemas.microsoft.com/office/drawing/2014/main" id="{A5FBA535-6912-4715-A779-7534EC65BB6B}"/>
              </a:ext>
            </a:extLst>
          </p:cNvPr>
          <p:cNvSpPr txBox="1">
            <a:spLocks/>
          </p:cNvSpPr>
          <p:nvPr/>
        </p:nvSpPr>
        <p:spPr>
          <a:xfrm>
            <a:off x="96917" y="577710"/>
            <a:ext cx="3772325" cy="1873117"/>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00" i="1" dirty="0"/>
              <a:t>Speech Synthesis Markup Language (SSML)</a:t>
            </a:r>
          </a:p>
          <a:p>
            <a:endParaRPr lang="en-US" dirty="0"/>
          </a:p>
        </p:txBody>
      </p:sp>
      <p:sp>
        <p:nvSpPr>
          <p:cNvPr id="3" name="Rectangle 2">
            <a:extLst>
              <a:ext uri="{FF2B5EF4-FFF2-40B4-BE49-F238E27FC236}">
                <a16:creationId xmlns:a16="http://schemas.microsoft.com/office/drawing/2014/main" id="{0A4DEE2D-E150-45D8-A634-E32B6302F28D}"/>
              </a:ext>
            </a:extLst>
          </p:cNvPr>
          <p:cNvSpPr/>
          <p:nvPr/>
        </p:nvSpPr>
        <p:spPr>
          <a:xfrm rot="16200000">
            <a:off x="7514291" y="3587613"/>
            <a:ext cx="2803973" cy="261610"/>
          </a:xfrm>
          <a:prstGeom prst="rect">
            <a:avLst/>
          </a:prstGeom>
        </p:spPr>
        <p:txBody>
          <a:bodyPr wrap="none">
            <a:spAutoFit/>
          </a:bodyPr>
          <a:lstStyle/>
          <a:p>
            <a:r>
              <a:rPr lang="en-US" sz="1100" dirty="0"/>
              <a:t>youtube.com/</a:t>
            </a:r>
            <a:r>
              <a:rPr lang="en-US" sz="1100" dirty="0" err="1"/>
              <a:t>watch?v</a:t>
            </a:r>
            <a:r>
              <a:rPr lang="en-US" sz="1100" dirty="0"/>
              <a:t>=X2-bXTl1-mo</a:t>
            </a:r>
            <a:endParaRPr lang="fr-FR" sz="1100" dirty="0"/>
          </a:p>
        </p:txBody>
      </p:sp>
    </p:spTree>
    <p:extLst>
      <p:ext uri="{BB962C8B-B14F-4D97-AF65-F5344CB8AC3E}">
        <p14:creationId xmlns:p14="http://schemas.microsoft.com/office/powerpoint/2010/main" val="4154115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FB4633D-2FAB-4EC5-9A58-D7A9643A7578}"/>
              </a:ext>
            </a:extLst>
          </p:cNvPr>
          <p:cNvSpPr>
            <a:spLocks noGrp="1"/>
          </p:cNvSpPr>
          <p:nvPr>
            <p:ph type="title"/>
          </p:nvPr>
        </p:nvSpPr>
        <p:spPr/>
        <p:txBody>
          <a:bodyPr/>
          <a:lstStyle/>
          <a:p>
            <a:r>
              <a:rPr lang="fr-FR" dirty="0"/>
              <a:t>TTS – </a:t>
            </a:r>
            <a:r>
              <a:rPr lang="fr-FR" dirty="0" err="1"/>
              <a:t>Text</a:t>
            </a:r>
            <a:r>
              <a:rPr lang="fr-FR" dirty="0"/>
              <a:t> To Speech</a:t>
            </a:r>
          </a:p>
        </p:txBody>
      </p:sp>
      <p:sp>
        <p:nvSpPr>
          <p:cNvPr id="6" name="Rectangle 5">
            <a:extLst>
              <a:ext uri="{FF2B5EF4-FFF2-40B4-BE49-F238E27FC236}">
                <a16:creationId xmlns:a16="http://schemas.microsoft.com/office/drawing/2014/main" id="{30DDD92D-FF38-447C-834E-629C377CF175}"/>
              </a:ext>
            </a:extLst>
          </p:cNvPr>
          <p:cNvSpPr/>
          <p:nvPr/>
        </p:nvSpPr>
        <p:spPr>
          <a:xfrm>
            <a:off x="340962" y="583851"/>
            <a:ext cx="4843686" cy="1962076"/>
          </a:xfrm>
          <a:prstGeom prst="rect">
            <a:avLst/>
          </a:prstGeom>
        </p:spPr>
        <p:txBody>
          <a:bodyPr wrap="square">
            <a:spAutoFit/>
          </a:bodyPr>
          <a:lstStyle/>
          <a:p>
            <a:r>
              <a:rPr lang="fr-FR" dirty="0"/>
              <a:t>All about the SSML :</a:t>
            </a:r>
          </a:p>
          <a:p>
            <a:endParaRPr lang="fr-FR" dirty="0"/>
          </a:p>
          <a:p>
            <a:r>
              <a:rPr lang="fr-FR" dirty="0">
                <a:hlinkClick r:id="rId3"/>
              </a:rPr>
              <a:t>https://cloud.google.com/text-to-speech/docs/ssml</a:t>
            </a:r>
            <a:endParaRPr lang="fr-FR" dirty="0"/>
          </a:p>
          <a:p>
            <a:endParaRPr lang="fr-FR" dirty="0"/>
          </a:p>
          <a:p>
            <a:pPr marL="285750" indent="-285750">
              <a:buFontTx/>
              <a:buChar char="-"/>
            </a:pPr>
            <a:r>
              <a:rPr lang="fr-FR" dirty="0"/>
              <a:t>Tags (</a:t>
            </a:r>
            <a:r>
              <a:rPr lang="fr-FR" dirty="0" err="1"/>
              <a:t>speak</a:t>
            </a:r>
            <a:r>
              <a:rPr lang="fr-FR" dirty="0"/>
              <a:t> / p / s / </a:t>
            </a:r>
            <a:r>
              <a:rPr lang="fr-FR" dirty="0" err="1"/>
              <a:t>prosody</a:t>
            </a:r>
            <a:r>
              <a:rPr lang="fr-FR" dirty="0"/>
              <a:t> / </a:t>
            </a:r>
            <a:r>
              <a:rPr lang="fr-FR" dirty="0" err="1"/>
              <a:t>emphasys</a:t>
            </a:r>
            <a:r>
              <a:rPr lang="fr-FR" dirty="0"/>
              <a:t> / break / </a:t>
            </a:r>
            <a:r>
              <a:rPr lang="fr-FR" dirty="0" err="1"/>
              <a:t>say</a:t>
            </a:r>
            <a:r>
              <a:rPr lang="fr-FR" dirty="0"/>
              <a:t>-as …)</a:t>
            </a:r>
          </a:p>
          <a:p>
            <a:pPr marL="285750" indent="-285750">
              <a:buFontTx/>
              <a:buChar char="-"/>
            </a:pPr>
            <a:r>
              <a:rPr lang="fr-FR" dirty="0"/>
              <a:t>Exemples</a:t>
            </a:r>
          </a:p>
          <a:p>
            <a:pPr marL="285750" indent="-285750">
              <a:buFontTx/>
              <a:buChar char="-"/>
            </a:pPr>
            <a:r>
              <a:rPr lang="fr-FR" dirty="0"/>
              <a:t>Tips</a:t>
            </a:r>
          </a:p>
          <a:p>
            <a:pPr marL="285750" indent="-285750">
              <a:buFontTx/>
              <a:buChar char="-"/>
            </a:pPr>
            <a:r>
              <a:rPr lang="fr-FR" dirty="0"/>
              <a:t>…</a:t>
            </a:r>
          </a:p>
        </p:txBody>
      </p:sp>
      <p:pic>
        <p:nvPicPr>
          <p:cNvPr id="3" name="Image 2">
            <a:extLst>
              <a:ext uri="{FF2B5EF4-FFF2-40B4-BE49-F238E27FC236}">
                <a16:creationId xmlns:a16="http://schemas.microsoft.com/office/drawing/2014/main" id="{5029878A-6268-40ED-AE2A-5DEF66720C7B}"/>
              </a:ext>
            </a:extLst>
          </p:cNvPr>
          <p:cNvPicPr>
            <a:picLocks noChangeAspect="1"/>
          </p:cNvPicPr>
          <p:nvPr/>
        </p:nvPicPr>
        <p:blipFill>
          <a:blip r:embed="rId4"/>
          <a:stretch>
            <a:fillRect/>
          </a:stretch>
        </p:blipFill>
        <p:spPr>
          <a:xfrm>
            <a:off x="5303952" y="0"/>
            <a:ext cx="3830523" cy="5143500"/>
          </a:xfrm>
          <a:prstGeom prst="rect">
            <a:avLst/>
          </a:prstGeom>
        </p:spPr>
      </p:pic>
    </p:spTree>
    <p:extLst>
      <p:ext uri="{BB962C8B-B14F-4D97-AF65-F5344CB8AC3E}">
        <p14:creationId xmlns:p14="http://schemas.microsoft.com/office/powerpoint/2010/main" val="3649092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9274565C-BF5D-4C84-BBE8-A3CF4A92E597}"/>
              </a:ext>
            </a:extLst>
          </p:cNvPr>
          <p:cNvPicPr>
            <a:picLocks noChangeAspect="1"/>
          </p:cNvPicPr>
          <p:nvPr/>
        </p:nvPicPr>
        <p:blipFill>
          <a:blip r:embed="rId3"/>
          <a:stretch>
            <a:fillRect/>
          </a:stretch>
        </p:blipFill>
        <p:spPr>
          <a:xfrm>
            <a:off x="327101" y="1658644"/>
            <a:ext cx="6207512" cy="1995964"/>
          </a:xfrm>
          <a:prstGeom prst="rect">
            <a:avLst/>
          </a:prstGeom>
        </p:spPr>
      </p:pic>
      <p:sp>
        <p:nvSpPr>
          <p:cNvPr id="2" name="Titre 1">
            <a:extLst>
              <a:ext uri="{FF2B5EF4-FFF2-40B4-BE49-F238E27FC236}">
                <a16:creationId xmlns:a16="http://schemas.microsoft.com/office/drawing/2014/main" id="{D8815699-316F-4A77-88BB-A17BF5CC3A4A}"/>
              </a:ext>
            </a:extLst>
          </p:cNvPr>
          <p:cNvSpPr>
            <a:spLocks noGrp="1"/>
          </p:cNvSpPr>
          <p:nvPr>
            <p:ph type="title"/>
          </p:nvPr>
        </p:nvSpPr>
        <p:spPr/>
        <p:txBody>
          <a:bodyPr/>
          <a:lstStyle/>
          <a:p>
            <a:r>
              <a:rPr lang="fr-FR" dirty="0"/>
              <a:t>Google : STT Billing</a:t>
            </a:r>
          </a:p>
        </p:txBody>
      </p:sp>
      <p:sp>
        <p:nvSpPr>
          <p:cNvPr id="4" name="Ellipse 3">
            <a:extLst>
              <a:ext uri="{FF2B5EF4-FFF2-40B4-BE49-F238E27FC236}">
                <a16:creationId xmlns:a16="http://schemas.microsoft.com/office/drawing/2014/main" id="{9870B9FF-D23A-49DB-9F79-D194C6597858}"/>
              </a:ext>
            </a:extLst>
          </p:cNvPr>
          <p:cNvSpPr/>
          <p:nvPr/>
        </p:nvSpPr>
        <p:spPr>
          <a:xfrm>
            <a:off x="4389563" y="1708556"/>
            <a:ext cx="1401633" cy="425714"/>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5" name="Connecteur droit avec flèche 4">
            <a:extLst>
              <a:ext uri="{FF2B5EF4-FFF2-40B4-BE49-F238E27FC236}">
                <a16:creationId xmlns:a16="http://schemas.microsoft.com/office/drawing/2014/main" id="{EEC7743E-F5AF-431C-B6C2-FD5DA79DDCE2}"/>
              </a:ext>
            </a:extLst>
          </p:cNvPr>
          <p:cNvCxnSpPr>
            <a:cxnSpLocks/>
          </p:cNvCxnSpPr>
          <p:nvPr/>
        </p:nvCxnSpPr>
        <p:spPr>
          <a:xfrm>
            <a:off x="5636840" y="1148900"/>
            <a:ext cx="1" cy="649173"/>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7" name="Text Placeholder 16">
            <a:extLst>
              <a:ext uri="{FF2B5EF4-FFF2-40B4-BE49-F238E27FC236}">
                <a16:creationId xmlns:a16="http://schemas.microsoft.com/office/drawing/2014/main" id="{97D9AAE0-323C-4B81-BE81-E2C5A08D9483}"/>
              </a:ext>
            </a:extLst>
          </p:cNvPr>
          <p:cNvSpPr txBox="1">
            <a:spLocks/>
          </p:cNvSpPr>
          <p:nvPr/>
        </p:nvSpPr>
        <p:spPr>
          <a:xfrm>
            <a:off x="5424731" y="538681"/>
            <a:ext cx="2491669" cy="581283"/>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buClr>
                <a:schemeClr val="accent2"/>
              </a:buClr>
            </a:pPr>
            <a:r>
              <a:rPr lang="en-US" sz="1350" dirty="0">
                <a:latin typeface="+mn-lt"/>
              </a:rPr>
              <a:t>English only </a:t>
            </a:r>
          </a:p>
          <a:p>
            <a:pPr>
              <a:buClr>
                <a:schemeClr val="accent2"/>
              </a:buClr>
            </a:pPr>
            <a:r>
              <a:rPr lang="en-US" sz="1350" dirty="0">
                <a:latin typeface="+mn-lt"/>
              </a:rPr>
              <a:t>(not French)</a:t>
            </a:r>
          </a:p>
        </p:txBody>
      </p:sp>
      <p:sp>
        <p:nvSpPr>
          <p:cNvPr id="8" name="Ellipse 7">
            <a:extLst>
              <a:ext uri="{FF2B5EF4-FFF2-40B4-BE49-F238E27FC236}">
                <a16:creationId xmlns:a16="http://schemas.microsoft.com/office/drawing/2014/main" id="{9308338A-1D0B-4FE8-B432-F13FE140D9F2}"/>
              </a:ext>
            </a:extLst>
          </p:cNvPr>
          <p:cNvSpPr/>
          <p:nvPr/>
        </p:nvSpPr>
        <p:spPr>
          <a:xfrm>
            <a:off x="209383" y="2462506"/>
            <a:ext cx="2214840" cy="1053327"/>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9" name="Connecteur droit avec flèche 8">
            <a:extLst>
              <a:ext uri="{FF2B5EF4-FFF2-40B4-BE49-F238E27FC236}">
                <a16:creationId xmlns:a16="http://schemas.microsoft.com/office/drawing/2014/main" id="{90C7F35D-A279-4C12-8D30-8DC877C8280E}"/>
              </a:ext>
            </a:extLst>
          </p:cNvPr>
          <p:cNvCxnSpPr>
            <a:cxnSpLocks/>
          </p:cNvCxnSpPr>
          <p:nvPr/>
        </p:nvCxnSpPr>
        <p:spPr>
          <a:xfrm flipV="1">
            <a:off x="1411474" y="3515833"/>
            <a:ext cx="1" cy="616688"/>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12" name="Rectangle 11">
            <a:extLst>
              <a:ext uri="{FF2B5EF4-FFF2-40B4-BE49-F238E27FC236}">
                <a16:creationId xmlns:a16="http://schemas.microsoft.com/office/drawing/2014/main" id="{FA4C4088-C4EB-48BB-9F84-9D8A8401870D}"/>
              </a:ext>
            </a:extLst>
          </p:cNvPr>
          <p:cNvSpPr/>
          <p:nvPr/>
        </p:nvSpPr>
        <p:spPr>
          <a:xfrm>
            <a:off x="779720" y="4058095"/>
            <a:ext cx="6485859" cy="715581"/>
          </a:xfrm>
          <a:prstGeom prst="rect">
            <a:avLst/>
          </a:prstGeom>
        </p:spPr>
        <p:txBody>
          <a:bodyPr wrap="square">
            <a:spAutoFit/>
          </a:bodyPr>
          <a:lstStyle/>
          <a:p>
            <a:r>
              <a:rPr lang="en-US" dirty="0"/>
              <a:t>With data logging, customers can allow Google to record audio data sent to Cloud Speech-to-Text. This data helps Google to improve the machine learning models used for speech transcription. </a:t>
            </a:r>
            <a:r>
              <a:rPr lang="en-US" b="1" dirty="0">
                <a:solidFill>
                  <a:schemeClr val="accent2"/>
                </a:solidFill>
              </a:rPr>
              <a:t>Be careful with GDPR</a:t>
            </a:r>
            <a:r>
              <a:rPr lang="en-US" dirty="0">
                <a:solidFill>
                  <a:schemeClr val="accent2"/>
                </a:solidFill>
              </a:rPr>
              <a:t>.</a:t>
            </a:r>
            <a:endParaRPr lang="fr-FR" dirty="0">
              <a:solidFill>
                <a:schemeClr val="accent2"/>
              </a:solidFill>
            </a:endParaRPr>
          </a:p>
        </p:txBody>
      </p:sp>
      <p:sp>
        <p:nvSpPr>
          <p:cNvPr id="13" name="Ellipse 12">
            <a:extLst>
              <a:ext uri="{FF2B5EF4-FFF2-40B4-BE49-F238E27FC236}">
                <a16:creationId xmlns:a16="http://schemas.microsoft.com/office/drawing/2014/main" id="{A5DD0E7B-D770-4281-B202-3B2F6C5AAA5A}"/>
              </a:ext>
            </a:extLst>
          </p:cNvPr>
          <p:cNvSpPr/>
          <p:nvPr/>
        </p:nvSpPr>
        <p:spPr>
          <a:xfrm>
            <a:off x="5107259" y="2559162"/>
            <a:ext cx="1044458" cy="307757"/>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4" name="Connecteur droit avec flèche 13">
            <a:extLst>
              <a:ext uri="{FF2B5EF4-FFF2-40B4-BE49-F238E27FC236}">
                <a16:creationId xmlns:a16="http://schemas.microsoft.com/office/drawing/2014/main" id="{AE4B61AE-A88B-4769-BD8F-18FA270EE16C}"/>
              </a:ext>
            </a:extLst>
          </p:cNvPr>
          <p:cNvCxnSpPr>
            <a:cxnSpLocks/>
          </p:cNvCxnSpPr>
          <p:nvPr/>
        </p:nvCxnSpPr>
        <p:spPr>
          <a:xfrm flipH="1">
            <a:off x="6151717" y="2713040"/>
            <a:ext cx="518848" cy="0"/>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16" name="Text Placeholder 16">
            <a:extLst>
              <a:ext uri="{FF2B5EF4-FFF2-40B4-BE49-F238E27FC236}">
                <a16:creationId xmlns:a16="http://schemas.microsoft.com/office/drawing/2014/main" id="{5806ACFC-140F-4246-B195-35F3FAF6225C}"/>
              </a:ext>
            </a:extLst>
          </p:cNvPr>
          <p:cNvSpPr txBox="1">
            <a:spLocks/>
          </p:cNvSpPr>
          <p:nvPr/>
        </p:nvSpPr>
        <p:spPr>
          <a:xfrm>
            <a:off x="6652331" y="2462506"/>
            <a:ext cx="2491669" cy="581283"/>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Clr>
                <a:schemeClr val="accent2"/>
              </a:buClr>
              <a:buFont typeface="Arial" panose="020B0604020202020204" pitchFamily="34" charset="0"/>
              <a:buChar char="•"/>
            </a:pPr>
            <a:r>
              <a:rPr lang="en-US" sz="1350" dirty="0">
                <a:latin typeface="+mn-lt"/>
              </a:rPr>
              <a:t>14 seconds: $0.009</a:t>
            </a:r>
          </a:p>
          <a:p>
            <a:pPr marL="285750" indent="-285750">
              <a:buClr>
                <a:schemeClr val="accent2"/>
              </a:buClr>
              <a:buFont typeface="Arial" panose="020B0604020202020204" pitchFamily="34" charset="0"/>
              <a:buChar char="•"/>
            </a:pPr>
            <a:r>
              <a:rPr lang="en-US" sz="1350" dirty="0">
                <a:latin typeface="+mn-lt"/>
              </a:rPr>
              <a:t>16 seconds: $0.018</a:t>
            </a:r>
          </a:p>
        </p:txBody>
      </p:sp>
    </p:spTree>
    <p:extLst>
      <p:ext uri="{BB962C8B-B14F-4D97-AF65-F5344CB8AC3E}">
        <p14:creationId xmlns:p14="http://schemas.microsoft.com/office/powerpoint/2010/main" val="36437775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7A95C1D7-1CEA-43C3-9CE0-7994C0739AEB}"/>
              </a:ext>
            </a:extLst>
          </p:cNvPr>
          <p:cNvPicPr>
            <a:picLocks noChangeAspect="1"/>
          </p:cNvPicPr>
          <p:nvPr/>
        </p:nvPicPr>
        <p:blipFill>
          <a:blip r:embed="rId3"/>
          <a:stretch>
            <a:fillRect/>
          </a:stretch>
        </p:blipFill>
        <p:spPr>
          <a:xfrm>
            <a:off x="9525" y="802167"/>
            <a:ext cx="9144000" cy="1690169"/>
          </a:xfrm>
          <a:prstGeom prst="rect">
            <a:avLst/>
          </a:prstGeom>
        </p:spPr>
      </p:pic>
      <p:sp>
        <p:nvSpPr>
          <p:cNvPr id="2" name="Titre 1">
            <a:extLst>
              <a:ext uri="{FF2B5EF4-FFF2-40B4-BE49-F238E27FC236}">
                <a16:creationId xmlns:a16="http://schemas.microsoft.com/office/drawing/2014/main" id="{D8815699-316F-4A77-88BB-A17BF5CC3A4A}"/>
              </a:ext>
            </a:extLst>
          </p:cNvPr>
          <p:cNvSpPr>
            <a:spLocks noGrp="1"/>
          </p:cNvSpPr>
          <p:nvPr>
            <p:ph type="title"/>
          </p:nvPr>
        </p:nvSpPr>
        <p:spPr>
          <a:xfrm>
            <a:off x="9525" y="1"/>
            <a:ext cx="6975475" cy="808037"/>
          </a:xfrm>
        </p:spPr>
        <p:txBody>
          <a:bodyPr/>
          <a:lstStyle/>
          <a:p>
            <a:r>
              <a:rPr lang="fr-FR" dirty="0"/>
              <a:t>Google : TTS Billing</a:t>
            </a:r>
          </a:p>
        </p:txBody>
      </p:sp>
      <p:sp>
        <p:nvSpPr>
          <p:cNvPr id="8" name="Ellipse 7">
            <a:extLst>
              <a:ext uri="{FF2B5EF4-FFF2-40B4-BE49-F238E27FC236}">
                <a16:creationId xmlns:a16="http://schemas.microsoft.com/office/drawing/2014/main" id="{9308338A-1D0B-4FE8-B432-F13FE140D9F2}"/>
              </a:ext>
            </a:extLst>
          </p:cNvPr>
          <p:cNvSpPr/>
          <p:nvPr/>
        </p:nvSpPr>
        <p:spPr>
          <a:xfrm>
            <a:off x="173743" y="1951627"/>
            <a:ext cx="1127830" cy="441988"/>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9" name="Connecteur droit avec flèche 8">
            <a:extLst>
              <a:ext uri="{FF2B5EF4-FFF2-40B4-BE49-F238E27FC236}">
                <a16:creationId xmlns:a16="http://schemas.microsoft.com/office/drawing/2014/main" id="{90C7F35D-A279-4C12-8D30-8DC877C8280E}"/>
              </a:ext>
            </a:extLst>
          </p:cNvPr>
          <p:cNvCxnSpPr>
            <a:cxnSpLocks/>
          </p:cNvCxnSpPr>
          <p:nvPr/>
        </p:nvCxnSpPr>
        <p:spPr>
          <a:xfrm flipV="1">
            <a:off x="744748" y="2418946"/>
            <a:ext cx="0" cy="366869"/>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12" name="Rectangle 11">
            <a:extLst>
              <a:ext uri="{FF2B5EF4-FFF2-40B4-BE49-F238E27FC236}">
                <a16:creationId xmlns:a16="http://schemas.microsoft.com/office/drawing/2014/main" id="{FA4C4088-C4EB-48BB-9F84-9D8A8401870D}"/>
              </a:ext>
            </a:extLst>
          </p:cNvPr>
          <p:cNvSpPr/>
          <p:nvPr/>
        </p:nvSpPr>
        <p:spPr>
          <a:xfrm>
            <a:off x="233243" y="2735907"/>
            <a:ext cx="6485859" cy="300082"/>
          </a:xfrm>
          <a:prstGeom prst="rect">
            <a:avLst/>
          </a:prstGeom>
        </p:spPr>
        <p:txBody>
          <a:bodyPr wrap="square">
            <a:spAutoFit/>
          </a:bodyPr>
          <a:lstStyle/>
          <a:p>
            <a:r>
              <a:rPr lang="en-US" dirty="0"/>
              <a:t>Best quality</a:t>
            </a:r>
            <a:endParaRPr lang="fr-FR" dirty="0">
              <a:solidFill>
                <a:schemeClr val="accent2"/>
              </a:solidFill>
            </a:endParaRPr>
          </a:p>
        </p:txBody>
      </p:sp>
      <p:sp>
        <p:nvSpPr>
          <p:cNvPr id="13" name="Ellipse 12">
            <a:extLst>
              <a:ext uri="{FF2B5EF4-FFF2-40B4-BE49-F238E27FC236}">
                <a16:creationId xmlns:a16="http://schemas.microsoft.com/office/drawing/2014/main" id="{A5DD0E7B-D770-4281-B202-3B2F6C5AAA5A}"/>
              </a:ext>
            </a:extLst>
          </p:cNvPr>
          <p:cNvSpPr/>
          <p:nvPr/>
        </p:nvSpPr>
        <p:spPr>
          <a:xfrm>
            <a:off x="5545876" y="1901952"/>
            <a:ext cx="2994620" cy="480339"/>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4" name="Connecteur droit avec flèche 13">
            <a:extLst>
              <a:ext uri="{FF2B5EF4-FFF2-40B4-BE49-F238E27FC236}">
                <a16:creationId xmlns:a16="http://schemas.microsoft.com/office/drawing/2014/main" id="{AE4B61AE-A88B-4769-BD8F-18FA270EE16C}"/>
              </a:ext>
            </a:extLst>
          </p:cNvPr>
          <p:cNvCxnSpPr>
            <a:cxnSpLocks/>
          </p:cNvCxnSpPr>
          <p:nvPr/>
        </p:nvCxnSpPr>
        <p:spPr>
          <a:xfrm flipV="1">
            <a:off x="7973623" y="2382292"/>
            <a:ext cx="0" cy="638966"/>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16" name="Text Placeholder 16">
            <a:extLst>
              <a:ext uri="{FF2B5EF4-FFF2-40B4-BE49-F238E27FC236}">
                <a16:creationId xmlns:a16="http://schemas.microsoft.com/office/drawing/2014/main" id="{5806ACFC-140F-4246-B195-35F3FAF6225C}"/>
              </a:ext>
            </a:extLst>
          </p:cNvPr>
          <p:cNvSpPr txBox="1">
            <a:spLocks/>
          </p:cNvSpPr>
          <p:nvPr/>
        </p:nvSpPr>
        <p:spPr>
          <a:xfrm>
            <a:off x="6522179" y="3040912"/>
            <a:ext cx="2491669" cy="581283"/>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Clr>
                <a:schemeClr val="accent2"/>
              </a:buClr>
              <a:buFont typeface="Arial" panose="020B0604020202020204" pitchFamily="34" charset="0"/>
              <a:buChar char="•"/>
            </a:pPr>
            <a:r>
              <a:rPr lang="en-US" sz="1350" dirty="0">
                <a:latin typeface="+mn-lt"/>
              </a:rPr>
              <a:t>10 seconds : $0,0032</a:t>
            </a:r>
          </a:p>
          <a:p>
            <a:pPr marL="285750" indent="-285750">
              <a:buClr>
                <a:schemeClr val="accent2"/>
              </a:buClr>
              <a:buFont typeface="Arial" panose="020B0604020202020204" pitchFamily="34" charset="0"/>
              <a:buChar char="•"/>
            </a:pPr>
            <a:r>
              <a:rPr lang="en-US" sz="1350" dirty="0">
                <a:latin typeface="+mn-lt"/>
              </a:rPr>
              <a:t>60 seconds: $0.0192</a:t>
            </a:r>
          </a:p>
        </p:txBody>
      </p:sp>
      <p:sp>
        <p:nvSpPr>
          <p:cNvPr id="15" name="Rectangle 14">
            <a:extLst>
              <a:ext uri="{FF2B5EF4-FFF2-40B4-BE49-F238E27FC236}">
                <a16:creationId xmlns:a16="http://schemas.microsoft.com/office/drawing/2014/main" id="{AA70F74D-D5DB-4FF2-A494-63EB35A7D82E}"/>
              </a:ext>
            </a:extLst>
          </p:cNvPr>
          <p:cNvSpPr/>
          <p:nvPr/>
        </p:nvSpPr>
        <p:spPr>
          <a:xfrm>
            <a:off x="2054636" y="2602381"/>
            <a:ext cx="6485859" cy="300082"/>
          </a:xfrm>
          <a:prstGeom prst="rect">
            <a:avLst/>
          </a:prstGeom>
        </p:spPr>
        <p:txBody>
          <a:bodyPr wrap="square">
            <a:spAutoFit/>
          </a:bodyPr>
          <a:lstStyle/>
          <a:p>
            <a:r>
              <a:rPr lang="en-US" b="1" dirty="0">
                <a:solidFill>
                  <a:schemeClr val="accent2"/>
                </a:solidFill>
              </a:rPr>
              <a:t>1 minute of speaking = 1200 characters</a:t>
            </a:r>
            <a:endParaRPr lang="fr-FR" b="1" dirty="0">
              <a:solidFill>
                <a:schemeClr val="accent2"/>
              </a:solidFill>
            </a:endParaRPr>
          </a:p>
        </p:txBody>
      </p:sp>
      <p:sp>
        <p:nvSpPr>
          <p:cNvPr id="11" name="Rectangle 10">
            <a:extLst>
              <a:ext uri="{FF2B5EF4-FFF2-40B4-BE49-F238E27FC236}">
                <a16:creationId xmlns:a16="http://schemas.microsoft.com/office/drawing/2014/main" id="{0135ECA6-0EBC-44F0-87E8-2E361EDF42F9}"/>
              </a:ext>
            </a:extLst>
          </p:cNvPr>
          <p:cNvSpPr/>
          <p:nvPr/>
        </p:nvSpPr>
        <p:spPr>
          <a:xfrm>
            <a:off x="233243" y="3461225"/>
            <a:ext cx="6876282" cy="1131079"/>
          </a:xfrm>
          <a:prstGeom prst="rect">
            <a:avLst/>
          </a:prstGeom>
        </p:spPr>
        <p:txBody>
          <a:bodyPr wrap="square">
            <a:spAutoFit/>
          </a:bodyPr>
          <a:lstStyle/>
          <a:p>
            <a:r>
              <a:rPr lang="en-US" b="1" dirty="0">
                <a:solidFill>
                  <a:schemeClr val="accent2"/>
                </a:solidFill>
              </a:rPr>
              <a:t>Notes:</a:t>
            </a:r>
            <a:r>
              <a:rPr lang="en-US" dirty="0"/>
              <a:t> </a:t>
            </a:r>
          </a:p>
          <a:p>
            <a:pPr marL="285750" indent="-285750">
              <a:buClr>
                <a:schemeClr val="accent2"/>
              </a:buClr>
              <a:buFont typeface="Arial" panose="020B0604020202020204" pitchFamily="34" charset="0"/>
              <a:buChar char="•"/>
            </a:pPr>
            <a:r>
              <a:rPr lang="en-US" dirty="0"/>
              <a:t>The number of characters includes alphanumeric characters, punctuation, and white spaces. </a:t>
            </a:r>
          </a:p>
          <a:p>
            <a:pPr marL="285750" indent="-285750">
              <a:buClr>
                <a:schemeClr val="accent2"/>
              </a:buClr>
              <a:buFont typeface="Arial" panose="020B0604020202020204" pitchFamily="34" charset="0"/>
              <a:buChar char="•"/>
            </a:pPr>
            <a:r>
              <a:rPr lang="en-US" dirty="0"/>
              <a:t>The SSML tags are included in the character count for billing purpose.</a:t>
            </a:r>
            <a:endParaRPr lang="fr-FR" dirty="0"/>
          </a:p>
          <a:p>
            <a:pPr marL="285750" indent="-285750">
              <a:buClr>
                <a:schemeClr val="accent2"/>
              </a:buClr>
              <a:buFont typeface="Arial" panose="020B0604020202020204" pitchFamily="34" charset="0"/>
              <a:buChar char="•"/>
            </a:pPr>
            <a:r>
              <a:rPr lang="en-US" dirty="0"/>
              <a:t>A multiple bytes character (UTF-8) will be charged as only one character.</a:t>
            </a:r>
          </a:p>
        </p:txBody>
      </p:sp>
    </p:spTree>
    <p:extLst>
      <p:ext uri="{BB962C8B-B14F-4D97-AF65-F5344CB8AC3E}">
        <p14:creationId xmlns:p14="http://schemas.microsoft.com/office/powerpoint/2010/main" val="3300692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llipse 5">
            <a:extLst>
              <a:ext uri="{FF2B5EF4-FFF2-40B4-BE49-F238E27FC236}">
                <a16:creationId xmlns:a16="http://schemas.microsoft.com/office/drawing/2014/main" id="{0C04EDAC-5594-49D9-A348-ADF93F2EC4EE}"/>
              </a:ext>
            </a:extLst>
          </p:cNvPr>
          <p:cNvSpPr/>
          <p:nvPr/>
        </p:nvSpPr>
        <p:spPr>
          <a:xfrm>
            <a:off x="3418087" y="1021162"/>
            <a:ext cx="5311361" cy="5254433"/>
          </a:xfrm>
          <a:prstGeom prst="ellipse">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A58C9069-A253-0946-846F-2D00A4204D95}"/>
              </a:ext>
            </a:extLst>
          </p:cNvPr>
          <p:cNvSpPr>
            <a:spLocks noGrp="1"/>
          </p:cNvSpPr>
          <p:nvPr>
            <p:ph type="title"/>
          </p:nvPr>
        </p:nvSpPr>
        <p:spPr/>
        <p:txBody>
          <a:bodyPr/>
          <a:lstStyle/>
          <a:p>
            <a:r>
              <a:rPr lang="en-US" dirty="0" err="1"/>
              <a:t>Dialogflow</a:t>
            </a:r>
            <a:br>
              <a:rPr lang="en-US" dirty="0"/>
            </a:br>
            <a:r>
              <a:rPr lang="en-US" dirty="0"/>
              <a:t>Training</a:t>
            </a:r>
          </a:p>
        </p:txBody>
      </p:sp>
      <p:sp>
        <p:nvSpPr>
          <p:cNvPr id="3" name="Text Placeholder 2">
            <a:extLst>
              <a:ext uri="{FF2B5EF4-FFF2-40B4-BE49-F238E27FC236}">
                <a16:creationId xmlns:a16="http://schemas.microsoft.com/office/drawing/2014/main" id="{F52F02E1-A4DC-B244-BCC1-26DDC889B5C3}"/>
              </a:ext>
            </a:extLst>
          </p:cNvPr>
          <p:cNvSpPr>
            <a:spLocks noGrp="1"/>
          </p:cNvSpPr>
          <p:nvPr>
            <p:ph type="body" sz="quarter" idx="10"/>
          </p:nvPr>
        </p:nvSpPr>
        <p:spPr/>
        <p:txBody>
          <a:bodyPr/>
          <a:lstStyle/>
          <a:p>
            <a:r>
              <a:rPr lang="en-US" dirty="0"/>
              <a:t>Module 3 : Autopsy of a DNN BOT</a:t>
            </a:r>
          </a:p>
        </p:txBody>
      </p:sp>
      <p:sp>
        <p:nvSpPr>
          <p:cNvPr id="7" name="Freeform 1">
            <a:extLst>
              <a:ext uri="{FF2B5EF4-FFF2-40B4-BE49-F238E27FC236}">
                <a16:creationId xmlns:a16="http://schemas.microsoft.com/office/drawing/2014/main" id="{C009C2CB-0D45-244B-8254-95D0D9E3683C}"/>
              </a:ext>
            </a:extLst>
          </p:cNvPr>
          <p:cNvSpPr>
            <a:spLocks noChangeArrowheads="1"/>
          </p:cNvSpPr>
          <p:nvPr/>
        </p:nvSpPr>
        <p:spPr bwMode="auto">
          <a:xfrm>
            <a:off x="6799803" y="0"/>
            <a:ext cx="2747583" cy="2612551"/>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187131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27BB8-D6EA-2A4B-9E29-4B163BA076AA}"/>
              </a:ext>
            </a:extLst>
          </p:cNvPr>
          <p:cNvSpPr>
            <a:spLocks noGrp="1"/>
          </p:cNvSpPr>
          <p:nvPr>
            <p:ph type="title"/>
          </p:nvPr>
        </p:nvSpPr>
        <p:spPr/>
        <p:txBody>
          <a:bodyPr/>
          <a:lstStyle/>
          <a:p>
            <a:r>
              <a:rPr lang="en-US" dirty="0"/>
              <a:t>Basic concepts</a:t>
            </a:r>
          </a:p>
        </p:txBody>
      </p:sp>
      <p:sp>
        <p:nvSpPr>
          <p:cNvPr id="9" name="Text Placeholder 16">
            <a:extLst>
              <a:ext uri="{FF2B5EF4-FFF2-40B4-BE49-F238E27FC236}">
                <a16:creationId xmlns:a16="http://schemas.microsoft.com/office/drawing/2014/main" id="{3BB3A0CB-2068-448E-A87D-D6F4E55852EB}"/>
              </a:ext>
            </a:extLst>
          </p:cNvPr>
          <p:cNvSpPr txBox="1">
            <a:spLocks/>
          </p:cNvSpPr>
          <p:nvPr/>
        </p:nvSpPr>
        <p:spPr>
          <a:xfrm>
            <a:off x="228600" y="668889"/>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r>
              <a:rPr lang="en-US" sz="1600" dirty="0">
                <a:solidFill>
                  <a:schemeClr val="accent2"/>
                </a:solidFill>
              </a:rPr>
              <a:t>Intents</a:t>
            </a:r>
            <a:r>
              <a:rPr lang="en-US" sz="1600" dirty="0"/>
              <a:t>: intents include elements and logic to parse user’s information. This maps what the user says with response. Intents have several components: contexts, training phrases, events, fulfillment, and response.</a:t>
            </a:r>
          </a:p>
          <a:p>
            <a:pPr marL="285750" indent="-285750">
              <a:buFont typeface="Arial" panose="020B0604020202020204" pitchFamily="34" charset="0"/>
              <a:buChar char="•"/>
            </a:pPr>
            <a:r>
              <a:rPr lang="en-US" sz="1600" dirty="0">
                <a:solidFill>
                  <a:schemeClr val="accent2"/>
                </a:solidFill>
              </a:rPr>
              <a:t>Training phrases</a:t>
            </a:r>
            <a:r>
              <a:rPr lang="en-US" sz="1600" dirty="0"/>
              <a:t>: different variations of how the same question can be asked by a user. The more variation is added, the better agent can understand</a:t>
            </a:r>
          </a:p>
          <a:p>
            <a:pPr marL="285750" indent="-285750">
              <a:buFont typeface="Arial" panose="020B0604020202020204" pitchFamily="34" charset="0"/>
              <a:buChar char="•"/>
            </a:pPr>
            <a:r>
              <a:rPr lang="en-US" sz="1600" dirty="0">
                <a:solidFill>
                  <a:schemeClr val="accent2"/>
                </a:solidFill>
              </a:rPr>
              <a:t>Entities (or slot, attributes)</a:t>
            </a:r>
            <a:r>
              <a:rPr lang="en-US" sz="1600" dirty="0"/>
              <a:t>: information extracted from users' sentences. There are a variety of entities: system entities to include information about time, weather/location entities… and custom entities.</a:t>
            </a:r>
          </a:p>
          <a:p>
            <a:pPr marL="285750" indent="-285750">
              <a:buFont typeface="Arial" panose="020B0604020202020204" pitchFamily="34" charset="0"/>
              <a:buChar char="•"/>
            </a:pPr>
            <a:r>
              <a:rPr lang="en-US" sz="1600" dirty="0">
                <a:solidFill>
                  <a:schemeClr val="accent2"/>
                </a:solidFill>
              </a:rPr>
              <a:t>Fulfillment</a:t>
            </a:r>
            <a:r>
              <a:rPr lang="en-US" sz="1600" dirty="0"/>
              <a:t> : The bot sends the request to fetch data needed. Webhook determines how it would like to respond and send back to dialog.</a:t>
            </a:r>
          </a:p>
          <a:p>
            <a:pPr marL="285750" indent="-285750">
              <a:buFont typeface="Arial" panose="020B0604020202020204" pitchFamily="34" charset="0"/>
              <a:buChar char="•"/>
            </a:pPr>
            <a:r>
              <a:rPr lang="en-US" sz="1600" dirty="0">
                <a:solidFill>
                  <a:schemeClr val="accent2"/>
                </a:solidFill>
              </a:rPr>
              <a:t>Response</a:t>
            </a:r>
            <a:r>
              <a:rPr lang="en-US" sz="1600" dirty="0"/>
              <a:t>: The backend system including webhook, entities, intents, user says… would produce a set of response</a:t>
            </a:r>
          </a:p>
          <a:p>
            <a:pPr marL="285750" indent="-285750">
              <a:buFont typeface="Arial" panose="020B0604020202020204" pitchFamily="34" charset="0"/>
              <a:buChar char="•"/>
            </a:pPr>
            <a:r>
              <a:rPr lang="en-US" sz="1600" dirty="0">
                <a:solidFill>
                  <a:schemeClr val="accent2"/>
                </a:solidFill>
              </a:rPr>
              <a:t>Context</a:t>
            </a:r>
            <a:r>
              <a:rPr lang="en-US" sz="1600" dirty="0"/>
              <a:t>: Contexts are used to store parameter values for different types of intent in a conversation. </a:t>
            </a:r>
            <a:endParaRPr lang="en-US" dirty="0"/>
          </a:p>
        </p:txBody>
      </p:sp>
    </p:spTree>
    <p:extLst>
      <p:ext uri="{BB962C8B-B14F-4D97-AF65-F5344CB8AC3E}">
        <p14:creationId xmlns:p14="http://schemas.microsoft.com/office/powerpoint/2010/main" val="2485054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274197A-C4FB-4C3A-A467-975680B4BF7C}"/>
              </a:ext>
            </a:extLst>
          </p:cNvPr>
          <p:cNvSpPr>
            <a:spLocks noGrp="1"/>
          </p:cNvSpPr>
          <p:nvPr>
            <p:ph type="title"/>
          </p:nvPr>
        </p:nvSpPr>
        <p:spPr/>
        <p:txBody>
          <a:bodyPr/>
          <a:lstStyle/>
          <a:p>
            <a:r>
              <a:rPr lang="fr-FR" dirty="0" err="1"/>
              <a:t>Additional</a:t>
            </a:r>
            <a:r>
              <a:rPr lang="fr-FR" dirty="0"/>
              <a:t> concepts</a:t>
            </a:r>
          </a:p>
        </p:txBody>
      </p:sp>
      <p:sp>
        <p:nvSpPr>
          <p:cNvPr id="3" name="Text Placeholder 16">
            <a:extLst>
              <a:ext uri="{FF2B5EF4-FFF2-40B4-BE49-F238E27FC236}">
                <a16:creationId xmlns:a16="http://schemas.microsoft.com/office/drawing/2014/main" id="{4B3F4C1E-80EB-479F-B7FF-6F94D836E2A1}"/>
              </a:ext>
            </a:extLst>
          </p:cNvPr>
          <p:cNvSpPr txBox="1">
            <a:spLocks/>
          </p:cNvSpPr>
          <p:nvPr/>
        </p:nvSpPr>
        <p:spPr>
          <a:xfrm>
            <a:off x="228600" y="668889"/>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solidFill>
                <a:schemeClr val="accent2"/>
              </a:solidFill>
            </a:endParaRPr>
          </a:p>
          <a:p>
            <a:pPr marL="285750" indent="-285750">
              <a:buFont typeface="Arial" panose="020B0604020202020204" pitchFamily="34" charset="0"/>
              <a:buChar char="•"/>
            </a:pPr>
            <a:r>
              <a:rPr lang="en-US" sz="1600" dirty="0">
                <a:solidFill>
                  <a:schemeClr val="accent2"/>
                </a:solidFill>
              </a:rPr>
              <a:t>Incidental conversation: </a:t>
            </a:r>
            <a:r>
              <a:rPr lang="en-US" sz="1600" dirty="0"/>
              <a:t>sub conversation during a main conversation, with return to the main conversation at the end.</a:t>
            </a:r>
          </a:p>
          <a:p>
            <a:pPr marL="690563" lvl="1" indent="-285750"/>
            <a:r>
              <a:rPr lang="en-US" sz="1450" dirty="0"/>
              <a:t>(conversation for an appointment request) </a:t>
            </a:r>
          </a:p>
          <a:p>
            <a:pPr marL="690563" lvl="1" indent="-285750"/>
            <a:r>
              <a:rPr lang="en-US" sz="1450" dirty="0"/>
              <a:t>By the way, is there a bus station near your office ? </a:t>
            </a:r>
          </a:p>
          <a:p>
            <a:pPr marL="690563" lvl="1" indent="-285750"/>
            <a:r>
              <a:rPr lang="en-US" sz="1450" dirty="0"/>
              <a:t>Yes, just in front of the door !</a:t>
            </a:r>
          </a:p>
          <a:p>
            <a:pPr marL="690563" lvl="1" indent="-285750"/>
            <a:r>
              <a:rPr lang="en-US" sz="1450" dirty="0"/>
              <a:t>(return to the next step of the appointment request)</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err="1">
                <a:solidFill>
                  <a:schemeClr val="accent2"/>
                </a:solidFill>
              </a:rPr>
              <a:t>Smalltalks</a:t>
            </a:r>
            <a:r>
              <a:rPr lang="en-US" sz="1600" dirty="0"/>
              <a:t>: technically, </a:t>
            </a:r>
            <a:r>
              <a:rPr lang="en-US" sz="1600" dirty="0" err="1"/>
              <a:t>smalltalks</a:t>
            </a:r>
            <a:r>
              <a:rPr lang="en-US" sz="1600" dirty="0"/>
              <a:t> are useless for handling the user's request. But they allow to humanize the conversation of the bot :</a:t>
            </a:r>
          </a:p>
          <a:p>
            <a:pPr marL="690563" lvl="1" indent="-285750"/>
            <a:r>
              <a:rPr lang="en-US" sz="1450" dirty="0"/>
              <a:t>How are you ?</a:t>
            </a:r>
          </a:p>
          <a:p>
            <a:pPr marL="690563" lvl="1" indent="-285750"/>
            <a:r>
              <a:rPr lang="en-US" sz="1450" dirty="0"/>
              <a:t>Are you a robot ?</a:t>
            </a:r>
          </a:p>
          <a:p>
            <a:pPr marL="690563" lvl="1" indent="-285750"/>
            <a:endParaRPr lang="en-US" sz="145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2904504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7C2C6D66-98F0-A842-84C9-4D6B3B8B60C9}"/>
              </a:ext>
            </a:extLst>
          </p:cNvPr>
          <p:cNvSpPr>
            <a:spLocks noGrp="1"/>
          </p:cNvSpPr>
          <p:nvPr>
            <p:ph type="title"/>
          </p:nvPr>
        </p:nvSpPr>
        <p:spPr/>
        <p:txBody>
          <a:bodyPr/>
          <a:lstStyle/>
          <a:p>
            <a:r>
              <a:rPr lang="en-US" dirty="0"/>
              <a:t>Target</a:t>
            </a:r>
          </a:p>
        </p:txBody>
      </p:sp>
      <p:sp>
        <p:nvSpPr>
          <p:cNvPr id="38" name="Text Placeholder 37">
            <a:extLst>
              <a:ext uri="{FF2B5EF4-FFF2-40B4-BE49-F238E27FC236}">
                <a16:creationId xmlns:a16="http://schemas.microsoft.com/office/drawing/2014/main" id="{047C684C-BB42-8A4B-BAB6-EEF178BE083B}"/>
              </a:ext>
            </a:extLst>
          </p:cNvPr>
          <p:cNvSpPr>
            <a:spLocks noGrp="1"/>
          </p:cNvSpPr>
          <p:nvPr>
            <p:ph type="body" idx="19"/>
          </p:nvPr>
        </p:nvSpPr>
        <p:spPr>
          <a:xfrm>
            <a:off x="5643107" y="347278"/>
            <a:ext cx="2882685" cy="395288"/>
          </a:xfrm>
        </p:spPr>
        <p:txBody>
          <a:bodyPr/>
          <a:lstStyle/>
          <a:p>
            <a:endParaRPr lang="en-US" sz="1200" b="1" dirty="0"/>
          </a:p>
          <a:p>
            <a:pPr algn="ctr"/>
            <a:r>
              <a:rPr lang="en-US" sz="1200" b="1" dirty="0"/>
              <a:t>Creating a bot with Concierge and </a:t>
            </a:r>
            <a:r>
              <a:rPr lang="en-US" sz="1200" b="1" dirty="0" err="1"/>
              <a:t>Dialogflow</a:t>
            </a:r>
            <a:endParaRPr lang="en-US" sz="1200" b="1" dirty="0"/>
          </a:p>
        </p:txBody>
      </p:sp>
      <p:sp>
        <p:nvSpPr>
          <p:cNvPr id="16" name="Arc 15">
            <a:extLst>
              <a:ext uri="{FF2B5EF4-FFF2-40B4-BE49-F238E27FC236}">
                <a16:creationId xmlns:a16="http://schemas.microsoft.com/office/drawing/2014/main" id="{B0CE3433-0BA4-414B-9459-9A0142CE7E21}"/>
              </a:ext>
            </a:extLst>
          </p:cNvPr>
          <p:cNvSpPr/>
          <p:nvPr/>
        </p:nvSpPr>
        <p:spPr>
          <a:xfrm rot="9049411">
            <a:off x="1110801" y="1525903"/>
            <a:ext cx="6139701" cy="1540309"/>
          </a:xfrm>
          <a:prstGeom prst="arc">
            <a:avLst>
              <a:gd name="adj1" fmla="val 11086048"/>
              <a:gd name="adj2" fmla="val 21322351"/>
            </a:avLst>
          </a:prstGeom>
          <a:noFill/>
          <a:ln w="63500">
            <a:solidFill>
              <a:schemeClr val="accent2"/>
            </a:solidFill>
            <a:head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p>
        </p:txBody>
      </p:sp>
      <p:sp>
        <p:nvSpPr>
          <p:cNvPr id="55" name="Forme libre : forme 54">
            <a:extLst>
              <a:ext uri="{FF2B5EF4-FFF2-40B4-BE49-F238E27FC236}">
                <a16:creationId xmlns:a16="http://schemas.microsoft.com/office/drawing/2014/main" id="{CFB3D3FF-84C9-4BBC-AA12-4423A86456CD}"/>
              </a:ext>
            </a:extLst>
          </p:cNvPr>
          <p:cNvSpPr/>
          <p:nvPr/>
        </p:nvSpPr>
        <p:spPr>
          <a:xfrm>
            <a:off x="2158229" y="1092318"/>
            <a:ext cx="4558916" cy="3003392"/>
          </a:xfrm>
          <a:custGeom>
            <a:avLst/>
            <a:gdLst>
              <a:gd name="connsiteX0" fmla="*/ 0 w 4558916"/>
              <a:gd name="connsiteY0" fmla="*/ 2180762 h 3003392"/>
              <a:gd name="connsiteX1" fmla="*/ 964018 w 4558916"/>
              <a:gd name="connsiteY1" fmla="*/ 557524 h 3003392"/>
              <a:gd name="connsiteX2" fmla="*/ 1587795 w 4558916"/>
              <a:gd name="connsiteY2" fmla="*/ 1776724 h 3003392"/>
              <a:gd name="connsiteX3" fmla="*/ 1949302 w 4558916"/>
              <a:gd name="connsiteY3" fmla="*/ 2691124 h 3003392"/>
              <a:gd name="connsiteX4" fmla="*/ 2799907 w 4558916"/>
              <a:gd name="connsiteY4" fmla="*/ 2995924 h 3003392"/>
              <a:gd name="connsiteX5" fmla="*/ 3565451 w 4558916"/>
              <a:gd name="connsiteY5" fmla="*/ 2435943 h 3003392"/>
              <a:gd name="connsiteX6" fmla="*/ 3154325 w 4558916"/>
              <a:gd name="connsiteY6" fmla="*/ 238548 h 3003392"/>
              <a:gd name="connsiteX7" fmla="*/ 4401879 w 4558916"/>
              <a:gd name="connsiteY7" fmla="*/ 32985 h 3003392"/>
              <a:gd name="connsiteX8" fmla="*/ 4522381 w 4558916"/>
              <a:gd name="connsiteY8" fmla="*/ 4631 h 3003392"/>
              <a:gd name="connsiteX9" fmla="*/ 4231758 w 4558916"/>
              <a:gd name="connsiteY9" fmla="*/ 4631 h 3003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8916" h="3003392">
                <a:moveTo>
                  <a:pt x="0" y="2180762"/>
                </a:moveTo>
                <a:cubicBezTo>
                  <a:pt x="349693" y="1402813"/>
                  <a:pt x="699386" y="624864"/>
                  <a:pt x="964018" y="557524"/>
                </a:cubicBezTo>
                <a:cubicBezTo>
                  <a:pt x="1228651" y="490184"/>
                  <a:pt x="1423581" y="1421124"/>
                  <a:pt x="1587795" y="1776724"/>
                </a:cubicBezTo>
                <a:cubicBezTo>
                  <a:pt x="1752009" y="2132324"/>
                  <a:pt x="1747283" y="2487924"/>
                  <a:pt x="1949302" y="2691124"/>
                </a:cubicBezTo>
                <a:cubicBezTo>
                  <a:pt x="2151321" y="2894324"/>
                  <a:pt x="2530549" y="3038454"/>
                  <a:pt x="2799907" y="2995924"/>
                </a:cubicBezTo>
                <a:cubicBezTo>
                  <a:pt x="3069265" y="2953394"/>
                  <a:pt x="3506381" y="2895506"/>
                  <a:pt x="3565451" y="2435943"/>
                </a:cubicBezTo>
                <a:cubicBezTo>
                  <a:pt x="3624521" y="1976380"/>
                  <a:pt x="3014920" y="639041"/>
                  <a:pt x="3154325" y="238548"/>
                </a:cubicBezTo>
                <a:cubicBezTo>
                  <a:pt x="3293730" y="-161945"/>
                  <a:pt x="4173870" y="71971"/>
                  <a:pt x="4401879" y="32985"/>
                </a:cubicBezTo>
                <a:cubicBezTo>
                  <a:pt x="4629888" y="-6001"/>
                  <a:pt x="4550734" y="9357"/>
                  <a:pt x="4522381" y="4631"/>
                </a:cubicBezTo>
                <a:cubicBezTo>
                  <a:pt x="4494028" y="-95"/>
                  <a:pt x="4205767" y="-2458"/>
                  <a:pt x="4231758" y="4631"/>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Forme libre : forme 55">
            <a:extLst>
              <a:ext uri="{FF2B5EF4-FFF2-40B4-BE49-F238E27FC236}">
                <a16:creationId xmlns:a16="http://schemas.microsoft.com/office/drawing/2014/main" id="{30D1A9C4-4B9A-4705-B0A8-9E45973B6EEB}"/>
              </a:ext>
            </a:extLst>
          </p:cNvPr>
          <p:cNvSpPr/>
          <p:nvPr/>
        </p:nvSpPr>
        <p:spPr>
          <a:xfrm>
            <a:off x="1768368" y="1174921"/>
            <a:ext cx="5217042" cy="3001808"/>
          </a:xfrm>
          <a:custGeom>
            <a:avLst/>
            <a:gdLst>
              <a:gd name="connsiteX0" fmla="*/ 0 w 5217042"/>
              <a:gd name="connsiteY0" fmla="*/ 2601433 h 3001808"/>
              <a:gd name="connsiteX1" fmla="*/ 418214 w 5217042"/>
              <a:gd name="connsiteY1" fmla="*/ 1205024 h 3001808"/>
              <a:gd name="connsiteX2" fmla="*/ 1318437 w 5217042"/>
              <a:gd name="connsiteY2" fmla="*/ 2998382 h 3001808"/>
              <a:gd name="connsiteX3" fmla="*/ 1722475 w 5217042"/>
              <a:gd name="connsiteY3" fmla="*/ 1687033 h 3001808"/>
              <a:gd name="connsiteX4" fmla="*/ 2970028 w 5217042"/>
              <a:gd name="connsiteY4" fmla="*/ 2799907 h 3001808"/>
              <a:gd name="connsiteX5" fmla="*/ 2870791 w 5217042"/>
              <a:gd name="connsiteY5" fmla="*/ 205563 h 3001808"/>
              <a:gd name="connsiteX6" fmla="*/ 4536558 w 5217042"/>
              <a:gd name="connsiteY6" fmla="*/ 1708298 h 3001808"/>
              <a:gd name="connsiteX7" fmla="*/ 5217042 w 5217042"/>
              <a:gd name="connsiteY7" fmla="*/ 0 h 300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17042" h="3001808">
                <a:moveTo>
                  <a:pt x="0" y="2601433"/>
                </a:moveTo>
                <a:cubicBezTo>
                  <a:pt x="99237" y="1870149"/>
                  <a:pt x="198475" y="1138866"/>
                  <a:pt x="418214" y="1205024"/>
                </a:cubicBezTo>
                <a:cubicBezTo>
                  <a:pt x="637954" y="1271182"/>
                  <a:pt x="1101060" y="2918047"/>
                  <a:pt x="1318437" y="2998382"/>
                </a:cubicBezTo>
                <a:cubicBezTo>
                  <a:pt x="1535814" y="3078717"/>
                  <a:pt x="1447210" y="1720112"/>
                  <a:pt x="1722475" y="1687033"/>
                </a:cubicBezTo>
                <a:cubicBezTo>
                  <a:pt x="1997740" y="1653954"/>
                  <a:pt x="2778642" y="3046818"/>
                  <a:pt x="2970028" y="2799907"/>
                </a:cubicBezTo>
                <a:cubicBezTo>
                  <a:pt x="3161414" y="2552996"/>
                  <a:pt x="2609703" y="387498"/>
                  <a:pt x="2870791" y="205563"/>
                </a:cubicBezTo>
                <a:cubicBezTo>
                  <a:pt x="3131879" y="23628"/>
                  <a:pt x="4145516" y="1742558"/>
                  <a:pt x="4536558" y="1708298"/>
                </a:cubicBezTo>
                <a:cubicBezTo>
                  <a:pt x="4927600" y="1674038"/>
                  <a:pt x="4964223" y="147674"/>
                  <a:pt x="5217042" y="0"/>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1" name="Forme libre : forme 60">
            <a:extLst>
              <a:ext uri="{FF2B5EF4-FFF2-40B4-BE49-F238E27FC236}">
                <a16:creationId xmlns:a16="http://schemas.microsoft.com/office/drawing/2014/main" id="{4EAC3E1C-9605-4254-A510-84D2339017B7}"/>
              </a:ext>
            </a:extLst>
          </p:cNvPr>
          <p:cNvSpPr/>
          <p:nvPr/>
        </p:nvSpPr>
        <p:spPr>
          <a:xfrm>
            <a:off x="1740015" y="1111126"/>
            <a:ext cx="5395950" cy="2921248"/>
          </a:xfrm>
          <a:custGeom>
            <a:avLst/>
            <a:gdLst>
              <a:gd name="connsiteX0" fmla="*/ 0 w 5395950"/>
              <a:gd name="connsiteY0" fmla="*/ 2636874 h 2921248"/>
              <a:gd name="connsiteX1" fmla="*/ 453655 w 5395950"/>
              <a:gd name="connsiteY1" fmla="*/ 1580707 h 2921248"/>
              <a:gd name="connsiteX2" fmla="*/ 1148316 w 5395950"/>
              <a:gd name="connsiteY2" fmla="*/ 2920409 h 2921248"/>
              <a:gd name="connsiteX3" fmla="*/ 1715386 w 5395950"/>
              <a:gd name="connsiteY3" fmla="*/ 1346791 h 2921248"/>
              <a:gd name="connsiteX4" fmla="*/ 3203944 w 5395950"/>
              <a:gd name="connsiteY4" fmla="*/ 2225749 h 2921248"/>
              <a:gd name="connsiteX5" fmla="*/ 3508744 w 5395950"/>
              <a:gd name="connsiteY5" fmla="*/ 375684 h 2921248"/>
              <a:gd name="connsiteX6" fmla="*/ 5209953 w 5395950"/>
              <a:gd name="connsiteY6" fmla="*/ 1928037 h 2921248"/>
              <a:gd name="connsiteX7" fmla="*/ 5273748 w 5395950"/>
              <a:gd name="connsiteY7" fmla="*/ 0 h 2921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95950" h="2921248">
                <a:moveTo>
                  <a:pt x="0" y="2636874"/>
                </a:moveTo>
                <a:cubicBezTo>
                  <a:pt x="131134" y="2085162"/>
                  <a:pt x="262269" y="1533451"/>
                  <a:pt x="453655" y="1580707"/>
                </a:cubicBezTo>
                <a:cubicBezTo>
                  <a:pt x="645041" y="1627963"/>
                  <a:pt x="938028" y="2959395"/>
                  <a:pt x="1148316" y="2920409"/>
                </a:cubicBezTo>
                <a:cubicBezTo>
                  <a:pt x="1358604" y="2881423"/>
                  <a:pt x="1372781" y="1462568"/>
                  <a:pt x="1715386" y="1346791"/>
                </a:cubicBezTo>
                <a:cubicBezTo>
                  <a:pt x="2057991" y="1231014"/>
                  <a:pt x="2905051" y="2387600"/>
                  <a:pt x="3203944" y="2225749"/>
                </a:cubicBezTo>
                <a:cubicBezTo>
                  <a:pt x="3502837" y="2063898"/>
                  <a:pt x="3174409" y="425303"/>
                  <a:pt x="3508744" y="375684"/>
                </a:cubicBezTo>
                <a:cubicBezTo>
                  <a:pt x="3843079" y="326065"/>
                  <a:pt x="4915786" y="1990651"/>
                  <a:pt x="5209953" y="1928037"/>
                </a:cubicBezTo>
                <a:cubicBezTo>
                  <a:pt x="5504120" y="1865423"/>
                  <a:pt x="5388934" y="932711"/>
                  <a:pt x="5273748" y="0"/>
                </a:cubicBezTo>
              </a:path>
            </a:pathLst>
          </a:custGeom>
          <a:noFill/>
          <a:ln w="47625">
            <a:solidFill>
              <a:srgbClr val="FFC000"/>
            </a:solidFill>
            <a:headEnd type="none"/>
            <a:tailEnd type="stealt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2" name="Text Placeholder 35">
            <a:extLst>
              <a:ext uri="{FF2B5EF4-FFF2-40B4-BE49-F238E27FC236}">
                <a16:creationId xmlns:a16="http://schemas.microsoft.com/office/drawing/2014/main" id="{07AAB6D2-CF69-49DE-B5D3-0BC49D0BA871}"/>
              </a:ext>
            </a:extLst>
          </p:cNvPr>
          <p:cNvSpPr txBox="1">
            <a:spLocks/>
          </p:cNvSpPr>
          <p:nvPr/>
        </p:nvSpPr>
        <p:spPr>
          <a:xfrm>
            <a:off x="4900363" y="1138078"/>
            <a:ext cx="1350795" cy="395288"/>
          </a:xfrm>
          <a:prstGeom prst="rect">
            <a:avLst/>
          </a:prstGeom>
        </p:spPr>
        <p:txBody>
          <a:bodyPr lIns="180000" tIns="72000" rIns="288000" bIns="72000" anchor="ctr" anchorCtr="0"/>
          <a:lstStyle>
            <a:lvl1pPr marL="0" indent="0" algn="l" defTabSz="685800" rtl="0" eaLnBrk="1" latinLnBrk="0" hangingPunct="1">
              <a:lnSpc>
                <a:spcPct val="120000"/>
              </a:lnSpc>
              <a:spcBef>
                <a:spcPts val="750"/>
              </a:spcBef>
              <a:spcAft>
                <a:spcPts val="600"/>
              </a:spcAft>
              <a:buFont typeface="Arial" panose="020B0604020202020204" pitchFamily="34" charset="0"/>
              <a:buNone/>
              <a:defRPr sz="1000" kern="1200">
                <a:solidFill>
                  <a:schemeClr val="tx1"/>
                </a:solidFill>
                <a:latin typeface="+mj-lt"/>
                <a:ea typeface="+mn-ea"/>
                <a:cs typeface="+mn-cs"/>
              </a:defRPr>
            </a:lvl1pPr>
            <a:lvl2pPr marL="404813" indent="-134541" algn="l" defTabSz="685800" rtl="0" eaLnBrk="1" latinLnBrk="0" hangingPunct="1">
              <a:lnSpc>
                <a:spcPct val="120000"/>
              </a:lnSpc>
              <a:spcBef>
                <a:spcPts val="375"/>
              </a:spcBef>
              <a:spcAft>
                <a:spcPts val="600"/>
              </a:spcAft>
              <a:buClr>
                <a:schemeClr val="accent1"/>
              </a:buClr>
              <a:buFont typeface="Arial" panose="020B0604020202020204" pitchFamily="34" charset="0"/>
              <a:buChar char="•"/>
              <a:defRPr sz="1000" kern="1200">
                <a:solidFill>
                  <a:schemeClr val="tx1"/>
                </a:solidFill>
                <a:latin typeface="+mj-lt"/>
                <a:ea typeface="+mn-ea"/>
                <a:cs typeface="+mn-cs"/>
              </a:defRPr>
            </a:lvl2pPr>
            <a:lvl3pPr marL="675085" indent="-134541" algn="l" defTabSz="685800" rtl="0" eaLnBrk="1" latinLnBrk="0" hangingPunct="1">
              <a:lnSpc>
                <a:spcPct val="120000"/>
              </a:lnSpc>
              <a:spcBef>
                <a:spcPts val="375"/>
              </a:spcBef>
              <a:spcAft>
                <a:spcPts val="600"/>
              </a:spcAft>
              <a:buClr>
                <a:schemeClr val="accent2"/>
              </a:buClr>
              <a:buFont typeface="Arial" panose="020B0604020202020204" pitchFamily="34" charset="0"/>
              <a:buChar char="•"/>
              <a:defRPr sz="1000" kern="1200">
                <a:solidFill>
                  <a:schemeClr val="tx1"/>
                </a:solidFill>
                <a:latin typeface="+mj-lt"/>
                <a:ea typeface="+mn-ea"/>
                <a:cs typeface="+mn-cs"/>
              </a:defRPr>
            </a:lvl3pPr>
            <a:lvl4pPr marL="945356" indent="-134541" algn="l" defTabSz="685800" rtl="0" eaLnBrk="1" latinLnBrk="0" hangingPunct="1">
              <a:lnSpc>
                <a:spcPct val="120000"/>
              </a:lnSpc>
              <a:spcBef>
                <a:spcPts val="375"/>
              </a:spcBef>
              <a:spcAft>
                <a:spcPts val="600"/>
              </a:spcAft>
              <a:buClr>
                <a:schemeClr val="accent3"/>
              </a:buClr>
              <a:buFont typeface="Arial" panose="020B0604020202020204" pitchFamily="34" charset="0"/>
              <a:buChar char="•"/>
              <a:defRPr sz="1000" kern="1200">
                <a:solidFill>
                  <a:schemeClr val="tx1"/>
                </a:solidFill>
                <a:latin typeface="+mj-lt"/>
                <a:ea typeface="+mn-ea"/>
                <a:cs typeface="+mn-cs"/>
              </a:defRPr>
            </a:lvl4pPr>
            <a:lvl5pPr marL="1215629" indent="-134541" algn="l" defTabSz="685800" rtl="0" eaLnBrk="1" latinLnBrk="0" hangingPunct="1">
              <a:lnSpc>
                <a:spcPct val="120000"/>
              </a:lnSpc>
              <a:spcBef>
                <a:spcPts val="375"/>
              </a:spcBef>
              <a:spcAft>
                <a:spcPts val="600"/>
              </a:spcAft>
              <a:buClr>
                <a:schemeClr val="accent5"/>
              </a:buClr>
              <a:buFont typeface="Arial" panose="020B0604020202020204" pitchFamily="34" charset="0"/>
              <a:buChar char="•"/>
              <a:defRPr sz="10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Google APIs</a:t>
            </a:r>
          </a:p>
        </p:txBody>
      </p:sp>
      <p:sp>
        <p:nvSpPr>
          <p:cNvPr id="63" name="Text Placeholder 35">
            <a:extLst>
              <a:ext uri="{FF2B5EF4-FFF2-40B4-BE49-F238E27FC236}">
                <a16:creationId xmlns:a16="http://schemas.microsoft.com/office/drawing/2014/main" id="{E776DDFD-075B-40AF-8BE7-9F9267A6E7C6}"/>
              </a:ext>
            </a:extLst>
          </p:cNvPr>
          <p:cNvSpPr txBox="1">
            <a:spLocks/>
          </p:cNvSpPr>
          <p:nvPr/>
        </p:nvSpPr>
        <p:spPr>
          <a:xfrm>
            <a:off x="2630314" y="2368214"/>
            <a:ext cx="1053740" cy="484437"/>
          </a:xfrm>
          <a:prstGeom prst="rect">
            <a:avLst/>
          </a:prstGeom>
        </p:spPr>
        <p:txBody>
          <a:bodyPr lIns="180000" tIns="72000" rIns="288000" bIns="72000" anchor="ctr" anchorCtr="0"/>
          <a:lstStyle>
            <a:lvl1pPr marL="0" indent="0" algn="l" defTabSz="685800" rtl="0" eaLnBrk="1" latinLnBrk="0" hangingPunct="1">
              <a:lnSpc>
                <a:spcPct val="120000"/>
              </a:lnSpc>
              <a:spcBef>
                <a:spcPts val="750"/>
              </a:spcBef>
              <a:spcAft>
                <a:spcPts val="600"/>
              </a:spcAft>
              <a:buFont typeface="Arial" panose="020B0604020202020204" pitchFamily="34" charset="0"/>
              <a:buNone/>
              <a:defRPr sz="1000" kern="1200">
                <a:solidFill>
                  <a:schemeClr val="tx1"/>
                </a:solidFill>
                <a:latin typeface="+mj-lt"/>
                <a:ea typeface="+mn-ea"/>
                <a:cs typeface="+mn-cs"/>
              </a:defRPr>
            </a:lvl1pPr>
            <a:lvl2pPr marL="404813" indent="-134541" algn="l" defTabSz="685800" rtl="0" eaLnBrk="1" latinLnBrk="0" hangingPunct="1">
              <a:lnSpc>
                <a:spcPct val="120000"/>
              </a:lnSpc>
              <a:spcBef>
                <a:spcPts val="375"/>
              </a:spcBef>
              <a:spcAft>
                <a:spcPts val="600"/>
              </a:spcAft>
              <a:buClr>
                <a:schemeClr val="accent1"/>
              </a:buClr>
              <a:buFont typeface="Arial" panose="020B0604020202020204" pitchFamily="34" charset="0"/>
              <a:buChar char="•"/>
              <a:defRPr sz="1000" kern="1200">
                <a:solidFill>
                  <a:schemeClr val="tx1"/>
                </a:solidFill>
                <a:latin typeface="+mj-lt"/>
                <a:ea typeface="+mn-ea"/>
                <a:cs typeface="+mn-cs"/>
              </a:defRPr>
            </a:lvl2pPr>
            <a:lvl3pPr marL="675085" indent="-134541" algn="l" defTabSz="685800" rtl="0" eaLnBrk="1" latinLnBrk="0" hangingPunct="1">
              <a:lnSpc>
                <a:spcPct val="120000"/>
              </a:lnSpc>
              <a:spcBef>
                <a:spcPts val="375"/>
              </a:spcBef>
              <a:spcAft>
                <a:spcPts val="600"/>
              </a:spcAft>
              <a:buClr>
                <a:schemeClr val="accent2"/>
              </a:buClr>
              <a:buFont typeface="Arial" panose="020B0604020202020204" pitchFamily="34" charset="0"/>
              <a:buChar char="•"/>
              <a:defRPr sz="1000" kern="1200">
                <a:solidFill>
                  <a:schemeClr val="tx1"/>
                </a:solidFill>
                <a:latin typeface="+mj-lt"/>
                <a:ea typeface="+mn-ea"/>
                <a:cs typeface="+mn-cs"/>
              </a:defRPr>
            </a:lvl3pPr>
            <a:lvl4pPr marL="945356" indent="-134541" algn="l" defTabSz="685800" rtl="0" eaLnBrk="1" latinLnBrk="0" hangingPunct="1">
              <a:lnSpc>
                <a:spcPct val="120000"/>
              </a:lnSpc>
              <a:spcBef>
                <a:spcPts val="375"/>
              </a:spcBef>
              <a:spcAft>
                <a:spcPts val="600"/>
              </a:spcAft>
              <a:buClr>
                <a:schemeClr val="accent3"/>
              </a:buClr>
              <a:buFont typeface="Arial" panose="020B0604020202020204" pitchFamily="34" charset="0"/>
              <a:buChar char="•"/>
              <a:defRPr sz="1000" kern="1200">
                <a:solidFill>
                  <a:schemeClr val="tx1"/>
                </a:solidFill>
                <a:latin typeface="+mj-lt"/>
                <a:ea typeface="+mn-ea"/>
                <a:cs typeface="+mn-cs"/>
              </a:defRPr>
            </a:lvl4pPr>
            <a:lvl5pPr marL="1215629" indent="-134541" algn="l" defTabSz="685800" rtl="0" eaLnBrk="1" latinLnBrk="0" hangingPunct="1">
              <a:lnSpc>
                <a:spcPct val="120000"/>
              </a:lnSpc>
              <a:spcBef>
                <a:spcPts val="375"/>
              </a:spcBef>
              <a:spcAft>
                <a:spcPts val="600"/>
              </a:spcAft>
              <a:buClr>
                <a:schemeClr val="accent5"/>
              </a:buClr>
              <a:buFont typeface="Arial" panose="020B0604020202020204" pitchFamily="34" charset="0"/>
              <a:buChar char="•"/>
              <a:defRPr sz="10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STT / TTS / SSML</a:t>
            </a:r>
          </a:p>
        </p:txBody>
      </p:sp>
      <p:sp>
        <p:nvSpPr>
          <p:cNvPr id="64" name="Text Placeholder 35">
            <a:extLst>
              <a:ext uri="{FF2B5EF4-FFF2-40B4-BE49-F238E27FC236}">
                <a16:creationId xmlns:a16="http://schemas.microsoft.com/office/drawing/2014/main" id="{8CF117B5-E769-4FA6-B770-01C2651B4BB2}"/>
              </a:ext>
            </a:extLst>
          </p:cNvPr>
          <p:cNvSpPr txBox="1">
            <a:spLocks/>
          </p:cNvSpPr>
          <p:nvPr/>
        </p:nvSpPr>
        <p:spPr>
          <a:xfrm>
            <a:off x="2093232" y="4292105"/>
            <a:ext cx="1810265" cy="344329"/>
          </a:xfrm>
          <a:prstGeom prst="rect">
            <a:avLst/>
          </a:prstGeom>
        </p:spPr>
        <p:txBody>
          <a:bodyPr lIns="180000" tIns="72000" rIns="288000" bIns="72000" anchor="ctr" anchorCtr="0"/>
          <a:lstStyle>
            <a:lvl1pPr marL="0" indent="0" algn="l" defTabSz="685800" rtl="0" eaLnBrk="1" latinLnBrk="0" hangingPunct="1">
              <a:lnSpc>
                <a:spcPct val="120000"/>
              </a:lnSpc>
              <a:spcBef>
                <a:spcPts val="750"/>
              </a:spcBef>
              <a:spcAft>
                <a:spcPts val="600"/>
              </a:spcAft>
              <a:buFont typeface="Arial" panose="020B0604020202020204" pitchFamily="34" charset="0"/>
              <a:buNone/>
              <a:defRPr sz="1000" kern="1200">
                <a:solidFill>
                  <a:schemeClr val="tx1"/>
                </a:solidFill>
                <a:latin typeface="+mj-lt"/>
                <a:ea typeface="+mn-ea"/>
                <a:cs typeface="+mn-cs"/>
              </a:defRPr>
            </a:lvl1pPr>
            <a:lvl2pPr marL="404813" indent="-134541" algn="l" defTabSz="685800" rtl="0" eaLnBrk="1" latinLnBrk="0" hangingPunct="1">
              <a:lnSpc>
                <a:spcPct val="120000"/>
              </a:lnSpc>
              <a:spcBef>
                <a:spcPts val="375"/>
              </a:spcBef>
              <a:spcAft>
                <a:spcPts val="600"/>
              </a:spcAft>
              <a:buClr>
                <a:schemeClr val="accent1"/>
              </a:buClr>
              <a:buFont typeface="Arial" panose="020B0604020202020204" pitchFamily="34" charset="0"/>
              <a:buChar char="•"/>
              <a:defRPr sz="1000" kern="1200">
                <a:solidFill>
                  <a:schemeClr val="tx1"/>
                </a:solidFill>
                <a:latin typeface="+mj-lt"/>
                <a:ea typeface="+mn-ea"/>
                <a:cs typeface="+mn-cs"/>
              </a:defRPr>
            </a:lvl2pPr>
            <a:lvl3pPr marL="675085" indent="-134541" algn="l" defTabSz="685800" rtl="0" eaLnBrk="1" latinLnBrk="0" hangingPunct="1">
              <a:lnSpc>
                <a:spcPct val="120000"/>
              </a:lnSpc>
              <a:spcBef>
                <a:spcPts val="375"/>
              </a:spcBef>
              <a:spcAft>
                <a:spcPts val="600"/>
              </a:spcAft>
              <a:buClr>
                <a:schemeClr val="accent2"/>
              </a:buClr>
              <a:buFont typeface="Arial" panose="020B0604020202020204" pitchFamily="34" charset="0"/>
              <a:buChar char="•"/>
              <a:defRPr sz="1000" kern="1200">
                <a:solidFill>
                  <a:schemeClr val="tx1"/>
                </a:solidFill>
                <a:latin typeface="+mj-lt"/>
                <a:ea typeface="+mn-ea"/>
                <a:cs typeface="+mn-cs"/>
              </a:defRPr>
            </a:lvl3pPr>
            <a:lvl4pPr marL="945356" indent="-134541" algn="l" defTabSz="685800" rtl="0" eaLnBrk="1" latinLnBrk="0" hangingPunct="1">
              <a:lnSpc>
                <a:spcPct val="120000"/>
              </a:lnSpc>
              <a:spcBef>
                <a:spcPts val="375"/>
              </a:spcBef>
              <a:spcAft>
                <a:spcPts val="600"/>
              </a:spcAft>
              <a:buClr>
                <a:schemeClr val="accent3"/>
              </a:buClr>
              <a:buFont typeface="Arial" panose="020B0604020202020204" pitchFamily="34" charset="0"/>
              <a:buChar char="•"/>
              <a:defRPr sz="1000" kern="1200">
                <a:solidFill>
                  <a:schemeClr val="tx1"/>
                </a:solidFill>
                <a:latin typeface="+mj-lt"/>
                <a:ea typeface="+mn-ea"/>
                <a:cs typeface="+mn-cs"/>
              </a:defRPr>
            </a:lvl4pPr>
            <a:lvl5pPr marL="1215629" indent="-134541" algn="l" defTabSz="685800" rtl="0" eaLnBrk="1" latinLnBrk="0" hangingPunct="1">
              <a:lnSpc>
                <a:spcPct val="120000"/>
              </a:lnSpc>
              <a:spcBef>
                <a:spcPts val="375"/>
              </a:spcBef>
              <a:spcAft>
                <a:spcPts val="600"/>
              </a:spcAft>
              <a:buClr>
                <a:schemeClr val="accent5"/>
              </a:buClr>
              <a:buFont typeface="Arial" panose="020B0604020202020204" pitchFamily="34" charset="0"/>
              <a:buChar char="•"/>
              <a:defRPr sz="10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dirty="0"/>
              <a:t>Google Home / Explicit invocation</a:t>
            </a:r>
          </a:p>
          <a:p>
            <a:pPr algn="ctr"/>
            <a:endParaRPr lang="en-US" dirty="0"/>
          </a:p>
        </p:txBody>
      </p:sp>
      <p:sp>
        <p:nvSpPr>
          <p:cNvPr id="65" name="Text Placeholder 35">
            <a:extLst>
              <a:ext uri="{FF2B5EF4-FFF2-40B4-BE49-F238E27FC236}">
                <a16:creationId xmlns:a16="http://schemas.microsoft.com/office/drawing/2014/main" id="{C0312C76-B840-449F-9B2E-2B0D4115BCEC}"/>
              </a:ext>
            </a:extLst>
          </p:cNvPr>
          <p:cNvSpPr txBox="1">
            <a:spLocks/>
          </p:cNvSpPr>
          <p:nvPr/>
        </p:nvSpPr>
        <p:spPr>
          <a:xfrm>
            <a:off x="4305181" y="3326986"/>
            <a:ext cx="1639416" cy="395288"/>
          </a:xfrm>
          <a:prstGeom prst="rect">
            <a:avLst/>
          </a:prstGeom>
        </p:spPr>
        <p:txBody>
          <a:bodyPr lIns="180000" tIns="72000" rIns="288000" bIns="72000" anchor="ctr" anchorCtr="0"/>
          <a:lstStyle>
            <a:lvl1pPr marL="0" indent="0" algn="l" defTabSz="685800" rtl="0" eaLnBrk="1" latinLnBrk="0" hangingPunct="1">
              <a:lnSpc>
                <a:spcPct val="120000"/>
              </a:lnSpc>
              <a:spcBef>
                <a:spcPts val="750"/>
              </a:spcBef>
              <a:spcAft>
                <a:spcPts val="600"/>
              </a:spcAft>
              <a:buFont typeface="Arial" panose="020B0604020202020204" pitchFamily="34" charset="0"/>
              <a:buNone/>
              <a:defRPr sz="1000" kern="1200">
                <a:solidFill>
                  <a:schemeClr val="tx1"/>
                </a:solidFill>
                <a:latin typeface="+mj-lt"/>
                <a:ea typeface="+mn-ea"/>
                <a:cs typeface="+mn-cs"/>
              </a:defRPr>
            </a:lvl1pPr>
            <a:lvl2pPr marL="404813" indent="-134541" algn="l" defTabSz="685800" rtl="0" eaLnBrk="1" latinLnBrk="0" hangingPunct="1">
              <a:lnSpc>
                <a:spcPct val="120000"/>
              </a:lnSpc>
              <a:spcBef>
                <a:spcPts val="375"/>
              </a:spcBef>
              <a:spcAft>
                <a:spcPts val="600"/>
              </a:spcAft>
              <a:buClr>
                <a:schemeClr val="accent1"/>
              </a:buClr>
              <a:buFont typeface="Arial" panose="020B0604020202020204" pitchFamily="34" charset="0"/>
              <a:buChar char="•"/>
              <a:defRPr sz="1000" kern="1200">
                <a:solidFill>
                  <a:schemeClr val="tx1"/>
                </a:solidFill>
                <a:latin typeface="+mj-lt"/>
                <a:ea typeface="+mn-ea"/>
                <a:cs typeface="+mn-cs"/>
              </a:defRPr>
            </a:lvl2pPr>
            <a:lvl3pPr marL="675085" indent="-134541" algn="l" defTabSz="685800" rtl="0" eaLnBrk="1" latinLnBrk="0" hangingPunct="1">
              <a:lnSpc>
                <a:spcPct val="120000"/>
              </a:lnSpc>
              <a:spcBef>
                <a:spcPts val="375"/>
              </a:spcBef>
              <a:spcAft>
                <a:spcPts val="600"/>
              </a:spcAft>
              <a:buClr>
                <a:schemeClr val="accent2"/>
              </a:buClr>
              <a:buFont typeface="Arial" panose="020B0604020202020204" pitchFamily="34" charset="0"/>
              <a:buChar char="•"/>
              <a:defRPr sz="1000" kern="1200">
                <a:solidFill>
                  <a:schemeClr val="tx1"/>
                </a:solidFill>
                <a:latin typeface="+mj-lt"/>
                <a:ea typeface="+mn-ea"/>
                <a:cs typeface="+mn-cs"/>
              </a:defRPr>
            </a:lvl3pPr>
            <a:lvl4pPr marL="945356" indent="-134541" algn="l" defTabSz="685800" rtl="0" eaLnBrk="1" latinLnBrk="0" hangingPunct="1">
              <a:lnSpc>
                <a:spcPct val="120000"/>
              </a:lnSpc>
              <a:spcBef>
                <a:spcPts val="375"/>
              </a:spcBef>
              <a:spcAft>
                <a:spcPts val="600"/>
              </a:spcAft>
              <a:buClr>
                <a:schemeClr val="accent3"/>
              </a:buClr>
              <a:buFont typeface="Arial" panose="020B0604020202020204" pitchFamily="34" charset="0"/>
              <a:buChar char="•"/>
              <a:defRPr sz="1000" kern="1200">
                <a:solidFill>
                  <a:schemeClr val="tx1"/>
                </a:solidFill>
                <a:latin typeface="+mj-lt"/>
                <a:ea typeface="+mn-ea"/>
                <a:cs typeface="+mn-cs"/>
              </a:defRPr>
            </a:lvl4pPr>
            <a:lvl5pPr marL="1215629" indent="-134541" algn="l" defTabSz="685800" rtl="0" eaLnBrk="1" latinLnBrk="0" hangingPunct="1">
              <a:lnSpc>
                <a:spcPct val="120000"/>
              </a:lnSpc>
              <a:spcBef>
                <a:spcPts val="375"/>
              </a:spcBef>
              <a:spcAft>
                <a:spcPts val="600"/>
              </a:spcAft>
              <a:buClr>
                <a:schemeClr val="accent5"/>
              </a:buClr>
              <a:buFont typeface="Arial" panose="020B0604020202020204" pitchFamily="34" charset="0"/>
              <a:buChar char="•"/>
              <a:defRPr sz="10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dirty="0"/>
              <a:t>DNN / </a:t>
            </a:r>
            <a:r>
              <a:rPr lang="en-US" dirty="0" err="1"/>
              <a:t>Tensorflow</a:t>
            </a:r>
            <a:endParaRPr lang="en-US" dirty="0"/>
          </a:p>
        </p:txBody>
      </p:sp>
      <p:sp>
        <p:nvSpPr>
          <p:cNvPr id="12" name="Text Placeholder 35">
            <a:extLst>
              <a:ext uri="{FF2B5EF4-FFF2-40B4-BE49-F238E27FC236}">
                <a16:creationId xmlns:a16="http://schemas.microsoft.com/office/drawing/2014/main" id="{E80645A0-81EA-4915-87B4-D757D9076DDA}"/>
              </a:ext>
            </a:extLst>
          </p:cNvPr>
          <p:cNvSpPr txBox="1">
            <a:spLocks/>
          </p:cNvSpPr>
          <p:nvPr/>
        </p:nvSpPr>
        <p:spPr>
          <a:xfrm>
            <a:off x="941572" y="2325467"/>
            <a:ext cx="1639416" cy="395288"/>
          </a:xfrm>
          <a:prstGeom prst="rect">
            <a:avLst/>
          </a:prstGeom>
        </p:spPr>
        <p:txBody>
          <a:bodyPr lIns="180000" tIns="72000" rIns="288000" bIns="72000" anchor="ctr" anchorCtr="0"/>
          <a:lstStyle>
            <a:lvl1pPr marL="0" indent="0" algn="l" defTabSz="685800" rtl="0" eaLnBrk="1" latinLnBrk="0" hangingPunct="1">
              <a:lnSpc>
                <a:spcPct val="120000"/>
              </a:lnSpc>
              <a:spcBef>
                <a:spcPts val="750"/>
              </a:spcBef>
              <a:spcAft>
                <a:spcPts val="600"/>
              </a:spcAft>
              <a:buFont typeface="Arial" panose="020B0604020202020204" pitchFamily="34" charset="0"/>
              <a:buNone/>
              <a:defRPr sz="1000" kern="1200">
                <a:solidFill>
                  <a:schemeClr val="tx1"/>
                </a:solidFill>
                <a:latin typeface="+mj-lt"/>
                <a:ea typeface="+mn-ea"/>
                <a:cs typeface="+mn-cs"/>
              </a:defRPr>
            </a:lvl1pPr>
            <a:lvl2pPr marL="404813" indent="-134541" algn="l" defTabSz="685800" rtl="0" eaLnBrk="1" latinLnBrk="0" hangingPunct="1">
              <a:lnSpc>
                <a:spcPct val="120000"/>
              </a:lnSpc>
              <a:spcBef>
                <a:spcPts val="375"/>
              </a:spcBef>
              <a:spcAft>
                <a:spcPts val="600"/>
              </a:spcAft>
              <a:buClr>
                <a:schemeClr val="accent1"/>
              </a:buClr>
              <a:buFont typeface="Arial" panose="020B0604020202020204" pitchFamily="34" charset="0"/>
              <a:buChar char="•"/>
              <a:defRPr sz="1000" kern="1200">
                <a:solidFill>
                  <a:schemeClr val="tx1"/>
                </a:solidFill>
                <a:latin typeface="+mj-lt"/>
                <a:ea typeface="+mn-ea"/>
                <a:cs typeface="+mn-cs"/>
              </a:defRPr>
            </a:lvl2pPr>
            <a:lvl3pPr marL="675085" indent="-134541" algn="l" defTabSz="685800" rtl="0" eaLnBrk="1" latinLnBrk="0" hangingPunct="1">
              <a:lnSpc>
                <a:spcPct val="120000"/>
              </a:lnSpc>
              <a:spcBef>
                <a:spcPts val="375"/>
              </a:spcBef>
              <a:spcAft>
                <a:spcPts val="600"/>
              </a:spcAft>
              <a:buClr>
                <a:schemeClr val="accent2"/>
              </a:buClr>
              <a:buFont typeface="Arial" panose="020B0604020202020204" pitchFamily="34" charset="0"/>
              <a:buChar char="•"/>
              <a:defRPr sz="1000" kern="1200">
                <a:solidFill>
                  <a:schemeClr val="tx1"/>
                </a:solidFill>
                <a:latin typeface="+mj-lt"/>
                <a:ea typeface="+mn-ea"/>
                <a:cs typeface="+mn-cs"/>
              </a:defRPr>
            </a:lvl3pPr>
            <a:lvl4pPr marL="945356" indent="-134541" algn="l" defTabSz="685800" rtl="0" eaLnBrk="1" latinLnBrk="0" hangingPunct="1">
              <a:lnSpc>
                <a:spcPct val="120000"/>
              </a:lnSpc>
              <a:spcBef>
                <a:spcPts val="375"/>
              </a:spcBef>
              <a:spcAft>
                <a:spcPts val="600"/>
              </a:spcAft>
              <a:buClr>
                <a:schemeClr val="accent3"/>
              </a:buClr>
              <a:buFont typeface="Arial" panose="020B0604020202020204" pitchFamily="34" charset="0"/>
              <a:buChar char="•"/>
              <a:defRPr sz="1000" kern="1200">
                <a:solidFill>
                  <a:schemeClr val="tx1"/>
                </a:solidFill>
                <a:latin typeface="+mj-lt"/>
                <a:ea typeface="+mn-ea"/>
                <a:cs typeface="+mn-cs"/>
              </a:defRPr>
            </a:lvl4pPr>
            <a:lvl5pPr marL="1215629" indent="-134541" algn="l" defTabSz="685800" rtl="0" eaLnBrk="1" latinLnBrk="0" hangingPunct="1">
              <a:lnSpc>
                <a:spcPct val="120000"/>
              </a:lnSpc>
              <a:spcBef>
                <a:spcPts val="375"/>
              </a:spcBef>
              <a:spcAft>
                <a:spcPts val="600"/>
              </a:spcAft>
              <a:buClr>
                <a:schemeClr val="accent5"/>
              </a:buClr>
              <a:buFont typeface="Arial" panose="020B0604020202020204" pitchFamily="34" charset="0"/>
              <a:buChar char="•"/>
              <a:defRPr sz="10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dirty="0"/>
              <a:t>Direct integration with IVR</a:t>
            </a:r>
          </a:p>
        </p:txBody>
      </p:sp>
      <p:sp>
        <p:nvSpPr>
          <p:cNvPr id="13" name="Text Placeholder 35">
            <a:extLst>
              <a:ext uri="{FF2B5EF4-FFF2-40B4-BE49-F238E27FC236}">
                <a16:creationId xmlns:a16="http://schemas.microsoft.com/office/drawing/2014/main" id="{93831A0E-6F35-419E-AB52-9E1C9BD52AAE}"/>
              </a:ext>
            </a:extLst>
          </p:cNvPr>
          <p:cNvSpPr txBox="1">
            <a:spLocks/>
          </p:cNvSpPr>
          <p:nvPr/>
        </p:nvSpPr>
        <p:spPr>
          <a:xfrm>
            <a:off x="6299835" y="3193150"/>
            <a:ext cx="1639416" cy="395288"/>
          </a:xfrm>
          <a:prstGeom prst="rect">
            <a:avLst/>
          </a:prstGeom>
        </p:spPr>
        <p:txBody>
          <a:bodyPr lIns="180000" tIns="72000" rIns="288000" bIns="72000" anchor="ctr" anchorCtr="0"/>
          <a:lstStyle>
            <a:lvl1pPr marL="0" indent="0" algn="l" defTabSz="685800" rtl="0" eaLnBrk="1" latinLnBrk="0" hangingPunct="1">
              <a:lnSpc>
                <a:spcPct val="120000"/>
              </a:lnSpc>
              <a:spcBef>
                <a:spcPts val="750"/>
              </a:spcBef>
              <a:spcAft>
                <a:spcPts val="600"/>
              </a:spcAft>
              <a:buFont typeface="Arial" panose="020B0604020202020204" pitchFamily="34" charset="0"/>
              <a:buNone/>
              <a:defRPr sz="1000" kern="1200">
                <a:solidFill>
                  <a:schemeClr val="tx1"/>
                </a:solidFill>
                <a:latin typeface="+mj-lt"/>
                <a:ea typeface="+mn-ea"/>
                <a:cs typeface="+mn-cs"/>
              </a:defRPr>
            </a:lvl1pPr>
            <a:lvl2pPr marL="404813" indent="-134541" algn="l" defTabSz="685800" rtl="0" eaLnBrk="1" latinLnBrk="0" hangingPunct="1">
              <a:lnSpc>
                <a:spcPct val="120000"/>
              </a:lnSpc>
              <a:spcBef>
                <a:spcPts val="375"/>
              </a:spcBef>
              <a:spcAft>
                <a:spcPts val="600"/>
              </a:spcAft>
              <a:buClr>
                <a:schemeClr val="accent1"/>
              </a:buClr>
              <a:buFont typeface="Arial" panose="020B0604020202020204" pitchFamily="34" charset="0"/>
              <a:buChar char="•"/>
              <a:defRPr sz="1000" kern="1200">
                <a:solidFill>
                  <a:schemeClr val="tx1"/>
                </a:solidFill>
                <a:latin typeface="+mj-lt"/>
                <a:ea typeface="+mn-ea"/>
                <a:cs typeface="+mn-cs"/>
              </a:defRPr>
            </a:lvl2pPr>
            <a:lvl3pPr marL="675085" indent="-134541" algn="l" defTabSz="685800" rtl="0" eaLnBrk="1" latinLnBrk="0" hangingPunct="1">
              <a:lnSpc>
                <a:spcPct val="120000"/>
              </a:lnSpc>
              <a:spcBef>
                <a:spcPts val="375"/>
              </a:spcBef>
              <a:spcAft>
                <a:spcPts val="600"/>
              </a:spcAft>
              <a:buClr>
                <a:schemeClr val="accent2"/>
              </a:buClr>
              <a:buFont typeface="Arial" panose="020B0604020202020204" pitchFamily="34" charset="0"/>
              <a:buChar char="•"/>
              <a:defRPr sz="1000" kern="1200">
                <a:solidFill>
                  <a:schemeClr val="tx1"/>
                </a:solidFill>
                <a:latin typeface="+mj-lt"/>
                <a:ea typeface="+mn-ea"/>
                <a:cs typeface="+mn-cs"/>
              </a:defRPr>
            </a:lvl3pPr>
            <a:lvl4pPr marL="945356" indent="-134541" algn="l" defTabSz="685800" rtl="0" eaLnBrk="1" latinLnBrk="0" hangingPunct="1">
              <a:lnSpc>
                <a:spcPct val="120000"/>
              </a:lnSpc>
              <a:spcBef>
                <a:spcPts val="375"/>
              </a:spcBef>
              <a:spcAft>
                <a:spcPts val="600"/>
              </a:spcAft>
              <a:buClr>
                <a:schemeClr val="accent3"/>
              </a:buClr>
              <a:buFont typeface="Arial" panose="020B0604020202020204" pitchFamily="34" charset="0"/>
              <a:buChar char="•"/>
              <a:defRPr sz="1000" kern="1200">
                <a:solidFill>
                  <a:schemeClr val="tx1"/>
                </a:solidFill>
                <a:latin typeface="+mj-lt"/>
                <a:ea typeface="+mn-ea"/>
                <a:cs typeface="+mn-cs"/>
              </a:defRPr>
            </a:lvl4pPr>
            <a:lvl5pPr marL="1215629" indent="-134541" algn="l" defTabSz="685800" rtl="0" eaLnBrk="1" latinLnBrk="0" hangingPunct="1">
              <a:lnSpc>
                <a:spcPct val="120000"/>
              </a:lnSpc>
              <a:spcBef>
                <a:spcPts val="375"/>
              </a:spcBef>
              <a:spcAft>
                <a:spcPts val="600"/>
              </a:spcAft>
              <a:buClr>
                <a:schemeClr val="accent5"/>
              </a:buClr>
              <a:buFont typeface="Arial" panose="020B0604020202020204" pitchFamily="34" charset="0"/>
              <a:buChar char="•"/>
              <a:defRPr sz="10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dirty="0"/>
              <a:t>Small talks / Knowledge base / phone gateway</a:t>
            </a:r>
          </a:p>
        </p:txBody>
      </p:sp>
      <p:pic>
        <p:nvPicPr>
          <p:cNvPr id="15" name="Picture 2" descr="Résultat de recherche d'images pour &quot;icone départ&quot;">
            <a:extLst>
              <a:ext uri="{FF2B5EF4-FFF2-40B4-BE49-F238E27FC236}">
                <a16:creationId xmlns:a16="http://schemas.microsoft.com/office/drawing/2014/main" id="{987CF45F-2D99-4728-817B-9E5786FFAC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1370" y="3352488"/>
            <a:ext cx="762822" cy="762822"/>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35">
            <a:extLst>
              <a:ext uri="{FF2B5EF4-FFF2-40B4-BE49-F238E27FC236}">
                <a16:creationId xmlns:a16="http://schemas.microsoft.com/office/drawing/2014/main" id="{092AE53B-2CFF-4945-B15F-A2167D22D4C6}"/>
              </a:ext>
            </a:extLst>
          </p:cNvPr>
          <p:cNvSpPr txBox="1">
            <a:spLocks/>
          </p:cNvSpPr>
          <p:nvPr/>
        </p:nvSpPr>
        <p:spPr>
          <a:xfrm>
            <a:off x="6894752" y="2082611"/>
            <a:ext cx="1639416" cy="395288"/>
          </a:xfrm>
          <a:prstGeom prst="rect">
            <a:avLst/>
          </a:prstGeom>
        </p:spPr>
        <p:txBody>
          <a:bodyPr lIns="180000" tIns="72000" rIns="288000" bIns="72000" anchor="ctr" anchorCtr="0"/>
          <a:lstStyle>
            <a:lvl1pPr marL="0" indent="0" algn="l" defTabSz="685800" rtl="0" eaLnBrk="1" latinLnBrk="0" hangingPunct="1">
              <a:lnSpc>
                <a:spcPct val="120000"/>
              </a:lnSpc>
              <a:spcBef>
                <a:spcPts val="750"/>
              </a:spcBef>
              <a:spcAft>
                <a:spcPts val="600"/>
              </a:spcAft>
              <a:buFont typeface="Arial" panose="020B0604020202020204" pitchFamily="34" charset="0"/>
              <a:buNone/>
              <a:defRPr sz="1000" kern="1200">
                <a:solidFill>
                  <a:schemeClr val="tx1"/>
                </a:solidFill>
                <a:latin typeface="+mj-lt"/>
                <a:ea typeface="+mn-ea"/>
                <a:cs typeface="+mn-cs"/>
              </a:defRPr>
            </a:lvl1pPr>
            <a:lvl2pPr marL="404813" indent="-134541" algn="l" defTabSz="685800" rtl="0" eaLnBrk="1" latinLnBrk="0" hangingPunct="1">
              <a:lnSpc>
                <a:spcPct val="120000"/>
              </a:lnSpc>
              <a:spcBef>
                <a:spcPts val="375"/>
              </a:spcBef>
              <a:spcAft>
                <a:spcPts val="600"/>
              </a:spcAft>
              <a:buClr>
                <a:schemeClr val="accent1"/>
              </a:buClr>
              <a:buFont typeface="Arial" panose="020B0604020202020204" pitchFamily="34" charset="0"/>
              <a:buChar char="•"/>
              <a:defRPr sz="1000" kern="1200">
                <a:solidFill>
                  <a:schemeClr val="tx1"/>
                </a:solidFill>
                <a:latin typeface="+mj-lt"/>
                <a:ea typeface="+mn-ea"/>
                <a:cs typeface="+mn-cs"/>
              </a:defRPr>
            </a:lvl2pPr>
            <a:lvl3pPr marL="675085" indent="-134541" algn="l" defTabSz="685800" rtl="0" eaLnBrk="1" latinLnBrk="0" hangingPunct="1">
              <a:lnSpc>
                <a:spcPct val="120000"/>
              </a:lnSpc>
              <a:spcBef>
                <a:spcPts val="375"/>
              </a:spcBef>
              <a:spcAft>
                <a:spcPts val="600"/>
              </a:spcAft>
              <a:buClr>
                <a:schemeClr val="accent2"/>
              </a:buClr>
              <a:buFont typeface="Arial" panose="020B0604020202020204" pitchFamily="34" charset="0"/>
              <a:buChar char="•"/>
              <a:defRPr sz="1000" kern="1200">
                <a:solidFill>
                  <a:schemeClr val="tx1"/>
                </a:solidFill>
                <a:latin typeface="+mj-lt"/>
                <a:ea typeface="+mn-ea"/>
                <a:cs typeface="+mn-cs"/>
              </a:defRPr>
            </a:lvl3pPr>
            <a:lvl4pPr marL="945356" indent="-134541" algn="l" defTabSz="685800" rtl="0" eaLnBrk="1" latinLnBrk="0" hangingPunct="1">
              <a:lnSpc>
                <a:spcPct val="120000"/>
              </a:lnSpc>
              <a:spcBef>
                <a:spcPts val="375"/>
              </a:spcBef>
              <a:spcAft>
                <a:spcPts val="600"/>
              </a:spcAft>
              <a:buClr>
                <a:schemeClr val="accent3"/>
              </a:buClr>
              <a:buFont typeface="Arial" panose="020B0604020202020204" pitchFamily="34" charset="0"/>
              <a:buChar char="•"/>
              <a:defRPr sz="1000" kern="1200">
                <a:solidFill>
                  <a:schemeClr val="tx1"/>
                </a:solidFill>
                <a:latin typeface="+mj-lt"/>
                <a:ea typeface="+mn-ea"/>
                <a:cs typeface="+mn-cs"/>
              </a:defRPr>
            </a:lvl4pPr>
            <a:lvl5pPr marL="1215629" indent="-134541" algn="l" defTabSz="685800" rtl="0" eaLnBrk="1" latinLnBrk="0" hangingPunct="1">
              <a:lnSpc>
                <a:spcPct val="120000"/>
              </a:lnSpc>
              <a:spcBef>
                <a:spcPts val="375"/>
              </a:spcBef>
              <a:spcAft>
                <a:spcPts val="600"/>
              </a:spcAft>
              <a:buClr>
                <a:schemeClr val="accent5"/>
              </a:buClr>
              <a:buFont typeface="Arial" panose="020B0604020202020204" pitchFamily="34" charset="0"/>
              <a:buChar char="•"/>
              <a:defRPr sz="10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dirty="0"/>
              <a:t>Mega Agent</a:t>
            </a:r>
          </a:p>
        </p:txBody>
      </p:sp>
      <p:sp>
        <p:nvSpPr>
          <p:cNvPr id="18" name="Text Placeholder 35">
            <a:extLst>
              <a:ext uri="{FF2B5EF4-FFF2-40B4-BE49-F238E27FC236}">
                <a16:creationId xmlns:a16="http://schemas.microsoft.com/office/drawing/2014/main" id="{BF0EE9C6-5079-4B03-96F3-02C3C29A6FA3}"/>
              </a:ext>
            </a:extLst>
          </p:cNvPr>
          <p:cNvSpPr txBox="1">
            <a:spLocks/>
          </p:cNvSpPr>
          <p:nvPr/>
        </p:nvSpPr>
        <p:spPr>
          <a:xfrm>
            <a:off x="4120276" y="1930179"/>
            <a:ext cx="1350795" cy="395288"/>
          </a:xfrm>
          <a:prstGeom prst="rect">
            <a:avLst/>
          </a:prstGeom>
        </p:spPr>
        <p:txBody>
          <a:bodyPr lIns="180000" tIns="72000" rIns="288000" bIns="72000" anchor="ctr" anchorCtr="0"/>
          <a:lstStyle>
            <a:lvl1pPr marL="0" indent="0" algn="l" defTabSz="685800" rtl="0" eaLnBrk="1" latinLnBrk="0" hangingPunct="1">
              <a:lnSpc>
                <a:spcPct val="120000"/>
              </a:lnSpc>
              <a:spcBef>
                <a:spcPts val="750"/>
              </a:spcBef>
              <a:spcAft>
                <a:spcPts val="600"/>
              </a:spcAft>
              <a:buFont typeface="Arial" panose="020B0604020202020204" pitchFamily="34" charset="0"/>
              <a:buNone/>
              <a:defRPr sz="1000" kern="1200">
                <a:solidFill>
                  <a:schemeClr val="tx1"/>
                </a:solidFill>
                <a:latin typeface="+mj-lt"/>
                <a:ea typeface="+mn-ea"/>
                <a:cs typeface="+mn-cs"/>
              </a:defRPr>
            </a:lvl1pPr>
            <a:lvl2pPr marL="404813" indent="-134541" algn="l" defTabSz="685800" rtl="0" eaLnBrk="1" latinLnBrk="0" hangingPunct="1">
              <a:lnSpc>
                <a:spcPct val="120000"/>
              </a:lnSpc>
              <a:spcBef>
                <a:spcPts val="375"/>
              </a:spcBef>
              <a:spcAft>
                <a:spcPts val="600"/>
              </a:spcAft>
              <a:buClr>
                <a:schemeClr val="accent1"/>
              </a:buClr>
              <a:buFont typeface="Arial" panose="020B0604020202020204" pitchFamily="34" charset="0"/>
              <a:buChar char="•"/>
              <a:defRPr sz="1000" kern="1200">
                <a:solidFill>
                  <a:schemeClr val="tx1"/>
                </a:solidFill>
                <a:latin typeface="+mj-lt"/>
                <a:ea typeface="+mn-ea"/>
                <a:cs typeface="+mn-cs"/>
              </a:defRPr>
            </a:lvl2pPr>
            <a:lvl3pPr marL="675085" indent="-134541" algn="l" defTabSz="685800" rtl="0" eaLnBrk="1" latinLnBrk="0" hangingPunct="1">
              <a:lnSpc>
                <a:spcPct val="120000"/>
              </a:lnSpc>
              <a:spcBef>
                <a:spcPts val="375"/>
              </a:spcBef>
              <a:spcAft>
                <a:spcPts val="600"/>
              </a:spcAft>
              <a:buClr>
                <a:schemeClr val="accent2"/>
              </a:buClr>
              <a:buFont typeface="Arial" panose="020B0604020202020204" pitchFamily="34" charset="0"/>
              <a:buChar char="•"/>
              <a:defRPr sz="1000" kern="1200">
                <a:solidFill>
                  <a:schemeClr val="tx1"/>
                </a:solidFill>
                <a:latin typeface="+mj-lt"/>
                <a:ea typeface="+mn-ea"/>
                <a:cs typeface="+mn-cs"/>
              </a:defRPr>
            </a:lvl3pPr>
            <a:lvl4pPr marL="945356" indent="-134541" algn="l" defTabSz="685800" rtl="0" eaLnBrk="1" latinLnBrk="0" hangingPunct="1">
              <a:lnSpc>
                <a:spcPct val="120000"/>
              </a:lnSpc>
              <a:spcBef>
                <a:spcPts val="375"/>
              </a:spcBef>
              <a:spcAft>
                <a:spcPts val="600"/>
              </a:spcAft>
              <a:buClr>
                <a:schemeClr val="accent3"/>
              </a:buClr>
              <a:buFont typeface="Arial" panose="020B0604020202020204" pitchFamily="34" charset="0"/>
              <a:buChar char="•"/>
              <a:defRPr sz="1000" kern="1200">
                <a:solidFill>
                  <a:schemeClr val="tx1"/>
                </a:solidFill>
                <a:latin typeface="+mj-lt"/>
                <a:ea typeface="+mn-ea"/>
                <a:cs typeface="+mn-cs"/>
              </a:defRPr>
            </a:lvl4pPr>
            <a:lvl5pPr marL="1215629" indent="-134541" algn="l" defTabSz="685800" rtl="0" eaLnBrk="1" latinLnBrk="0" hangingPunct="1">
              <a:lnSpc>
                <a:spcPct val="120000"/>
              </a:lnSpc>
              <a:spcBef>
                <a:spcPts val="375"/>
              </a:spcBef>
              <a:spcAft>
                <a:spcPts val="600"/>
              </a:spcAft>
              <a:buClr>
                <a:schemeClr val="accent5"/>
              </a:buClr>
              <a:buFont typeface="Arial" panose="020B0604020202020204" pitchFamily="34" charset="0"/>
              <a:buChar char="•"/>
              <a:defRPr sz="10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dirty="0"/>
              <a:t>Corpus validation</a:t>
            </a:r>
          </a:p>
        </p:txBody>
      </p:sp>
      <p:sp>
        <p:nvSpPr>
          <p:cNvPr id="19" name="Text Placeholder 35">
            <a:extLst>
              <a:ext uri="{FF2B5EF4-FFF2-40B4-BE49-F238E27FC236}">
                <a16:creationId xmlns:a16="http://schemas.microsoft.com/office/drawing/2014/main" id="{A58CBEE5-6903-4C19-A8D8-ED7AF9C57A5A}"/>
              </a:ext>
            </a:extLst>
          </p:cNvPr>
          <p:cNvSpPr txBox="1">
            <a:spLocks/>
          </p:cNvSpPr>
          <p:nvPr/>
        </p:nvSpPr>
        <p:spPr>
          <a:xfrm>
            <a:off x="3586318" y="2072188"/>
            <a:ext cx="1053740" cy="484437"/>
          </a:xfrm>
          <a:prstGeom prst="rect">
            <a:avLst/>
          </a:prstGeom>
        </p:spPr>
        <p:txBody>
          <a:bodyPr lIns="180000" tIns="72000" rIns="288000" bIns="72000" anchor="ctr" anchorCtr="0"/>
          <a:lstStyle>
            <a:lvl1pPr marL="0" indent="0" algn="l" defTabSz="685800" rtl="0" eaLnBrk="1" latinLnBrk="0" hangingPunct="1">
              <a:lnSpc>
                <a:spcPct val="120000"/>
              </a:lnSpc>
              <a:spcBef>
                <a:spcPts val="750"/>
              </a:spcBef>
              <a:spcAft>
                <a:spcPts val="600"/>
              </a:spcAft>
              <a:buFont typeface="Arial" panose="020B0604020202020204" pitchFamily="34" charset="0"/>
              <a:buNone/>
              <a:defRPr sz="1000" kern="1200">
                <a:solidFill>
                  <a:schemeClr val="tx1"/>
                </a:solidFill>
                <a:latin typeface="+mj-lt"/>
                <a:ea typeface="+mn-ea"/>
                <a:cs typeface="+mn-cs"/>
              </a:defRPr>
            </a:lvl1pPr>
            <a:lvl2pPr marL="404813" indent="-134541" algn="l" defTabSz="685800" rtl="0" eaLnBrk="1" latinLnBrk="0" hangingPunct="1">
              <a:lnSpc>
                <a:spcPct val="120000"/>
              </a:lnSpc>
              <a:spcBef>
                <a:spcPts val="375"/>
              </a:spcBef>
              <a:spcAft>
                <a:spcPts val="600"/>
              </a:spcAft>
              <a:buClr>
                <a:schemeClr val="accent1"/>
              </a:buClr>
              <a:buFont typeface="Arial" panose="020B0604020202020204" pitchFamily="34" charset="0"/>
              <a:buChar char="•"/>
              <a:defRPr sz="1000" kern="1200">
                <a:solidFill>
                  <a:schemeClr val="tx1"/>
                </a:solidFill>
                <a:latin typeface="+mj-lt"/>
                <a:ea typeface="+mn-ea"/>
                <a:cs typeface="+mn-cs"/>
              </a:defRPr>
            </a:lvl2pPr>
            <a:lvl3pPr marL="675085" indent="-134541" algn="l" defTabSz="685800" rtl="0" eaLnBrk="1" latinLnBrk="0" hangingPunct="1">
              <a:lnSpc>
                <a:spcPct val="120000"/>
              </a:lnSpc>
              <a:spcBef>
                <a:spcPts val="375"/>
              </a:spcBef>
              <a:spcAft>
                <a:spcPts val="600"/>
              </a:spcAft>
              <a:buClr>
                <a:schemeClr val="accent2"/>
              </a:buClr>
              <a:buFont typeface="Arial" panose="020B0604020202020204" pitchFamily="34" charset="0"/>
              <a:buChar char="•"/>
              <a:defRPr sz="1000" kern="1200">
                <a:solidFill>
                  <a:schemeClr val="tx1"/>
                </a:solidFill>
                <a:latin typeface="+mj-lt"/>
                <a:ea typeface="+mn-ea"/>
                <a:cs typeface="+mn-cs"/>
              </a:defRPr>
            </a:lvl3pPr>
            <a:lvl4pPr marL="945356" indent="-134541" algn="l" defTabSz="685800" rtl="0" eaLnBrk="1" latinLnBrk="0" hangingPunct="1">
              <a:lnSpc>
                <a:spcPct val="120000"/>
              </a:lnSpc>
              <a:spcBef>
                <a:spcPts val="375"/>
              </a:spcBef>
              <a:spcAft>
                <a:spcPts val="600"/>
              </a:spcAft>
              <a:buClr>
                <a:schemeClr val="accent3"/>
              </a:buClr>
              <a:buFont typeface="Arial" panose="020B0604020202020204" pitchFamily="34" charset="0"/>
              <a:buChar char="•"/>
              <a:defRPr sz="1000" kern="1200">
                <a:solidFill>
                  <a:schemeClr val="tx1"/>
                </a:solidFill>
                <a:latin typeface="+mj-lt"/>
                <a:ea typeface="+mn-ea"/>
                <a:cs typeface="+mn-cs"/>
              </a:defRPr>
            </a:lvl4pPr>
            <a:lvl5pPr marL="1215629" indent="-134541" algn="l" defTabSz="685800" rtl="0" eaLnBrk="1" latinLnBrk="0" hangingPunct="1">
              <a:lnSpc>
                <a:spcPct val="120000"/>
              </a:lnSpc>
              <a:spcBef>
                <a:spcPts val="375"/>
              </a:spcBef>
              <a:spcAft>
                <a:spcPts val="600"/>
              </a:spcAft>
              <a:buClr>
                <a:schemeClr val="accent5"/>
              </a:buClr>
              <a:buFont typeface="Arial" panose="020B0604020202020204" pitchFamily="34" charset="0"/>
              <a:buChar char="•"/>
              <a:defRPr sz="10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TTS Tags</a:t>
            </a:r>
          </a:p>
        </p:txBody>
      </p:sp>
      <p:sp>
        <p:nvSpPr>
          <p:cNvPr id="2" name="Ellipse 1">
            <a:extLst>
              <a:ext uri="{FF2B5EF4-FFF2-40B4-BE49-F238E27FC236}">
                <a16:creationId xmlns:a16="http://schemas.microsoft.com/office/drawing/2014/main" id="{23DE1FCB-F6A2-4DFD-BD1A-AD6DBC4EF0BF}"/>
              </a:ext>
            </a:extLst>
          </p:cNvPr>
          <p:cNvSpPr/>
          <p:nvPr/>
        </p:nvSpPr>
        <p:spPr>
          <a:xfrm>
            <a:off x="1990272" y="2680581"/>
            <a:ext cx="184296" cy="17186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Ellipse 19">
            <a:extLst>
              <a:ext uri="{FF2B5EF4-FFF2-40B4-BE49-F238E27FC236}">
                <a16:creationId xmlns:a16="http://schemas.microsoft.com/office/drawing/2014/main" id="{055F0F43-E4B2-49CB-9D47-19EDFAC5F645}"/>
              </a:ext>
            </a:extLst>
          </p:cNvPr>
          <p:cNvSpPr/>
          <p:nvPr/>
        </p:nvSpPr>
        <p:spPr>
          <a:xfrm>
            <a:off x="3194595" y="2594014"/>
            <a:ext cx="184296" cy="17186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Ellipse 20">
            <a:extLst>
              <a:ext uri="{FF2B5EF4-FFF2-40B4-BE49-F238E27FC236}">
                <a16:creationId xmlns:a16="http://schemas.microsoft.com/office/drawing/2014/main" id="{6C3D3BEF-D537-4210-97EA-ECBBD7715D9B}"/>
              </a:ext>
            </a:extLst>
          </p:cNvPr>
          <p:cNvSpPr/>
          <p:nvPr/>
        </p:nvSpPr>
        <p:spPr>
          <a:xfrm>
            <a:off x="3652339" y="2456933"/>
            <a:ext cx="184296" cy="17186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Ellipse 21">
            <a:extLst>
              <a:ext uri="{FF2B5EF4-FFF2-40B4-BE49-F238E27FC236}">
                <a16:creationId xmlns:a16="http://schemas.microsoft.com/office/drawing/2014/main" id="{83948D9A-298B-446A-9152-12171049C7BD}"/>
              </a:ext>
            </a:extLst>
          </p:cNvPr>
          <p:cNvSpPr/>
          <p:nvPr/>
        </p:nvSpPr>
        <p:spPr>
          <a:xfrm>
            <a:off x="2808806" y="3942649"/>
            <a:ext cx="184296" cy="17186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Ellipse 22">
            <a:extLst>
              <a:ext uri="{FF2B5EF4-FFF2-40B4-BE49-F238E27FC236}">
                <a16:creationId xmlns:a16="http://schemas.microsoft.com/office/drawing/2014/main" id="{F8381BBD-2304-42A9-8AC6-89BFD03C05AE}"/>
              </a:ext>
            </a:extLst>
          </p:cNvPr>
          <p:cNvSpPr/>
          <p:nvPr/>
        </p:nvSpPr>
        <p:spPr>
          <a:xfrm>
            <a:off x="4918353" y="3222630"/>
            <a:ext cx="184296" cy="17186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Ellipse 23">
            <a:extLst>
              <a:ext uri="{FF2B5EF4-FFF2-40B4-BE49-F238E27FC236}">
                <a16:creationId xmlns:a16="http://schemas.microsoft.com/office/drawing/2014/main" id="{074E1616-BBF5-4F3F-B58A-0486E2923723}"/>
              </a:ext>
            </a:extLst>
          </p:cNvPr>
          <p:cNvSpPr/>
          <p:nvPr/>
        </p:nvSpPr>
        <p:spPr>
          <a:xfrm>
            <a:off x="4989720" y="2041888"/>
            <a:ext cx="184296" cy="17186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Ellipse 24">
            <a:extLst>
              <a:ext uri="{FF2B5EF4-FFF2-40B4-BE49-F238E27FC236}">
                <a16:creationId xmlns:a16="http://schemas.microsoft.com/office/drawing/2014/main" id="{18685933-FEE8-4371-89FC-FB0A14BAF48C}"/>
              </a:ext>
            </a:extLst>
          </p:cNvPr>
          <p:cNvSpPr/>
          <p:nvPr/>
        </p:nvSpPr>
        <p:spPr>
          <a:xfrm>
            <a:off x="5286775" y="1447044"/>
            <a:ext cx="184296" cy="17186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Ellipse 25">
            <a:extLst>
              <a:ext uri="{FF2B5EF4-FFF2-40B4-BE49-F238E27FC236}">
                <a16:creationId xmlns:a16="http://schemas.microsoft.com/office/drawing/2014/main" id="{FF1B3B0A-6FC7-4164-B63F-E9E6F55CA95E}"/>
              </a:ext>
            </a:extLst>
          </p:cNvPr>
          <p:cNvSpPr/>
          <p:nvPr/>
        </p:nvSpPr>
        <p:spPr>
          <a:xfrm>
            <a:off x="6759213" y="2925943"/>
            <a:ext cx="184296" cy="17186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Ellipse 26">
            <a:extLst>
              <a:ext uri="{FF2B5EF4-FFF2-40B4-BE49-F238E27FC236}">
                <a16:creationId xmlns:a16="http://schemas.microsoft.com/office/drawing/2014/main" id="{601854BE-1D42-4D59-AB3B-8AC1B985FA6A}"/>
              </a:ext>
            </a:extLst>
          </p:cNvPr>
          <p:cNvSpPr/>
          <p:nvPr/>
        </p:nvSpPr>
        <p:spPr>
          <a:xfrm>
            <a:off x="7049752" y="2214202"/>
            <a:ext cx="184296" cy="17186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Text Placeholder 35">
            <a:extLst>
              <a:ext uri="{FF2B5EF4-FFF2-40B4-BE49-F238E27FC236}">
                <a16:creationId xmlns:a16="http://schemas.microsoft.com/office/drawing/2014/main" id="{AED9D065-A82D-4653-A40D-981EB38D00BB}"/>
              </a:ext>
            </a:extLst>
          </p:cNvPr>
          <p:cNvSpPr txBox="1">
            <a:spLocks/>
          </p:cNvSpPr>
          <p:nvPr/>
        </p:nvSpPr>
        <p:spPr>
          <a:xfrm>
            <a:off x="5154843" y="2412103"/>
            <a:ext cx="1639416" cy="395288"/>
          </a:xfrm>
          <a:prstGeom prst="rect">
            <a:avLst/>
          </a:prstGeom>
        </p:spPr>
        <p:txBody>
          <a:bodyPr lIns="180000" tIns="72000" rIns="288000" bIns="72000" anchor="ctr" anchorCtr="0"/>
          <a:lstStyle>
            <a:lvl1pPr marL="0" indent="0" algn="l" defTabSz="685800" rtl="0" eaLnBrk="1" latinLnBrk="0" hangingPunct="1">
              <a:lnSpc>
                <a:spcPct val="120000"/>
              </a:lnSpc>
              <a:spcBef>
                <a:spcPts val="750"/>
              </a:spcBef>
              <a:spcAft>
                <a:spcPts val="600"/>
              </a:spcAft>
              <a:buFont typeface="Arial" panose="020B0604020202020204" pitchFamily="34" charset="0"/>
              <a:buNone/>
              <a:defRPr sz="1000" kern="1200">
                <a:solidFill>
                  <a:schemeClr val="tx1"/>
                </a:solidFill>
                <a:latin typeface="+mj-lt"/>
                <a:ea typeface="+mn-ea"/>
                <a:cs typeface="+mn-cs"/>
              </a:defRPr>
            </a:lvl1pPr>
            <a:lvl2pPr marL="404813" indent="-134541" algn="l" defTabSz="685800" rtl="0" eaLnBrk="1" latinLnBrk="0" hangingPunct="1">
              <a:lnSpc>
                <a:spcPct val="120000"/>
              </a:lnSpc>
              <a:spcBef>
                <a:spcPts val="375"/>
              </a:spcBef>
              <a:spcAft>
                <a:spcPts val="600"/>
              </a:spcAft>
              <a:buClr>
                <a:schemeClr val="accent1"/>
              </a:buClr>
              <a:buFont typeface="Arial" panose="020B0604020202020204" pitchFamily="34" charset="0"/>
              <a:buChar char="•"/>
              <a:defRPr sz="1000" kern="1200">
                <a:solidFill>
                  <a:schemeClr val="tx1"/>
                </a:solidFill>
                <a:latin typeface="+mj-lt"/>
                <a:ea typeface="+mn-ea"/>
                <a:cs typeface="+mn-cs"/>
              </a:defRPr>
            </a:lvl2pPr>
            <a:lvl3pPr marL="675085" indent="-134541" algn="l" defTabSz="685800" rtl="0" eaLnBrk="1" latinLnBrk="0" hangingPunct="1">
              <a:lnSpc>
                <a:spcPct val="120000"/>
              </a:lnSpc>
              <a:spcBef>
                <a:spcPts val="375"/>
              </a:spcBef>
              <a:spcAft>
                <a:spcPts val="600"/>
              </a:spcAft>
              <a:buClr>
                <a:schemeClr val="accent2"/>
              </a:buClr>
              <a:buFont typeface="Arial" panose="020B0604020202020204" pitchFamily="34" charset="0"/>
              <a:buChar char="•"/>
              <a:defRPr sz="1000" kern="1200">
                <a:solidFill>
                  <a:schemeClr val="tx1"/>
                </a:solidFill>
                <a:latin typeface="+mj-lt"/>
                <a:ea typeface="+mn-ea"/>
                <a:cs typeface="+mn-cs"/>
              </a:defRPr>
            </a:lvl3pPr>
            <a:lvl4pPr marL="945356" indent="-134541" algn="l" defTabSz="685800" rtl="0" eaLnBrk="1" latinLnBrk="0" hangingPunct="1">
              <a:lnSpc>
                <a:spcPct val="120000"/>
              </a:lnSpc>
              <a:spcBef>
                <a:spcPts val="375"/>
              </a:spcBef>
              <a:spcAft>
                <a:spcPts val="600"/>
              </a:spcAft>
              <a:buClr>
                <a:schemeClr val="accent3"/>
              </a:buClr>
              <a:buFont typeface="Arial" panose="020B0604020202020204" pitchFamily="34" charset="0"/>
              <a:buChar char="•"/>
              <a:defRPr sz="1000" kern="1200">
                <a:solidFill>
                  <a:schemeClr val="tx1"/>
                </a:solidFill>
                <a:latin typeface="+mj-lt"/>
                <a:ea typeface="+mn-ea"/>
                <a:cs typeface="+mn-cs"/>
              </a:defRPr>
            </a:lvl4pPr>
            <a:lvl5pPr marL="1215629" indent="-134541" algn="l" defTabSz="685800" rtl="0" eaLnBrk="1" latinLnBrk="0" hangingPunct="1">
              <a:lnSpc>
                <a:spcPct val="120000"/>
              </a:lnSpc>
              <a:spcBef>
                <a:spcPts val="375"/>
              </a:spcBef>
              <a:spcAft>
                <a:spcPts val="600"/>
              </a:spcAft>
              <a:buClr>
                <a:schemeClr val="accent5"/>
              </a:buClr>
              <a:buFont typeface="Arial" panose="020B0604020202020204" pitchFamily="34" charset="0"/>
              <a:buChar char="•"/>
              <a:defRPr sz="10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dirty="0" err="1"/>
              <a:t>Stackdriver</a:t>
            </a:r>
            <a:endParaRPr lang="en-US" dirty="0"/>
          </a:p>
        </p:txBody>
      </p:sp>
      <p:sp>
        <p:nvSpPr>
          <p:cNvPr id="30" name="Ellipse 29">
            <a:extLst>
              <a:ext uri="{FF2B5EF4-FFF2-40B4-BE49-F238E27FC236}">
                <a16:creationId xmlns:a16="http://schemas.microsoft.com/office/drawing/2014/main" id="{2BE7ADDB-3E02-4990-AFEE-5AD9C5B0B83E}"/>
              </a:ext>
            </a:extLst>
          </p:cNvPr>
          <p:cNvSpPr/>
          <p:nvPr/>
        </p:nvSpPr>
        <p:spPr>
          <a:xfrm>
            <a:off x="6304292" y="2524447"/>
            <a:ext cx="184296" cy="17186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Ellipse 30">
            <a:extLst>
              <a:ext uri="{FF2B5EF4-FFF2-40B4-BE49-F238E27FC236}">
                <a16:creationId xmlns:a16="http://schemas.microsoft.com/office/drawing/2014/main" id="{6CBBCE3A-78C7-4AD6-99FA-1711336BF5EB}"/>
              </a:ext>
            </a:extLst>
          </p:cNvPr>
          <p:cNvSpPr/>
          <p:nvPr/>
        </p:nvSpPr>
        <p:spPr>
          <a:xfrm>
            <a:off x="6959038" y="1418623"/>
            <a:ext cx="184296" cy="17186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Text Placeholder 35">
            <a:extLst>
              <a:ext uri="{FF2B5EF4-FFF2-40B4-BE49-F238E27FC236}">
                <a16:creationId xmlns:a16="http://schemas.microsoft.com/office/drawing/2014/main" id="{E6C06351-A836-4D49-998D-C12347C7FE35}"/>
              </a:ext>
            </a:extLst>
          </p:cNvPr>
          <p:cNvSpPr txBox="1">
            <a:spLocks/>
          </p:cNvSpPr>
          <p:nvPr/>
        </p:nvSpPr>
        <p:spPr>
          <a:xfrm>
            <a:off x="6991318" y="1301564"/>
            <a:ext cx="1639416" cy="395288"/>
          </a:xfrm>
          <a:prstGeom prst="rect">
            <a:avLst/>
          </a:prstGeom>
        </p:spPr>
        <p:txBody>
          <a:bodyPr lIns="180000" tIns="72000" rIns="288000" bIns="72000" anchor="ctr" anchorCtr="0"/>
          <a:lstStyle>
            <a:lvl1pPr marL="0" indent="0" algn="l" defTabSz="685800" rtl="0" eaLnBrk="1" latinLnBrk="0" hangingPunct="1">
              <a:lnSpc>
                <a:spcPct val="120000"/>
              </a:lnSpc>
              <a:spcBef>
                <a:spcPts val="750"/>
              </a:spcBef>
              <a:spcAft>
                <a:spcPts val="600"/>
              </a:spcAft>
              <a:buFont typeface="Arial" panose="020B0604020202020204" pitchFamily="34" charset="0"/>
              <a:buNone/>
              <a:defRPr sz="1000" kern="1200">
                <a:solidFill>
                  <a:schemeClr val="tx1"/>
                </a:solidFill>
                <a:latin typeface="+mj-lt"/>
                <a:ea typeface="+mn-ea"/>
                <a:cs typeface="+mn-cs"/>
              </a:defRPr>
            </a:lvl1pPr>
            <a:lvl2pPr marL="404813" indent="-134541" algn="l" defTabSz="685800" rtl="0" eaLnBrk="1" latinLnBrk="0" hangingPunct="1">
              <a:lnSpc>
                <a:spcPct val="120000"/>
              </a:lnSpc>
              <a:spcBef>
                <a:spcPts val="375"/>
              </a:spcBef>
              <a:spcAft>
                <a:spcPts val="600"/>
              </a:spcAft>
              <a:buClr>
                <a:schemeClr val="accent1"/>
              </a:buClr>
              <a:buFont typeface="Arial" panose="020B0604020202020204" pitchFamily="34" charset="0"/>
              <a:buChar char="•"/>
              <a:defRPr sz="1000" kern="1200">
                <a:solidFill>
                  <a:schemeClr val="tx1"/>
                </a:solidFill>
                <a:latin typeface="+mj-lt"/>
                <a:ea typeface="+mn-ea"/>
                <a:cs typeface="+mn-cs"/>
              </a:defRPr>
            </a:lvl2pPr>
            <a:lvl3pPr marL="675085" indent="-134541" algn="l" defTabSz="685800" rtl="0" eaLnBrk="1" latinLnBrk="0" hangingPunct="1">
              <a:lnSpc>
                <a:spcPct val="120000"/>
              </a:lnSpc>
              <a:spcBef>
                <a:spcPts val="375"/>
              </a:spcBef>
              <a:spcAft>
                <a:spcPts val="600"/>
              </a:spcAft>
              <a:buClr>
                <a:schemeClr val="accent2"/>
              </a:buClr>
              <a:buFont typeface="Arial" panose="020B0604020202020204" pitchFamily="34" charset="0"/>
              <a:buChar char="•"/>
              <a:defRPr sz="1000" kern="1200">
                <a:solidFill>
                  <a:schemeClr val="tx1"/>
                </a:solidFill>
                <a:latin typeface="+mj-lt"/>
                <a:ea typeface="+mn-ea"/>
                <a:cs typeface="+mn-cs"/>
              </a:defRPr>
            </a:lvl3pPr>
            <a:lvl4pPr marL="945356" indent="-134541" algn="l" defTabSz="685800" rtl="0" eaLnBrk="1" latinLnBrk="0" hangingPunct="1">
              <a:lnSpc>
                <a:spcPct val="120000"/>
              </a:lnSpc>
              <a:spcBef>
                <a:spcPts val="375"/>
              </a:spcBef>
              <a:spcAft>
                <a:spcPts val="600"/>
              </a:spcAft>
              <a:buClr>
                <a:schemeClr val="accent3"/>
              </a:buClr>
              <a:buFont typeface="Arial" panose="020B0604020202020204" pitchFamily="34" charset="0"/>
              <a:buChar char="•"/>
              <a:defRPr sz="1000" kern="1200">
                <a:solidFill>
                  <a:schemeClr val="tx1"/>
                </a:solidFill>
                <a:latin typeface="+mj-lt"/>
                <a:ea typeface="+mn-ea"/>
                <a:cs typeface="+mn-cs"/>
              </a:defRPr>
            </a:lvl4pPr>
            <a:lvl5pPr marL="1215629" indent="-134541" algn="l" defTabSz="685800" rtl="0" eaLnBrk="1" latinLnBrk="0" hangingPunct="1">
              <a:lnSpc>
                <a:spcPct val="120000"/>
              </a:lnSpc>
              <a:spcBef>
                <a:spcPts val="375"/>
              </a:spcBef>
              <a:spcAft>
                <a:spcPts val="600"/>
              </a:spcAft>
              <a:buClr>
                <a:schemeClr val="accent5"/>
              </a:buClr>
              <a:buFont typeface="Arial" panose="020B0604020202020204" pitchFamily="34" charset="0"/>
              <a:buChar char="•"/>
              <a:defRPr sz="10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Billing</a:t>
            </a:r>
          </a:p>
        </p:txBody>
      </p:sp>
      <p:sp>
        <p:nvSpPr>
          <p:cNvPr id="33" name="Ellipse 32">
            <a:extLst>
              <a:ext uri="{FF2B5EF4-FFF2-40B4-BE49-F238E27FC236}">
                <a16:creationId xmlns:a16="http://schemas.microsoft.com/office/drawing/2014/main" id="{F69BCC04-918B-43AA-ADB2-DC697F3E6EE8}"/>
              </a:ext>
            </a:extLst>
          </p:cNvPr>
          <p:cNvSpPr/>
          <p:nvPr/>
        </p:nvSpPr>
        <p:spPr>
          <a:xfrm>
            <a:off x="4101625" y="2801721"/>
            <a:ext cx="184296" cy="17186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Text Placeholder 35">
            <a:extLst>
              <a:ext uri="{FF2B5EF4-FFF2-40B4-BE49-F238E27FC236}">
                <a16:creationId xmlns:a16="http://schemas.microsoft.com/office/drawing/2014/main" id="{4A0D5BB0-3896-4A9A-A040-E9F8E133751A}"/>
              </a:ext>
            </a:extLst>
          </p:cNvPr>
          <p:cNvSpPr txBox="1">
            <a:spLocks/>
          </p:cNvSpPr>
          <p:nvPr/>
        </p:nvSpPr>
        <p:spPr>
          <a:xfrm>
            <a:off x="3362476" y="2755863"/>
            <a:ext cx="1053740" cy="450828"/>
          </a:xfrm>
          <a:prstGeom prst="rect">
            <a:avLst/>
          </a:prstGeom>
        </p:spPr>
        <p:txBody>
          <a:bodyPr lIns="180000" tIns="72000" rIns="288000" bIns="72000" anchor="ctr" anchorCtr="0"/>
          <a:lstStyle>
            <a:lvl1pPr marL="0" indent="0" algn="l" defTabSz="685800" rtl="0" eaLnBrk="1" latinLnBrk="0" hangingPunct="1">
              <a:lnSpc>
                <a:spcPct val="120000"/>
              </a:lnSpc>
              <a:spcBef>
                <a:spcPts val="750"/>
              </a:spcBef>
              <a:spcAft>
                <a:spcPts val="600"/>
              </a:spcAft>
              <a:buFont typeface="Arial" panose="020B0604020202020204" pitchFamily="34" charset="0"/>
              <a:buNone/>
              <a:defRPr sz="1000" kern="1200">
                <a:solidFill>
                  <a:schemeClr val="tx1"/>
                </a:solidFill>
                <a:latin typeface="+mj-lt"/>
                <a:ea typeface="+mn-ea"/>
                <a:cs typeface="+mn-cs"/>
              </a:defRPr>
            </a:lvl1pPr>
            <a:lvl2pPr marL="404813" indent="-134541" algn="l" defTabSz="685800" rtl="0" eaLnBrk="1" latinLnBrk="0" hangingPunct="1">
              <a:lnSpc>
                <a:spcPct val="120000"/>
              </a:lnSpc>
              <a:spcBef>
                <a:spcPts val="375"/>
              </a:spcBef>
              <a:spcAft>
                <a:spcPts val="600"/>
              </a:spcAft>
              <a:buClr>
                <a:schemeClr val="accent1"/>
              </a:buClr>
              <a:buFont typeface="Arial" panose="020B0604020202020204" pitchFamily="34" charset="0"/>
              <a:buChar char="•"/>
              <a:defRPr sz="1000" kern="1200">
                <a:solidFill>
                  <a:schemeClr val="tx1"/>
                </a:solidFill>
                <a:latin typeface="+mj-lt"/>
                <a:ea typeface="+mn-ea"/>
                <a:cs typeface="+mn-cs"/>
              </a:defRPr>
            </a:lvl2pPr>
            <a:lvl3pPr marL="675085" indent="-134541" algn="l" defTabSz="685800" rtl="0" eaLnBrk="1" latinLnBrk="0" hangingPunct="1">
              <a:lnSpc>
                <a:spcPct val="120000"/>
              </a:lnSpc>
              <a:spcBef>
                <a:spcPts val="375"/>
              </a:spcBef>
              <a:spcAft>
                <a:spcPts val="600"/>
              </a:spcAft>
              <a:buClr>
                <a:schemeClr val="accent2"/>
              </a:buClr>
              <a:buFont typeface="Arial" panose="020B0604020202020204" pitchFamily="34" charset="0"/>
              <a:buChar char="•"/>
              <a:defRPr sz="1000" kern="1200">
                <a:solidFill>
                  <a:schemeClr val="tx1"/>
                </a:solidFill>
                <a:latin typeface="+mj-lt"/>
                <a:ea typeface="+mn-ea"/>
                <a:cs typeface="+mn-cs"/>
              </a:defRPr>
            </a:lvl3pPr>
            <a:lvl4pPr marL="945356" indent="-134541" algn="l" defTabSz="685800" rtl="0" eaLnBrk="1" latinLnBrk="0" hangingPunct="1">
              <a:lnSpc>
                <a:spcPct val="120000"/>
              </a:lnSpc>
              <a:spcBef>
                <a:spcPts val="375"/>
              </a:spcBef>
              <a:spcAft>
                <a:spcPts val="600"/>
              </a:spcAft>
              <a:buClr>
                <a:schemeClr val="accent3"/>
              </a:buClr>
              <a:buFont typeface="Arial" panose="020B0604020202020204" pitchFamily="34" charset="0"/>
              <a:buChar char="•"/>
              <a:defRPr sz="1000" kern="1200">
                <a:solidFill>
                  <a:schemeClr val="tx1"/>
                </a:solidFill>
                <a:latin typeface="+mj-lt"/>
                <a:ea typeface="+mn-ea"/>
                <a:cs typeface="+mn-cs"/>
              </a:defRPr>
            </a:lvl4pPr>
            <a:lvl5pPr marL="1215629" indent="-134541" algn="l" defTabSz="685800" rtl="0" eaLnBrk="1" latinLnBrk="0" hangingPunct="1">
              <a:lnSpc>
                <a:spcPct val="120000"/>
              </a:lnSpc>
              <a:spcBef>
                <a:spcPts val="375"/>
              </a:spcBef>
              <a:spcAft>
                <a:spcPts val="600"/>
              </a:spcAft>
              <a:buClr>
                <a:schemeClr val="accent5"/>
              </a:buClr>
              <a:buFont typeface="Arial" panose="020B0604020202020204" pitchFamily="34" charset="0"/>
              <a:buChar char="•"/>
              <a:defRPr sz="10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dirty="0"/>
              <a:t>User Storage</a:t>
            </a:r>
          </a:p>
        </p:txBody>
      </p:sp>
    </p:spTree>
    <p:extLst>
      <p:ext uri="{BB962C8B-B14F-4D97-AF65-F5344CB8AC3E}">
        <p14:creationId xmlns:p14="http://schemas.microsoft.com/office/powerpoint/2010/main" val="1259240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27BB8-D6EA-2A4B-9E29-4B163BA076AA}"/>
              </a:ext>
            </a:extLst>
          </p:cNvPr>
          <p:cNvSpPr>
            <a:spLocks noGrp="1"/>
          </p:cNvSpPr>
          <p:nvPr>
            <p:ph type="title"/>
          </p:nvPr>
        </p:nvSpPr>
        <p:spPr/>
        <p:txBody>
          <a:bodyPr/>
          <a:lstStyle/>
          <a:p>
            <a:r>
              <a:rPr lang="en-US" dirty="0"/>
              <a:t>Elements of a conversation</a:t>
            </a:r>
          </a:p>
        </p:txBody>
      </p:sp>
      <p:sp>
        <p:nvSpPr>
          <p:cNvPr id="9" name="Text Placeholder 16">
            <a:extLst>
              <a:ext uri="{FF2B5EF4-FFF2-40B4-BE49-F238E27FC236}">
                <a16:creationId xmlns:a16="http://schemas.microsoft.com/office/drawing/2014/main" id="{3BB3A0CB-2068-448E-A87D-D6F4E55852EB}"/>
              </a:ext>
            </a:extLst>
          </p:cNvPr>
          <p:cNvSpPr txBox="1">
            <a:spLocks/>
          </p:cNvSpPr>
          <p:nvPr/>
        </p:nvSpPr>
        <p:spPr>
          <a:xfrm>
            <a:off x="238540" y="658950"/>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dirty="0"/>
          </a:p>
        </p:txBody>
      </p:sp>
      <p:sp>
        <p:nvSpPr>
          <p:cNvPr id="5" name="Bulle narrative : rectangle 4">
            <a:extLst>
              <a:ext uri="{FF2B5EF4-FFF2-40B4-BE49-F238E27FC236}">
                <a16:creationId xmlns:a16="http://schemas.microsoft.com/office/drawing/2014/main" id="{2970303D-1467-4903-869C-9DA4F59828A7}"/>
              </a:ext>
            </a:extLst>
          </p:cNvPr>
          <p:cNvSpPr/>
          <p:nvPr/>
        </p:nvSpPr>
        <p:spPr>
          <a:xfrm>
            <a:off x="1588782" y="956885"/>
            <a:ext cx="690868" cy="317331"/>
          </a:xfrm>
          <a:prstGeom prst="wedgeRectCallout">
            <a:avLst>
              <a:gd name="adj1" fmla="val -66761"/>
              <a:gd name="adj2" fmla="val -1415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Hello !</a:t>
            </a:r>
          </a:p>
        </p:txBody>
      </p:sp>
      <p:sp>
        <p:nvSpPr>
          <p:cNvPr id="6" name="Bulle narrative : rectangle 5">
            <a:extLst>
              <a:ext uri="{FF2B5EF4-FFF2-40B4-BE49-F238E27FC236}">
                <a16:creationId xmlns:a16="http://schemas.microsoft.com/office/drawing/2014/main" id="{6AD5BAE6-CA47-41FC-AB0B-D1DA8A5B9704}"/>
              </a:ext>
            </a:extLst>
          </p:cNvPr>
          <p:cNvSpPr/>
          <p:nvPr/>
        </p:nvSpPr>
        <p:spPr>
          <a:xfrm>
            <a:off x="1588004" y="1593224"/>
            <a:ext cx="2559912" cy="317331"/>
          </a:xfrm>
          <a:prstGeom prst="wedgeRectCallout">
            <a:avLst>
              <a:gd name="adj1" fmla="val -54837"/>
              <a:gd name="adj2" fmla="val -236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I would like a 4 cheese pizza</a:t>
            </a:r>
            <a:endParaRPr lang="fr-FR" sz="1200" dirty="0">
              <a:solidFill>
                <a:schemeClr val="bg1"/>
              </a:solidFill>
            </a:endParaRPr>
          </a:p>
        </p:txBody>
      </p:sp>
      <p:pic>
        <p:nvPicPr>
          <p:cNvPr id="7" name="Image 6">
            <a:extLst>
              <a:ext uri="{FF2B5EF4-FFF2-40B4-BE49-F238E27FC236}">
                <a16:creationId xmlns:a16="http://schemas.microsoft.com/office/drawing/2014/main" id="{AF9E44B1-0AD7-442F-83B7-ADB8E3816E69}"/>
              </a:ext>
            </a:extLst>
          </p:cNvPr>
          <p:cNvPicPr>
            <a:picLocks noChangeAspect="1"/>
          </p:cNvPicPr>
          <p:nvPr/>
        </p:nvPicPr>
        <p:blipFill>
          <a:blip r:embed="rId2"/>
          <a:stretch>
            <a:fillRect/>
          </a:stretch>
        </p:blipFill>
        <p:spPr>
          <a:xfrm>
            <a:off x="1054696" y="955958"/>
            <a:ext cx="318258" cy="318258"/>
          </a:xfrm>
          <a:prstGeom prst="rect">
            <a:avLst/>
          </a:prstGeom>
        </p:spPr>
      </p:pic>
      <p:pic>
        <p:nvPicPr>
          <p:cNvPr id="8" name="Image 7">
            <a:extLst>
              <a:ext uri="{FF2B5EF4-FFF2-40B4-BE49-F238E27FC236}">
                <a16:creationId xmlns:a16="http://schemas.microsoft.com/office/drawing/2014/main" id="{E9997D56-9FF3-4DB8-A0BB-9FCCE6A23F80}"/>
              </a:ext>
            </a:extLst>
          </p:cNvPr>
          <p:cNvPicPr>
            <a:picLocks noChangeAspect="1"/>
          </p:cNvPicPr>
          <p:nvPr/>
        </p:nvPicPr>
        <p:blipFill>
          <a:blip r:embed="rId2"/>
          <a:stretch>
            <a:fillRect/>
          </a:stretch>
        </p:blipFill>
        <p:spPr>
          <a:xfrm>
            <a:off x="1054696" y="1593071"/>
            <a:ext cx="318258" cy="318258"/>
          </a:xfrm>
          <a:prstGeom prst="rect">
            <a:avLst/>
          </a:prstGeom>
        </p:spPr>
      </p:pic>
      <p:sp>
        <p:nvSpPr>
          <p:cNvPr id="10" name="Bulle narrative : rectangle 9">
            <a:extLst>
              <a:ext uri="{FF2B5EF4-FFF2-40B4-BE49-F238E27FC236}">
                <a16:creationId xmlns:a16="http://schemas.microsoft.com/office/drawing/2014/main" id="{1588ED2B-5D26-4CCD-B946-559817390CDC}"/>
              </a:ext>
            </a:extLst>
          </p:cNvPr>
          <p:cNvSpPr/>
          <p:nvPr/>
        </p:nvSpPr>
        <p:spPr>
          <a:xfrm>
            <a:off x="1588003" y="2229563"/>
            <a:ext cx="1602458" cy="318105"/>
          </a:xfrm>
          <a:prstGeom prst="wedgeRectCallout">
            <a:avLst>
              <a:gd name="adj1" fmla="val -54837"/>
              <a:gd name="adj2" fmla="val -236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Medium, </a:t>
            </a:r>
            <a:r>
              <a:rPr lang="fr-FR" sz="1200" dirty="0" err="1">
                <a:solidFill>
                  <a:schemeClr val="bg1"/>
                </a:solidFill>
              </a:rPr>
              <a:t>please</a:t>
            </a:r>
            <a:endParaRPr lang="fr-FR" sz="1200" dirty="0">
              <a:solidFill>
                <a:schemeClr val="bg1"/>
              </a:solidFill>
            </a:endParaRPr>
          </a:p>
        </p:txBody>
      </p:sp>
      <p:pic>
        <p:nvPicPr>
          <p:cNvPr id="11" name="Image 10">
            <a:extLst>
              <a:ext uri="{FF2B5EF4-FFF2-40B4-BE49-F238E27FC236}">
                <a16:creationId xmlns:a16="http://schemas.microsoft.com/office/drawing/2014/main" id="{D05E3CF7-812B-48D8-81B5-C80247E3C69D}"/>
              </a:ext>
            </a:extLst>
          </p:cNvPr>
          <p:cNvPicPr>
            <a:picLocks noChangeAspect="1"/>
          </p:cNvPicPr>
          <p:nvPr/>
        </p:nvPicPr>
        <p:blipFill>
          <a:blip r:embed="rId2"/>
          <a:stretch>
            <a:fillRect/>
          </a:stretch>
        </p:blipFill>
        <p:spPr>
          <a:xfrm>
            <a:off x="1054696" y="2229410"/>
            <a:ext cx="318258" cy="318258"/>
          </a:xfrm>
          <a:prstGeom prst="rect">
            <a:avLst/>
          </a:prstGeom>
        </p:spPr>
      </p:pic>
      <p:sp>
        <p:nvSpPr>
          <p:cNvPr id="12" name="Bulle narrative : rectangle 11">
            <a:extLst>
              <a:ext uri="{FF2B5EF4-FFF2-40B4-BE49-F238E27FC236}">
                <a16:creationId xmlns:a16="http://schemas.microsoft.com/office/drawing/2014/main" id="{E5976D38-4D15-4A29-BE65-F70AAAA7A859}"/>
              </a:ext>
            </a:extLst>
          </p:cNvPr>
          <p:cNvSpPr/>
          <p:nvPr/>
        </p:nvSpPr>
        <p:spPr>
          <a:xfrm>
            <a:off x="1588781" y="2934107"/>
            <a:ext cx="2559135" cy="317331"/>
          </a:xfrm>
          <a:prstGeom prst="wedgeRectCallout">
            <a:avLst>
              <a:gd name="adj1" fmla="val -54837"/>
              <a:gd name="adj2" fmla="val -236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By the way, is there oregano?</a:t>
            </a:r>
            <a:endParaRPr lang="fr-FR" sz="1200" dirty="0">
              <a:solidFill>
                <a:schemeClr val="bg1"/>
              </a:solidFill>
            </a:endParaRPr>
          </a:p>
        </p:txBody>
      </p:sp>
      <p:sp>
        <p:nvSpPr>
          <p:cNvPr id="13" name="Bulle narrative : rectangle 12">
            <a:extLst>
              <a:ext uri="{FF2B5EF4-FFF2-40B4-BE49-F238E27FC236}">
                <a16:creationId xmlns:a16="http://schemas.microsoft.com/office/drawing/2014/main" id="{2344581C-3367-4D18-A2AF-D679833372D2}"/>
              </a:ext>
            </a:extLst>
          </p:cNvPr>
          <p:cNvSpPr/>
          <p:nvPr/>
        </p:nvSpPr>
        <p:spPr>
          <a:xfrm>
            <a:off x="1588003" y="3576681"/>
            <a:ext cx="1691910" cy="318105"/>
          </a:xfrm>
          <a:prstGeom prst="wedgeRectCallout">
            <a:avLst>
              <a:gd name="adj1" fmla="val -54837"/>
              <a:gd name="adj2" fmla="val -236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Ok, </a:t>
            </a:r>
            <a:r>
              <a:rPr lang="fr-FR" sz="1200" dirty="0" err="1">
                <a:solidFill>
                  <a:schemeClr val="bg1"/>
                </a:solidFill>
              </a:rPr>
              <a:t>see</a:t>
            </a:r>
            <a:r>
              <a:rPr lang="fr-FR" sz="1200" dirty="0">
                <a:solidFill>
                  <a:schemeClr val="bg1"/>
                </a:solidFill>
              </a:rPr>
              <a:t> </a:t>
            </a:r>
            <a:r>
              <a:rPr lang="fr-FR" sz="1200" dirty="0" err="1">
                <a:solidFill>
                  <a:schemeClr val="bg1"/>
                </a:solidFill>
              </a:rPr>
              <a:t>you</a:t>
            </a:r>
            <a:r>
              <a:rPr lang="fr-FR" sz="1200" dirty="0">
                <a:solidFill>
                  <a:schemeClr val="bg1"/>
                </a:solidFill>
              </a:rPr>
              <a:t> </a:t>
            </a:r>
            <a:r>
              <a:rPr lang="fr-FR" sz="1200" dirty="0" err="1">
                <a:solidFill>
                  <a:schemeClr val="bg1"/>
                </a:solidFill>
              </a:rPr>
              <a:t>later</a:t>
            </a:r>
            <a:endParaRPr lang="fr-FR" sz="1200" dirty="0">
              <a:solidFill>
                <a:schemeClr val="bg1"/>
              </a:solidFill>
            </a:endParaRPr>
          </a:p>
        </p:txBody>
      </p:sp>
      <p:pic>
        <p:nvPicPr>
          <p:cNvPr id="14" name="Image 13">
            <a:extLst>
              <a:ext uri="{FF2B5EF4-FFF2-40B4-BE49-F238E27FC236}">
                <a16:creationId xmlns:a16="http://schemas.microsoft.com/office/drawing/2014/main" id="{B3452CED-961C-4B5B-83F4-6F74AF346F49}"/>
              </a:ext>
            </a:extLst>
          </p:cNvPr>
          <p:cNvPicPr>
            <a:picLocks noChangeAspect="1"/>
          </p:cNvPicPr>
          <p:nvPr/>
        </p:nvPicPr>
        <p:blipFill>
          <a:blip r:embed="rId2"/>
          <a:stretch>
            <a:fillRect/>
          </a:stretch>
        </p:blipFill>
        <p:spPr>
          <a:xfrm>
            <a:off x="1054696" y="2933180"/>
            <a:ext cx="293456" cy="318258"/>
          </a:xfrm>
          <a:prstGeom prst="rect">
            <a:avLst/>
          </a:prstGeom>
        </p:spPr>
      </p:pic>
      <p:pic>
        <p:nvPicPr>
          <p:cNvPr id="15" name="Image 14">
            <a:extLst>
              <a:ext uri="{FF2B5EF4-FFF2-40B4-BE49-F238E27FC236}">
                <a16:creationId xmlns:a16="http://schemas.microsoft.com/office/drawing/2014/main" id="{3C3B52B7-53F9-4E83-AEAF-AF062EE6EA62}"/>
              </a:ext>
            </a:extLst>
          </p:cNvPr>
          <p:cNvPicPr>
            <a:picLocks noChangeAspect="1"/>
          </p:cNvPicPr>
          <p:nvPr/>
        </p:nvPicPr>
        <p:blipFill>
          <a:blip r:embed="rId2"/>
          <a:stretch>
            <a:fillRect/>
          </a:stretch>
        </p:blipFill>
        <p:spPr>
          <a:xfrm>
            <a:off x="1054696" y="3576528"/>
            <a:ext cx="318258" cy="318258"/>
          </a:xfrm>
          <a:prstGeom prst="rect">
            <a:avLst/>
          </a:prstGeom>
        </p:spPr>
      </p:pic>
      <p:sp>
        <p:nvSpPr>
          <p:cNvPr id="16" name="Bulle narrative : rectangle 15">
            <a:extLst>
              <a:ext uri="{FF2B5EF4-FFF2-40B4-BE49-F238E27FC236}">
                <a16:creationId xmlns:a16="http://schemas.microsoft.com/office/drawing/2014/main" id="{9FD998BA-6BEB-4CCF-849D-FA03033033A4}"/>
              </a:ext>
            </a:extLst>
          </p:cNvPr>
          <p:cNvSpPr/>
          <p:nvPr/>
        </p:nvSpPr>
        <p:spPr>
          <a:xfrm>
            <a:off x="5080001" y="1274217"/>
            <a:ext cx="2324362" cy="317331"/>
          </a:xfrm>
          <a:prstGeom prst="wedgeRectCallout">
            <a:avLst>
              <a:gd name="adj1" fmla="val 54908"/>
              <a:gd name="adj2" fmla="val -1615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Hello, </a:t>
            </a:r>
            <a:r>
              <a:rPr lang="fr-FR" sz="1200" dirty="0" err="1">
                <a:solidFill>
                  <a:schemeClr val="bg1"/>
                </a:solidFill>
              </a:rPr>
              <a:t>what</a:t>
            </a:r>
            <a:r>
              <a:rPr lang="fr-FR" sz="1200" dirty="0">
                <a:solidFill>
                  <a:schemeClr val="bg1"/>
                </a:solidFill>
              </a:rPr>
              <a:t> do </a:t>
            </a:r>
            <a:r>
              <a:rPr lang="fr-FR" sz="1200" dirty="0" err="1">
                <a:solidFill>
                  <a:schemeClr val="bg1"/>
                </a:solidFill>
              </a:rPr>
              <a:t>you</a:t>
            </a:r>
            <a:r>
              <a:rPr lang="fr-FR" sz="1200" dirty="0">
                <a:solidFill>
                  <a:schemeClr val="bg1"/>
                </a:solidFill>
              </a:rPr>
              <a:t> </a:t>
            </a:r>
            <a:r>
              <a:rPr lang="fr-FR" sz="1200" dirty="0" err="1">
                <a:solidFill>
                  <a:schemeClr val="bg1"/>
                </a:solidFill>
              </a:rPr>
              <a:t>want</a:t>
            </a:r>
            <a:r>
              <a:rPr lang="fr-FR" sz="1200" dirty="0">
                <a:solidFill>
                  <a:schemeClr val="bg1"/>
                </a:solidFill>
              </a:rPr>
              <a:t>? </a:t>
            </a:r>
          </a:p>
        </p:txBody>
      </p:sp>
      <p:pic>
        <p:nvPicPr>
          <p:cNvPr id="17" name="Image 16">
            <a:extLst>
              <a:ext uri="{FF2B5EF4-FFF2-40B4-BE49-F238E27FC236}">
                <a16:creationId xmlns:a16="http://schemas.microsoft.com/office/drawing/2014/main" id="{127AD8F4-1DC8-412B-ADEE-F8DB748141F3}"/>
              </a:ext>
            </a:extLst>
          </p:cNvPr>
          <p:cNvPicPr>
            <a:picLocks noChangeAspect="1"/>
          </p:cNvPicPr>
          <p:nvPr/>
        </p:nvPicPr>
        <p:blipFill>
          <a:blip r:embed="rId3"/>
          <a:stretch>
            <a:fillRect/>
          </a:stretch>
        </p:blipFill>
        <p:spPr>
          <a:xfrm>
            <a:off x="7691403" y="1274216"/>
            <a:ext cx="317331" cy="317331"/>
          </a:xfrm>
          <a:prstGeom prst="rect">
            <a:avLst/>
          </a:prstGeom>
        </p:spPr>
      </p:pic>
      <p:sp>
        <p:nvSpPr>
          <p:cNvPr id="18" name="Bulle narrative : rectangle 17">
            <a:extLst>
              <a:ext uri="{FF2B5EF4-FFF2-40B4-BE49-F238E27FC236}">
                <a16:creationId xmlns:a16="http://schemas.microsoft.com/office/drawing/2014/main" id="{C756773C-8B1B-4463-ABA1-25EA269E374D}"/>
              </a:ext>
            </a:extLst>
          </p:cNvPr>
          <p:cNvSpPr/>
          <p:nvPr/>
        </p:nvSpPr>
        <p:spPr>
          <a:xfrm>
            <a:off x="6102626" y="1914823"/>
            <a:ext cx="1301737" cy="317331"/>
          </a:xfrm>
          <a:prstGeom prst="wedgeRectCallout">
            <a:avLst>
              <a:gd name="adj1" fmla="val 60736"/>
              <a:gd name="adj2" fmla="val -25604"/>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err="1">
                <a:solidFill>
                  <a:schemeClr val="bg1"/>
                </a:solidFill>
              </a:rPr>
              <a:t>What</a:t>
            </a:r>
            <a:r>
              <a:rPr lang="fr-FR" sz="1200" dirty="0">
                <a:solidFill>
                  <a:schemeClr val="bg1"/>
                </a:solidFill>
              </a:rPr>
              <a:t> size?</a:t>
            </a:r>
          </a:p>
        </p:txBody>
      </p:sp>
      <p:pic>
        <p:nvPicPr>
          <p:cNvPr id="19" name="Image 18">
            <a:extLst>
              <a:ext uri="{FF2B5EF4-FFF2-40B4-BE49-F238E27FC236}">
                <a16:creationId xmlns:a16="http://schemas.microsoft.com/office/drawing/2014/main" id="{F8E94415-D3C0-4A45-8BBF-D73FF13546A7}"/>
              </a:ext>
            </a:extLst>
          </p:cNvPr>
          <p:cNvPicPr>
            <a:picLocks noChangeAspect="1"/>
          </p:cNvPicPr>
          <p:nvPr/>
        </p:nvPicPr>
        <p:blipFill>
          <a:blip r:embed="rId3"/>
          <a:stretch>
            <a:fillRect/>
          </a:stretch>
        </p:blipFill>
        <p:spPr>
          <a:xfrm>
            <a:off x="7691403" y="1914822"/>
            <a:ext cx="317331" cy="317331"/>
          </a:xfrm>
          <a:prstGeom prst="rect">
            <a:avLst/>
          </a:prstGeom>
        </p:spPr>
      </p:pic>
      <p:sp>
        <p:nvSpPr>
          <p:cNvPr id="20" name="Bulle narrative : rectangle 19">
            <a:extLst>
              <a:ext uri="{FF2B5EF4-FFF2-40B4-BE49-F238E27FC236}">
                <a16:creationId xmlns:a16="http://schemas.microsoft.com/office/drawing/2014/main" id="{0CC1DEB5-5C1D-4BC4-B0DA-227D2AEF9D9B}"/>
              </a:ext>
            </a:extLst>
          </p:cNvPr>
          <p:cNvSpPr/>
          <p:nvPr/>
        </p:nvSpPr>
        <p:spPr>
          <a:xfrm>
            <a:off x="3756991" y="2547669"/>
            <a:ext cx="3648149" cy="317331"/>
          </a:xfrm>
          <a:prstGeom prst="wedgeRectCallout">
            <a:avLst>
              <a:gd name="adj1" fmla="val 53696"/>
              <a:gd name="adj2" fmla="val -25604"/>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Fine. </a:t>
            </a:r>
            <a:r>
              <a:rPr lang="fr-FR" sz="1200" dirty="0" err="1">
                <a:solidFill>
                  <a:schemeClr val="bg1"/>
                </a:solidFill>
              </a:rPr>
              <a:t>Your</a:t>
            </a:r>
            <a:r>
              <a:rPr lang="fr-FR" sz="1200" dirty="0">
                <a:solidFill>
                  <a:schemeClr val="bg1"/>
                </a:solidFill>
              </a:rPr>
              <a:t> pizza </a:t>
            </a:r>
            <a:r>
              <a:rPr lang="fr-FR" sz="1200" dirty="0" err="1">
                <a:solidFill>
                  <a:schemeClr val="bg1"/>
                </a:solidFill>
              </a:rPr>
              <a:t>will</a:t>
            </a:r>
            <a:r>
              <a:rPr lang="fr-FR" sz="1200" dirty="0">
                <a:solidFill>
                  <a:schemeClr val="bg1"/>
                </a:solidFill>
              </a:rPr>
              <a:t> </a:t>
            </a:r>
            <a:r>
              <a:rPr lang="fr-FR" sz="1200" dirty="0" err="1">
                <a:solidFill>
                  <a:schemeClr val="bg1"/>
                </a:solidFill>
              </a:rPr>
              <a:t>be</a:t>
            </a:r>
            <a:r>
              <a:rPr lang="fr-FR" sz="1200" dirty="0">
                <a:solidFill>
                  <a:schemeClr val="bg1"/>
                </a:solidFill>
              </a:rPr>
              <a:t> </a:t>
            </a:r>
            <a:r>
              <a:rPr lang="fr-FR" sz="1200" dirty="0" err="1">
                <a:solidFill>
                  <a:schemeClr val="bg1"/>
                </a:solidFill>
              </a:rPr>
              <a:t>ready</a:t>
            </a:r>
            <a:r>
              <a:rPr lang="fr-FR" sz="1200" dirty="0">
                <a:solidFill>
                  <a:schemeClr val="bg1"/>
                </a:solidFill>
              </a:rPr>
              <a:t> in 30 minutes.</a:t>
            </a:r>
          </a:p>
        </p:txBody>
      </p:sp>
      <p:pic>
        <p:nvPicPr>
          <p:cNvPr id="21" name="Image 20">
            <a:extLst>
              <a:ext uri="{FF2B5EF4-FFF2-40B4-BE49-F238E27FC236}">
                <a16:creationId xmlns:a16="http://schemas.microsoft.com/office/drawing/2014/main" id="{FE1EBC15-E9EB-48B4-A686-14C1956C657B}"/>
              </a:ext>
            </a:extLst>
          </p:cNvPr>
          <p:cNvPicPr>
            <a:picLocks noChangeAspect="1"/>
          </p:cNvPicPr>
          <p:nvPr/>
        </p:nvPicPr>
        <p:blipFill>
          <a:blip r:embed="rId3"/>
          <a:stretch>
            <a:fillRect/>
          </a:stretch>
        </p:blipFill>
        <p:spPr>
          <a:xfrm>
            <a:off x="7692180" y="2547668"/>
            <a:ext cx="317331" cy="317331"/>
          </a:xfrm>
          <a:prstGeom prst="rect">
            <a:avLst/>
          </a:prstGeom>
        </p:spPr>
      </p:pic>
      <p:sp>
        <p:nvSpPr>
          <p:cNvPr id="22" name="Bulle narrative : rectangle 21">
            <a:extLst>
              <a:ext uri="{FF2B5EF4-FFF2-40B4-BE49-F238E27FC236}">
                <a16:creationId xmlns:a16="http://schemas.microsoft.com/office/drawing/2014/main" id="{C8BD931E-7BB6-4B3B-A605-69ECCBCB0083}"/>
              </a:ext>
            </a:extLst>
          </p:cNvPr>
          <p:cNvSpPr/>
          <p:nvPr/>
        </p:nvSpPr>
        <p:spPr>
          <a:xfrm>
            <a:off x="4701209" y="3259198"/>
            <a:ext cx="2703155" cy="317331"/>
          </a:xfrm>
          <a:prstGeom prst="wedgeRectCallout">
            <a:avLst>
              <a:gd name="adj1" fmla="val 55392"/>
              <a:gd name="adj2" fmla="val -25604"/>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No, </a:t>
            </a:r>
            <a:r>
              <a:rPr lang="fr-FR" sz="1200" dirty="0" err="1">
                <a:solidFill>
                  <a:schemeClr val="bg1"/>
                </a:solidFill>
              </a:rPr>
              <a:t>never</a:t>
            </a:r>
            <a:r>
              <a:rPr lang="fr-FR" sz="1200" dirty="0">
                <a:solidFill>
                  <a:schemeClr val="bg1"/>
                </a:solidFill>
              </a:rPr>
              <a:t> on a 4 </a:t>
            </a:r>
            <a:r>
              <a:rPr lang="fr-FR" sz="1200" dirty="0" err="1">
                <a:solidFill>
                  <a:schemeClr val="bg1"/>
                </a:solidFill>
              </a:rPr>
              <a:t>cheese</a:t>
            </a:r>
            <a:r>
              <a:rPr lang="fr-FR" sz="1200" dirty="0">
                <a:solidFill>
                  <a:schemeClr val="bg1"/>
                </a:solidFill>
              </a:rPr>
              <a:t> pizza !</a:t>
            </a:r>
          </a:p>
        </p:txBody>
      </p:sp>
      <p:pic>
        <p:nvPicPr>
          <p:cNvPr id="23" name="Image 22">
            <a:extLst>
              <a:ext uri="{FF2B5EF4-FFF2-40B4-BE49-F238E27FC236}">
                <a16:creationId xmlns:a16="http://schemas.microsoft.com/office/drawing/2014/main" id="{C2848BA1-B8D6-4E1B-816A-24011E7AECEA}"/>
              </a:ext>
            </a:extLst>
          </p:cNvPr>
          <p:cNvPicPr>
            <a:picLocks noChangeAspect="1"/>
          </p:cNvPicPr>
          <p:nvPr/>
        </p:nvPicPr>
        <p:blipFill>
          <a:blip r:embed="rId3"/>
          <a:stretch>
            <a:fillRect/>
          </a:stretch>
        </p:blipFill>
        <p:spPr>
          <a:xfrm>
            <a:off x="7691403" y="3259197"/>
            <a:ext cx="317331" cy="317331"/>
          </a:xfrm>
          <a:prstGeom prst="rect">
            <a:avLst/>
          </a:prstGeom>
        </p:spPr>
      </p:pic>
      <p:sp>
        <p:nvSpPr>
          <p:cNvPr id="24" name="Bulle narrative : rectangle 23">
            <a:extLst>
              <a:ext uri="{FF2B5EF4-FFF2-40B4-BE49-F238E27FC236}">
                <a16:creationId xmlns:a16="http://schemas.microsoft.com/office/drawing/2014/main" id="{BA059E1C-A9A6-4A5A-B246-2892A002FF18}"/>
              </a:ext>
            </a:extLst>
          </p:cNvPr>
          <p:cNvSpPr/>
          <p:nvPr/>
        </p:nvSpPr>
        <p:spPr>
          <a:xfrm>
            <a:off x="6102626" y="3899803"/>
            <a:ext cx="1301736" cy="317331"/>
          </a:xfrm>
          <a:prstGeom prst="wedgeRectCallout">
            <a:avLst>
              <a:gd name="adj1" fmla="val 58120"/>
              <a:gd name="adj2" fmla="val -25604"/>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err="1">
                <a:solidFill>
                  <a:schemeClr val="bg1"/>
                </a:solidFill>
              </a:rPr>
              <a:t>See</a:t>
            </a:r>
            <a:r>
              <a:rPr lang="fr-FR" sz="1200" dirty="0">
                <a:solidFill>
                  <a:schemeClr val="bg1"/>
                </a:solidFill>
              </a:rPr>
              <a:t> </a:t>
            </a:r>
            <a:r>
              <a:rPr lang="fr-FR" sz="1200" dirty="0" err="1">
                <a:solidFill>
                  <a:schemeClr val="bg1"/>
                </a:solidFill>
              </a:rPr>
              <a:t>you</a:t>
            </a:r>
            <a:r>
              <a:rPr lang="fr-FR" sz="1200" dirty="0">
                <a:solidFill>
                  <a:schemeClr val="bg1"/>
                </a:solidFill>
              </a:rPr>
              <a:t> </a:t>
            </a:r>
            <a:r>
              <a:rPr lang="fr-FR" sz="1200" dirty="0" err="1">
                <a:solidFill>
                  <a:schemeClr val="bg1"/>
                </a:solidFill>
              </a:rPr>
              <a:t>later</a:t>
            </a:r>
            <a:endParaRPr lang="fr-FR" sz="1200" dirty="0">
              <a:solidFill>
                <a:schemeClr val="bg1"/>
              </a:solidFill>
            </a:endParaRPr>
          </a:p>
        </p:txBody>
      </p:sp>
      <p:pic>
        <p:nvPicPr>
          <p:cNvPr id="25" name="Image 24">
            <a:extLst>
              <a:ext uri="{FF2B5EF4-FFF2-40B4-BE49-F238E27FC236}">
                <a16:creationId xmlns:a16="http://schemas.microsoft.com/office/drawing/2014/main" id="{66B71ECB-CBB9-4F2E-81C4-75162F742AB7}"/>
              </a:ext>
            </a:extLst>
          </p:cNvPr>
          <p:cNvPicPr>
            <a:picLocks noChangeAspect="1"/>
          </p:cNvPicPr>
          <p:nvPr/>
        </p:nvPicPr>
        <p:blipFill>
          <a:blip r:embed="rId3"/>
          <a:stretch>
            <a:fillRect/>
          </a:stretch>
        </p:blipFill>
        <p:spPr>
          <a:xfrm>
            <a:off x="7691402" y="3899802"/>
            <a:ext cx="317331" cy="317331"/>
          </a:xfrm>
          <a:prstGeom prst="rect">
            <a:avLst/>
          </a:prstGeom>
        </p:spPr>
      </p:pic>
    </p:spTree>
    <p:extLst>
      <p:ext uri="{BB962C8B-B14F-4D97-AF65-F5344CB8AC3E}">
        <p14:creationId xmlns:p14="http://schemas.microsoft.com/office/powerpoint/2010/main" val="2395514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27BB8-D6EA-2A4B-9E29-4B163BA076AA}"/>
              </a:ext>
            </a:extLst>
          </p:cNvPr>
          <p:cNvSpPr>
            <a:spLocks noGrp="1"/>
          </p:cNvSpPr>
          <p:nvPr>
            <p:ph type="title"/>
          </p:nvPr>
        </p:nvSpPr>
        <p:spPr/>
        <p:txBody>
          <a:bodyPr/>
          <a:lstStyle/>
          <a:p>
            <a:r>
              <a:rPr lang="en-US" dirty="0"/>
              <a:t>Elements of a conversation</a:t>
            </a:r>
          </a:p>
        </p:txBody>
      </p:sp>
      <p:sp>
        <p:nvSpPr>
          <p:cNvPr id="9" name="Text Placeholder 16">
            <a:extLst>
              <a:ext uri="{FF2B5EF4-FFF2-40B4-BE49-F238E27FC236}">
                <a16:creationId xmlns:a16="http://schemas.microsoft.com/office/drawing/2014/main" id="{3BB3A0CB-2068-448E-A87D-D6F4E55852EB}"/>
              </a:ext>
            </a:extLst>
          </p:cNvPr>
          <p:cNvSpPr txBox="1">
            <a:spLocks/>
          </p:cNvSpPr>
          <p:nvPr/>
        </p:nvSpPr>
        <p:spPr>
          <a:xfrm>
            <a:off x="238540" y="658950"/>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dirty="0"/>
          </a:p>
        </p:txBody>
      </p:sp>
      <p:sp>
        <p:nvSpPr>
          <p:cNvPr id="5" name="Bulle narrative : rectangle 4">
            <a:extLst>
              <a:ext uri="{FF2B5EF4-FFF2-40B4-BE49-F238E27FC236}">
                <a16:creationId xmlns:a16="http://schemas.microsoft.com/office/drawing/2014/main" id="{2970303D-1467-4903-869C-9DA4F59828A7}"/>
              </a:ext>
            </a:extLst>
          </p:cNvPr>
          <p:cNvSpPr/>
          <p:nvPr/>
        </p:nvSpPr>
        <p:spPr>
          <a:xfrm>
            <a:off x="1588781" y="956885"/>
            <a:ext cx="698933" cy="317331"/>
          </a:xfrm>
          <a:prstGeom prst="wedgeRectCallout">
            <a:avLst>
              <a:gd name="adj1" fmla="val -66761"/>
              <a:gd name="adj2" fmla="val -1415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Hello !</a:t>
            </a:r>
          </a:p>
        </p:txBody>
      </p:sp>
      <p:sp>
        <p:nvSpPr>
          <p:cNvPr id="6" name="Bulle narrative : rectangle 5">
            <a:extLst>
              <a:ext uri="{FF2B5EF4-FFF2-40B4-BE49-F238E27FC236}">
                <a16:creationId xmlns:a16="http://schemas.microsoft.com/office/drawing/2014/main" id="{6AD5BAE6-CA47-41FC-AB0B-D1DA8A5B9704}"/>
              </a:ext>
            </a:extLst>
          </p:cNvPr>
          <p:cNvSpPr/>
          <p:nvPr/>
        </p:nvSpPr>
        <p:spPr>
          <a:xfrm>
            <a:off x="1588004" y="1593224"/>
            <a:ext cx="2559912" cy="317331"/>
          </a:xfrm>
          <a:prstGeom prst="wedgeRectCallout">
            <a:avLst>
              <a:gd name="adj1" fmla="val -54837"/>
              <a:gd name="adj2" fmla="val -236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I would like a 4 cheese pizza</a:t>
            </a:r>
            <a:endParaRPr lang="fr-FR" sz="1200" dirty="0">
              <a:solidFill>
                <a:schemeClr val="bg1"/>
              </a:solidFill>
            </a:endParaRPr>
          </a:p>
        </p:txBody>
      </p:sp>
      <p:pic>
        <p:nvPicPr>
          <p:cNvPr id="7" name="Image 6">
            <a:extLst>
              <a:ext uri="{FF2B5EF4-FFF2-40B4-BE49-F238E27FC236}">
                <a16:creationId xmlns:a16="http://schemas.microsoft.com/office/drawing/2014/main" id="{AF9E44B1-0AD7-442F-83B7-ADB8E3816E69}"/>
              </a:ext>
            </a:extLst>
          </p:cNvPr>
          <p:cNvPicPr>
            <a:picLocks noChangeAspect="1"/>
          </p:cNvPicPr>
          <p:nvPr/>
        </p:nvPicPr>
        <p:blipFill>
          <a:blip r:embed="rId2"/>
          <a:stretch>
            <a:fillRect/>
          </a:stretch>
        </p:blipFill>
        <p:spPr>
          <a:xfrm>
            <a:off x="1054696" y="955958"/>
            <a:ext cx="318258" cy="318258"/>
          </a:xfrm>
          <a:prstGeom prst="rect">
            <a:avLst/>
          </a:prstGeom>
        </p:spPr>
      </p:pic>
      <p:pic>
        <p:nvPicPr>
          <p:cNvPr id="8" name="Image 7">
            <a:extLst>
              <a:ext uri="{FF2B5EF4-FFF2-40B4-BE49-F238E27FC236}">
                <a16:creationId xmlns:a16="http://schemas.microsoft.com/office/drawing/2014/main" id="{E9997D56-9FF3-4DB8-A0BB-9FCCE6A23F80}"/>
              </a:ext>
            </a:extLst>
          </p:cNvPr>
          <p:cNvPicPr>
            <a:picLocks noChangeAspect="1"/>
          </p:cNvPicPr>
          <p:nvPr/>
        </p:nvPicPr>
        <p:blipFill>
          <a:blip r:embed="rId2"/>
          <a:stretch>
            <a:fillRect/>
          </a:stretch>
        </p:blipFill>
        <p:spPr>
          <a:xfrm>
            <a:off x="1054696" y="1593071"/>
            <a:ext cx="318258" cy="318258"/>
          </a:xfrm>
          <a:prstGeom prst="rect">
            <a:avLst/>
          </a:prstGeom>
        </p:spPr>
      </p:pic>
      <p:sp>
        <p:nvSpPr>
          <p:cNvPr id="10" name="Bulle narrative : rectangle 9">
            <a:extLst>
              <a:ext uri="{FF2B5EF4-FFF2-40B4-BE49-F238E27FC236}">
                <a16:creationId xmlns:a16="http://schemas.microsoft.com/office/drawing/2014/main" id="{1588ED2B-5D26-4CCD-B946-559817390CDC}"/>
              </a:ext>
            </a:extLst>
          </p:cNvPr>
          <p:cNvSpPr/>
          <p:nvPr/>
        </p:nvSpPr>
        <p:spPr>
          <a:xfrm>
            <a:off x="1588003" y="2229563"/>
            <a:ext cx="1602458" cy="318105"/>
          </a:xfrm>
          <a:prstGeom prst="wedgeRectCallout">
            <a:avLst>
              <a:gd name="adj1" fmla="val -54837"/>
              <a:gd name="adj2" fmla="val -236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Medium, </a:t>
            </a:r>
            <a:r>
              <a:rPr lang="fr-FR" sz="1200" dirty="0" err="1">
                <a:solidFill>
                  <a:schemeClr val="bg1"/>
                </a:solidFill>
              </a:rPr>
              <a:t>please</a:t>
            </a:r>
            <a:endParaRPr lang="fr-FR" sz="1200" dirty="0">
              <a:solidFill>
                <a:schemeClr val="bg1"/>
              </a:solidFill>
            </a:endParaRPr>
          </a:p>
        </p:txBody>
      </p:sp>
      <p:pic>
        <p:nvPicPr>
          <p:cNvPr id="11" name="Image 10">
            <a:extLst>
              <a:ext uri="{FF2B5EF4-FFF2-40B4-BE49-F238E27FC236}">
                <a16:creationId xmlns:a16="http://schemas.microsoft.com/office/drawing/2014/main" id="{D05E3CF7-812B-48D8-81B5-C80247E3C69D}"/>
              </a:ext>
            </a:extLst>
          </p:cNvPr>
          <p:cNvPicPr>
            <a:picLocks noChangeAspect="1"/>
          </p:cNvPicPr>
          <p:nvPr/>
        </p:nvPicPr>
        <p:blipFill>
          <a:blip r:embed="rId2"/>
          <a:stretch>
            <a:fillRect/>
          </a:stretch>
        </p:blipFill>
        <p:spPr>
          <a:xfrm>
            <a:off x="1054696" y="2229410"/>
            <a:ext cx="318258" cy="318258"/>
          </a:xfrm>
          <a:prstGeom prst="rect">
            <a:avLst/>
          </a:prstGeom>
        </p:spPr>
      </p:pic>
      <p:sp>
        <p:nvSpPr>
          <p:cNvPr id="12" name="Bulle narrative : rectangle 11">
            <a:extLst>
              <a:ext uri="{FF2B5EF4-FFF2-40B4-BE49-F238E27FC236}">
                <a16:creationId xmlns:a16="http://schemas.microsoft.com/office/drawing/2014/main" id="{E5976D38-4D15-4A29-BE65-F70AAAA7A859}"/>
              </a:ext>
            </a:extLst>
          </p:cNvPr>
          <p:cNvSpPr/>
          <p:nvPr/>
        </p:nvSpPr>
        <p:spPr>
          <a:xfrm>
            <a:off x="1588781" y="2934107"/>
            <a:ext cx="2559135" cy="317331"/>
          </a:xfrm>
          <a:prstGeom prst="wedgeRectCallout">
            <a:avLst>
              <a:gd name="adj1" fmla="val -54837"/>
              <a:gd name="adj2" fmla="val -236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By the way, is there oregano?</a:t>
            </a:r>
            <a:endParaRPr lang="fr-FR" sz="1200" dirty="0">
              <a:solidFill>
                <a:schemeClr val="bg1"/>
              </a:solidFill>
            </a:endParaRPr>
          </a:p>
        </p:txBody>
      </p:sp>
      <p:sp>
        <p:nvSpPr>
          <p:cNvPr id="13" name="Bulle narrative : rectangle 12">
            <a:extLst>
              <a:ext uri="{FF2B5EF4-FFF2-40B4-BE49-F238E27FC236}">
                <a16:creationId xmlns:a16="http://schemas.microsoft.com/office/drawing/2014/main" id="{2344581C-3367-4D18-A2AF-D679833372D2}"/>
              </a:ext>
            </a:extLst>
          </p:cNvPr>
          <p:cNvSpPr/>
          <p:nvPr/>
        </p:nvSpPr>
        <p:spPr>
          <a:xfrm>
            <a:off x="1588003" y="3576681"/>
            <a:ext cx="1691910" cy="318105"/>
          </a:xfrm>
          <a:prstGeom prst="wedgeRectCallout">
            <a:avLst>
              <a:gd name="adj1" fmla="val -54837"/>
              <a:gd name="adj2" fmla="val -236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Ok, </a:t>
            </a:r>
            <a:r>
              <a:rPr lang="fr-FR" sz="1200" dirty="0" err="1">
                <a:solidFill>
                  <a:schemeClr val="bg1"/>
                </a:solidFill>
              </a:rPr>
              <a:t>see</a:t>
            </a:r>
            <a:r>
              <a:rPr lang="fr-FR" sz="1200" dirty="0">
                <a:solidFill>
                  <a:schemeClr val="bg1"/>
                </a:solidFill>
              </a:rPr>
              <a:t> </a:t>
            </a:r>
            <a:r>
              <a:rPr lang="fr-FR" sz="1200" dirty="0" err="1">
                <a:solidFill>
                  <a:schemeClr val="bg1"/>
                </a:solidFill>
              </a:rPr>
              <a:t>you</a:t>
            </a:r>
            <a:r>
              <a:rPr lang="fr-FR" sz="1200" dirty="0">
                <a:solidFill>
                  <a:schemeClr val="bg1"/>
                </a:solidFill>
              </a:rPr>
              <a:t> </a:t>
            </a:r>
            <a:r>
              <a:rPr lang="fr-FR" sz="1200" dirty="0" err="1">
                <a:solidFill>
                  <a:schemeClr val="bg1"/>
                </a:solidFill>
              </a:rPr>
              <a:t>later</a:t>
            </a:r>
            <a:endParaRPr lang="fr-FR" sz="1200" dirty="0">
              <a:solidFill>
                <a:schemeClr val="bg1"/>
              </a:solidFill>
            </a:endParaRPr>
          </a:p>
        </p:txBody>
      </p:sp>
      <p:pic>
        <p:nvPicPr>
          <p:cNvPr id="14" name="Image 13">
            <a:extLst>
              <a:ext uri="{FF2B5EF4-FFF2-40B4-BE49-F238E27FC236}">
                <a16:creationId xmlns:a16="http://schemas.microsoft.com/office/drawing/2014/main" id="{B3452CED-961C-4B5B-83F4-6F74AF346F49}"/>
              </a:ext>
            </a:extLst>
          </p:cNvPr>
          <p:cNvPicPr>
            <a:picLocks noChangeAspect="1"/>
          </p:cNvPicPr>
          <p:nvPr/>
        </p:nvPicPr>
        <p:blipFill>
          <a:blip r:embed="rId2"/>
          <a:stretch>
            <a:fillRect/>
          </a:stretch>
        </p:blipFill>
        <p:spPr>
          <a:xfrm>
            <a:off x="1054696" y="2933180"/>
            <a:ext cx="293456" cy="318258"/>
          </a:xfrm>
          <a:prstGeom prst="rect">
            <a:avLst/>
          </a:prstGeom>
        </p:spPr>
      </p:pic>
      <p:pic>
        <p:nvPicPr>
          <p:cNvPr id="15" name="Image 14">
            <a:extLst>
              <a:ext uri="{FF2B5EF4-FFF2-40B4-BE49-F238E27FC236}">
                <a16:creationId xmlns:a16="http://schemas.microsoft.com/office/drawing/2014/main" id="{3C3B52B7-53F9-4E83-AEAF-AF062EE6EA62}"/>
              </a:ext>
            </a:extLst>
          </p:cNvPr>
          <p:cNvPicPr>
            <a:picLocks noChangeAspect="1"/>
          </p:cNvPicPr>
          <p:nvPr/>
        </p:nvPicPr>
        <p:blipFill>
          <a:blip r:embed="rId2"/>
          <a:stretch>
            <a:fillRect/>
          </a:stretch>
        </p:blipFill>
        <p:spPr>
          <a:xfrm>
            <a:off x="1054696" y="3576528"/>
            <a:ext cx="318258" cy="318258"/>
          </a:xfrm>
          <a:prstGeom prst="rect">
            <a:avLst/>
          </a:prstGeom>
        </p:spPr>
      </p:pic>
      <p:sp>
        <p:nvSpPr>
          <p:cNvPr id="26" name="Rectangle 25">
            <a:extLst>
              <a:ext uri="{FF2B5EF4-FFF2-40B4-BE49-F238E27FC236}">
                <a16:creationId xmlns:a16="http://schemas.microsoft.com/office/drawing/2014/main" id="{A5D01DD4-C1E1-4AE6-B08D-C5F591598FF0}"/>
              </a:ext>
            </a:extLst>
          </p:cNvPr>
          <p:cNvSpPr/>
          <p:nvPr/>
        </p:nvSpPr>
        <p:spPr>
          <a:xfrm>
            <a:off x="1471559" y="828923"/>
            <a:ext cx="913832" cy="479686"/>
          </a:xfrm>
          <a:prstGeom prst="rect">
            <a:avLst/>
          </a:prstGeom>
          <a:noFill/>
          <a:ln w="222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27" name="Connecteur droit avec flèche 26">
            <a:extLst>
              <a:ext uri="{FF2B5EF4-FFF2-40B4-BE49-F238E27FC236}">
                <a16:creationId xmlns:a16="http://schemas.microsoft.com/office/drawing/2014/main" id="{6C109D0D-0C1B-4821-AF5B-1C5AC730C32A}"/>
              </a:ext>
            </a:extLst>
          </p:cNvPr>
          <p:cNvCxnSpPr>
            <a:cxnSpLocks/>
          </p:cNvCxnSpPr>
          <p:nvPr/>
        </p:nvCxnSpPr>
        <p:spPr>
          <a:xfrm>
            <a:off x="2385391" y="1153733"/>
            <a:ext cx="2393409" cy="0"/>
          </a:xfrm>
          <a:prstGeom prst="straightConnector1">
            <a:avLst/>
          </a:prstGeom>
          <a:ln w="2222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 name="ZoneTexte 2">
            <a:extLst>
              <a:ext uri="{FF2B5EF4-FFF2-40B4-BE49-F238E27FC236}">
                <a16:creationId xmlns:a16="http://schemas.microsoft.com/office/drawing/2014/main" id="{4E595E54-5DF1-415C-AB16-AFF1E75D0998}"/>
              </a:ext>
            </a:extLst>
          </p:cNvPr>
          <p:cNvSpPr txBox="1"/>
          <p:nvPr/>
        </p:nvSpPr>
        <p:spPr>
          <a:xfrm>
            <a:off x="4860235" y="955958"/>
            <a:ext cx="1709530" cy="343537"/>
          </a:xfrm>
          <a:prstGeom prst="rect">
            <a:avLst/>
          </a:prstGeom>
        </p:spPr>
        <p:txBody>
          <a:bodyPr wrap="square" lIns="72000" tIns="72000" rIns="72000" bIns="72000" rtlCol="0">
            <a:spAutoFit/>
          </a:bodyPr>
          <a:lstStyle/>
          <a:p>
            <a:pPr algn="l">
              <a:lnSpc>
                <a:spcPct val="120000"/>
              </a:lnSpc>
              <a:spcAft>
                <a:spcPts val="600"/>
              </a:spcAft>
            </a:pPr>
            <a:r>
              <a:rPr lang="fr-FR" sz="1200" dirty="0">
                <a:solidFill>
                  <a:schemeClr val="tx2"/>
                </a:solidFill>
              </a:rPr>
              <a:t>Invocation</a:t>
            </a:r>
          </a:p>
        </p:txBody>
      </p:sp>
      <p:sp>
        <p:nvSpPr>
          <p:cNvPr id="28" name="Rectangle 27">
            <a:extLst>
              <a:ext uri="{FF2B5EF4-FFF2-40B4-BE49-F238E27FC236}">
                <a16:creationId xmlns:a16="http://schemas.microsoft.com/office/drawing/2014/main" id="{EACE3D6C-03CC-497F-B247-AECE776B4AFF}"/>
              </a:ext>
            </a:extLst>
          </p:cNvPr>
          <p:cNvSpPr/>
          <p:nvPr/>
        </p:nvSpPr>
        <p:spPr>
          <a:xfrm>
            <a:off x="1481330" y="1487872"/>
            <a:ext cx="2752739" cy="479686"/>
          </a:xfrm>
          <a:prstGeom prst="rect">
            <a:avLst/>
          </a:prstGeom>
          <a:noFill/>
          <a:ln w="222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29" name="Connecteur droit avec flèche 28">
            <a:extLst>
              <a:ext uri="{FF2B5EF4-FFF2-40B4-BE49-F238E27FC236}">
                <a16:creationId xmlns:a16="http://schemas.microsoft.com/office/drawing/2014/main" id="{113BA17D-A332-4718-A4AF-8DBAEF847A3A}"/>
              </a:ext>
            </a:extLst>
          </p:cNvPr>
          <p:cNvCxnSpPr>
            <a:cxnSpLocks/>
          </p:cNvCxnSpPr>
          <p:nvPr/>
        </p:nvCxnSpPr>
        <p:spPr>
          <a:xfrm>
            <a:off x="4234069" y="1750081"/>
            <a:ext cx="544731" cy="0"/>
          </a:xfrm>
          <a:prstGeom prst="straightConnector1">
            <a:avLst/>
          </a:prstGeom>
          <a:ln w="2222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1" name="ZoneTexte 30">
            <a:extLst>
              <a:ext uri="{FF2B5EF4-FFF2-40B4-BE49-F238E27FC236}">
                <a16:creationId xmlns:a16="http://schemas.microsoft.com/office/drawing/2014/main" id="{5C2ABC75-AF2B-40CF-919D-3F08AF7637B1}"/>
              </a:ext>
            </a:extLst>
          </p:cNvPr>
          <p:cNvSpPr txBox="1"/>
          <p:nvPr/>
        </p:nvSpPr>
        <p:spPr>
          <a:xfrm>
            <a:off x="4860235" y="1555946"/>
            <a:ext cx="1709530" cy="343537"/>
          </a:xfrm>
          <a:prstGeom prst="rect">
            <a:avLst/>
          </a:prstGeom>
        </p:spPr>
        <p:txBody>
          <a:bodyPr wrap="square" lIns="72000" tIns="72000" rIns="72000" bIns="72000" rtlCol="0">
            <a:spAutoFit/>
          </a:bodyPr>
          <a:lstStyle/>
          <a:p>
            <a:pPr algn="l">
              <a:lnSpc>
                <a:spcPct val="120000"/>
              </a:lnSpc>
              <a:spcAft>
                <a:spcPts val="600"/>
              </a:spcAft>
            </a:pPr>
            <a:r>
              <a:rPr lang="fr-FR" sz="1200" dirty="0">
                <a:solidFill>
                  <a:schemeClr val="tx2"/>
                </a:solidFill>
              </a:rPr>
              <a:t>Intent</a:t>
            </a:r>
          </a:p>
        </p:txBody>
      </p:sp>
      <p:sp>
        <p:nvSpPr>
          <p:cNvPr id="32" name="ZoneTexte 31">
            <a:extLst>
              <a:ext uri="{FF2B5EF4-FFF2-40B4-BE49-F238E27FC236}">
                <a16:creationId xmlns:a16="http://schemas.microsoft.com/office/drawing/2014/main" id="{4F5F2F54-DC54-4110-A603-0C913C9BC471}"/>
              </a:ext>
            </a:extLst>
          </p:cNvPr>
          <p:cNvSpPr txBox="1"/>
          <p:nvPr/>
        </p:nvSpPr>
        <p:spPr>
          <a:xfrm>
            <a:off x="4860235" y="1984165"/>
            <a:ext cx="1709530" cy="343537"/>
          </a:xfrm>
          <a:prstGeom prst="rect">
            <a:avLst/>
          </a:prstGeom>
        </p:spPr>
        <p:txBody>
          <a:bodyPr wrap="square" lIns="72000" tIns="72000" rIns="72000" bIns="72000" rtlCol="0">
            <a:spAutoFit/>
          </a:bodyPr>
          <a:lstStyle/>
          <a:p>
            <a:pPr algn="l">
              <a:lnSpc>
                <a:spcPct val="120000"/>
              </a:lnSpc>
              <a:spcAft>
                <a:spcPts val="600"/>
              </a:spcAft>
            </a:pPr>
            <a:r>
              <a:rPr lang="fr-FR" sz="1200" dirty="0" err="1">
                <a:solidFill>
                  <a:schemeClr val="tx2"/>
                </a:solidFill>
              </a:rPr>
              <a:t>Entities</a:t>
            </a:r>
            <a:endParaRPr lang="fr-FR" sz="1200" dirty="0">
              <a:solidFill>
                <a:schemeClr val="tx2"/>
              </a:solidFill>
            </a:endParaRPr>
          </a:p>
        </p:txBody>
      </p:sp>
      <p:sp>
        <p:nvSpPr>
          <p:cNvPr id="33" name="Rectangle 32">
            <a:extLst>
              <a:ext uri="{FF2B5EF4-FFF2-40B4-BE49-F238E27FC236}">
                <a16:creationId xmlns:a16="http://schemas.microsoft.com/office/drawing/2014/main" id="{6DDA97D6-39D7-4110-9144-09AF97C1AAB4}"/>
              </a:ext>
            </a:extLst>
          </p:cNvPr>
          <p:cNvSpPr/>
          <p:nvPr/>
        </p:nvSpPr>
        <p:spPr>
          <a:xfrm>
            <a:off x="2733545" y="1415739"/>
            <a:ext cx="745151" cy="704544"/>
          </a:xfrm>
          <a:prstGeom prst="rect">
            <a:avLst/>
          </a:prstGeom>
          <a:noFill/>
          <a:ln w="222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38568E49-BC2C-46CE-9C42-174038A818D7}"/>
              </a:ext>
            </a:extLst>
          </p:cNvPr>
          <p:cNvSpPr/>
          <p:nvPr/>
        </p:nvSpPr>
        <p:spPr>
          <a:xfrm>
            <a:off x="1481331" y="2157501"/>
            <a:ext cx="819720" cy="479687"/>
          </a:xfrm>
          <a:prstGeom prst="rect">
            <a:avLst/>
          </a:prstGeom>
          <a:noFill/>
          <a:ln w="222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5" name="Connecteur droit avec flèche 34">
            <a:extLst>
              <a:ext uri="{FF2B5EF4-FFF2-40B4-BE49-F238E27FC236}">
                <a16:creationId xmlns:a16="http://schemas.microsoft.com/office/drawing/2014/main" id="{EB260A31-5B76-4322-8052-02815545FC51}"/>
              </a:ext>
            </a:extLst>
          </p:cNvPr>
          <p:cNvCxnSpPr>
            <a:cxnSpLocks/>
            <a:endCxn id="32" idx="1"/>
          </p:cNvCxnSpPr>
          <p:nvPr/>
        </p:nvCxnSpPr>
        <p:spPr>
          <a:xfrm>
            <a:off x="3478696" y="2004837"/>
            <a:ext cx="1381539" cy="151097"/>
          </a:xfrm>
          <a:prstGeom prst="straightConnector1">
            <a:avLst/>
          </a:prstGeom>
          <a:ln w="222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eur droit avec flèche 36">
            <a:extLst>
              <a:ext uri="{FF2B5EF4-FFF2-40B4-BE49-F238E27FC236}">
                <a16:creationId xmlns:a16="http://schemas.microsoft.com/office/drawing/2014/main" id="{9A57F11D-2ACD-4574-9766-8156B68DF231}"/>
              </a:ext>
            </a:extLst>
          </p:cNvPr>
          <p:cNvCxnSpPr>
            <a:cxnSpLocks/>
            <a:endCxn id="32" idx="1"/>
          </p:cNvCxnSpPr>
          <p:nvPr/>
        </p:nvCxnSpPr>
        <p:spPr>
          <a:xfrm flipV="1">
            <a:off x="2287714" y="2155934"/>
            <a:ext cx="2572521" cy="57608"/>
          </a:xfrm>
          <a:prstGeom prst="straightConnector1">
            <a:avLst/>
          </a:prstGeom>
          <a:ln w="222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9" name="ZoneTexte 38">
            <a:extLst>
              <a:ext uri="{FF2B5EF4-FFF2-40B4-BE49-F238E27FC236}">
                <a16:creationId xmlns:a16="http://schemas.microsoft.com/office/drawing/2014/main" id="{5B93C235-D713-41B6-B412-0D92068FEF3A}"/>
              </a:ext>
            </a:extLst>
          </p:cNvPr>
          <p:cNvSpPr txBox="1"/>
          <p:nvPr/>
        </p:nvSpPr>
        <p:spPr>
          <a:xfrm>
            <a:off x="4847195" y="2919973"/>
            <a:ext cx="3581187" cy="343537"/>
          </a:xfrm>
          <a:prstGeom prst="rect">
            <a:avLst/>
          </a:prstGeom>
        </p:spPr>
        <p:txBody>
          <a:bodyPr wrap="square" lIns="72000" tIns="72000" rIns="72000" bIns="72000" rtlCol="0">
            <a:spAutoFit/>
          </a:bodyPr>
          <a:lstStyle/>
          <a:p>
            <a:pPr>
              <a:lnSpc>
                <a:spcPct val="120000"/>
              </a:lnSpc>
              <a:spcAft>
                <a:spcPts val="600"/>
              </a:spcAft>
            </a:pPr>
            <a:r>
              <a:rPr lang="en-US" sz="1200" dirty="0">
                <a:solidFill>
                  <a:schemeClr val="tx2"/>
                </a:solidFill>
              </a:rPr>
              <a:t>Intent attached to a particular context</a:t>
            </a:r>
            <a:endParaRPr lang="fr-FR" sz="1200" dirty="0">
              <a:solidFill>
                <a:schemeClr val="tx2"/>
              </a:solidFill>
            </a:endParaRPr>
          </a:p>
        </p:txBody>
      </p:sp>
      <p:sp>
        <p:nvSpPr>
          <p:cNvPr id="40" name="Rectangle 39">
            <a:extLst>
              <a:ext uri="{FF2B5EF4-FFF2-40B4-BE49-F238E27FC236}">
                <a16:creationId xmlns:a16="http://schemas.microsoft.com/office/drawing/2014/main" id="{8891C23A-7519-4165-A49D-C56230D7BCBB}"/>
              </a:ext>
            </a:extLst>
          </p:cNvPr>
          <p:cNvSpPr/>
          <p:nvPr/>
        </p:nvSpPr>
        <p:spPr>
          <a:xfrm>
            <a:off x="1481330" y="2853623"/>
            <a:ext cx="2752739" cy="479686"/>
          </a:xfrm>
          <a:prstGeom prst="rect">
            <a:avLst/>
          </a:prstGeom>
          <a:noFill/>
          <a:ln w="222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41" name="Connecteur droit avec flèche 40">
            <a:extLst>
              <a:ext uri="{FF2B5EF4-FFF2-40B4-BE49-F238E27FC236}">
                <a16:creationId xmlns:a16="http://schemas.microsoft.com/office/drawing/2014/main" id="{95F389FB-68AE-4D34-A1E5-23FA95B292D3}"/>
              </a:ext>
            </a:extLst>
          </p:cNvPr>
          <p:cNvCxnSpPr>
            <a:cxnSpLocks/>
          </p:cNvCxnSpPr>
          <p:nvPr/>
        </p:nvCxnSpPr>
        <p:spPr>
          <a:xfrm>
            <a:off x="4234069" y="3115832"/>
            <a:ext cx="544731" cy="0"/>
          </a:xfrm>
          <a:prstGeom prst="straightConnector1">
            <a:avLst/>
          </a:prstGeom>
          <a:ln w="22225">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0380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CDBA5F-8E33-4F43-8C28-895F538F0239}"/>
              </a:ext>
            </a:extLst>
          </p:cNvPr>
          <p:cNvSpPr>
            <a:spLocks noGrp="1"/>
          </p:cNvSpPr>
          <p:nvPr>
            <p:ph type="title"/>
          </p:nvPr>
        </p:nvSpPr>
        <p:spPr/>
        <p:txBody>
          <a:bodyPr/>
          <a:lstStyle/>
          <a:p>
            <a:r>
              <a:rPr lang="fr-FR" dirty="0"/>
              <a:t>Classification of </a:t>
            </a:r>
            <a:r>
              <a:rPr lang="fr-FR" dirty="0" err="1"/>
              <a:t>intents</a:t>
            </a:r>
            <a:endParaRPr lang="fr-FR" dirty="0"/>
          </a:p>
        </p:txBody>
      </p:sp>
      <p:pic>
        <p:nvPicPr>
          <p:cNvPr id="3" name="Image 2">
            <a:extLst>
              <a:ext uri="{FF2B5EF4-FFF2-40B4-BE49-F238E27FC236}">
                <a16:creationId xmlns:a16="http://schemas.microsoft.com/office/drawing/2014/main" id="{88127B43-5FBF-46EA-BD11-7FBEEDF67716}"/>
              </a:ext>
            </a:extLst>
          </p:cNvPr>
          <p:cNvPicPr>
            <a:picLocks noChangeAspect="1"/>
          </p:cNvPicPr>
          <p:nvPr/>
        </p:nvPicPr>
        <p:blipFill>
          <a:blip r:embed="rId2"/>
          <a:stretch>
            <a:fillRect/>
          </a:stretch>
        </p:blipFill>
        <p:spPr>
          <a:xfrm>
            <a:off x="2233068" y="1072660"/>
            <a:ext cx="1655044" cy="1262854"/>
          </a:xfrm>
          <a:prstGeom prst="rect">
            <a:avLst/>
          </a:prstGeom>
        </p:spPr>
      </p:pic>
      <p:cxnSp>
        <p:nvCxnSpPr>
          <p:cNvPr id="4" name="Connecteur droit avec flèche 3">
            <a:extLst>
              <a:ext uri="{FF2B5EF4-FFF2-40B4-BE49-F238E27FC236}">
                <a16:creationId xmlns:a16="http://schemas.microsoft.com/office/drawing/2014/main" id="{6F886DE2-3CA3-4DDA-9AA0-A10B98949FDF}"/>
              </a:ext>
            </a:extLst>
          </p:cNvPr>
          <p:cNvCxnSpPr>
            <a:cxnSpLocks/>
          </p:cNvCxnSpPr>
          <p:nvPr/>
        </p:nvCxnSpPr>
        <p:spPr>
          <a:xfrm flipH="1">
            <a:off x="1396640" y="1785665"/>
            <a:ext cx="733696" cy="0"/>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cxnSp>
        <p:nvCxnSpPr>
          <p:cNvPr id="6" name="Connecteur droit avec flèche 5">
            <a:extLst>
              <a:ext uri="{FF2B5EF4-FFF2-40B4-BE49-F238E27FC236}">
                <a16:creationId xmlns:a16="http://schemas.microsoft.com/office/drawing/2014/main" id="{A091AF56-03D2-43F2-A3C4-DDF116F8F7B6}"/>
              </a:ext>
            </a:extLst>
          </p:cNvPr>
          <p:cNvCxnSpPr>
            <a:cxnSpLocks/>
          </p:cNvCxnSpPr>
          <p:nvPr/>
        </p:nvCxnSpPr>
        <p:spPr>
          <a:xfrm flipH="1">
            <a:off x="3969488" y="3802901"/>
            <a:ext cx="733696" cy="0"/>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7" name="Text Placeholder 16">
            <a:extLst>
              <a:ext uri="{FF2B5EF4-FFF2-40B4-BE49-F238E27FC236}">
                <a16:creationId xmlns:a16="http://schemas.microsoft.com/office/drawing/2014/main" id="{20A286B3-A72C-4737-B39E-52E28FB81AAE}"/>
              </a:ext>
            </a:extLst>
          </p:cNvPr>
          <p:cNvSpPr txBox="1">
            <a:spLocks/>
          </p:cNvSpPr>
          <p:nvPr/>
        </p:nvSpPr>
        <p:spPr>
          <a:xfrm>
            <a:off x="304801" y="3345116"/>
            <a:ext cx="1190846" cy="808038"/>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solidFill>
                <a:schemeClr val="accent2"/>
              </a:solidFill>
            </a:endParaRPr>
          </a:p>
          <a:p>
            <a:r>
              <a:rPr lang="en-US" sz="1400" dirty="0"/>
              <a:t>Sentence</a:t>
            </a:r>
          </a:p>
          <a:p>
            <a:pPr marL="285750" indent="-285750">
              <a:buFont typeface="Arial" panose="020B0604020202020204" pitchFamily="34" charset="0"/>
              <a:buChar char="•"/>
            </a:pPr>
            <a:endParaRPr lang="en-US" sz="1600" dirty="0"/>
          </a:p>
        </p:txBody>
      </p:sp>
      <p:sp>
        <p:nvSpPr>
          <p:cNvPr id="8" name="Text Placeholder 16">
            <a:extLst>
              <a:ext uri="{FF2B5EF4-FFF2-40B4-BE49-F238E27FC236}">
                <a16:creationId xmlns:a16="http://schemas.microsoft.com/office/drawing/2014/main" id="{C3D33C55-033B-487A-BC77-34E9CD1F20CE}"/>
              </a:ext>
            </a:extLst>
          </p:cNvPr>
          <p:cNvSpPr txBox="1">
            <a:spLocks/>
          </p:cNvSpPr>
          <p:nvPr/>
        </p:nvSpPr>
        <p:spPr>
          <a:xfrm>
            <a:off x="4784791" y="3331481"/>
            <a:ext cx="1190846" cy="808038"/>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solidFill>
                <a:schemeClr val="accent2"/>
              </a:solidFill>
            </a:endParaRPr>
          </a:p>
          <a:p>
            <a:r>
              <a:rPr lang="en-US" sz="1400" dirty="0"/>
              <a:t>Intent</a:t>
            </a:r>
          </a:p>
          <a:p>
            <a:pPr marL="285750" indent="-285750">
              <a:buFont typeface="Arial" panose="020B0604020202020204" pitchFamily="34" charset="0"/>
              <a:buChar char="•"/>
            </a:pPr>
            <a:endParaRPr lang="en-US" sz="1600" dirty="0"/>
          </a:p>
        </p:txBody>
      </p:sp>
      <p:sp>
        <p:nvSpPr>
          <p:cNvPr id="9" name="Text Placeholder 16">
            <a:extLst>
              <a:ext uri="{FF2B5EF4-FFF2-40B4-BE49-F238E27FC236}">
                <a16:creationId xmlns:a16="http://schemas.microsoft.com/office/drawing/2014/main" id="{3038B619-DD01-4341-B45C-BE1106C0DCF5}"/>
              </a:ext>
            </a:extLst>
          </p:cNvPr>
          <p:cNvSpPr txBox="1">
            <a:spLocks/>
          </p:cNvSpPr>
          <p:nvPr/>
        </p:nvSpPr>
        <p:spPr>
          <a:xfrm>
            <a:off x="305032" y="1113410"/>
            <a:ext cx="1190846" cy="808038"/>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solidFill>
                <a:schemeClr val="accent2"/>
              </a:solidFill>
            </a:endParaRPr>
          </a:p>
          <a:p>
            <a:r>
              <a:rPr lang="en-US" sz="1400" dirty="0"/>
              <a:t>Training phrases / intents</a:t>
            </a:r>
          </a:p>
          <a:p>
            <a:pPr marL="285750" indent="-285750">
              <a:buFont typeface="Arial" panose="020B0604020202020204" pitchFamily="34" charset="0"/>
              <a:buChar char="•"/>
            </a:pPr>
            <a:endParaRPr lang="en-US" sz="1600" dirty="0"/>
          </a:p>
        </p:txBody>
      </p:sp>
      <p:pic>
        <p:nvPicPr>
          <p:cNvPr id="10" name="Image 9">
            <a:extLst>
              <a:ext uri="{FF2B5EF4-FFF2-40B4-BE49-F238E27FC236}">
                <a16:creationId xmlns:a16="http://schemas.microsoft.com/office/drawing/2014/main" id="{5C95BF04-FB74-4116-ABC0-2DB059D17657}"/>
              </a:ext>
            </a:extLst>
          </p:cNvPr>
          <p:cNvPicPr>
            <a:picLocks noChangeAspect="1"/>
          </p:cNvPicPr>
          <p:nvPr/>
        </p:nvPicPr>
        <p:blipFill>
          <a:blip r:embed="rId2"/>
          <a:stretch>
            <a:fillRect/>
          </a:stretch>
        </p:blipFill>
        <p:spPr>
          <a:xfrm>
            <a:off x="2233068" y="3099362"/>
            <a:ext cx="1655044" cy="1262854"/>
          </a:xfrm>
          <a:prstGeom prst="rect">
            <a:avLst/>
          </a:prstGeom>
        </p:spPr>
      </p:pic>
      <p:cxnSp>
        <p:nvCxnSpPr>
          <p:cNvPr id="11" name="Connecteur droit avec flèche 10">
            <a:extLst>
              <a:ext uri="{FF2B5EF4-FFF2-40B4-BE49-F238E27FC236}">
                <a16:creationId xmlns:a16="http://schemas.microsoft.com/office/drawing/2014/main" id="{185B87DD-CB1C-4A21-BC7E-4F5C8D6A4543}"/>
              </a:ext>
            </a:extLst>
          </p:cNvPr>
          <p:cNvCxnSpPr>
            <a:cxnSpLocks/>
          </p:cNvCxnSpPr>
          <p:nvPr/>
        </p:nvCxnSpPr>
        <p:spPr>
          <a:xfrm flipH="1">
            <a:off x="1396640" y="3812367"/>
            <a:ext cx="733696" cy="0"/>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13" name="Accolade fermante 12">
            <a:extLst>
              <a:ext uri="{FF2B5EF4-FFF2-40B4-BE49-F238E27FC236}">
                <a16:creationId xmlns:a16="http://schemas.microsoft.com/office/drawing/2014/main" id="{A55AD696-FEE7-40B5-8519-B9E5C6B0F59E}"/>
              </a:ext>
            </a:extLst>
          </p:cNvPr>
          <p:cNvSpPr/>
          <p:nvPr/>
        </p:nvSpPr>
        <p:spPr>
          <a:xfrm>
            <a:off x="4213574" y="1043485"/>
            <a:ext cx="607029" cy="1329118"/>
          </a:xfrm>
          <a:prstGeom prst="rightBrace">
            <a:avLst>
              <a:gd name="adj1" fmla="val 8333"/>
              <a:gd name="adj2" fmla="val 50000"/>
            </a:avLst>
          </a:prstGeom>
          <a:no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a:solidFill>
                <a:schemeClr val="lt1"/>
              </a:solidFill>
            </a:endParaRPr>
          </a:p>
        </p:txBody>
      </p:sp>
      <p:sp>
        <p:nvSpPr>
          <p:cNvPr id="14" name="Rectangle 13">
            <a:extLst>
              <a:ext uri="{FF2B5EF4-FFF2-40B4-BE49-F238E27FC236}">
                <a16:creationId xmlns:a16="http://schemas.microsoft.com/office/drawing/2014/main" id="{238F7757-E50E-4F62-848C-EF5EED5B877E}"/>
              </a:ext>
            </a:extLst>
          </p:cNvPr>
          <p:cNvSpPr/>
          <p:nvPr/>
        </p:nvSpPr>
        <p:spPr>
          <a:xfrm>
            <a:off x="5073142" y="1127992"/>
            <a:ext cx="3824177" cy="1131079"/>
          </a:xfrm>
          <a:prstGeom prst="rect">
            <a:avLst/>
          </a:prstGeom>
        </p:spPr>
        <p:txBody>
          <a:bodyPr wrap="square">
            <a:spAutoFit/>
          </a:bodyPr>
          <a:lstStyle/>
          <a:p>
            <a:r>
              <a:rPr lang="en-US" dirty="0"/>
              <a:t>Learning is the adaptation of the network to better recognize intents by considering training phrases. Learning involves adjusting the weights of the network to improve the accuracy of the result.</a:t>
            </a:r>
            <a:endParaRPr lang="fr-FR" dirty="0"/>
          </a:p>
        </p:txBody>
      </p:sp>
    </p:spTree>
    <p:extLst>
      <p:ext uri="{BB962C8B-B14F-4D97-AF65-F5344CB8AC3E}">
        <p14:creationId xmlns:p14="http://schemas.microsoft.com/office/powerpoint/2010/main" val="18143016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A7CBF06-E96D-4651-BBC2-C5A0AB7CF274}"/>
              </a:ext>
            </a:extLst>
          </p:cNvPr>
          <p:cNvSpPr>
            <a:spLocks noGrp="1"/>
          </p:cNvSpPr>
          <p:nvPr>
            <p:ph type="title"/>
          </p:nvPr>
        </p:nvSpPr>
        <p:spPr/>
        <p:txBody>
          <a:bodyPr/>
          <a:lstStyle/>
          <a:p>
            <a:r>
              <a:rPr lang="fr-FR" dirty="0"/>
              <a:t>How to </a:t>
            </a:r>
            <a:r>
              <a:rPr lang="fr-FR" dirty="0" err="1"/>
              <a:t>write</a:t>
            </a:r>
            <a:r>
              <a:rPr lang="fr-FR" dirty="0"/>
              <a:t> training phrases </a:t>
            </a:r>
          </a:p>
        </p:txBody>
      </p:sp>
      <p:sp>
        <p:nvSpPr>
          <p:cNvPr id="3" name="Text Placeholder 16">
            <a:extLst>
              <a:ext uri="{FF2B5EF4-FFF2-40B4-BE49-F238E27FC236}">
                <a16:creationId xmlns:a16="http://schemas.microsoft.com/office/drawing/2014/main" id="{840484FB-108D-484A-B2F5-223D9E981030}"/>
              </a:ext>
            </a:extLst>
          </p:cNvPr>
          <p:cNvSpPr txBox="1">
            <a:spLocks/>
          </p:cNvSpPr>
          <p:nvPr/>
        </p:nvSpPr>
        <p:spPr>
          <a:xfrm>
            <a:off x="228600" y="668889"/>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solidFill>
                <a:schemeClr val="accent2"/>
              </a:solidFill>
            </a:endParaRPr>
          </a:p>
          <a:p>
            <a:pPr marL="285750" indent="-285750">
              <a:buFont typeface="Arial" panose="020B0604020202020204" pitchFamily="34" charset="0"/>
              <a:buChar char="•"/>
            </a:pPr>
            <a:r>
              <a:rPr lang="en-US" sz="1400" b="1" dirty="0">
                <a:solidFill>
                  <a:schemeClr val="accent2"/>
                </a:solidFill>
              </a:rPr>
              <a:t>Google requirement :</a:t>
            </a:r>
          </a:p>
          <a:p>
            <a:pPr marL="690563" lvl="1" indent="-285750"/>
            <a:r>
              <a:rPr lang="en-US" sz="1400" dirty="0"/>
              <a:t>Write more than 10 phrases. Less than 2000.</a:t>
            </a:r>
          </a:p>
          <a:p>
            <a:pPr marL="690563" lvl="1" indent="-285750"/>
            <a:r>
              <a:rPr lang="en-US" sz="1400" dirty="0"/>
              <a:t>That’s all.</a:t>
            </a:r>
          </a:p>
          <a:p>
            <a:pPr marL="285750" indent="-285750">
              <a:buFont typeface="Arial" panose="020B0604020202020204" pitchFamily="34" charset="0"/>
              <a:buChar char="•"/>
            </a:pPr>
            <a:endParaRPr lang="en-US" sz="1200" dirty="0"/>
          </a:p>
          <a:p>
            <a:pPr marL="690563" lvl="1" indent="-285750"/>
            <a:endParaRPr lang="en-US" sz="1200" dirty="0"/>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42594007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A7CBF06-E96D-4651-BBC2-C5A0AB7CF274}"/>
              </a:ext>
            </a:extLst>
          </p:cNvPr>
          <p:cNvSpPr>
            <a:spLocks noGrp="1"/>
          </p:cNvSpPr>
          <p:nvPr>
            <p:ph type="title"/>
          </p:nvPr>
        </p:nvSpPr>
        <p:spPr/>
        <p:txBody>
          <a:bodyPr/>
          <a:lstStyle/>
          <a:p>
            <a:r>
              <a:rPr lang="fr-FR" dirty="0"/>
              <a:t>How to </a:t>
            </a:r>
            <a:r>
              <a:rPr lang="fr-FR" dirty="0" err="1"/>
              <a:t>write</a:t>
            </a:r>
            <a:r>
              <a:rPr lang="fr-FR" dirty="0"/>
              <a:t> training phrases </a:t>
            </a:r>
          </a:p>
        </p:txBody>
      </p:sp>
      <p:sp>
        <p:nvSpPr>
          <p:cNvPr id="3" name="Text Placeholder 16">
            <a:extLst>
              <a:ext uri="{FF2B5EF4-FFF2-40B4-BE49-F238E27FC236}">
                <a16:creationId xmlns:a16="http://schemas.microsoft.com/office/drawing/2014/main" id="{840484FB-108D-484A-B2F5-223D9E981030}"/>
              </a:ext>
            </a:extLst>
          </p:cNvPr>
          <p:cNvSpPr txBox="1">
            <a:spLocks/>
          </p:cNvSpPr>
          <p:nvPr/>
        </p:nvSpPr>
        <p:spPr>
          <a:xfrm>
            <a:off x="228600" y="668889"/>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00" dirty="0">
              <a:solidFill>
                <a:schemeClr val="accent2"/>
              </a:solidFill>
            </a:endParaRPr>
          </a:p>
          <a:p>
            <a:pPr marL="285750" indent="-285750">
              <a:buFont typeface="Arial" panose="020B0604020202020204" pitchFamily="34" charset="0"/>
              <a:buChar char="•"/>
            </a:pPr>
            <a:r>
              <a:rPr lang="en-US" sz="1400" b="1" dirty="0">
                <a:solidFill>
                  <a:schemeClr val="accent2"/>
                </a:solidFill>
              </a:rPr>
              <a:t>General advices :</a:t>
            </a:r>
          </a:p>
          <a:p>
            <a:pPr marL="690563" lvl="1" indent="-285750">
              <a:buClr>
                <a:schemeClr val="accent2"/>
              </a:buClr>
            </a:pPr>
            <a:r>
              <a:rPr lang="en-US" sz="1400" dirty="0"/>
              <a:t>Expressions have to be very specific to the topic. A phrase must apply to an unique contexts.</a:t>
            </a:r>
          </a:p>
          <a:p>
            <a:pPr marL="960835" lvl="2" indent="-285750">
              <a:buClrTx/>
            </a:pPr>
            <a:r>
              <a:rPr lang="en-US" dirty="0"/>
              <a:t>Don’t use “I lost it” but “I lost my password”</a:t>
            </a:r>
          </a:p>
          <a:p>
            <a:pPr marL="690563" lvl="1" indent="-285750">
              <a:buClr>
                <a:schemeClr val="accent2"/>
              </a:buClr>
            </a:pPr>
            <a:r>
              <a:rPr lang="en-US" sz="1400" dirty="0"/>
              <a:t>No overlap allowed. Intents must not be close to each other. Make sure your intents are properly aligned and do not overlap.  </a:t>
            </a:r>
          </a:p>
          <a:p>
            <a:pPr marL="690563" lvl="1" indent="-285750">
              <a:buClr>
                <a:schemeClr val="accent2"/>
              </a:buClr>
            </a:pPr>
            <a:r>
              <a:rPr lang="en-US" sz="1400" dirty="0"/>
              <a:t>Avoid filler words. </a:t>
            </a:r>
          </a:p>
          <a:p>
            <a:pPr marL="960835" lvl="2" indent="-285750">
              <a:buClrTx/>
            </a:pPr>
            <a:r>
              <a:rPr lang="en-US" dirty="0"/>
              <a:t>Don’t write “hello I forgot my password, Thanks !” but just “I forgot my password”</a:t>
            </a:r>
          </a:p>
          <a:p>
            <a:pPr marL="690563" lvl="1" indent="-285750">
              <a:buClr>
                <a:schemeClr val="accent2"/>
              </a:buClr>
            </a:pPr>
            <a:r>
              <a:rPr lang="en-US" sz="1400" dirty="0"/>
              <a:t>Varied vocabulary (I forgot, I lost, I can’t remember…)</a:t>
            </a:r>
          </a:p>
          <a:p>
            <a:pPr marL="690563" lvl="1" indent="-285750">
              <a:buClr>
                <a:schemeClr val="accent2"/>
              </a:buClr>
            </a:pPr>
            <a:r>
              <a:rPr lang="en-US" sz="1400" dirty="0"/>
              <a:t>Varied sentences structures (My password is lost…)</a:t>
            </a:r>
          </a:p>
          <a:p>
            <a:pPr marL="690563" lvl="1" indent="-285750">
              <a:buClr>
                <a:schemeClr val="accent2"/>
              </a:buClr>
            </a:pPr>
            <a:r>
              <a:rPr lang="en-US" sz="1400" dirty="0"/>
              <a:t>Avoid overfitting : if you don’t vary vocabulary /sentences structures, an intent can become predominant.</a:t>
            </a:r>
          </a:p>
          <a:p>
            <a:pPr marL="960835" lvl="2" indent="-285750">
              <a:buClrTx/>
            </a:pPr>
            <a:r>
              <a:rPr lang="en-US" dirty="0"/>
              <a:t>an intent with 30 ‘I want to…’</a:t>
            </a:r>
          </a:p>
          <a:p>
            <a:pPr marL="690563" lvl="1" indent="-285750">
              <a:buClr>
                <a:schemeClr val="accent2"/>
              </a:buClr>
            </a:pPr>
            <a:r>
              <a:rPr lang="en-US" sz="1400" dirty="0"/>
              <a:t>And try to have intentions with balanced training phrases.</a:t>
            </a:r>
          </a:p>
          <a:p>
            <a:pPr marL="690563" lvl="1" indent="-285750"/>
            <a:endParaRPr lang="en-US" sz="1200" dirty="0"/>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34710654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llipse 5">
            <a:extLst>
              <a:ext uri="{FF2B5EF4-FFF2-40B4-BE49-F238E27FC236}">
                <a16:creationId xmlns:a16="http://schemas.microsoft.com/office/drawing/2014/main" id="{0C04EDAC-5594-49D9-A348-ADF93F2EC4EE}"/>
              </a:ext>
            </a:extLst>
          </p:cNvPr>
          <p:cNvSpPr/>
          <p:nvPr/>
        </p:nvSpPr>
        <p:spPr>
          <a:xfrm>
            <a:off x="3418087" y="1021162"/>
            <a:ext cx="5311361" cy="5254433"/>
          </a:xfrm>
          <a:prstGeom prst="ellipse">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A58C9069-A253-0946-846F-2D00A4204D95}"/>
              </a:ext>
            </a:extLst>
          </p:cNvPr>
          <p:cNvSpPr>
            <a:spLocks noGrp="1"/>
          </p:cNvSpPr>
          <p:nvPr>
            <p:ph type="title"/>
          </p:nvPr>
        </p:nvSpPr>
        <p:spPr/>
        <p:txBody>
          <a:bodyPr/>
          <a:lstStyle/>
          <a:p>
            <a:r>
              <a:rPr lang="en-US" dirty="0" err="1"/>
              <a:t>Dialogflow</a:t>
            </a:r>
            <a:br>
              <a:rPr lang="en-US" dirty="0"/>
            </a:br>
            <a:r>
              <a:rPr lang="en-US" dirty="0"/>
              <a:t>Training</a:t>
            </a:r>
          </a:p>
        </p:txBody>
      </p:sp>
      <p:sp>
        <p:nvSpPr>
          <p:cNvPr id="3" name="Text Placeholder 2">
            <a:extLst>
              <a:ext uri="{FF2B5EF4-FFF2-40B4-BE49-F238E27FC236}">
                <a16:creationId xmlns:a16="http://schemas.microsoft.com/office/drawing/2014/main" id="{F52F02E1-A4DC-B244-BCC1-26DDC889B5C3}"/>
              </a:ext>
            </a:extLst>
          </p:cNvPr>
          <p:cNvSpPr>
            <a:spLocks noGrp="1"/>
          </p:cNvSpPr>
          <p:nvPr>
            <p:ph type="body" sz="quarter" idx="10"/>
          </p:nvPr>
        </p:nvSpPr>
        <p:spPr/>
        <p:txBody>
          <a:bodyPr/>
          <a:lstStyle/>
          <a:p>
            <a:r>
              <a:rPr lang="en-US" dirty="0"/>
              <a:t>Module 4 : Basic text bot</a:t>
            </a:r>
          </a:p>
        </p:txBody>
      </p:sp>
      <p:sp>
        <p:nvSpPr>
          <p:cNvPr id="7" name="Freeform 1">
            <a:extLst>
              <a:ext uri="{FF2B5EF4-FFF2-40B4-BE49-F238E27FC236}">
                <a16:creationId xmlns:a16="http://schemas.microsoft.com/office/drawing/2014/main" id="{C009C2CB-0D45-244B-8254-95D0D9E3683C}"/>
              </a:ext>
            </a:extLst>
          </p:cNvPr>
          <p:cNvSpPr>
            <a:spLocks noChangeArrowheads="1"/>
          </p:cNvSpPr>
          <p:nvPr/>
        </p:nvSpPr>
        <p:spPr bwMode="auto">
          <a:xfrm>
            <a:off x="6799803" y="0"/>
            <a:ext cx="2747583" cy="2612551"/>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1813077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27BB8-D6EA-2A4B-9E29-4B163BA076AA}"/>
              </a:ext>
            </a:extLst>
          </p:cNvPr>
          <p:cNvSpPr>
            <a:spLocks noGrp="1"/>
          </p:cNvSpPr>
          <p:nvPr>
            <p:ph type="title"/>
          </p:nvPr>
        </p:nvSpPr>
        <p:spPr/>
        <p:txBody>
          <a:bodyPr/>
          <a:lstStyle/>
          <a:p>
            <a:r>
              <a:rPr lang="en-US" dirty="0"/>
              <a:t>Create a new agent</a:t>
            </a:r>
          </a:p>
        </p:txBody>
      </p:sp>
      <p:pic>
        <p:nvPicPr>
          <p:cNvPr id="2" name="Image 1">
            <a:extLst>
              <a:ext uri="{FF2B5EF4-FFF2-40B4-BE49-F238E27FC236}">
                <a16:creationId xmlns:a16="http://schemas.microsoft.com/office/drawing/2014/main" id="{1F9FE9CD-A0E2-44BC-B068-528A987460C8}"/>
              </a:ext>
            </a:extLst>
          </p:cNvPr>
          <p:cNvPicPr>
            <a:picLocks noChangeAspect="1"/>
          </p:cNvPicPr>
          <p:nvPr/>
        </p:nvPicPr>
        <p:blipFill>
          <a:blip r:embed="rId2"/>
          <a:stretch>
            <a:fillRect/>
          </a:stretch>
        </p:blipFill>
        <p:spPr>
          <a:xfrm>
            <a:off x="1793132" y="1292352"/>
            <a:ext cx="6631540" cy="3295147"/>
          </a:xfrm>
          <a:prstGeom prst="rect">
            <a:avLst/>
          </a:prstGeom>
        </p:spPr>
      </p:pic>
      <p:pic>
        <p:nvPicPr>
          <p:cNvPr id="3" name="Image 2">
            <a:extLst>
              <a:ext uri="{FF2B5EF4-FFF2-40B4-BE49-F238E27FC236}">
                <a16:creationId xmlns:a16="http://schemas.microsoft.com/office/drawing/2014/main" id="{2397E083-6E8A-4B2B-8682-733276A20D63}"/>
              </a:ext>
            </a:extLst>
          </p:cNvPr>
          <p:cNvPicPr>
            <a:picLocks noChangeAspect="1"/>
          </p:cNvPicPr>
          <p:nvPr/>
        </p:nvPicPr>
        <p:blipFill>
          <a:blip r:embed="rId3"/>
          <a:stretch>
            <a:fillRect/>
          </a:stretch>
        </p:blipFill>
        <p:spPr>
          <a:xfrm>
            <a:off x="286792" y="571009"/>
            <a:ext cx="1364138" cy="2153903"/>
          </a:xfrm>
          <a:prstGeom prst="rect">
            <a:avLst/>
          </a:prstGeom>
        </p:spPr>
      </p:pic>
      <p:sp>
        <p:nvSpPr>
          <p:cNvPr id="5" name="Ellipse 4">
            <a:extLst>
              <a:ext uri="{FF2B5EF4-FFF2-40B4-BE49-F238E27FC236}">
                <a16:creationId xmlns:a16="http://schemas.microsoft.com/office/drawing/2014/main" id="{5DB32328-D2D1-41BA-95AE-D363E4116405}"/>
              </a:ext>
            </a:extLst>
          </p:cNvPr>
          <p:cNvSpPr/>
          <p:nvPr/>
        </p:nvSpPr>
        <p:spPr>
          <a:xfrm>
            <a:off x="73152" y="1993392"/>
            <a:ext cx="1645920" cy="646176"/>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avec flèche 6">
            <a:extLst>
              <a:ext uri="{FF2B5EF4-FFF2-40B4-BE49-F238E27FC236}">
                <a16:creationId xmlns:a16="http://schemas.microsoft.com/office/drawing/2014/main" id="{25ADCB13-BC5B-40C2-9F19-917E79565738}"/>
              </a:ext>
            </a:extLst>
          </p:cNvPr>
          <p:cNvCxnSpPr>
            <a:cxnSpLocks/>
          </p:cNvCxnSpPr>
          <p:nvPr/>
        </p:nvCxnSpPr>
        <p:spPr>
          <a:xfrm flipH="1">
            <a:off x="1719073" y="1908048"/>
            <a:ext cx="1349804" cy="408433"/>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494461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27BB8-D6EA-2A4B-9E29-4B163BA076AA}"/>
              </a:ext>
            </a:extLst>
          </p:cNvPr>
          <p:cNvSpPr>
            <a:spLocks noGrp="1"/>
          </p:cNvSpPr>
          <p:nvPr>
            <p:ph type="title"/>
          </p:nvPr>
        </p:nvSpPr>
        <p:spPr/>
        <p:txBody>
          <a:bodyPr/>
          <a:lstStyle/>
          <a:p>
            <a:r>
              <a:rPr lang="en-US" dirty="0"/>
              <a:t>Default Welcome Intent / Default Fallback Intent </a:t>
            </a:r>
          </a:p>
        </p:txBody>
      </p:sp>
      <p:sp>
        <p:nvSpPr>
          <p:cNvPr id="8" name="Text Placeholder 16">
            <a:extLst>
              <a:ext uri="{FF2B5EF4-FFF2-40B4-BE49-F238E27FC236}">
                <a16:creationId xmlns:a16="http://schemas.microsoft.com/office/drawing/2014/main" id="{7DB9780C-B571-4706-AF49-A6D7401FF227}"/>
              </a:ext>
            </a:extLst>
          </p:cNvPr>
          <p:cNvSpPr txBox="1">
            <a:spLocks/>
          </p:cNvSpPr>
          <p:nvPr/>
        </p:nvSpPr>
        <p:spPr>
          <a:xfrm>
            <a:off x="228600" y="668889"/>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solidFill>
                <a:schemeClr val="accent2"/>
              </a:solidFill>
            </a:endParaRPr>
          </a:p>
          <a:p>
            <a:pPr marL="285750" indent="-285750">
              <a:buFont typeface="Arial" panose="020B0604020202020204" pitchFamily="34" charset="0"/>
              <a:buChar char="•"/>
            </a:pPr>
            <a:r>
              <a:rPr lang="en-US" sz="1600" dirty="0">
                <a:solidFill>
                  <a:schemeClr val="accent2"/>
                </a:solidFill>
              </a:rPr>
              <a:t>Default Welcome Intent :</a:t>
            </a:r>
          </a:p>
          <a:p>
            <a:pPr marL="690563" lvl="1" indent="-285750"/>
            <a:r>
              <a:rPr lang="en-US" sz="1300" dirty="0"/>
              <a:t>When an user begins a new conversation with a device (like a Google Home), an event “Welcome” is sent to </a:t>
            </a:r>
            <a:r>
              <a:rPr lang="en-US" sz="1300" dirty="0" err="1"/>
              <a:t>Dialogflow</a:t>
            </a:r>
            <a:r>
              <a:rPr lang="en-US" sz="1300" dirty="0"/>
              <a:t>.</a:t>
            </a:r>
          </a:p>
          <a:p>
            <a:pPr marL="690563" lvl="1" indent="-285750"/>
            <a:r>
              <a:rPr lang="en-US" sz="1300" dirty="0"/>
              <a:t>The “default intent” is triggered.</a:t>
            </a:r>
          </a:p>
          <a:p>
            <a:pPr marL="690563" lvl="1" indent="-285750"/>
            <a:r>
              <a:rPr lang="en-US" sz="1300" i="1" dirty="0"/>
              <a:t>Usage : “Hello ! What can I do for you today?”</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solidFill>
                  <a:schemeClr val="accent2"/>
                </a:solidFill>
              </a:rPr>
              <a:t>Default Fallback Intent :</a:t>
            </a:r>
          </a:p>
          <a:p>
            <a:pPr marL="690563" lvl="1" indent="-285750"/>
            <a:r>
              <a:rPr lang="en-US" sz="1300" dirty="0"/>
              <a:t>Fallback intents are triggered if a user's input is not matched by any of the regular intents.</a:t>
            </a:r>
          </a:p>
          <a:p>
            <a:pPr marL="690563" lvl="1" indent="-285750"/>
            <a:r>
              <a:rPr lang="en-US" sz="1300" i="1" dirty="0"/>
              <a:t>Usage : “I did not understand you, can you rephrase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pic>
        <p:nvPicPr>
          <p:cNvPr id="6" name="Image 5">
            <a:extLst>
              <a:ext uri="{FF2B5EF4-FFF2-40B4-BE49-F238E27FC236}">
                <a16:creationId xmlns:a16="http://schemas.microsoft.com/office/drawing/2014/main" id="{78583F64-9740-4B10-A805-59806F688E56}"/>
              </a:ext>
            </a:extLst>
          </p:cNvPr>
          <p:cNvPicPr>
            <a:picLocks noChangeAspect="1"/>
          </p:cNvPicPr>
          <p:nvPr/>
        </p:nvPicPr>
        <p:blipFill>
          <a:blip r:embed="rId2"/>
          <a:stretch>
            <a:fillRect/>
          </a:stretch>
        </p:blipFill>
        <p:spPr>
          <a:xfrm>
            <a:off x="3157537" y="3667963"/>
            <a:ext cx="1840706" cy="611143"/>
          </a:xfrm>
          <a:prstGeom prst="rect">
            <a:avLst/>
          </a:prstGeom>
        </p:spPr>
      </p:pic>
    </p:spTree>
    <p:extLst>
      <p:ext uri="{BB962C8B-B14F-4D97-AF65-F5344CB8AC3E}">
        <p14:creationId xmlns:p14="http://schemas.microsoft.com/office/powerpoint/2010/main" val="428298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544E057-DF3E-47F7-A03E-D728444C6F76}"/>
              </a:ext>
            </a:extLst>
          </p:cNvPr>
          <p:cNvSpPr>
            <a:spLocks noGrp="1"/>
          </p:cNvSpPr>
          <p:nvPr>
            <p:ph type="title"/>
          </p:nvPr>
        </p:nvSpPr>
        <p:spPr>
          <a:xfrm>
            <a:off x="0" y="58301"/>
            <a:ext cx="6975475" cy="808037"/>
          </a:xfrm>
        </p:spPr>
        <p:txBody>
          <a:bodyPr/>
          <a:lstStyle/>
          <a:p>
            <a:r>
              <a:rPr lang="fr-FR" dirty="0"/>
              <a:t>Use case</a:t>
            </a:r>
          </a:p>
        </p:txBody>
      </p:sp>
      <p:sp>
        <p:nvSpPr>
          <p:cNvPr id="4" name="Bulle narrative : rectangle 3">
            <a:extLst>
              <a:ext uri="{FF2B5EF4-FFF2-40B4-BE49-F238E27FC236}">
                <a16:creationId xmlns:a16="http://schemas.microsoft.com/office/drawing/2014/main" id="{B77BE49E-8658-4CF0-BE40-DC8CC0070DBF}"/>
              </a:ext>
            </a:extLst>
          </p:cNvPr>
          <p:cNvSpPr/>
          <p:nvPr/>
        </p:nvSpPr>
        <p:spPr>
          <a:xfrm>
            <a:off x="1361357" y="1133732"/>
            <a:ext cx="2049486" cy="317331"/>
          </a:xfrm>
          <a:prstGeom prst="wedgeRectCallout">
            <a:avLst>
              <a:gd name="adj1" fmla="val 54908"/>
              <a:gd name="adj2" fmla="val -1615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Hello, can I help </a:t>
            </a:r>
            <a:r>
              <a:rPr lang="fr-FR" sz="1200" dirty="0" err="1">
                <a:solidFill>
                  <a:schemeClr val="bg1"/>
                </a:solidFill>
              </a:rPr>
              <a:t>you</a:t>
            </a:r>
            <a:r>
              <a:rPr lang="fr-FR" sz="1200" dirty="0">
                <a:solidFill>
                  <a:schemeClr val="bg1"/>
                </a:solidFill>
              </a:rPr>
              <a:t>?</a:t>
            </a:r>
          </a:p>
        </p:txBody>
      </p:sp>
      <p:sp>
        <p:nvSpPr>
          <p:cNvPr id="6" name="Bulle narrative : rectangle 5">
            <a:extLst>
              <a:ext uri="{FF2B5EF4-FFF2-40B4-BE49-F238E27FC236}">
                <a16:creationId xmlns:a16="http://schemas.microsoft.com/office/drawing/2014/main" id="{D2392579-800E-43B1-B989-76DF483D25F3}"/>
              </a:ext>
            </a:extLst>
          </p:cNvPr>
          <p:cNvSpPr/>
          <p:nvPr/>
        </p:nvSpPr>
        <p:spPr>
          <a:xfrm>
            <a:off x="840777" y="1602816"/>
            <a:ext cx="2444915" cy="792478"/>
          </a:xfrm>
          <a:prstGeom prst="wedgeRectCallout">
            <a:avLst>
              <a:gd name="adj1" fmla="val -55516"/>
              <a:gd name="adj2" fmla="val -1889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I would like to have an appointment tomorrow with Dr. Martin</a:t>
            </a:r>
            <a:endParaRPr lang="fr-FR" sz="1200" dirty="0">
              <a:solidFill>
                <a:schemeClr val="bg1"/>
              </a:solidFill>
            </a:endParaRPr>
          </a:p>
        </p:txBody>
      </p:sp>
      <p:sp>
        <p:nvSpPr>
          <p:cNvPr id="7" name="Bulle narrative : rectangle 6">
            <a:extLst>
              <a:ext uri="{FF2B5EF4-FFF2-40B4-BE49-F238E27FC236}">
                <a16:creationId xmlns:a16="http://schemas.microsoft.com/office/drawing/2014/main" id="{B8665B52-6BEA-4E6A-9F3B-99B7A0DA5F2A}"/>
              </a:ext>
            </a:extLst>
          </p:cNvPr>
          <p:cNvSpPr/>
          <p:nvPr/>
        </p:nvSpPr>
        <p:spPr>
          <a:xfrm>
            <a:off x="1361357" y="2568310"/>
            <a:ext cx="2049486" cy="854118"/>
          </a:xfrm>
          <a:prstGeom prst="wedgeRectCallout">
            <a:avLst>
              <a:gd name="adj1" fmla="val 54908"/>
              <a:gd name="adj2" fmla="val -1615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Ok. I propose an appointment with Dr. Martin on September 15th at 9am</a:t>
            </a:r>
            <a:endParaRPr lang="fr-FR" sz="1200" dirty="0">
              <a:solidFill>
                <a:schemeClr val="bg1"/>
              </a:solidFill>
            </a:endParaRPr>
          </a:p>
        </p:txBody>
      </p:sp>
      <p:sp>
        <p:nvSpPr>
          <p:cNvPr id="9" name="Bulle narrative : rectangle 8">
            <a:extLst>
              <a:ext uri="{FF2B5EF4-FFF2-40B4-BE49-F238E27FC236}">
                <a16:creationId xmlns:a16="http://schemas.microsoft.com/office/drawing/2014/main" id="{2F56E778-6EA9-4392-9C01-7195EDEE221E}"/>
              </a:ext>
            </a:extLst>
          </p:cNvPr>
          <p:cNvSpPr/>
          <p:nvPr/>
        </p:nvSpPr>
        <p:spPr>
          <a:xfrm>
            <a:off x="5808097" y="1133732"/>
            <a:ext cx="2049486" cy="317331"/>
          </a:xfrm>
          <a:prstGeom prst="wedgeRectCallout">
            <a:avLst>
              <a:gd name="adj1" fmla="val 54908"/>
              <a:gd name="adj2" fmla="val -1615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Hello, can I help </a:t>
            </a:r>
            <a:r>
              <a:rPr lang="fr-FR" sz="1200" dirty="0" err="1">
                <a:solidFill>
                  <a:schemeClr val="bg1"/>
                </a:solidFill>
              </a:rPr>
              <a:t>you</a:t>
            </a:r>
            <a:r>
              <a:rPr lang="fr-FR" sz="1200" dirty="0">
                <a:solidFill>
                  <a:schemeClr val="bg1"/>
                </a:solidFill>
              </a:rPr>
              <a:t>?</a:t>
            </a:r>
          </a:p>
        </p:txBody>
      </p:sp>
      <p:sp>
        <p:nvSpPr>
          <p:cNvPr id="10" name="Bulle narrative : rectangle 9">
            <a:extLst>
              <a:ext uri="{FF2B5EF4-FFF2-40B4-BE49-F238E27FC236}">
                <a16:creationId xmlns:a16="http://schemas.microsoft.com/office/drawing/2014/main" id="{4567DDC1-51B0-49DA-B2F5-EDD6C93FDF3E}"/>
              </a:ext>
            </a:extLst>
          </p:cNvPr>
          <p:cNvSpPr/>
          <p:nvPr/>
        </p:nvSpPr>
        <p:spPr>
          <a:xfrm>
            <a:off x="5287518" y="1602816"/>
            <a:ext cx="2049486" cy="501557"/>
          </a:xfrm>
          <a:prstGeom prst="wedgeRectCallout">
            <a:avLst>
              <a:gd name="adj1" fmla="val -55516"/>
              <a:gd name="adj2" fmla="val -1889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I would like to have an appointment</a:t>
            </a:r>
            <a:endParaRPr lang="fr-FR" sz="1200" dirty="0">
              <a:solidFill>
                <a:schemeClr val="bg1"/>
              </a:solidFill>
            </a:endParaRPr>
          </a:p>
        </p:txBody>
      </p:sp>
      <p:sp>
        <p:nvSpPr>
          <p:cNvPr id="11" name="Bulle narrative : rectangle 10">
            <a:extLst>
              <a:ext uri="{FF2B5EF4-FFF2-40B4-BE49-F238E27FC236}">
                <a16:creationId xmlns:a16="http://schemas.microsoft.com/office/drawing/2014/main" id="{2D4A9B5D-D344-4A65-8F0F-8B6D95324981}"/>
              </a:ext>
            </a:extLst>
          </p:cNvPr>
          <p:cNvSpPr/>
          <p:nvPr/>
        </p:nvSpPr>
        <p:spPr>
          <a:xfrm>
            <a:off x="6087649" y="2236628"/>
            <a:ext cx="1769934" cy="317331"/>
          </a:xfrm>
          <a:prstGeom prst="wedgeRectCallout">
            <a:avLst>
              <a:gd name="adj1" fmla="val 54908"/>
              <a:gd name="adj2" fmla="val -1615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With witch doctor?</a:t>
            </a:r>
            <a:endParaRPr lang="fr-FR" sz="1200" dirty="0">
              <a:solidFill>
                <a:schemeClr val="bg1"/>
              </a:solidFill>
            </a:endParaRPr>
          </a:p>
        </p:txBody>
      </p:sp>
      <p:sp>
        <p:nvSpPr>
          <p:cNvPr id="12" name="Bulle narrative : rectangle 11">
            <a:extLst>
              <a:ext uri="{FF2B5EF4-FFF2-40B4-BE49-F238E27FC236}">
                <a16:creationId xmlns:a16="http://schemas.microsoft.com/office/drawing/2014/main" id="{FEE725ED-3326-44C7-A06F-38B1044B47A8}"/>
              </a:ext>
            </a:extLst>
          </p:cNvPr>
          <p:cNvSpPr/>
          <p:nvPr/>
        </p:nvSpPr>
        <p:spPr>
          <a:xfrm>
            <a:off x="5287517" y="2639160"/>
            <a:ext cx="1013075" cy="317332"/>
          </a:xfrm>
          <a:prstGeom prst="wedgeRectCallout">
            <a:avLst>
              <a:gd name="adj1" fmla="val -55516"/>
              <a:gd name="adj2" fmla="val -1889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Dr. Martin</a:t>
            </a:r>
            <a:endParaRPr lang="fr-FR" sz="1200" dirty="0">
              <a:solidFill>
                <a:schemeClr val="bg1"/>
              </a:solidFill>
            </a:endParaRPr>
          </a:p>
        </p:txBody>
      </p:sp>
      <p:sp>
        <p:nvSpPr>
          <p:cNvPr id="13" name="Bulle narrative : rectangle 12">
            <a:extLst>
              <a:ext uri="{FF2B5EF4-FFF2-40B4-BE49-F238E27FC236}">
                <a16:creationId xmlns:a16="http://schemas.microsoft.com/office/drawing/2014/main" id="{2F767EFF-B7E1-447B-B083-1E3C7C1E305C}"/>
              </a:ext>
            </a:extLst>
          </p:cNvPr>
          <p:cNvSpPr/>
          <p:nvPr/>
        </p:nvSpPr>
        <p:spPr>
          <a:xfrm>
            <a:off x="6820421" y="3022193"/>
            <a:ext cx="1037161" cy="317331"/>
          </a:xfrm>
          <a:prstGeom prst="wedgeRectCallout">
            <a:avLst>
              <a:gd name="adj1" fmla="val 54908"/>
              <a:gd name="adj2" fmla="val -1615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What day?</a:t>
            </a:r>
            <a:endParaRPr lang="fr-FR" sz="1200" dirty="0">
              <a:solidFill>
                <a:schemeClr val="bg1"/>
              </a:solidFill>
            </a:endParaRPr>
          </a:p>
        </p:txBody>
      </p:sp>
      <p:sp>
        <p:nvSpPr>
          <p:cNvPr id="14" name="Bulle narrative : rectangle 13">
            <a:extLst>
              <a:ext uri="{FF2B5EF4-FFF2-40B4-BE49-F238E27FC236}">
                <a16:creationId xmlns:a16="http://schemas.microsoft.com/office/drawing/2014/main" id="{936D198D-2920-45C0-8D3D-7A311F81F13D}"/>
              </a:ext>
            </a:extLst>
          </p:cNvPr>
          <p:cNvSpPr/>
          <p:nvPr/>
        </p:nvSpPr>
        <p:spPr>
          <a:xfrm>
            <a:off x="5301559" y="3422776"/>
            <a:ext cx="1518862" cy="317332"/>
          </a:xfrm>
          <a:prstGeom prst="wedgeRectCallout">
            <a:avLst>
              <a:gd name="adj1" fmla="val -55516"/>
              <a:gd name="adj2" fmla="val -1889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September 15th</a:t>
            </a:r>
            <a:endParaRPr lang="fr-FR" sz="1200" dirty="0">
              <a:solidFill>
                <a:schemeClr val="bg1"/>
              </a:solidFill>
            </a:endParaRPr>
          </a:p>
        </p:txBody>
      </p:sp>
      <p:sp>
        <p:nvSpPr>
          <p:cNvPr id="15" name="Bulle narrative : rectangle 14">
            <a:extLst>
              <a:ext uri="{FF2B5EF4-FFF2-40B4-BE49-F238E27FC236}">
                <a16:creationId xmlns:a16="http://schemas.microsoft.com/office/drawing/2014/main" id="{9C2439CB-554C-43F2-9683-7DF60EE35962}"/>
              </a:ext>
            </a:extLst>
          </p:cNvPr>
          <p:cNvSpPr/>
          <p:nvPr/>
        </p:nvSpPr>
        <p:spPr>
          <a:xfrm>
            <a:off x="5808097" y="3823360"/>
            <a:ext cx="2049486" cy="854118"/>
          </a:xfrm>
          <a:prstGeom prst="wedgeRectCallout">
            <a:avLst>
              <a:gd name="adj1" fmla="val 54908"/>
              <a:gd name="adj2" fmla="val -1615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Ok. I propose an appointment with Dr. Martin on September 15th at 9am</a:t>
            </a:r>
            <a:endParaRPr lang="fr-FR" sz="1200" dirty="0">
              <a:solidFill>
                <a:schemeClr val="bg1"/>
              </a:solidFill>
            </a:endParaRPr>
          </a:p>
        </p:txBody>
      </p:sp>
      <p:cxnSp>
        <p:nvCxnSpPr>
          <p:cNvPr id="16" name="Connecteur droit avec flèche 15">
            <a:extLst>
              <a:ext uri="{FF2B5EF4-FFF2-40B4-BE49-F238E27FC236}">
                <a16:creationId xmlns:a16="http://schemas.microsoft.com/office/drawing/2014/main" id="{3CCA32B5-AE95-4318-9681-DB4C79B5766A}"/>
              </a:ext>
            </a:extLst>
          </p:cNvPr>
          <p:cNvCxnSpPr>
            <a:cxnSpLocks/>
          </p:cNvCxnSpPr>
          <p:nvPr/>
        </p:nvCxnSpPr>
        <p:spPr>
          <a:xfrm flipH="1">
            <a:off x="3450443" y="874022"/>
            <a:ext cx="1428738" cy="3970709"/>
          </a:xfrm>
          <a:prstGeom prst="straightConnector1">
            <a:avLst/>
          </a:prstGeom>
          <a:noFill/>
          <a:ln w="50800">
            <a:solidFill>
              <a:schemeClr val="accent2"/>
            </a:solidFill>
            <a:headEnd type="none"/>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360363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27BB8-D6EA-2A4B-9E29-4B163BA076AA}"/>
              </a:ext>
            </a:extLst>
          </p:cNvPr>
          <p:cNvSpPr>
            <a:spLocks noGrp="1"/>
          </p:cNvSpPr>
          <p:nvPr>
            <p:ph type="title"/>
          </p:nvPr>
        </p:nvSpPr>
        <p:spPr/>
        <p:txBody>
          <a:bodyPr/>
          <a:lstStyle/>
          <a:p>
            <a:r>
              <a:rPr lang="en-US" dirty="0"/>
              <a:t>Create a new intent : training phrases </a:t>
            </a:r>
          </a:p>
        </p:txBody>
      </p:sp>
      <p:pic>
        <p:nvPicPr>
          <p:cNvPr id="3" name="Image 2">
            <a:extLst>
              <a:ext uri="{FF2B5EF4-FFF2-40B4-BE49-F238E27FC236}">
                <a16:creationId xmlns:a16="http://schemas.microsoft.com/office/drawing/2014/main" id="{3F79E7DE-7E5B-42E9-BAF3-CB729FBD1A9D}"/>
              </a:ext>
            </a:extLst>
          </p:cNvPr>
          <p:cNvPicPr>
            <a:picLocks noChangeAspect="1"/>
          </p:cNvPicPr>
          <p:nvPr/>
        </p:nvPicPr>
        <p:blipFill>
          <a:blip r:embed="rId2"/>
          <a:stretch>
            <a:fillRect/>
          </a:stretch>
        </p:blipFill>
        <p:spPr>
          <a:xfrm>
            <a:off x="187891" y="1723753"/>
            <a:ext cx="3654774" cy="3338328"/>
          </a:xfrm>
          <a:prstGeom prst="rect">
            <a:avLst/>
          </a:prstGeom>
        </p:spPr>
      </p:pic>
      <p:pic>
        <p:nvPicPr>
          <p:cNvPr id="6" name="Image 5">
            <a:extLst>
              <a:ext uri="{FF2B5EF4-FFF2-40B4-BE49-F238E27FC236}">
                <a16:creationId xmlns:a16="http://schemas.microsoft.com/office/drawing/2014/main" id="{8DFB6BAE-25F6-46B9-A98B-98E2D015A886}"/>
              </a:ext>
            </a:extLst>
          </p:cNvPr>
          <p:cNvPicPr>
            <a:picLocks noChangeAspect="1"/>
          </p:cNvPicPr>
          <p:nvPr/>
        </p:nvPicPr>
        <p:blipFill>
          <a:blip r:embed="rId3"/>
          <a:stretch>
            <a:fillRect/>
          </a:stretch>
        </p:blipFill>
        <p:spPr>
          <a:xfrm>
            <a:off x="187891" y="625699"/>
            <a:ext cx="3654774" cy="854938"/>
          </a:xfrm>
          <a:prstGeom prst="rect">
            <a:avLst/>
          </a:prstGeom>
        </p:spPr>
      </p:pic>
      <p:sp>
        <p:nvSpPr>
          <p:cNvPr id="8" name="Ellipse 7">
            <a:extLst>
              <a:ext uri="{FF2B5EF4-FFF2-40B4-BE49-F238E27FC236}">
                <a16:creationId xmlns:a16="http://schemas.microsoft.com/office/drawing/2014/main" id="{355DF68B-A955-4B6D-9A5D-50DAD76D42AA}"/>
              </a:ext>
            </a:extLst>
          </p:cNvPr>
          <p:cNvSpPr/>
          <p:nvPr/>
        </p:nvSpPr>
        <p:spPr>
          <a:xfrm>
            <a:off x="2893201" y="558614"/>
            <a:ext cx="1127830" cy="433124"/>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0" name="Connecteur droit avec flèche 9">
            <a:extLst>
              <a:ext uri="{FF2B5EF4-FFF2-40B4-BE49-F238E27FC236}">
                <a16:creationId xmlns:a16="http://schemas.microsoft.com/office/drawing/2014/main" id="{7EF1E6DE-E384-4E14-B286-530DFCFF8D20}"/>
              </a:ext>
            </a:extLst>
          </p:cNvPr>
          <p:cNvCxnSpPr>
            <a:cxnSpLocks/>
          </p:cNvCxnSpPr>
          <p:nvPr/>
        </p:nvCxnSpPr>
        <p:spPr>
          <a:xfrm flipV="1">
            <a:off x="2597629" y="991738"/>
            <a:ext cx="651353" cy="738325"/>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pic>
        <p:nvPicPr>
          <p:cNvPr id="13" name="Image 12">
            <a:extLst>
              <a:ext uri="{FF2B5EF4-FFF2-40B4-BE49-F238E27FC236}">
                <a16:creationId xmlns:a16="http://schemas.microsoft.com/office/drawing/2014/main" id="{851BFB4D-42C7-42E2-B5A2-1D215F94ED9D}"/>
              </a:ext>
            </a:extLst>
          </p:cNvPr>
          <p:cNvPicPr>
            <a:picLocks noChangeAspect="1"/>
          </p:cNvPicPr>
          <p:nvPr/>
        </p:nvPicPr>
        <p:blipFill>
          <a:blip r:embed="rId4"/>
          <a:stretch>
            <a:fillRect/>
          </a:stretch>
        </p:blipFill>
        <p:spPr>
          <a:xfrm>
            <a:off x="4684734" y="2097454"/>
            <a:ext cx="3659595" cy="2590925"/>
          </a:xfrm>
          <a:prstGeom prst="rect">
            <a:avLst/>
          </a:prstGeom>
        </p:spPr>
      </p:pic>
      <p:sp>
        <p:nvSpPr>
          <p:cNvPr id="14" name="Ellipse 13">
            <a:extLst>
              <a:ext uri="{FF2B5EF4-FFF2-40B4-BE49-F238E27FC236}">
                <a16:creationId xmlns:a16="http://schemas.microsoft.com/office/drawing/2014/main" id="{D4EE5A80-6E90-415D-AC6E-401657369164}"/>
              </a:ext>
            </a:extLst>
          </p:cNvPr>
          <p:cNvSpPr/>
          <p:nvPr/>
        </p:nvSpPr>
        <p:spPr>
          <a:xfrm>
            <a:off x="1678176" y="2974160"/>
            <a:ext cx="1127830" cy="433124"/>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5" name="Connecteur droit avec flèche 14">
            <a:extLst>
              <a:ext uri="{FF2B5EF4-FFF2-40B4-BE49-F238E27FC236}">
                <a16:creationId xmlns:a16="http://schemas.microsoft.com/office/drawing/2014/main" id="{2652A641-68F5-4CC2-8C6A-CD677F362E57}"/>
              </a:ext>
            </a:extLst>
          </p:cNvPr>
          <p:cNvCxnSpPr>
            <a:cxnSpLocks/>
          </p:cNvCxnSpPr>
          <p:nvPr/>
        </p:nvCxnSpPr>
        <p:spPr>
          <a:xfrm flipH="1">
            <a:off x="2806007" y="2974160"/>
            <a:ext cx="2868283" cy="233219"/>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466189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28B7366-FB59-D84F-9599-15DD8B973811}"/>
              </a:ext>
            </a:extLst>
          </p:cNvPr>
          <p:cNvSpPr>
            <a:spLocks noGrp="1"/>
          </p:cNvSpPr>
          <p:nvPr>
            <p:ph type="body" idx="10"/>
          </p:nvPr>
        </p:nvSpPr>
        <p:spPr>
          <a:xfrm>
            <a:off x="827244" y="2147257"/>
            <a:ext cx="3744757" cy="395288"/>
          </a:xfrm>
        </p:spPr>
        <p:txBody>
          <a:bodyPr/>
          <a:lstStyle/>
          <a:p>
            <a:r>
              <a:rPr lang="en-US" dirty="0"/>
              <a:t>Autopsy of a DNN bot</a:t>
            </a:r>
          </a:p>
        </p:txBody>
      </p:sp>
      <p:sp>
        <p:nvSpPr>
          <p:cNvPr id="30" name="Text Placeholder 29">
            <a:extLst>
              <a:ext uri="{FF2B5EF4-FFF2-40B4-BE49-F238E27FC236}">
                <a16:creationId xmlns:a16="http://schemas.microsoft.com/office/drawing/2014/main" id="{CBA3B7B9-8B45-6142-B19D-68E0E5EC1D10}"/>
              </a:ext>
            </a:extLst>
          </p:cNvPr>
          <p:cNvSpPr>
            <a:spLocks noGrp="1"/>
          </p:cNvSpPr>
          <p:nvPr>
            <p:ph type="body" sz="quarter" idx="11"/>
          </p:nvPr>
        </p:nvSpPr>
        <p:spPr>
          <a:xfrm>
            <a:off x="0" y="276410"/>
            <a:ext cx="5678488" cy="785650"/>
          </a:xfrm>
        </p:spPr>
        <p:txBody>
          <a:bodyPr/>
          <a:lstStyle/>
          <a:p>
            <a:r>
              <a:rPr lang="en-US" dirty="0"/>
              <a:t>Planning</a:t>
            </a:r>
          </a:p>
        </p:txBody>
      </p:sp>
      <p:sp>
        <p:nvSpPr>
          <p:cNvPr id="29" name="Title 28">
            <a:extLst>
              <a:ext uri="{FF2B5EF4-FFF2-40B4-BE49-F238E27FC236}">
                <a16:creationId xmlns:a16="http://schemas.microsoft.com/office/drawing/2014/main" id="{7C2C6D66-98F0-A842-84C9-4D6B3B8B60C9}"/>
              </a:ext>
            </a:extLst>
          </p:cNvPr>
          <p:cNvSpPr>
            <a:spLocks noGrp="1"/>
          </p:cNvSpPr>
          <p:nvPr>
            <p:ph type="title"/>
          </p:nvPr>
        </p:nvSpPr>
        <p:spPr/>
        <p:txBody>
          <a:bodyPr/>
          <a:lstStyle/>
          <a:p>
            <a:r>
              <a:rPr lang="en-US" dirty="0" err="1"/>
              <a:t>Dialogflow</a:t>
            </a:r>
            <a:r>
              <a:rPr lang="en-US" dirty="0"/>
              <a:t> training</a:t>
            </a:r>
          </a:p>
        </p:txBody>
      </p:sp>
      <p:sp>
        <p:nvSpPr>
          <p:cNvPr id="31" name="Text Placeholder 30">
            <a:extLst>
              <a:ext uri="{FF2B5EF4-FFF2-40B4-BE49-F238E27FC236}">
                <a16:creationId xmlns:a16="http://schemas.microsoft.com/office/drawing/2014/main" id="{8EB599B3-7044-AA4B-90FE-85398BE396AA}"/>
              </a:ext>
            </a:extLst>
          </p:cNvPr>
          <p:cNvSpPr>
            <a:spLocks noGrp="1"/>
          </p:cNvSpPr>
          <p:nvPr>
            <p:ph type="body" idx="12"/>
          </p:nvPr>
        </p:nvSpPr>
        <p:spPr>
          <a:xfrm>
            <a:off x="827244" y="2683555"/>
            <a:ext cx="3744757" cy="395288"/>
          </a:xfrm>
        </p:spPr>
        <p:txBody>
          <a:bodyPr/>
          <a:lstStyle/>
          <a:p>
            <a:r>
              <a:rPr lang="en-US" dirty="0"/>
              <a:t>Basic text bot with </a:t>
            </a:r>
            <a:r>
              <a:rPr lang="en-US" dirty="0" err="1"/>
              <a:t>Dialogflow</a:t>
            </a:r>
            <a:endParaRPr lang="en-US" dirty="0"/>
          </a:p>
        </p:txBody>
      </p:sp>
      <p:sp>
        <p:nvSpPr>
          <p:cNvPr id="32" name="Text Placeholder 31">
            <a:extLst>
              <a:ext uri="{FF2B5EF4-FFF2-40B4-BE49-F238E27FC236}">
                <a16:creationId xmlns:a16="http://schemas.microsoft.com/office/drawing/2014/main" id="{49BED941-0D7D-A042-A9C5-4BF6B55740EA}"/>
              </a:ext>
            </a:extLst>
          </p:cNvPr>
          <p:cNvSpPr>
            <a:spLocks noGrp="1"/>
          </p:cNvSpPr>
          <p:nvPr>
            <p:ph type="body" idx="13"/>
          </p:nvPr>
        </p:nvSpPr>
        <p:spPr>
          <a:xfrm>
            <a:off x="827244" y="3219853"/>
            <a:ext cx="3744757" cy="395288"/>
          </a:xfrm>
        </p:spPr>
        <p:txBody>
          <a:bodyPr/>
          <a:lstStyle/>
          <a:p>
            <a:r>
              <a:rPr lang="en-US" dirty="0"/>
              <a:t>Integration with Google Assistant</a:t>
            </a:r>
          </a:p>
        </p:txBody>
      </p:sp>
      <p:sp>
        <p:nvSpPr>
          <p:cNvPr id="33" name="Text Placeholder 32">
            <a:extLst>
              <a:ext uri="{FF2B5EF4-FFF2-40B4-BE49-F238E27FC236}">
                <a16:creationId xmlns:a16="http://schemas.microsoft.com/office/drawing/2014/main" id="{2FB316D9-6D43-F04F-A416-A199EEED8B44}"/>
              </a:ext>
            </a:extLst>
          </p:cNvPr>
          <p:cNvSpPr>
            <a:spLocks noGrp="1"/>
          </p:cNvSpPr>
          <p:nvPr>
            <p:ph type="body" idx="14"/>
          </p:nvPr>
        </p:nvSpPr>
        <p:spPr>
          <a:xfrm>
            <a:off x="827244" y="3756151"/>
            <a:ext cx="3744757" cy="395288"/>
          </a:xfrm>
        </p:spPr>
        <p:txBody>
          <a:bodyPr/>
          <a:lstStyle/>
          <a:p>
            <a:r>
              <a:rPr lang="en-US" dirty="0"/>
              <a:t>Tuning and learning</a:t>
            </a:r>
          </a:p>
        </p:txBody>
      </p:sp>
      <p:sp>
        <p:nvSpPr>
          <p:cNvPr id="34" name="Text Placeholder 33">
            <a:extLst>
              <a:ext uri="{FF2B5EF4-FFF2-40B4-BE49-F238E27FC236}">
                <a16:creationId xmlns:a16="http://schemas.microsoft.com/office/drawing/2014/main" id="{51A1BE16-9D2A-5B4A-9287-FAEA2B66E90C}"/>
              </a:ext>
            </a:extLst>
          </p:cNvPr>
          <p:cNvSpPr>
            <a:spLocks noGrp="1"/>
          </p:cNvSpPr>
          <p:nvPr>
            <p:ph type="body" idx="15"/>
          </p:nvPr>
        </p:nvSpPr>
        <p:spPr>
          <a:xfrm>
            <a:off x="4967444" y="1077722"/>
            <a:ext cx="3744757" cy="395288"/>
          </a:xfrm>
        </p:spPr>
        <p:txBody>
          <a:bodyPr/>
          <a:lstStyle/>
          <a:p>
            <a:r>
              <a:rPr lang="en-US" dirty="0"/>
              <a:t>Firebase Cloud Functions</a:t>
            </a:r>
          </a:p>
        </p:txBody>
      </p:sp>
      <p:sp>
        <p:nvSpPr>
          <p:cNvPr id="35" name="Text Placeholder 34">
            <a:extLst>
              <a:ext uri="{FF2B5EF4-FFF2-40B4-BE49-F238E27FC236}">
                <a16:creationId xmlns:a16="http://schemas.microsoft.com/office/drawing/2014/main" id="{9FDD2D4C-2028-864E-83C5-D0CF2CE33BCD}"/>
              </a:ext>
            </a:extLst>
          </p:cNvPr>
          <p:cNvSpPr>
            <a:spLocks noGrp="1"/>
          </p:cNvSpPr>
          <p:nvPr>
            <p:ph type="body" idx="16"/>
          </p:nvPr>
        </p:nvSpPr>
        <p:spPr>
          <a:xfrm>
            <a:off x="4967444" y="1603735"/>
            <a:ext cx="3744757" cy="395288"/>
          </a:xfrm>
        </p:spPr>
        <p:txBody>
          <a:bodyPr/>
          <a:lstStyle/>
          <a:p>
            <a:r>
              <a:rPr lang="en-US" dirty="0"/>
              <a:t>Fulfillments</a:t>
            </a:r>
          </a:p>
        </p:txBody>
      </p:sp>
      <p:sp>
        <p:nvSpPr>
          <p:cNvPr id="36" name="Text Placeholder 35">
            <a:extLst>
              <a:ext uri="{FF2B5EF4-FFF2-40B4-BE49-F238E27FC236}">
                <a16:creationId xmlns:a16="http://schemas.microsoft.com/office/drawing/2014/main" id="{158A415F-7771-044A-95B8-55CAAB0724FD}"/>
              </a:ext>
            </a:extLst>
          </p:cNvPr>
          <p:cNvSpPr>
            <a:spLocks noGrp="1"/>
          </p:cNvSpPr>
          <p:nvPr>
            <p:ph type="body" idx="17"/>
          </p:nvPr>
        </p:nvSpPr>
        <p:spPr>
          <a:xfrm>
            <a:off x="4967444" y="2140033"/>
            <a:ext cx="3744757" cy="395288"/>
          </a:xfrm>
        </p:spPr>
        <p:txBody>
          <a:bodyPr/>
          <a:lstStyle/>
          <a:p>
            <a:r>
              <a:rPr lang="en-US" dirty="0"/>
              <a:t>Using Google APIs</a:t>
            </a:r>
          </a:p>
        </p:txBody>
      </p:sp>
      <p:sp>
        <p:nvSpPr>
          <p:cNvPr id="37" name="Text Placeholder 36">
            <a:extLst>
              <a:ext uri="{FF2B5EF4-FFF2-40B4-BE49-F238E27FC236}">
                <a16:creationId xmlns:a16="http://schemas.microsoft.com/office/drawing/2014/main" id="{34340538-72AC-6546-97B8-5129D29FF89C}"/>
              </a:ext>
            </a:extLst>
          </p:cNvPr>
          <p:cNvSpPr>
            <a:spLocks noGrp="1"/>
          </p:cNvSpPr>
          <p:nvPr>
            <p:ph type="body" idx="18"/>
          </p:nvPr>
        </p:nvSpPr>
        <p:spPr>
          <a:xfrm>
            <a:off x="4967444" y="2676331"/>
            <a:ext cx="3744757" cy="395288"/>
          </a:xfrm>
        </p:spPr>
        <p:txBody>
          <a:bodyPr/>
          <a:lstStyle/>
          <a:p>
            <a:r>
              <a:rPr lang="en-US" dirty="0"/>
              <a:t>Integration with Concierge</a:t>
            </a:r>
          </a:p>
        </p:txBody>
      </p:sp>
      <p:sp>
        <p:nvSpPr>
          <p:cNvPr id="38" name="Text Placeholder 37">
            <a:extLst>
              <a:ext uri="{FF2B5EF4-FFF2-40B4-BE49-F238E27FC236}">
                <a16:creationId xmlns:a16="http://schemas.microsoft.com/office/drawing/2014/main" id="{047C684C-BB42-8A4B-BAB6-EEF178BE083B}"/>
              </a:ext>
            </a:extLst>
          </p:cNvPr>
          <p:cNvSpPr>
            <a:spLocks noGrp="1"/>
          </p:cNvSpPr>
          <p:nvPr>
            <p:ph type="body" idx="19"/>
          </p:nvPr>
        </p:nvSpPr>
        <p:spPr>
          <a:xfrm>
            <a:off x="4967444" y="3212629"/>
            <a:ext cx="3744757" cy="395288"/>
          </a:xfrm>
        </p:spPr>
        <p:txBody>
          <a:bodyPr/>
          <a:lstStyle/>
          <a:p>
            <a:r>
              <a:rPr lang="en-US" dirty="0"/>
              <a:t>Integration with Odigo</a:t>
            </a:r>
          </a:p>
        </p:txBody>
      </p:sp>
      <p:sp>
        <p:nvSpPr>
          <p:cNvPr id="39" name="Text Placeholder 38">
            <a:extLst>
              <a:ext uri="{FF2B5EF4-FFF2-40B4-BE49-F238E27FC236}">
                <a16:creationId xmlns:a16="http://schemas.microsoft.com/office/drawing/2014/main" id="{94A54D07-7E39-EB45-94BC-63CADF8DB71C}"/>
              </a:ext>
            </a:extLst>
          </p:cNvPr>
          <p:cNvSpPr>
            <a:spLocks noGrp="1"/>
          </p:cNvSpPr>
          <p:nvPr>
            <p:ph type="body" idx="20"/>
          </p:nvPr>
        </p:nvSpPr>
        <p:spPr>
          <a:xfrm>
            <a:off x="4967444" y="3748928"/>
            <a:ext cx="3744757" cy="395288"/>
          </a:xfrm>
        </p:spPr>
        <p:txBody>
          <a:bodyPr/>
          <a:lstStyle/>
          <a:p>
            <a:r>
              <a:rPr lang="en-US" dirty="0"/>
              <a:t>Tips and tricks</a:t>
            </a:r>
          </a:p>
        </p:txBody>
      </p:sp>
      <p:sp>
        <p:nvSpPr>
          <p:cNvPr id="40" name="Rectangle 39">
            <a:extLst>
              <a:ext uri="{FF2B5EF4-FFF2-40B4-BE49-F238E27FC236}">
                <a16:creationId xmlns:a16="http://schemas.microsoft.com/office/drawing/2014/main" id="{7032311E-E38C-7C43-AFE6-1D3FF07BF14F}"/>
              </a:ext>
            </a:extLst>
          </p:cNvPr>
          <p:cNvSpPr/>
          <p:nvPr/>
        </p:nvSpPr>
        <p:spPr>
          <a:xfrm>
            <a:off x="431801" y="2150120"/>
            <a:ext cx="395443" cy="3954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accent2"/>
                </a:solidFill>
              </a:rPr>
              <a:t>03</a:t>
            </a:r>
          </a:p>
        </p:txBody>
      </p:sp>
      <p:sp>
        <p:nvSpPr>
          <p:cNvPr id="41" name="Rectangle 40">
            <a:extLst>
              <a:ext uri="{FF2B5EF4-FFF2-40B4-BE49-F238E27FC236}">
                <a16:creationId xmlns:a16="http://schemas.microsoft.com/office/drawing/2014/main" id="{BD978EE7-8017-BC43-BC53-C529A28D98BF}"/>
              </a:ext>
            </a:extLst>
          </p:cNvPr>
          <p:cNvSpPr/>
          <p:nvPr/>
        </p:nvSpPr>
        <p:spPr>
          <a:xfrm>
            <a:off x="431801" y="2686418"/>
            <a:ext cx="395443" cy="3954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accent2"/>
                </a:solidFill>
              </a:rPr>
              <a:t>04</a:t>
            </a:r>
          </a:p>
        </p:txBody>
      </p:sp>
      <p:sp>
        <p:nvSpPr>
          <p:cNvPr id="42" name="Rectangle 41">
            <a:extLst>
              <a:ext uri="{FF2B5EF4-FFF2-40B4-BE49-F238E27FC236}">
                <a16:creationId xmlns:a16="http://schemas.microsoft.com/office/drawing/2014/main" id="{3AB7311E-A993-984A-BDB2-157CDE307AC1}"/>
              </a:ext>
            </a:extLst>
          </p:cNvPr>
          <p:cNvSpPr/>
          <p:nvPr/>
        </p:nvSpPr>
        <p:spPr>
          <a:xfrm>
            <a:off x="431801" y="3222716"/>
            <a:ext cx="395443" cy="3954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accent2"/>
                </a:solidFill>
              </a:rPr>
              <a:t>05</a:t>
            </a:r>
          </a:p>
        </p:txBody>
      </p:sp>
      <p:sp>
        <p:nvSpPr>
          <p:cNvPr id="43" name="Rectangle 42">
            <a:extLst>
              <a:ext uri="{FF2B5EF4-FFF2-40B4-BE49-F238E27FC236}">
                <a16:creationId xmlns:a16="http://schemas.microsoft.com/office/drawing/2014/main" id="{40654F6A-9215-0940-B25E-2282792E853C}"/>
              </a:ext>
            </a:extLst>
          </p:cNvPr>
          <p:cNvSpPr/>
          <p:nvPr/>
        </p:nvSpPr>
        <p:spPr>
          <a:xfrm>
            <a:off x="431801" y="3759014"/>
            <a:ext cx="395443" cy="3954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accent2"/>
                </a:solidFill>
              </a:rPr>
              <a:t>06</a:t>
            </a:r>
          </a:p>
        </p:txBody>
      </p:sp>
      <p:sp>
        <p:nvSpPr>
          <p:cNvPr id="44" name="Rectangle 43">
            <a:extLst>
              <a:ext uri="{FF2B5EF4-FFF2-40B4-BE49-F238E27FC236}">
                <a16:creationId xmlns:a16="http://schemas.microsoft.com/office/drawing/2014/main" id="{4132AB56-1C68-384B-AA39-E973252D518E}"/>
              </a:ext>
            </a:extLst>
          </p:cNvPr>
          <p:cNvSpPr/>
          <p:nvPr/>
        </p:nvSpPr>
        <p:spPr>
          <a:xfrm>
            <a:off x="4572001" y="1080585"/>
            <a:ext cx="395443" cy="3954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accent2"/>
                </a:solidFill>
              </a:rPr>
              <a:t>08</a:t>
            </a:r>
          </a:p>
        </p:txBody>
      </p:sp>
      <p:sp>
        <p:nvSpPr>
          <p:cNvPr id="45" name="Rectangle 44">
            <a:extLst>
              <a:ext uri="{FF2B5EF4-FFF2-40B4-BE49-F238E27FC236}">
                <a16:creationId xmlns:a16="http://schemas.microsoft.com/office/drawing/2014/main" id="{6EE1790E-076C-B04C-A74F-263E1F686264}"/>
              </a:ext>
            </a:extLst>
          </p:cNvPr>
          <p:cNvSpPr/>
          <p:nvPr/>
        </p:nvSpPr>
        <p:spPr>
          <a:xfrm>
            <a:off x="4572001" y="1606598"/>
            <a:ext cx="395443" cy="3954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accent2"/>
                </a:solidFill>
              </a:rPr>
              <a:t>09</a:t>
            </a:r>
          </a:p>
        </p:txBody>
      </p:sp>
      <p:sp>
        <p:nvSpPr>
          <p:cNvPr id="46" name="Rectangle 45">
            <a:extLst>
              <a:ext uri="{FF2B5EF4-FFF2-40B4-BE49-F238E27FC236}">
                <a16:creationId xmlns:a16="http://schemas.microsoft.com/office/drawing/2014/main" id="{22111AA2-36EE-3B48-9C64-F32517572445}"/>
              </a:ext>
            </a:extLst>
          </p:cNvPr>
          <p:cNvSpPr/>
          <p:nvPr/>
        </p:nvSpPr>
        <p:spPr>
          <a:xfrm>
            <a:off x="4572001" y="2142896"/>
            <a:ext cx="395443" cy="3954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accent2"/>
                </a:solidFill>
              </a:rPr>
              <a:t>10</a:t>
            </a:r>
          </a:p>
        </p:txBody>
      </p:sp>
      <p:sp>
        <p:nvSpPr>
          <p:cNvPr id="47" name="Rectangle 46">
            <a:extLst>
              <a:ext uri="{FF2B5EF4-FFF2-40B4-BE49-F238E27FC236}">
                <a16:creationId xmlns:a16="http://schemas.microsoft.com/office/drawing/2014/main" id="{3F1CA65B-558D-C946-B985-C72B23A41679}"/>
              </a:ext>
            </a:extLst>
          </p:cNvPr>
          <p:cNvSpPr/>
          <p:nvPr/>
        </p:nvSpPr>
        <p:spPr>
          <a:xfrm>
            <a:off x="4572001" y="2679194"/>
            <a:ext cx="395443" cy="3954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accent2"/>
                </a:solidFill>
              </a:rPr>
              <a:t>11</a:t>
            </a:r>
          </a:p>
        </p:txBody>
      </p:sp>
      <p:sp>
        <p:nvSpPr>
          <p:cNvPr id="48" name="Rectangle 47">
            <a:extLst>
              <a:ext uri="{FF2B5EF4-FFF2-40B4-BE49-F238E27FC236}">
                <a16:creationId xmlns:a16="http://schemas.microsoft.com/office/drawing/2014/main" id="{4DFADEF1-68DB-254D-A850-F5F70B0C6D11}"/>
              </a:ext>
            </a:extLst>
          </p:cNvPr>
          <p:cNvSpPr/>
          <p:nvPr/>
        </p:nvSpPr>
        <p:spPr>
          <a:xfrm>
            <a:off x="4572001" y="3215492"/>
            <a:ext cx="395443" cy="3954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accent2"/>
                </a:solidFill>
              </a:rPr>
              <a:t>12</a:t>
            </a:r>
          </a:p>
        </p:txBody>
      </p:sp>
      <p:sp>
        <p:nvSpPr>
          <p:cNvPr id="49" name="Rectangle 48">
            <a:extLst>
              <a:ext uri="{FF2B5EF4-FFF2-40B4-BE49-F238E27FC236}">
                <a16:creationId xmlns:a16="http://schemas.microsoft.com/office/drawing/2014/main" id="{AD3E065B-6711-AD4E-B98D-09AE6F75D0F3}"/>
              </a:ext>
            </a:extLst>
          </p:cNvPr>
          <p:cNvSpPr/>
          <p:nvPr/>
        </p:nvSpPr>
        <p:spPr>
          <a:xfrm>
            <a:off x="4572001" y="3751791"/>
            <a:ext cx="395443" cy="3954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accent2"/>
                </a:solidFill>
              </a:rPr>
              <a:t>13</a:t>
            </a:r>
          </a:p>
        </p:txBody>
      </p:sp>
      <p:sp>
        <p:nvSpPr>
          <p:cNvPr id="24" name="Rectangle 23">
            <a:extLst>
              <a:ext uri="{FF2B5EF4-FFF2-40B4-BE49-F238E27FC236}">
                <a16:creationId xmlns:a16="http://schemas.microsoft.com/office/drawing/2014/main" id="{9A8B4FB8-F20F-480B-886F-4F35C28F6954}"/>
              </a:ext>
            </a:extLst>
          </p:cNvPr>
          <p:cNvSpPr/>
          <p:nvPr/>
        </p:nvSpPr>
        <p:spPr>
          <a:xfrm>
            <a:off x="431801" y="1080663"/>
            <a:ext cx="395443" cy="3954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accent2"/>
                </a:solidFill>
              </a:rPr>
              <a:t>01</a:t>
            </a:r>
          </a:p>
        </p:txBody>
      </p:sp>
      <p:sp>
        <p:nvSpPr>
          <p:cNvPr id="25" name="Text Placeholder 3">
            <a:extLst>
              <a:ext uri="{FF2B5EF4-FFF2-40B4-BE49-F238E27FC236}">
                <a16:creationId xmlns:a16="http://schemas.microsoft.com/office/drawing/2014/main" id="{11E2011B-F628-4186-A908-DFF3B6B1BB0F}"/>
              </a:ext>
            </a:extLst>
          </p:cNvPr>
          <p:cNvSpPr txBox="1">
            <a:spLocks/>
          </p:cNvSpPr>
          <p:nvPr/>
        </p:nvSpPr>
        <p:spPr>
          <a:xfrm>
            <a:off x="827243" y="1080740"/>
            <a:ext cx="3744757" cy="395288"/>
          </a:xfrm>
          <a:prstGeom prst="rect">
            <a:avLst/>
          </a:prstGeom>
        </p:spPr>
        <p:txBody>
          <a:bodyPr lIns="180000" tIns="72000" rIns="288000" bIns="72000" anchor="ctr" anchorCtr="0"/>
          <a:lstStyle>
            <a:lvl1pPr marL="0" indent="0" algn="l" defTabSz="685800" rtl="0" eaLnBrk="1" latinLnBrk="0" hangingPunct="1">
              <a:lnSpc>
                <a:spcPct val="120000"/>
              </a:lnSpc>
              <a:spcBef>
                <a:spcPts val="750"/>
              </a:spcBef>
              <a:spcAft>
                <a:spcPts val="600"/>
              </a:spcAft>
              <a:buFont typeface="Arial" panose="020B0604020202020204" pitchFamily="34" charset="0"/>
              <a:buNone/>
              <a:defRPr sz="1000" kern="1200">
                <a:solidFill>
                  <a:schemeClr val="tx1"/>
                </a:solidFill>
                <a:latin typeface="+mj-lt"/>
                <a:ea typeface="+mn-ea"/>
                <a:cs typeface="+mn-cs"/>
              </a:defRPr>
            </a:lvl1pPr>
            <a:lvl2pPr marL="404813" indent="-134541" algn="l" defTabSz="685800" rtl="0" eaLnBrk="1" latinLnBrk="0" hangingPunct="1">
              <a:lnSpc>
                <a:spcPct val="120000"/>
              </a:lnSpc>
              <a:spcBef>
                <a:spcPts val="375"/>
              </a:spcBef>
              <a:spcAft>
                <a:spcPts val="600"/>
              </a:spcAft>
              <a:buClr>
                <a:schemeClr val="accent1"/>
              </a:buClr>
              <a:buFont typeface="Arial" panose="020B0604020202020204" pitchFamily="34" charset="0"/>
              <a:buChar char="•"/>
              <a:defRPr sz="1000" kern="1200">
                <a:solidFill>
                  <a:schemeClr val="tx1"/>
                </a:solidFill>
                <a:latin typeface="+mj-lt"/>
                <a:ea typeface="+mn-ea"/>
                <a:cs typeface="+mn-cs"/>
              </a:defRPr>
            </a:lvl2pPr>
            <a:lvl3pPr marL="675085" indent="-134541" algn="l" defTabSz="685800" rtl="0" eaLnBrk="1" latinLnBrk="0" hangingPunct="1">
              <a:lnSpc>
                <a:spcPct val="120000"/>
              </a:lnSpc>
              <a:spcBef>
                <a:spcPts val="375"/>
              </a:spcBef>
              <a:spcAft>
                <a:spcPts val="600"/>
              </a:spcAft>
              <a:buClr>
                <a:schemeClr val="accent2"/>
              </a:buClr>
              <a:buFont typeface="Arial" panose="020B0604020202020204" pitchFamily="34" charset="0"/>
              <a:buChar char="•"/>
              <a:defRPr sz="1000" kern="1200">
                <a:solidFill>
                  <a:schemeClr val="tx1"/>
                </a:solidFill>
                <a:latin typeface="+mj-lt"/>
                <a:ea typeface="+mn-ea"/>
                <a:cs typeface="+mn-cs"/>
              </a:defRPr>
            </a:lvl3pPr>
            <a:lvl4pPr marL="945356" indent="-134541" algn="l" defTabSz="685800" rtl="0" eaLnBrk="1" latinLnBrk="0" hangingPunct="1">
              <a:lnSpc>
                <a:spcPct val="120000"/>
              </a:lnSpc>
              <a:spcBef>
                <a:spcPts val="375"/>
              </a:spcBef>
              <a:spcAft>
                <a:spcPts val="600"/>
              </a:spcAft>
              <a:buClr>
                <a:schemeClr val="accent3"/>
              </a:buClr>
              <a:buFont typeface="Arial" panose="020B0604020202020204" pitchFamily="34" charset="0"/>
              <a:buChar char="•"/>
              <a:defRPr sz="1000" kern="1200">
                <a:solidFill>
                  <a:schemeClr val="tx1"/>
                </a:solidFill>
                <a:latin typeface="+mj-lt"/>
                <a:ea typeface="+mn-ea"/>
                <a:cs typeface="+mn-cs"/>
              </a:defRPr>
            </a:lvl4pPr>
            <a:lvl5pPr marL="1215629" indent="-134541" algn="l" defTabSz="685800" rtl="0" eaLnBrk="1" latinLnBrk="0" hangingPunct="1">
              <a:lnSpc>
                <a:spcPct val="120000"/>
              </a:lnSpc>
              <a:spcBef>
                <a:spcPts val="375"/>
              </a:spcBef>
              <a:spcAft>
                <a:spcPts val="600"/>
              </a:spcAft>
              <a:buClr>
                <a:schemeClr val="accent5"/>
              </a:buClr>
              <a:buFont typeface="Arial" panose="020B0604020202020204" pitchFamily="34" charset="0"/>
              <a:buChar char="•"/>
              <a:defRPr sz="10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t>Introduction to Dialogflow</a:t>
            </a:r>
            <a:endParaRPr lang="en-US" dirty="0"/>
          </a:p>
        </p:txBody>
      </p:sp>
      <p:sp>
        <p:nvSpPr>
          <p:cNvPr id="26" name="Text Placeholder 32">
            <a:extLst>
              <a:ext uri="{FF2B5EF4-FFF2-40B4-BE49-F238E27FC236}">
                <a16:creationId xmlns:a16="http://schemas.microsoft.com/office/drawing/2014/main" id="{6B7F9F5E-AFF8-43E6-A76E-B3A05B0095BF}"/>
              </a:ext>
            </a:extLst>
          </p:cNvPr>
          <p:cNvSpPr txBox="1">
            <a:spLocks/>
          </p:cNvSpPr>
          <p:nvPr/>
        </p:nvSpPr>
        <p:spPr>
          <a:xfrm>
            <a:off x="827244" y="4287742"/>
            <a:ext cx="3744757" cy="395288"/>
          </a:xfrm>
          <a:prstGeom prst="rect">
            <a:avLst/>
          </a:prstGeom>
        </p:spPr>
        <p:txBody>
          <a:bodyPr lIns="180000" tIns="72000" rIns="288000" bIns="72000" anchor="ctr" anchorCtr="0"/>
          <a:lstStyle>
            <a:lvl1pPr marL="0" indent="0" algn="l" defTabSz="685800" rtl="0" eaLnBrk="1" latinLnBrk="0" hangingPunct="1">
              <a:lnSpc>
                <a:spcPct val="120000"/>
              </a:lnSpc>
              <a:spcBef>
                <a:spcPts val="750"/>
              </a:spcBef>
              <a:spcAft>
                <a:spcPts val="600"/>
              </a:spcAft>
              <a:buFont typeface="Arial" panose="020B0604020202020204" pitchFamily="34" charset="0"/>
              <a:buNone/>
              <a:defRPr sz="1000" kern="1200">
                <a:solidFill>
                  <a:schemeClr val="tx1"/>
                </a:solidFill>
                <a:latin typeface="+mj-lt"/>
                <a:ea typeface="+mn-ea"/>
                <a:cs typeface="+mn-cs"/>
              </a:defRPr>
            </a:lvl1pPr>
            <a:lvl2pPr marL="404813" indent="-134541" algn="l" defTabSz="685800" rtl="0" eaLnBrk="1" latinLnBrk="0" hangingPunct="1">
              <a:lnSpc>
                <a:spcPct val="120000"/>
              </a:lnSpc>
              <a:spcBef>
                <a:spcPts val="375"/>
              </a:spcBef>
              <a:spcAft>
                <a:spcPts val="600"/>
              </a:spcAft>
              <a:buClr>
                <a:schemeClr val="accent1"/>
              </a:buClr>
              <a:buFont typeface="Arial" panose="020B0604020202020204" pitchFamily="34" charset="0"/>
              <a:buChar char="•"/>
              <a:defRPr sz="1000" kern="1200">
                <a:solidFill>
                  <a:schemeClr val="tx1"/>
                </a:solidFill>
                <a:latin typeface="+mj-lt"/>
                <a:ea typeface="+mn-ea"/>
                <a:cs typeface="+mn-cs"/>
              </a:defRPr>
            </a:lvl2pPr>
            <a:lvl3pPr marL="675085" indent="-134541" algn="l" defTabSz="685800" rtl="0" eaLnBrk="1" latinLnBrk="0" hangingPunct="1">
              <a:lnSpc>
                <a:spcPct val="120000"/>
              </a:lnSpc>
              <a:spcBef>
                <a:spcPts val="375"/>
              </a:spcBef>
              <a:spcAft>
                <a:spcPts val="600"/>
              </a:spcAft>
              <a:buClr>
                <a:schemeClr val="accent2"/>
              </a:buClr>
              <a:buFont typeface="Arial" panose="020B0604020202020204" pitchFamily="34" charset="0"/>
              <a:buChar char="•"/>
              <a:defRPr sz="1000" kern="1200">
                <a:solidFill>
                  <a:schemeClr val="tx1"/>
                </a:solidFill>
                <a:latin typeface="+mj-lt"/>
                <a:ea typeface="+mn-ea"/>
                <a:cs typeface="+mn-cs"/>
              </a:defRPr>
            </a:lvl3pPr>
            <a:lvl4pPr marL="945356" indent="-134541" algn="l" defTabSz="685800" rtl="0" eaLnBrk="1" latinLnBrk="0" hangingPunct="1">
              <a:lnSpc>
                <a:spcPct val="120000"/>
              </a:lnSpc>
              <a:spcBef>
                <a:spcPts val="375"/>
              </a:spcBef>
              <a:spcAft>
                <a:spcPts val="600"/>
              </a:spcAft>
              <a:buClr>
                <a:schemeClr val="accent3"/>
              </a:buClr>
              <a:buFont typeface="Arial" panose="020B0604020202020204" pitchFamily="34" charset="0"/>
              <a:buChar char="•"/>
              <a:defRPr sz="1000" kern="1200">
                <a:solidFill>
                  <a:schemeClr val="tx1"/>
                </a:solidFill>
                <a:latin typeface="+mj-lt"/>
                <a:ea typeface="+mn-ea"/>
                <a:cs typeface="+mn-cs"/>
              </a:defRPr>
            </a:lvl4pPr>
            <a:lvl5pPr marL="1215629" indent="-134541" algn="l" defTabSz="685800" rtl="0" eaLnBrk="1" latinLnBrk="0" hangingPunct="1">
              <a:lnSpc>
                <a:spcPct val="120000"/>
              </a:lnSpc>
              <a:spcBef>
                <a:spcPts val="375"/>
              </a:spcBef>
              <a:spcAft>
                <a:spcPts val="600"/>
              </a:spcAft>
              <a:buClr>
                <a:schemeClr val="accent5"/>
              </a:buClr>
              <a:buFont typeface="Arial" panose="020B0604020202020204" pitchFamily="34" charset="0"/>
              <a:buChar char="•"/>
              <a:defRPr sz="10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Contexts</a:t>
            </a:r>
          </a:p>
        </p:txBody>
      </p:sp>
      <p:sp>
        <p:nvSpPr>
          <p:cNvPr id="27" name="Rectangle 26">
            <a:extLst>
              <a:ext uri="{FF2B5EF4-FFF2-40B4-BE49-F238E27FC236}">
                <a16:creationId xmlns:a16="http://schemas.microsoft.com/office/drawing/2014/main" id="{66802126-59A9-471A-897D-E3A27A9D2492}"/>
              </a:ext>
            </a:extLst>
          </p:cNvPr>
          <p:cNvSpPr/>
          <p:nvPr/>
        </p:nvSpPr>
        <p:spPr>
          <a:xfrm>
            <a:off x="431801" y="4290605"/>
            <a:ext cx="395443" cy="3954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accent2"/>
                </a:solidFill>
              </a:rPr>
              <a:t>07</a:t>
            </a:r>
          </a:p>
        </p:txBody>
      </p:sp>
      <p:sp>
        <p:nvSpPr>
          <p:cNvPr id="28" name="Text Placeholder 3">
            <a:extLst>
              <a:ext uri="{FF2B5EF4-FFF2-40B4-BE49-F238E27FC236}">
                <a16:creationId xmlns:a16="http://schemas.microsoft.com/office/drawing/2014/main" id="{2174B995-0A41-4ECF-8D00-ACA91F561343}"/>
              </a:ext>
            </a:extLst>
          </p:cNvPr>
          <p:cNvSpPr txBox="1">
            <a:spLocks/>
          </p:cNvSpPr>
          <p:nvPr/>
        </p:nvSpPr>
        <p:spPr>
          <a:xfrm>
            <a:off x="827244" y="1616883"/>
            <a:ext cx="3744757" cy="395288"/>
          </a:xfrm>
          <a:prstGeom prst="rect">
            <a:avLst/>
          </a:prstGeom>
        </p:spPr>
        <p:txBody>
          <a:bodyPr lIns="180000" tIns="72000" rIns="288000" bIns="72000" anchor="ctr" anchorCtr="0"/>
          <a:lstStyle>
            <a:lvl1pPr marL="0" indent="0" algn="l" defTabSz="685800" rtl="0" eaLnBrk="1" latinLnBrk="0" hangingPunct="1">
              <a:lnSpc>
                <a:spcPct val="120000"/>
              </a:lnSpc>
              <a:spcBef>
                <a:spcPts val="750"/>
              </a:spcBef>
              <a:spcAft>
                <a:spcPts val="600"/>
              </a:spcAft>
              <a:buFont typeface="Arial" panose="020B0604020202020204" pitchFamily="34" charset="0"/>
              <a:buNone/>
              <a:defRPr sz="1000" kern="1200">
                <a:solidFill>
                  <a:schemeClr val="tx1"/>
                </a:solidFill>
                <a:latin typeface="+mj-lt"/>
                <a:ea typeface="+mn-ea"/>
                <a:cs typeface="+mn-cs"/>
              </a:defRPr>
            </a:lvl1pPr>
            <a:lvl2pPr marL="404813" indent="-134541" algn="l" defTabSz="685800" rtl="0" eaLnBrk="1" latinLnBrk="0" hangingPunct="1">
              <a:lnSpc>
                <a:spcPct val="120000"/>
              </a:lnSpc>
              <a:spcBef>
                <a:spcPts val="375"/>
              </a:spcBef>
              <a:spcAft>
                <a:spcPts val="600"/>
              </a:spcAft>
              <a:buClr>
                <a:schemeClr val="accent1"/>
              </a:buClr>
              <a:buFont typeface="Arial" panose="020B0604020202020204" pitchFamily="34" charset="0"/>
              <a:buChar char="•"/>
              <a:defRPr sz="1000" kern="1200">
                <a:solidFill>
                  <a:schemeClr val="tx1"/>
                </a:solidFill>
                <a:latin typeface="+mj-lt"/>
                <a:ea typeface="+mn-ea"/>
                <a:cs typeface="+mn-cs"/>
              </a:defRPr>
            </a:lvl2pPr>
            <a:lvl3pPr marL="675085" indent="-134541" algn="l" defTabSz="685800" rtl="0" eaLnBrk="1" latinLnBrk="0" hangingPunct="1">
              <a:lnSpc>
                <a:spcPct val="120000"/>
              </a:lnSpc>
              <a:spcBef>
                <a:spcPts val="375"/>
              </a:spcBef>
              <a:spcAft>
                <a:spcPts val="600"/>
              </a:spcAft>
              <a:buClr>
                <a:schemeClr val="accent2"/>
              </a:buClr>
              <a:buFont typeface="Arial" panose="020B0604020202020204" pitchFamily="34" charset="0"/>
              <a:buChar char="•"/>
              <a:defRPr sz="1000" kern="1200">
                <a:solidFill>
                  <a:schemeClr val="tx1"/>
                </a:solidFill>
                <a:latin typeface="+mj-lt"/>
                <a:ea typeface="+mn-ea"/>
                <a:cs typeface="+mn-cs"/>
              </a:defRPr>
            </a:lvl3pPr>
            <a:lvl4pPr marL="945356" indent="-134541" algn="l" defTabSz="685800" rtl="0" eaLnBrk="1" latinLnBrk="0" hangingPunct="1">
              <a:lnSpc>
                <a:spcPct val="120000"/>
              </a:lnSpc>
              <a:spcBef>
                <a:spcPts val="375"/>
              </a:spcBef>
              <a:spcAft>
                <a:spcPts val="600"/>
              </a:spcAft>
              <a:buClr>
                <a:schemeClr val="accent3"/>
              </a:buClr>
              <a:buFont typeface="Arial" panose="020B0604020202020204" pitchFamily="34" charset="0"/>
              <a:buChar char="•"/>
              <a:defRPr sz="1000" kern="1200">
                <a:solidFill>
                  <a:schemeClr val="tx1"/>
                </a:solidFill>
                <a:latin typeface="+mj-lt"/>
                <a:ea typeface="+mn-ea"/>
                <a:cs typeface="+mn-cs"/>
              </a:defRPr>
            </a:lvl4pPr>
            <a:lvl5pPr marL="1215629" indent="-134541" algn="l" defTabSz="685800" rtl="0" eaLnBrk="1" latinLnBrk="0" hangingPunct="1">
              <a:lnSpc>
                <a:spcPct val="120000"/>
              </a:lnSpc>
              <a:spcBef>
                <a:spcPts val="375"/>
              </a:spcBef>
              <a:spcAft>
                <a:spcPts val="600"/>
              </a:spcAft>
              <a:buClr>
                <a:schemeClr val="accent5"/>
              </a:buClr>
              <a:buFont typeface="Arial" panose="020B0604020202020204" pitchFamily="34" charset="0"/>
              <a:buChar char="•"/>
              <a:defRPr sz="10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Introduction to STT and TTS</a:t>
            </a:r>
          </a:p>
        </p:txBody>
      </p:sp>
      <p:sp>
        <p:nvSpPr>
          <p:cNvPr id="50" name="Rectangle 49">
            <a:extLst>
              <a:ext uri="{FF2B5EF4-FFF2-40B4-BE49-F238E27FC236}">
                <a16:creationId xmlns:a16="http://schemas.microsoft.com/office/drawing/2014/main" id="{6BBCC0AF-E97F-4FA9-B2F4-F5342959F9B0}"/>
              </a:ext>
            </a:extLst>
          </p:cNvPr>
          <p:cNvSpPr/>
          <p:nvPr/>
        </p:nvSpPr>
        <p:spPr>
          <a:xfrm>
            <a:off x="431801" y="1619746"/>
            <a:ext cx="395443" cy="3954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accent2"/>
                </a:solidFill>
              </a:rPr>
              <a:t>02</a:t>
            </a:r>
          </a:p>
        </p:txBody>
      </p:sp>
    </p:spTree>
    <p:extLst>
      <p:ext uri="{BB962C8B-B14F-4D97-AF65-F5344CB8AC3E}">
        <p14:creationId xmlns:p14="http://schemas.microsoft.com/office/powerpoint/2010/main" val="230914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3E89C72E-C619-4988-8ED4-9BA3B81D7774}"/>
              </a:ext>
            </a:extLst>
          </p:cNvPr>
          <p:cNvPicPr>
            <a:picLocks noChangeAspect="1"/>
          </p:cNvPicPr>
          <p:nvPr/>
        </p:nvPicPr>
        <p:blipFill>
          <a:blip r:embed="rId2"/>
          <a:stretch>
            <a:fillRect/>
          </a:stretch>
        </p:blipFill>
        <p:spPr>
          <a:xfrm>
            <a:off x="414704" y="1147556"/>
            <a:ext cx="3654774" cy="3338328"/>
          </a:xfrm>
          <a:prstGeom prst="rect">
            <a:avLst/>
          </a:prstGeom>
        </p:spPr>
      </p:pic>
      <p:sp>
        <p:nvSpPr>
          <p:cNvPr id="4" name="Title 3">
            <a:extLst>
              <a:ext uri="{FF2B5EF4-FFF2-40B4-BE49-F238E27FC236}">
                <a16:creationId xmlns:a16="http://schemas.microsoft.com/office/drawing/2014/main" id="{16227BB8-D6EA-2A4B-9E29-4B163BA076AA}"/>
              </a:ext>
            </a:extLst>
          </p:cNvPr>
          <p:cNvSpPr>
            <a:spLocks noGrp="1"/>
          </p:cNvSpPr>
          <p:nvPr>
            <p:ph type="title"/>
          </p:nvPr>
        </p:nvSpPr>
        <p:spPr/>
        <p:txBody>
          <a:bodyPr/>
          <a:lstStyle/>
          <a:p>
            <a:r>
              <a:rPr lang="en-US" dirty="0"/>
              <a:t>Create a new intent : responses</a:t>
            </a:r>
          </a:p>
        </p:txBody>
      </p:sp>
      <p:sp>
        <p:nvSpPr>
          <p:cNvPr id="14" name="Ellipse 13">
            <a:extLst>
              <a:ext uri="{FF2B5EF4-FFF2-40B4-BE49-F238E27FC236}">
                <a16:creationId xmlns:a16="http://schemas.microsoft.com/office/drawing/2014/main" id="{D4EE5A80-6E90-415D-AC6E-401657369164}"/>
              </a:ext>
            </a:extLst>
          </p:cNvPr>
          <p:cNvSpPr/>
          <p:nvPr/>
        </p:nvSpPr>
        <p:spPr>
          <a:xfrm>
            <a:off x="1916170" y="4189185"/>
            <a:ext cx="1127830" cy="433124"/>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 name="Image 1">
            <a:extLst>
              <a:ext uri="{FF2B5EF4-FFF2-40B4-BE49-F238E27FC236}">
                <a16:creationId xmlns:a16="http://schemas.microsoft.com/office/drawing/2014/main" id="{3857E306-3170-4AED-A83C-F6832717CC30}"/>
              </a:ext>
            </a:extLst>
          </p:cNvPr>
          <p:cNvPicPr>
            <a:picLocks noChangeAspect="1"/>
          </p:cNvPicPr>
          <p:nvPr/>
        </p:nvPicPr>
        <p:blipFill>
          <a:blip r:embed="rId3"/>
          <a:stretch>
            <a:fillRect/>
          </a:stretch>
        </p:blipFill>
        <p:spPr>
          <a:xfrm>
            <a:off x="5192038" y="2525302"/>
            <a:ext cx="3177892" cy="1501686"/>
          </a:xfrm>
          <a:prstGeom prst="rect">
            <a:avLst/>
          </a:prstGeom>
        </p:spPr>
      </p:pic>
      <p:cxnSp>
        <p:nvCxnSpPr>
          <p:cNvPr id="15" name="Connecteur droit avec flèche 14">
            <a:extLst>
              <a:ext uri="{FF2B5EF4-FFF2-40B4-BE49-F238E27FC236}">
                <a16:creationId xmlns:a16="http://schemas.microsoft.com/office/drawing/2014/main" id="{2652A641-68F5-4CC2-8C6A-CD677F362E57}"/>
              </a:ext>
            </a:extLst>
          </p:cNvPr>
          <p:cNvCxnSpPr>
            <a:cxnSpLocks/>
            <a:endCxn id="14" idx="7"/>
          </p:cNvCxnSpPr>
          <p:nvPr/>
        </p:nvCxnSpPr>
        <p:spPr>
          <a:xfrm flipH="1">
            <a:off x="2878833" y="3363238"/>
            <a:ext cx="2469781" cy="889377"/>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23601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361C602-4180-4341-9CFD-69A413391A5C}"/>
              </a:ext>
            </a:extLst>
          </p:cNvPr>
          <p:cNvSpPr>
            <a:spLocks noGrp="1"/>
          </p:cNvSpPr>
          <p:nvPr>
            <p:ph type="title"/>
          </p:nvPr>
        </p:nvSpPr>
        <p:spPr/>
        <p:txBody>
          <a:bodyPr/>
          <a:lstStyle/>
          <a:p>
            <a:r>
              <a:rPr lang="fr-FR" dirty="0"/>
              <a:t>Save &amp; Test</a:t>
            </a:r>
          </a:p>
        </p:txBody>
      </p:sp>
      <p:pic>
        <p:nvPicPr>
          <p:cNvPr id="3" name="Image 2">
            <a:extLst>
              <a:ext uri="{FF2B5EF4-FFF2-40B4-BE49-F238E27FC236}">
                <a16:creationId xmlns:a16="http://schemas.microsoft.com/office/drawing/2014/main" id="{88BCE99A-A036-416B-A97A-41A004374E91}"/>
              </a:ext>
            </a:extLst>
          </p:cNvPr>
          <p:cNvPicPr>
            <a:picLocks noChangeAspect="1"/>
          </p:cNvPicPr>
          <p:nvPr/>
        </p:nvPicPr>
        <p:blipFill>
          <a:blip r:embed="rId2"/>
          <a:stretch>
            <a:fillRect/>
          </a:stretch>
        </p:blipFill>
        <p:spPr>
          <a:xfrm>
            <a:off x="1890191" y="3055978"/>
            <a:ext cx="1754883" cy="1379829"/>
          </a:xfrm>
          <a:prstGeom prst="rect">
            <a:avLst/>
          </a:prstGeom>
        </p:spPr>
      </p:pic>
      <p:pic>
        <p:nvPicPr>
          <p:cNvPr id="4" name="Image 3">
            <a:extLst>
              <a:ext uri="{FF2B5EF4-FFF2-40B4-BE49-F238E27FC236}">
                <a16:creationId xmlns:a16="http://schemas.microsoft.com/office/drawing/2014/main" id="{CDBEE127-7762-4442-B883-AA77D8FF2313}"/>
              </a:ext>
            </a:extLst>
          </p:cNvPr>
          <p:cNvPicPr>
            <a:picLocks noChangeAspect="1"/>
          </p:cNvPicPr>
          <p:nvPr/>
        </p:nvPicPr>
        <p:blipFill>
          <a:blip r:embed="rId3"/>
          <a:stretch>
            <a:fillRect/>
          </a:stretch>
        </p:blipFill>
        <p:spPr>
          <a:xfrm>
            <a:off x="244231" y="726619"/>
            <a:ext cx="4133589" cy="1602741"/>
          </a:xfrm>
          <a:prstGeom prst="rect">
            <a:avLst/>
          </a:prstGeom>
        </p:spPr>
      </p:pic>
      <p:sp>
        <p:nvSpPr>
          <p:cNvPr id="5" name="Ellipse 4">
            <a:extLst>
              <a:ext uri="{FF2B5EF4-FFF2-40B4-BE49-F238E27FC236}">
                <a16:creationId xmlns:a16="http://schemas.microsoft.com/office/drawing/2014/main" id="{5F959F56-8782-4D03-A172-F258EB232606}"/>
              </a:ext>
            </a:extLst>
          </p:cNvPr>
          <p:cNvSpPr/>
          <p:nvPr/>
        </p:nvSpPr>
        <p:spPr>
          <a:xfrm>
            <a:off x="3540383" y="732969"/>
            <a:ext cx="1127830" cy="433124"/>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6" name="Connecteur droit avec flèche 5">
            <a:extLst>
              <a:ext uri="{FF2B5EF4-FFF2-40B4-BE49-F238E27FC236}">
                <a16:creationId xmlns:a16="http://schemas.microsoft.com/office/drawing/2014/main" id="{F929E450-D869-455B-B919-7B3A09185398}"/>
              </a:ext>
            </a:extLst>
          </p:cNvPr>
          <p:cNvCxnSpPr>
            <a:cxnSpLocks/>
            <a:endCxn id="5" idx="4"/>
          </p:cNvCxnSpPr>
          <p:nvPr/>
        </p:nvCxnSpPr>
        <p:spPr>
          <a:xfrm flipV="1">
            <a:off x="2937353" y="1166093"/>
            <a:ext cx="1166945" cy="1889886"/>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pic>
        <p:nvPicPr>
          <p:cNvPr id="8" name="Image 7">
            <a:extLst>
              <a:ext uri="{FF2B5EF4-FFF2-40B4-BE49-F238E27FC236}">
                <a16:creationId xmlns:a16="http://schemas.microsoft.com/office/drawing/2014/main" id="{0E528E55-535B-4619-9A40-C0F36D027DBF}"/>
              </a:ext>
            </a:extLst>
          </p:cNvPr>
          <p:cNvPicPr>
            <a:picLocks noChangeAspect="1"/>
          </p:cNvPicPr>
          <p:nvPr/>
        </p:nvPicPr>
        <p:blipFill>
          <a:blip r:embed="rId4"/>
          <a:stretch>
            <a:fillRect/>
          </a:stretch>
        </p:blipFill>
        <p:spPr>
          <a:xfrm>
            <a:off x="5840893" y="1541062"/>
            <a:ext cx="1795281" cy="3029832"/>
          </a:xfrm>
          <a:prstGeom prst="rect">
            <a:avLst/>
          </a:prstGeom>
        </p:spPr>
      </p:pic>
      <p:cxnSp>
        <p:nvCxnSpPr>
          <p:cNvPr id="11" name="Connecteur droit avec flèche 10">
            <a:extLst>
              <a:ext uri="{FF2B5EF4-FFF2-40B4-BE49-F238E27FC236}">
                <a16:creationId xmlns:a16="http://schemas.microsoft.com/office/drawing/2014/main" id="{85D784E9-F38C-42ED-88D4-7A1FD3B40BEA}"/>
              </a:ext>
            </a:extLst>
          </p:cNvPr>
          <p:cNvCxnSpPr>
            <a:cxnSpLocks/>
          </p:cNvCxnSpPr>
          <p:nvPr/>
        </p:nvCxnSpPr>
        <p:spPr>
          <a:xfrm flipH="1">
            <a:off x="3722255" y="3414034"/>
            <a:ext cx="2071033" cy="331858"/>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361527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33A18CE-9168-4F6E-8B00-ADC5A99F7A6D}"/>
              </a:ext>
            </a:extLst>
          </p:cNvPr>
          <p:cNvSpPr>
            <a:spLocks noGrp="1"/>
          </p:cNvSpPr>
          <p:nvPr>
            <p:ph type="title"/>
          </p:nvPr>
        </p:nvSpPr>
        <p:spPr/>
        <p:txBody>
          <a:bodyPr/>
          <a:lstStyle/>
          <a:p>
            <a:r>
              <a:rPr lang="fr-FR" dirty="0" err="1"/>
              <a:t>Add</a:t>
            </a:r>
            <a:r>
              <a:rPr lang="fr-FR" dirty="0"/>
              <a:t> system </a:t>
            </a:r>
            <a:r>
              <a:rPr lang="fr-FR" dirty="0" err="1"/>
              <a:t>entities</a:t>
            </a:r>
            <a:endParaRPr lang="fr-FR" dirty="0"/>
          </a:p>
        </p:txBody>
      </p:sp>
      <p:pic>
        <p:nvPicPr>
          <p:cNvPr id="3" name="Image 2">
            <a:extLst>
              <a:ext uri="{FF2B5EF4-FFF2-40B4-BE49-F238E27FC236}">
                <a16:creationId xmlns:a16="http://schemas.microsoft.com/office/drawing/2014/main" id="{58251764-3A2D-4F8C-A43B-C1D7348D7DC0}"/>
              </a:ext>
            </a:extLst>
          </p:cNvPr>
          <p:cNvPicPr>
            <a:picLocks noChangeAspect="1"/>
          </p:cNvPicPr>
          <p:nvPr/>
        </p:nvPicPr>
        <p:blipFill>
          <a:blip r:embed="rId2"/>
          <a:stretch>
            <a:fillRect/>
          </a:stretch>
        </p:blipFill>
        <p:spPr>
          <a:xfrm>
            <a:off x="774633" y="643272"/>
            <a:ext cx="4497776" cy="2634104"/>
          </a:xfrm>
          <a:prstGeom prst="rect">
            <a:avLst/>
          </a:prstGeom>
        </p:spPr>
      </p:pic>
      <p:sp>
        <p:nvSpPr>
          <p:cNvPr id="5" name="Ellipse 4">
            <a:extLst>
              <a:ext uri="{FF2B5EF4-FFF2-40B4-BE49-F238E27FC236}">
                <a16:creationId xmlns:a16="http://schemas.microsoft.com/office/drawing/2014/main" id="{75D01B4D-CB9A-47FD-B7BD-C5D7A351587B}"/>
              </a:ext>
            </a:extLst>
          </p:cNvPr>
          <p:cNvSpPr/>
          <p:nvPr/>
        </p:nvSpPr>
        <p:spPr>
          <a:xfrm>
            <a:off x="1929100" y="2415420"/>
            <a:ext cx="2035681" cy="433124"/>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0" name="Image 9">
            <a:extLst>
              <a:ext uri="{FF2B5EF4-FFF2-40B4-BE49-F238E27FC236}">
                <a16:creationId xmlns:a16="http://schemas.microsoft.com/office/drawing/2014/main" id="{74DBF9F3-8EE3-46A4-A8A4-F6345FB1CC0C}"/>
              </a:ext>
            </a:extLst>
          </p:cNvPr>
          <p:cNvPicPr>
            <a:picLocks noChangeAspect="1"/>
          </p:cNvPicPr>
          <p:nvPr/>
        </p:nvPicPr>
        <p:blipFill>
          <a:blip r:embed="rId3"/>
          <a:stretch>
            <a:fillRect/>
          </a:stretch>
        </p:blipFill>
        <p:spPr>
          <a:xfrm>
            <a:off x="1870015" y="3392254"/>
            <a:ext cx="3402394" cy="1611895"/>
          </a:xfrm>
          <a:prstGeom prst="rect">
            <a:avLst/>
          </a:prstGeom>
        </p:spPr>
      </p:pic>
      <p:sp>
        <p:nvSpPr>
          <p:cNvPr id="11" name="Ellipse 10">
            <a:extLst>
              <a:ext uri="{FF2B5EF4-FFF2-40B4-BE49-F238E27FC236}">
                <a16:creationId xmlns:a16="http://schemas.microsoft.com/office/drawing/2014/main" id="{4264F00D-296F-43A8-9D51-49D66AA21E6B}"/>
              </a:ext>
            </a:extLst>
          </p:cNvPr>
          <p:cNvSpPr/>
          <p:nvPr/>
        </p:nvSpPr>
        <p:spPr>
          <a:xfrm>
            <a:off x="1535531" y="4027315"/>
            <a:ext cx="2035681" cy="433124"/>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Accolade fermante 11">
            <a:extLst>
              <a:ext uri="{FF2B5EF4-FFF2-40B4-BE49-F238E27FC236}">
                <a16:creationId xmlns:a16="http://schemas.microsoft.com/office/drawing/2014/main" id="{069E2CD7-B194-4668-84ED-72572902DCCB}"/>
              </a:ext>
            </a:extLst>
          </p:cNvPr>
          <p:cNvSpPr/>
          <p:nvPr/>
        </p:nvSpPr>
        <p:spPr>
          <a:xfrm>
            <a:off x="5404078" y="726510"/>
            <a:ext cx="639732" cy="4277639"/>
          </a:xfrm>
          <a:prstGeom prst="rightBrace">
            <a:avLst>
              <a:gd name="adj1" fmla="val 8333"/>
              <a:gd name="adj2" fmla="val 50000"/>
            </a:avLst>
          </a:prstGeom>
          <a:no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a:solidFill>
                <a:schemeClr val="lt1"/>
              </a:solidFill>
            </a:endParaRPr>
          </a:p>
        </p:txBody>
      </p:sp>
      <p:pic>
        <p:nvPicPr>
          <p:cNvPr id="13" name="Image 12">
            <a:extLst>
              <a:ext uri="{FF2B5EF4-FFF2-40B4-BE49-F238E27FC236}">
                <a16:creationId xmlns:a16="http://schemas.microsoft.com/office/drawing/2014/main" id="{2449E080-82FC-4719-9F18-101965A02454}"/>
              </a:ext>
            </a:extLst>
          </p:cNvPr>
          <p:cNvPicPr>
            <a:picLocks noChangeAspect="1"/>
          </p:cNvPicPr>
          <p:nvPr/>
        </p:nvPicPr>
        <p:blipFill>
          <a:blip r:embed="rId4"/>
          <a:stretch>
            <a:fillRect/>
          </a:stretch>
        </p:blipFill>
        <p:spPr>
          <a:xfrm>
            <a:off x="6570834" y="864406"/>
            <a:ext cx="1884652" cy="3814176"/>
          </a:xfrm>
          <a:prstGeom prst="rect">
            <a:avLst/>
          </a:prstGeom>
        </p:spPr>
      </p:pic>
      <p:sp>
        <p:nvSpPr>
          <p:cNvPr id="9" name="Ellipse 8">
            <a:extLst>
              <a:ext uri="{FF2B5EF4-FFF2-40B4-BE49-F238E27FC236}">
                <a16:creationId xmlns:a16="http://schemas.microsoft.com/office/drawing/2014/main" id="{721E9124-460C-4270-8BD9-7B9A43C02EC6}"/>
              </a:ext>
            </a:extLst>
          </p:cNvPr>
          <p:cNvSpPr/>
          <p:nvPr/>
        </p:nvSpPr>
        <p:spPr>
          <a:xfrm>
            <a:off x="6419805" y="2554932"/>
            <a:ext cx="1446541" cy="433124"/>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373657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33A18CE-9168-4F6E-8B00-ADC5A99F7A6D}"/>
              </a:ext>
            </a:extLst>
          </p:cNvPr>
          <p:cNvSpPr>
            <a:spLocks noGrp="1"/>
          </p:cNvSpPr>
          <p:nvPr>
            <p:ph type="title"/>
          </p:nvPr>
        </p:nvSpPr>
        <p:spPr/>
        <p:txBody>
          <a:bodyPr/>
          <a:lstStyle/>
          <a:p>
            <a:r>
              <a:rPr lang="fr-FR" dirty="0"/>
              <a:t>Tag / </a:t>
            </a:r>
            <a:r>
              <a:rPr lang="fr-FR" dirty="0" err="1"/>
              <a:t>untag</a:t>
            </a:r>
            <a:r>
              <a:rPr lang="fr-FR" dirty="0"/>
              <a:t> </a:t>
            </a:r>
            <a:r>
              <a:rPr lang="fr-FR" dirty="0" err="1"/>
              <a:t>with</a:t>
            </a:r>
            <a:r>
              <a:rPr lang="fr-FR" dirty="0"/>
              <a:t> an </a:t>
            </a:r>
            <a:r>
              <a:rPr lang="fr-FR" dirty="0" err="1"/>
              <a:t>entity</a:t>
            </a:r>
            <a:endParaRPr lang="fr-FR" dirty="0"/>
          </a:p>
        </p:txBody>
      </p:sp>
      <p:pic>
        <p:nvPicPr>
          <p:cNvPr id="4" name="Image 3">
            <a:extLst>
              <a:ext uri="{FF2B5EF4-FFF2-40B4-BE49-F238E27FC236}">
                <a16:creationId xmlns:a16="http://schemas.microsoft.com/office/drawing/2014/main" id="{CEB1CED9-D22A-4426-B64F-9FB15B4E16F9}"/>
              </a:ext>
            </a:extLst>
          </p:cNvPr>
          <p:cNvPicPr>
            <a:picLocks noChangeAspect="1"/>
          </p:cNvPicPr>
          <p:nvPr/>
        </p:nvPicPr>
        <p:blipFill>
          <a:blip r:embed="rId2"/>
          <a:stretch>
            <a:fillRect/>
          </a:stretch>
        </p:blipFill>
        <p:spPr>
          <a:xfrm>
            <a:off x="242099" y="1008787"/>
            <a:ext cx="2974181" cy="2250731"/>
          </a:xfrm>
          <a:prstGeom prst="rect">
            <a:avLst/>
          </a:prstGeom>
        </p:spPr>
      </p:pic>
      <p:sp>
        <p:nvSpPr>
          <p:cNvPr id="9" name="Ellipse 8">
            <a:extLst>
              <a:ext uri="{FF2B5EF4-FFF2-40B4-BE49-F238E27FC236}">
                <a16:creationId xmlns:a16="http://schemas.microsoft.com/office/drawing/2014/main" id="{721E9124-460C-4270-8BD9-7B9A43C02EC6}"/>
              </a:ext>
            </a:extLst>
          </p:cNvPr>
          <p:cNvSpPr/>
          <p:nvPr/>
        </p:nvSpPr>
        <p:spPr>
          <a:xfrm>
            <a:off x="1591303" y="2322011"/>
            <a:ext cx="1446541" cy="433124"/>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Text Placeholder 16">
            <a:extLst>
              <a:ext uri="{FF2B5EF4-FFF2-40B4-BE49-F238E27FC236}">
                <a16:creationId xmlns:a16="http://schemas.microsoft.com/office/drawing/2014/main" id="{3843860C-4E5B-44A9-93DB-27ED33B50EBE}"/>
              </a:ext>
            </a:extLst>
          </p:cNvPr>
          <p:cNvSpPr txBox="1">
            <a:spLocks/>
          </p:cNvSpPr>
          <p:nvPr/>
        </p:nvSpPr>
        <p:spPr>
          <a:xfrm>
            <a:off x="242099" y="3567672"/>
            <a:ext cx="2795745" cy="653917"/>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t>Tag : select words and select entity </a:t>
            </a:r>
            <a:endParaRPr lang="en-US" sz="1450" dirty="0"/>
          </a:p>
          <a:p>
            <a:pPr marL="690563" lvl="1" indent="-285750"/>
            <a:endParaRPr lang="en-US" sz="145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pic>
        <p:nvPicPr>
          <p:cNvPr id="6" name="Image 5">
            <a:extLst>
              <a:ext uri="{FF2B5EF4-FFF2-40B4-BE49-F238E27FC236}">
                <a16:creationId xmlns:a16="http://schemas.microsoft.com/office/drawing/2014/main" id="{58509B0B-67AF-4496-993F-6DE6A9944ADE}"/>
              </a:ext>
            </a:extLst>
          </p:cNvPr>
          <p:cNvPicPr>
            <a:picLocks noChangeAspect="1"/>
          </p:cNvPicPr>
          <p:nvPr/>
        </p:nvPicPr>
        <p:blipFill>
          <a:blip r:embed="rId3"/>
          <a:stretch>
            <a:fillRect/>
          </a:stretch>
        </p:blipFill>
        <p:spPr>
          <a:xfrm>
            <a:off x="3419475" y="2493600"/>
            <a:ext cx="5500686" cy="765918"/>
          </a:xfrm>
          <a:prstGeom prst="rect">
            <a:avLst/>
          </a:prstGeom>
        </p:spPr>
      </p:pic>
      <p:sp>
        <p:nvSpPr>
          <p:cNvPr id="15" name="Ellipse 14">
            <a:extLst>
              <a:ext uri="{FF2B5EF4-FFF2-40B4-BE49-F238E27FC236}">
                <a16:creationId xmlns:a16="http://schemas.microsoft.com/office/drawing/2014/main" id="{68203D8C-6B1C-4B01-8CAA-D90DD729A169}"/>
              </a:ext>
            </a:extLst>
          </p:cNvPr>
          <p:cNvSpPr/>
          <p:nvPr/>
        </p:nvSpPr>
        <p:spPr>
          <a:xfrm>
            <a:off x="8458200" y="2826394"/>
            <a:ext cx="515137" cy="433124"/>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Text Placeholder 16">
            <a:extLst>
              <a:ext uri="{FF2B5EF4-FFF2-40B4-BE49-F238E27FC236}">
                <a16:creationId xmlns:a16="http://schemas.microsoft.com/office/drawing/2014/main" id="{2FDA9283-2EE2-4975-8232-C2E0F50F03E8}"/>
              </a:ext>
            </a:extLst>
          </p:cNvPr>
          <p:cNvSpPr txBox="1">
            <a:spLocks/>
          </p:cNvSpPr>
          <p:nvPr/>
        </p:nvSpPr>
        <p:spPr>
          <a:xfrm>
            <a:off x="3419475" y="3567672"/>
            <a:ext cx="5553862" cy="653917"/>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r>
              <a:rPr lang="en-US" sz="1600" dirty="0" err="1"/>
              <a:t>Untag</a:t>
            </a:r>
            <a:r>
              <a:rPr lang="en-US" sz="1600" dirty="0"/>
              <a:t> : delete entity</a:t>
            </a:r>
            <a:endParaRPr lang="en-US" sz="1450" dirty="0"/>
          </a:p>
          <a:p>
            <a:pPr marL="690563" lvl="1" indent="-285750"/>
            <a:endParaRPr lang="en-US" sz="145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1018577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A780428-ABC4-48F1-826F-CFB991815FD0}"/>
              </a:ext>
            </a:extLst>
          </p:cNvPr>
          <p:cNvSpPr>
            <a:spLocks noGrp="1"/>
          </p:cNvSpPr>
          <p:nvPr>
            <p:ph type="title"/>
          </p:nvPr>
        </p:nvSpPr>
        <p:spPr/>
        <p:txBody>
          <a:bodyPr/>
          <a:lstStyle/>
          <a:p>
            <a:r>
              <a:rPr lang="fr-FR" dirty="0" err="1"/>
              <a:t>Add</a:t>
            </a:r>
            <a:r>
              <a:rPr lang="fr-FR" dirty="0"/>
              <a:t> custom </a:t>
            </a:r>
            <a:r>
              <a:rPr lang="fr-FR" dirty="0" err="1"/>
              <a:t>entities</a:t>
            </a:r>
            <a:endParaRPr lang="fr-FR" dirty="0"/>
          </a:p>
        </p:txBody>
      </p:sp>
      <p:pic>
        <p:nvPicPr>
          <p:cNvPr id="3" name="Image 2">
            <a:extLst>
              <a:ext uri="{FF2B5EF4-FFF2-40B4-BE49-F238E27FC236}">
                <a16:creationId xmlns:a16="http://schemas.microsoft.com/office/drawing/2014/main" id="{0BE440ED-0559-4A20-8EEF-A314D794989A}"/>
              </a:ext>
            </a:extLst>
          </p:cNvPr>
          <p:cNvPicPr>
            <a:picLocks noChangeAspect="1"/>
          </p:cNvPicPr>
          <p:nvPr/>
        </p:nvPicPr>
        <p:blipFill>
          <a:blip r:embed="rId2"/>
          <a:stretch>
            <a:fillRect/>
          </a:stretch>
        </p:blipFill>
        <p:spPr>
          <a:xfrm>
            <a:off x="364331" y="735805"/>
            <a:ext cx="1543050" cy="1643062"/>
          </a:xfrm>
          <a:prstGeom prst="rect">
            <a:avLst/>
          </a:prstGeom>
        </p:spPr>
      </p:pic>
      <p:pic>
        <p:nvPicPr>
          <p:cNvPr id="4" name="Image 3">
            <a:extLst>
              <a:ext uri="{FF2B5EF4-FFF2-40B4-BE49-F238E27FC236}">
                <a16:creationId xmlns:a16="http://schemas.microsoft.com/office/drawing/2014/main" id="{EFEE5B0F-35D0-4154-9FAD-D3E27A85B5EF}"/>
              </a:ext>
            </a:extLst>
          </p:cNvPr>
          <p:cNvPicPr>
            <a:picLocks noChangeAspect="1"/>
          </p:cNvPicPr>
          <p:nvPr/>
        </p:nvPicPr>
        <p:blipFill>
          <a:blip r:embed="rId3"/>
          <a:stretch>
            <a:fillRect/>
          </a:stretch>
        </p:blipFill>
        <p:spPr>
          <a:xfrm>
            <a:off x="2864643" y="653917"/>
            <a:ext cx="5379244" cy="1806839"/>
          </a:xfrm>
          <a:prstGeom prst="rect">
            <a:avLst/>
          </a:prstGeom>
        </p:spPr>
      </p:pic>
      <p:sp>
        <p:nvSpPr>
          <p:cNvPr id="5" name="Ellipse 4">
            <a:extLst>
              <a:ext uri="{FF2B5EF4-FFF2-40B4-BE49-F238E27FC236}">
                <a16:creationId xmlns:a16="http://schemas.microsoft.com/office/drawing/2014/main" id="{C848F4A4-DE16-4DAC-A6DF-9FE3C6D776EF}"/>
              </a:ext>
            </a:extLst>
          </p:cNvPr>
          <p:cNvSpPr/>
          <p:nvPr/>
        </p:nvSpPr>
        <p:spPr>
          <a:xfrm>
            <a:off x="261461" y="1673762"/>
            <a:ext cx="1645920" cy="364673"/>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6" name="Connecteur droit avec flèche 5">
            <a:extLst>
              <a:ext uri="{FF2B5EF4-FFF2-40B4-BE49-F238E27FC236}">
                <a16:creationId xmlns:a16="http://schemas.microsoft.com/office/drawing/2014/main" id="{FF054147-A0A8-418E-907F-6E9B6102FE27}"/>
              </a:ext>
            </a:extLst>
          </p:cNvPr>
          <p:cNvCxnSpPr>
            <a:cxnSpLocks/>
          </p:cNvCxnSpPr>
          <p:nvPr/>
        </p:nvCxnSpPr>
        <p:spPr>
          <a:xfrm flipH="1">
            <a:off x="1793082" y="1264444"/>
            <a:ext cx="1071561" cy="497108"/>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cxnSp>
        <p:nvCxnSpPr>
          <p:cNvPr id="9" name="Connecteur droit avec flèche 8">
            <a:extLst>
              <a:ext uri="{FF2B5EF4-FFF2-40B4-BE49-F238E27FC236}">
                <a16:creationId xmlns:a16="http://schemas.microsoft.com/office/drawing/2014/main" id="{BCA1215F-2F11-4A93-B6C1-B575404EB189}"/>
              </a:ext>
            </a:extLst>
          </p:cNvPr>
          <p:cNvCxnSpPr>
            <a:cxnSpLocks/>
          </p:cNvCxnSpPr>
          <p:nvPr/>
        </p:nvCxnSpPr>
        <p:spPr>
          <a:xfrm flipV="1">
            <a:off x="3497262" y="2353206"/>
            <a:ext cx="1" cy="653916"/>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cxnSp>
        <p:nvCxnSpPr>
          <p:cNvPr id="11" name="Connecteur droit avec flèche 10">
            <a:extLst>
              <a:ext uri="{FF2B5EF4-FFF2-40B4-BE49-F238E27FC236}">
                <a16:creationId xmlns:a16="http://schemas.microsoft.com/office/drawing/2014/main" id="{13D4F01D-D573-40A5-ACC1-F98D465627B9}"/>
              </a:ext>
            </a:extLst>
          </p:cNvPr>
          <p:cNvCxnSpPr>
            <a:cxnSpLocks/>
          </p:cNvCxnSpPr>
          <p:nvPr/>
        </p:nvCxnSpPr>
        <p:spPr>
          <a:xfrm flipV="1">
            <a:off x="5318919" y="2358693"/>
            <a:ext cx="1" cy="1306182"/>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12" name="Text Placeholder 16">
            <a:extLst>
              <a:ext uri="{FF2B5EF4-FFF2-40B4-BE49-F238E27FC236}">
                <a16:creationId xmlns:a16="http://schemas.microsoft.com/office/drawing/2014/main" id="{84A69648-1C33-49FE-8A39-3347F3D7DE63}"/>
              </a:ext>
            </a:extLst>
          </p:cNvPr>
          <p:cNvSpPr txBox="1">
            <a:spLocks/>
          </p:cNvSpPr>
          <p:nvPr/>
        </p:nvSpPr>
        <p:spPr>
          <a:xfrm>
            <a:off x="2657476" y="3010958"/>
            <a:ext cx="2148610" cy="653917"/>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t>Value of the item</a:t>
            </a:r>
            <a:endParaRPr lang="en-US" sz="1450" dirty="0"/>
          </a:p>
          <a:p>
            <a:pPr marL="690563" lvl="1" indent="-285750"/>
            <a:endParaRPr lang="en-US" sz="145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sp>
        <p:nvSpPr>
          <p:cNvPr id="14" name="Text Placeholder 16">
            <a:extLst>
              <a:ext uri="{FF2B5EF4-FFF2-40B4-BE49-F238E27FC236}">
                <a16:creationId xmlns:a16="http://schemas.microsoft.com/office/drawing/2014/main" id="{C6F2A391-A319-4D42-A048-A6741CA1F3B8}"/>
              </a:ext>
            </a:extLst>
          </p:cNvPr>
          <p:cNvSpPr txBox="1">
            <a:spLocks/>
          </p:cNvSpPr>
          <p:nvPr/>
        </p:nvSpPr>
        <p:spPr>
          <a:xfrm>
            <a:off x="4244613" y="3684452"/>
            <a:ext cx="2684819" cy="653917"/>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t>Synonyms of the item</a:t>
            </a:r>
            <a:endParaRPr lang="en-US" sz="1450" dirty="0"/>
          </a:p>
          <a:p>
            <a:pPr marL="690563" lvl="1" indent="-285750"/>
            <a:endParaRPr lang="en-US" sz="145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859247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33A18CE-9168-4F6E-8B00-ADC5A99F7A6D}"/>
              </a:ext>
            </a:extLst>
          </p:cNvPr>
          <p:cNvSpPr>
            <a:spLocks noGrp="1"/>
          </p:cNvSpPr>
          <p:nvPr>
            <p:ph type="title"/>
          </p:nvPr>
        </p:nvSpPr>
        <p:spPr/>
        <p:txBody>
          <a:bodyPr/>
          <a:lstStyle/>
          <a:p>
            <a:r>
              <a:rPr lang="fr-FR" dirty="0" err="1"/>
              <a:t>Add</a:t>
            </a:r>
            <a:r>
              <a:rPr lang="fr-FR" dirty="0"/>
              <a:t> custom </a:t>
            </a:r>
            <a:r>
              <a:rPr lang="fr-FR" dirty="0" err="1"/>
              <a:t>entities</a:t>
            </a:r>
            <a:endParaRPr lang="fr-FR" dirty="0"/>
          </a:p>
        </p:txBody>
      </p:sp>
      <p:sp>
        <p:nvSpPr>
          <p:cNvPr id="12" name="Accolade fermante 11">
            <a:extLst>
              <a:ext uri="{FF2B5EF4-FFF2-40B4-BE49-F238E27FC236}">
                <a16:creationId xmlns:a16="http://schemas.microsoft.com/office/drawing/2014/main" id="{069E2CD7-B194-4668-84ED-72572902DCCB}"/>
              </a:ext>
            </a:extLst>
          </p:cNvPr>
          <p:cNvSpPr/>
          <p:nvPr/>
        </p:nvSpPr>
        <p:spPr>
          <a:xfrm>
            <a:off x="5404078" y="726510"/>
            <a:ext cx="639732" cy="4277639"/>
          </a:xfrm>
          <a:prstGeom prst="rightBrace">
            <a:avLst>
              <a:gd name="adj1" fmla="val 8333"/>
              <a:gd name="adj2" fmla="val 50000"/>
            </a:avLst>
          </a:prstGeom>
          <a:no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a:solidFill>
                <a:schemeClr val="lt1"/>
              </a:solidFill>
            </a:endParaRPr>
          </a:p>
        </p:txBody>
      </p:sp>
      <p:pic>
        <p:nvPicPr>
          <p:cNvPr id="4" name="Image 3">
            <a:extLst>
              <a:ext uri="{FF2B5EF4-FFF2-40B4-BE49-F238E27FC236}">
                <a16:creationId xmlns:a16="http://schemas.microsoft.com/office/drawing/2014/main" id="{7A532FA9-6E05-4080-8626-C276CEDADB1A}"/>
              </a:ext>
            </a:extLst>
          </p:cNvPr>
          <p:cNvPicPr>
            <a:picLocks noChangeAspect="1"/>
          </p:cNvPicPr>
          <p:nvPr/>
        </p:nvPicPr>
        <p:blipFill>
          <a:blip r:embed="rId2"/>
          <a:stretch>
            <a:fillRect/>
          </a:stretch>
        </p:blipFill>
        <p:spPr>
          <a:xfrm>
            <a:off x="87131" y="786276"/>
            <a:ext cx="5535000" cy="1611895"/>
          </a:xfrm>
          <a:prstGeom prst="rect">
            <a:avLst/>
          </a:prstGeom>
        </p:spPr>
      </p:pic>
      <p:sp>
        <p:nvSpPr>
          <p:cNvPr id="5" name="Ellipse 4">
            <a:extLst>
              <a:ext uri="{FF2B5EF4-FFF2-40B4-BE49-F238E27FC236}">
                <a16:creationId xmlns:a16="http://schemas.microsoft.com/office/drawing/2014/main" id="{75D01B4D-CB9A-47FD-B7BD-C5D7A351587B}"/>
              </a:ext>
            </a:extLst>
          </p:cNvPr>
          <p:cNvSpPr/>
          <p:nvPr/>
        </p:nvSpPr>
        <p:spPr>
          <a:xfrm>
            <a:off x="0" y="2061706"/>
            <a:ext cx="1094076" cy="281931"/>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Image 5">
            <a:extLst>
              <a:ext uri="{FF2B5EF4-FFF2-40B4-BE49-F238E27FC236}">
                <a16:creationId xmlns:a16="http://schemas.microsoft.com/office/drawing/2014/main" id="{A0442AD6-FBA4-409D-8F8F-AD8FBB24BED4}"/>
              </a:ext>
            </a:extLst>
          </p:cNvPr>
          <p:cNvPicPr>
            <a:picLocks noChangeAspect="1"/>
          </p:cNvPicPr>
          <p:nvPr/>
        </p:nvPicPr>
        <p:blipFill>
          <a:blip r:embed="rId3"/>
          <a:stretch>
            <a:fillRect/>
          </a:stretch>
        </p:blipFill>
        <p:spPr>
          <a:xfrm>
            <a:off x="1684455" y="3041025"/>
            <a:ext cx="2150269" cy="1622476"/>
          </a:xfrm>
          <a:prstGeom prst="rect">
            <a:avLst/>
          </a:prstGeom>
        </p:spPr>
      </p:pic>
      <p:sp>
        <p:nvSpPr>
          <p:cNvPr id="11" name="Ellipse 10">
            <a:extLst>
              <a:ext uri="{FF2B5EF4-FFF2-40B4-BE49-F238E27FC236}">
                <a16:creationId xmlns:a16="http://schemas.microsoft.com/office/drawing/2014/main" id="{4264F00D-296F-43A8-9D51-49D66AA21E6B}"/>
              </a:ext>
            </a:extLst>
          </p:cNvPr>
          <p:cNvSpPr/>
          <p:nvPr/>
        </p:nvSpPr>
        <p:spPr>
          <a:xfrm>
            <a:off x="1689176" y="4041603"/>
            <a:ext cx="2035681" cy="433124"/>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a:extLst>
              <a:ext uri="{FF2B5EF4-FFF2-40B4-BE49-F238E27FC236}">
                <a16:creationId xmlns:a16="http://schemas.microsoft.com/office/drawing/2014/main" id="{D8025BE3-2699-4C6B-A543-9F0AEDB1328D}"/>
              </a:ext>
            </a:extLst>
          </p:cNvPr>
          <p:cNvPicPr>
            <a:picLocks noChangeAspect="1"/>
          </p:cNvPicPr>
          <p:nvPr/>
        </p:nvPicPr>
        <p:blipFill>
          <a:blip r:embed="rId4"/>
          <a:stretch>
            <a:fillRect/>
          </a:stretch>
        </p:blipFill>
        <p:spPr>
          <a:xfrm>
            <a:off x="6373856" y="674803"/>
            <a:ext cx="1770870" cy="4193381"/>
          </a:xfrm>
          <a:prstGeom prst="rect">
            <a:avLst/>
          </a:prstGeom>
        </p:spPr>
      </p:pic>
      <p:sp>
        <p:nvSpPr>
          <p:cNvPr id="9" name="Ellipse 8">
            <a:extLst>
              <a:ext uri="{FF2B5EF4-FFF2-40B4-BE49-F238E27FC236}">
                <a16:creationId xmlns:a16="http://schemas.microsoft.com/office/drawing/2014/main" id="{721E9124-460C-4270-8BD9-7B9A43C02EC6}"/>
              </a:ext>
            </a:extLst>
          </p:cNvPr>
          <p:cNvSpPr/>
          <p:nvPr/>
        </p:nvSpPr>
        <p:spPr>
          <a:xfrm>
            <a:off x="6373856" y="2472969"/>
            <a:ext cx="1446541" cy="433124"/>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Ellipse 13">
            <a:extLst>
              <a:ext uri="{FF2B5EF4-FFF2-40B4-BE49-F238E27FC236}">
                <a16:creationId xmlns:a16="http://schemas.microsoft.com/office/drawing/2014/main" id="{030976B1-A7ED-489F-AD9C-768721AB7ECF}"/>
              </a:ext>
            </a:extLst>
          </p:cNvPr>
          <p:cNvSpPr/>
          <p:nvPr/>
        </p:nvSpPr>
        <p:spPr>
          <a:xfrm>
            <a:off x="6346522" y="4137900"/>
            <a:ext cx="1798204" cy="808036"/>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008529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F64D0DD-064C-473D-BDAE-3D5A371D0833}"/>
              </a:ext>
            </a:extLst>
          </p:cNvPr>
          <p:cNvSpPr>
            <a:spLocks noGrp="1"/>
          </p:cNvSpPr>
          <p:nvPr>
            <p:ph type="title"/>
          </p:nvPr>
        </p:nvSpPr>
        <p:spPr/>
        <p:txBody>
          <a:bodyPr/>
          <a:lstStyle/>
          <a:p>
            <a:r>
              <a:rPr lang="en-US" dirty="0"/>
              <a:t>Secondary questions to get the entities</a:t>
            </a:r>
            <a:endParaRPr lang="fr-FR" dirty="0"/>
          </a:p>
        </p:txBody>
      </p:sp>
      <p:sp>
        <p:nvSpPr>
          <p:cNvPr id="3" name="Text Placeholder 16">
            <a:extLst>
              <a:ext uri="{FF2B5EF4-FFF2-40B4-BE49-F238E27FC236}">
                <a16:creationId xmlns:a16="http://schemas.microsoft.com/office/drawing/2014/main" id="{745DC78E-7715-432D-8D8A-9DBBC7230A85}"/>
              </a:ext>
            </a:extLst>
          </p:cNvPr>
          <p:cNvSpPr txBox="1">
            <a:spLocks/>
          </p:cNvSpPr>
          <p:nvPr/>
        </p:nvSpPr>
        <p:spPr>
          <a:xfrm>
            <a:off x="228600" y="668889"/>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solidFill>
                <a:schemeClr val="accent2"/>
              </a:solidFill>
            </a:endParaRPr>
          </a:p>
          <a:p>
            <a:pPr marL="285750" indent="-285750">
              <a:buFont typeface="Arial" panose="020B0604020202020204" pitchFamily="34" charset="0"/>
              <a:buChar char="•"/>
            </a:pPr>
            <a:r>
              <a:rPr lang="en-US" sz="1600" dirty="0"/>
              <a:t>In an intent, some entities may be mandatory (required). If so, a sub-question may be needed to enter this value.</a:t>
            </a:r>
            <a:endParaRPr lang="en-US" sz="145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pic>
        <p:nvPicPr>
          <p:cNvPr id="4" name="Image 3">
            <a:extLst>
              <a:ext uri="{FF2B5EF4-FFF2-40B4-BE49-F238E27FC236}">
                <a16:creationId xmlns:a16="http://schemas.microsoft.com/office/drawing/2014/main" id="{1910EC30-7D3F-4745-B44E-5743BD92EEB5}"/>
              </a:ext>
            </a:extLst>
          </p:cNvPr>
          <p:cNvPicPr>
            <a:picLocks noChangeAspect="1"/>
          </p:cNvPicPr>
          <p:nvPr/>
        </p:nvPicPr>
        <p:blipFill>
          <a:blip r:embed="rId2"/>
          <a:stretch>
            <a:fillRect/>
          </a:stretch>
        </p:blipFill>
        <p:spPr>
          <a:xfrm>
            <a:off x="228600" y="1616892"/>
            <a:ext cx="5186362" cy="1425437"/>
          </a:xfrm>
          <a:prstGeom prst="rect">
            <a:avLst/>
          </a:prstGeom>
        </p:spPr>
      </p:pic>
      <p:sp>
        <p:nvSpPr>
          <p:cNvPr id="5" name="Ellipse 4">
            <a:extLst>
              <a:ext uri="{FF2B5EF4-FFF2-40B4-BE49-F238E27FC236}">
                <a16:creationId xmlns:a16="http://schemas.microsoft.com/office/drawing/2014/main" id="{B6F4EBA1-CEC7-490F-BC87-35AB2578122A}"/>
              </a:ext>
            </a:extLst>
          </p:cNvPr>
          <p:cNvSpPr/>
          <p:nvPr/>
        </p:nvSpPr>
        <p:spPr>
          <a:xfrm>
            <a:off x="350044" y="2068850"/>
            <a:ext cx="500062" cy="808037"/>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llipse 5">
            <a:extLst>
              <a:ext uri="{FF2B5EF4-FFF2-40B4-BE49-F238E27FC236}">
                <a16:creationId xmlns:a16="http://schemas.microsoft.com/office/drawing/2014/main" id="{2AE5AE08-FE70-4E5A-BDE8-C8B2DFCBE1BE}"/>
              </a:ext>
            </a:extLst>
          </p:cNvPr>
          <p:cNvSpPr/>
          <p:nvPr/>
        </p:nvSpPr>
        <p:spPr>
          <a:xfrm>
            <a:off x="4056095" y="2566534"/>
            <a:ext cx="758792" cy="231438"/>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avec flèche 6">
            <a:extLst>
              <a:ext uri="{FF2B5EF4-FFF2-40B4-BE49-F238E27FC236}">
                <a16:creationId xmlns:a16="http://schemas.microsoft.com/office/drawing/2014/main" id="{F65999F3-39F5-4C89-ADA5-C0D2E982A45A}"/>
              </a:ext>
            </a:extLst>
          </p:cNvPr>
          <p:cNvCxnSpPr>
            <a:cxnSpLocks/>
          </p:cNvCxnSpPr>
          <p:nvPr/>
        </p:nvCxnSpPr>
        <p:spPr>
          <a:xfrm flipV="1">
            <a:off x="4435490" y="2797972"/>
            <a:ext cx="1" cy="653916"/>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pic>
        <p:nvPicPr>
          <p:cNvPr id="8" name="Image 7">
            <a:extLst>
              <a:ext uri="{FF2B5EF4-FFF2-40B4-BE49-F238E27FC236}">
                <a16:creationId xmlns:a16="http://schemas.microsoft.com/office/drawing/2014/main" id="{C0159413-158A-4801-9F93-68C30DB1DD3A}"/>
              </a:ext>
            </a:extLst>
          </p:cNvPr>
          <p:cNvPicPr>
            <a:picLocks noChangeAspect="1"/>
          </p:cNvPicPr>
          <p:nvPr/>
        </p:nvPicPr>
        <p:blipFill>
          <a:blip r:embed="rId3"/>
          <a:stretch>
            <a:fillRect/>
          </a:stretch>
        </p:blipFill>
        <p:spPr>
          <a:xfrm>
            <a:off x="2268537" y="3451888"/>
            <a:ext cx="2702901" cy="1550193"/>
          </a:xfrm>
          <a:prstGeom prst="rect">
            <a:avLst/>
          </a:prstGeom>
        </p:spPr>
      </p:pic>
      <p:pic>
        <p:nvPicPr>
          <p:cNvPr id="9" name="Image 8">
            <a:extLst>
              <a:ext uri="{FF2B5EF4-FFF2-40B4-BE49-F238E27FC236}">
                <a16:creationId xmlns:a16="http://schemas.microsoft.com/office/drawing/2014/main" id="{EE58DE8A-2386-4AC7-B497-1BDB12DED8A1}"/>
              </a:ext>
            </a:extLst>
          </p:cNvPr>
          <p:cNvPicPr>
            <a:picLocks noChangeAspect="1"/>
          </p:cNvPicPr>
          <p:nvPr/>
        </p:nvPicPr>
        <p:blipFill>
          <a:blip r:embed="rId4"/>
          <a:stretch>
            <a:fillRect/>
          </a:stretch>
        </p:blipFill>
        <p:spPr>
          <a:xfrm>
            <a:off x="5915792" y="1787463"/>
            <a:ext cx="3203348" cy="2763105"/>
          </a:xfrm>
          <a:prstGeom prst="rect">
            <a:avLst/>
          </a:prstGeom>
        </p:spPr>
      </p:pic>
      <p:cxnSp>
        <p:nvCxnSpPr>
          <p:cNvPr id="10" name="Connecteur droit avec flèche 9">
            <a:extLst>
              <a:ext uri="{FF2B5EF4-FFF2-40B4-BE49-F238E27FC236}">
                <a16:creationId xmlns:a16="http://schemas.microsoft.com/office/drawing/2014/main" id="{B079D53D-B6D2-4560-BA9C-E7E46D96AA70}"/>
              </a:ext>
            </a:extLst>
          </p:cNvPr>
          <p:cNvCxnSpPr>
            <a:cxnSpLocks/>
          </p:cNvCxnSpPr>
          <p:nvPr/>
        </p:nvCxnSpPr>
        <p:spPr>
          <a:xfrm flipH="1">
            <a:off x="5028423" y="3711217"/>
            <a:ext cx="887369" cy="0"/>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4158931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274197A-C4FB-4C3A-A467-975680B4BF7C}"/>
              </a:ext>
            </a:extLst>
          </p:cNvPr>
          <p:cNvSpPr>
            <a:spLocks noGrp="1"/>
          </p:cNvSpPr>
          <p:nvPr>
            <p:ph type="title"/>
          </p:nvPr>
        </p:nvSpPr>
        <p:spPr/>
        <p:txBody>
          <a:bodyPr/>
          <a:lstStyle/>
          <a:p>
            <a:r>
              <a:rPr lang="fr-FR" dirty="0"/>
              <a:t>Small </a:t>
            </a:r>
            <a:r>
              <a:rPr lang="fr-FR" dirty="0" err="1"/>
              <a:t>talks</a:t>
            </a:r>
            <a:endParaRPr lang="fr-FR" dirty="0"/>
          </a:p>
        </p:txBody>
      </p:sp>
      <p:sp>
        <p:nvSpPr>
          <p:cNvPr id="3" name="Text Placeholder 16">
            <a:extLst>
              <a:ext uri="{FF2B5EF4-FFF2-40B4-BE49-F238E27FC236}">
                <a16:creationId xmlns:a16="http://schemas.microsoft.com/office/drawing/2014/main" id="{4B3F4C1E-80EB-479F-B7FF-6F94D836E2A1}"/>
              </a:ext>
            </a:extLst>
          </p:cNvPr>
          <p:cNvSpPr txBox="1">
            <a:spLocks/>
          </p:cNvSpPr>
          <p:nvPr/>
        </p:nvSpPr>
        <p:spPr>
          <a:xfrm>
            <a:off x="228600" y="668889"/>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solidFill>
                <a:schemeClr val="accent2"/>
              </a:solidFill>
            </a:endParaRPr>
          </a:p>
          <a:p>
            <a:pPr marL="285750" indent="-285750">
              <a:buFont typeface="Arial" panose="020B0604020202020204" pitchFamily="34" charset="0"/>
              <a:buChar char="•"/>
            </a:pPr>
            <a:r>
              <a:rPr lang="en-US" sz="1600" dirty="0">
                <a:solidFill>
                  <a:schemeClr val="accent2"/>
                </a:solidFill>
              </a:rPr>
              <a:t>Incidental conversation: </a:t>
            </a:r>
            <a:r>
              <a:rPr lang="en-US" sz="1600" dirty="0"/>
              <a:t>sub conversation during a main conversation, with return to the main conversation at the end.</a:t>
            </a:r>
          </a:p>
          <a:p>
            <a:pPr marL="690563" lvl="1" indent="-285750"/>
            <a:r>
              <a:rPr lang="en-US" sz="1450" dirty="0"/>
              <a:t>(conversation for an appointment request) </a:t>
            </a:r>
          </a:p>
          <a:p>
            <a:pPr marL="690563" lvl="1" indent="-285750"/>
            <a:r>
              <a:rPr lang="en-US" sz="1450" i="1" dirty="0"/>
              <a:t>By the way, is there a bus station near your office ? </a:t>
            </a:r>
          </a:p>
          <a:p>
            <a:pPr marL="690563" lvl="1" indent="-285750"/>
            <a:r>
              <a:rPr lang="en-US" sz="1450" i="1" dirty="0"/>
              <a:t>Yes, just in front of the door !</a:t>
            </a:r>
          </a:p>
          <a:p>
            <a:pPr marL="690563" lvl="1" indent="-285750"/>
            <a:r>
              <a:rPr lang="en-US" sz="1450" dirty="0"/>
              <a:t>(return to the next step of the appointment request)</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solidFill>
                  <a:schemeClr val="accent2"/>
                </a:solidFill>
              </a:rPr>
              <a:t>Small talks</a:t>
            </a:r>
            <a:r>
              <a:rPr lang="en-US" sz="1600" dirty="0"/>
              <a:t>: technically, small talks are useless for handling the user's request. But they allow to humanize the conversation of the bot :</a:t>
            </a:r>
          </a:p>
          <a:p>
            <a:pPr marL="690563" lvl="1" indent="-285750"/>
            <a:r>
              <a:rPr lang="en-US" sz="1450" i="1" dirty="0"/>
              <a:t>How are you ?</a:t>
            </a:r>
          </a:p>
          <a:p>
            <a:pPr marL="690563" lvl="1" indent="-285750"/>
            <a:r>
              <a:rPr lang="en-US" sz="1450" i="1" dirty="0"/>
              <a:t>Are you a robot ?</a:t>
            </a:r>
          </a:p>
          <a:p>
            <a:pPr marL="690563" lvl="1" indent="-285750"/>
            <a:endParaRPr lang="en-US" sz="145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1663321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FB63A83-F5F9-478C-A92F-99A82D2E22BD}"/>
              </a:ext>
            </a:extLst>
          </p:cNvPr>
          <p:cNvSpPr>
            <a:spLocks noGrp="1"/>
          </p:cNvSpPr>
          <p:nvPr>
            <p:ph type="title"/>
          </p:nvPr>
        </p:nvSpPr>
        <p:spPr/>
        <p:txBody>
          <a:bodyPr/>
          <a:lstStyle/>
          <a:p>
            <a:r>
              <a:rPr lang="fr-FR" dirty="0"/>
              <a:t>Small </a:t>
            </a:r>
            <a:r>
              <a:rPr lang="fr-FR" dirty="0" err="1"/>
              <a:t>talks</a:t>
            </a:r>
            <a:endParaRPr lang="fr-FR" dirty="0"/>
          </a:p>
        </p:txBody>
      </p:sp>
      <p:pic>
        <p:nvPicPr>
          <p:cNvPr id="3" name="Image 2">
            <a:extLst>
              <a:ext uri="{FF2B5EF4-FFF2-40B4-BE49-F238E27FC236}">
                <a16:creationId xmlns:a16="http://schemas.microsoft.com/office/drawing/2014/main" id="{841F4521-C8EA-4A8A-B234-940142E4C80F}"/>
              </a:ext>
            </a:extLst>
          </p:cNvPr>
          <p:cNvPicPr>
            <a:picLocks noChangeAspect="1"/>
          </p:cNvPicPr>
          <p:nvPr/>
        </p:nvPicPr>
        <p:blipFill>
          <a:blip r:embed="rId2"/>
          <a:stretch>
            <a:fillRect/>
          </a:stretch>
        </p:blipFill>
        <p:spPr>
          <a:xfrm>
            <a:off x="1712820" y="640646"/>
            <a:ext cx="5272180" cy="3995648"/>
          </a:xfrm>
          <a:prstGeom prst="rect">
            <a:avLst/>
          </a:prstGeom>
        </p:spPr>
      </p:pic>
    </p:spTree>
    <p:extLst>
      <p:ext uri="{BB962C8B-B14F-4D97-AF65-F5344CB8AC3E}">
        <p14:creationId xmlns:p14="http://schemas.microsoft.com/office/powerpoint/2010/main" val="191867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D435E4F-9C08-4AA4-BBFA-5AECEC382911}"/>
              </a:ext>
            </a:extLst>
          </p:cNvPr>
          <p:cNvSpPr>
            <a:spLocks noGrp="1"/>
          </p:cNvSpPr>
          <p:nvPr>
            <p:ph type="title"/>
          </p:nvPr>
        </p:nvSpPr>
        <p:spPr/>
        <p:txBody>
          <a:bodyPr/>
          <a:lstStyle/>
          <a:p>
            <a:r>
              <a:rPr lang="fr-FR" dirty="0"/>
              <a:t>Beta : </a:t>
            </a:r>
            <a:r>
              <a:rPr lang="fr-FR" dirty="0" err="1"/>
              <a:t>knowledge</a:t>
            </a:r>
            <a:r>
              <a:rPr lang="fr-FR" dirty="0"/>
              <a:t> base</a:t>
            </a:r>
          </a:p>
        </p:txBody>
      </p:sp>
      <p:sp>
        <p:nvSpPr>
          <p:cNvPr id="3" name="Rectangle 2">
            <a:extLst>
              <a:ext uri="{FF2B5EF4-FFF2-40B4-BE49-F238E27FC236}">
                <a16:creationId xmlns:a16="http://schemas.microsoft.com/office/drawing/2014/main" id="{808E0EC7-B8FF-4D5F-BB9B-381AFAA4CF67}"/>
              </a:ext>
            </a:extLst>
          </p:cNvPr>
          <p:cNvSpPr/>
          <p:nvPr/>
        </p:nvSpPr>
        <p:spPr>
          <a:xfrm>
            <a:off x="301336" y="4485566"/>
            <a:ext cx="8689109" cy="507831"/>
          </a:xfrm>
          <a:prstGeom prst="rect">
            <a:avLst/>
          </a:prstGeom>
        </p:spPr>
        <p:txBody>
          <a:bodyPr wrap="square">
            <a:spAutoFit/>
          </a:bodyPr>
          <a:lstStyle/>
          <a:p>
            <a:r>
              <a:rPr lang="fr-FR" dirty="0">
                <a:hlinkClick r:id="rId2"/>
              </a:rPr>
              <a:t>https://www.hsbc.com.tr/en/frequently-asked-questions-faq/cards/hsbc-advantage-credit-cards</a:t>
            </a:r>
            <a:endParaRPr lang="fr-FR" dirty="0"/>
          </a:p>
          <a:p>
            <a:endParaRPr lang="fr-FR" dirty="0"/>
          </a:p>
        </p:txBody>
      </p:sp>
      <p:pic>
        <p:nvPicPr>
          <p:cNvPr id="4" name="Image 3">
            <a:extLst>
              <a:ext uri="{FF2B5EF4-FFF2-40B4-BE49-F238E27FC236}">
                <a16:creationId xmlns:a16="http://schemas.microsoft.com/office/drawing/2014/main" id="{CA34F9BB-2725-47E7-B82D-F92483FFA6E8}"/>
              </a:ext>
            </a:extLst>
          </p:cNvPr>
          <p:cNvPicPr>
            <a:picLocks noChangeAspect="1"/>
          </p:cNvPicPr>
          <p:nvPr/>
        </p:nvPicPr>
        <p:blipFill>
          <a:blip r:embed="rId3"/>
          <a:stretch>
            <a:fillRect/>
          </a:stretch>
        </p:blipFill>
        <p:spPr>
          <a:xfrm>
            <a:off x="384463" y="657934"/>
            <a:ext cx="6504709" cy="3633970"/>
          </a:xfrm>
          <a:prstGeom prst="rect">
            <a:avLst/>
          </a:prstGeom>
        </p:spPr>
      </p:pic>
      <p:sp>
        <p:nvSpPr>
          <p:cNvPr id="6" name="Bande diagonale 5">
            <a:extLst>
              <a:ext uri="{FF2B5EF4-FFF2-40B4-BE49-F238E27FC236}">
                <a16:creationId xmlns:a16="http://schemas.microsoft.com/office/drawing/2014/main" id="{6F00DBB1-DE02-4BB6-B43A-7069F49AB536}"/>
              </a:ext>
            </a:extLst>
          </p:cNvPr>
          <p:cNvSpPr/>
          <p:nvPr/>
        </p:nvSpPr>
        <p:spPr>
          <a:xfrm rot="5400000">
            <a:off x="7236889" y="-6860"/>
            <a:ext cx="1908000" cy="1906223"/>
          </a:xfrm>
          <a:prstGeom prst="diagStripe">
            <a:avLst>
              <a:gd name="adj" fmla="val 62681"/>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7" name="ZoneTexte 6">
            <a:extLst>
              <a:ext uri="{FF2B5EF4-FFF2-40B4-BE49-F238E27FC236}">
                <a16:creationId xmlns:a16="http://schemas.microsoft.com/office/drawing/2014/main" id="{82116D7C-D7C4-4325-A204-24F9723103C4}"/>
              </a:ext>
            </a:extLst>
          </p:cNvPr>
          <p:cNvSpPr txBox="1"/>
          <p:nvPr/>
        </p:nvSpPr>
        <p:spPr>
          <a:xfrm rot="2735380">
            <a:off x="7539304" y="419685"/>
            <a:ext cx="1712736" cy="682028"/>
          </a:xfrm>
          <a:prstGeom prst="rect">
            <a:avLst/>
          </a:prstGeom>
        </p:spPr>
        <p:txBody>
          <a:bodyPr wrap="square" lIns="72000" tIns="72000" rIns="72000" bIns="72000" rtlCol="0">
            <a:spAutoFit/>
          </a:bodyPr>
          <a:lstStyle/>
          <a:p>
            <a:pPr algn="ctr">
              <a:lnSpc>
                <a:spcPct val="120000"/>
              </a:lnSpc>
              <a:spcAft>
                <a:spcPts val="600"/>
              </a:spcAft>
            </a:pPr>
            <a:r>
              <a:rPr lang="fr-FR" sz="3200" b="1" dirty="0">
                <a:solidFill>
                  <a:schemeClr val="bg1"/>
                </a:solidFill>
                <a:latin typeface="Arial" panose="020B0604020202020204" pitchFamily="34" charset="0"/>
                <a:cs typeface="Arial" panose="020B0604020202020204" pitchFamily="34" charset="0"/>
              </a:rPr>
              <a:t>BETA</a:t>
            </a:r>
          </a:p>
        </p:txBody>
      </p:sp>
    </p:spTree>
    <p:extLst>
      <p:ext uri="{BB962C8B-B14F-4D97-AF65-F5344CB8AC3E}">
        <p14:creationId xmlns:p14="http://schemas.microsoft.com/office/powerpoint/2010/main" val="1986984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llipse 5">
            <a:extLst>
              <a:ext uri="{FF2B5EF4-FFF2-40B4-BE49-F238E27FC236}">
                <a16:creationId xmlns:a16="http://schemas.microsoft.com/office/drawing/2014/main" id="{0C04EDAC-5594-49D9-A348-ADF93F2EC4EE}"/>
              </a:ext>
            </a:extLst>
          </p:cNvPr>
          <p:cNvSpPr/>
          <p:nvPr/>
        </p:nvSpPr>
        <p:spPr>
          <a:xfrm>
            <a:off x="3418087" y="1021162"/>
            <a:ext cx="5311361" cy="5254433"/>
          </a:xfrm>
          <a:prstGeom prst="ellipse">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 name="Title 1">
            <a:extLst>
              <a:ext uri="{FF2B5EF4-FFF2-40B4-BE49-F238E27FC236}">
                <a16:creationId xmlns:a16="http://schemas.microsoft.com/office/drawing/2014/main" id="{A58C9069-A253-0946-846F-2D00A4204D95}"/>
              </a:ext>
            </a:extLst>
          </p:cNvPr>
          <p:cNvSpPr>
            <a:spLocks noGrp="1"/>
          </p:cNvSpPr>
          <p:nvPr>
            <p:ph type="title"/>
          </p:nvPr>
        </p:nvSpPr>
        <p:spPr/>
        <p:txBody>
          <a:bodyPr/>
          <a:lstStyle/>
          <a:p>
            <a:r>
              <a:rPr lang="en-US" dirty="0" err="1"/>
              <a:t>Dialogflow</a:t>
            </a:r>
            <a:br>
              <a:rPr lang="en-US" dirty="0"/>
            </a:br>
            <a:r>
              <a:rPr lang="en-US" dirty="0"/>
              <a:t>Training</a:t>
            </a:r>
          </a:p>
        </p:txBody>
      </p:sp>
      <p:sp>
        <p:nvSpPr>
          <p:cNvPr id="3" name="Text Placeholder 2">
            <a:extLst>
              <a:ext uri="{FF2B5EF4-FFF2-40B4-BE49-F238E27FC236}">
                <a16:creationId xmlns:a16="http://schemas.microsoft.com/office/drawing/2014/main" id="{F52F02E1-A4DC-B244-BCC1-26DDC889B5C3}"/>
              </a:ext>
            </a:extLst>
          </p:cNvPr>
          <p:cNvSpPr>
            <a:spLocks noGrp="1"/>
          </p:cNvSpPr>
          <p:nvPr>
            <p:ph type="body" sz="quarter" idx="10"/>
          </p:nvPr>
        </p:nvSpPr>
        <p:spPr/>
        <p:txBody>
          <a:bodyPr/>
          <a:lstStyle/>
          <a:p>
            <a:r>
              <a:rPr lang="en-US" dirty="0"/>
              <a:t>Module 1 : Introduction to </a:t>
            </a:r>
            <a:r>
              <a:rPr lang="en-US" dirty="0" err="1"/>
              <a:t>Dialogflow</a:t>
            </a:r>
            <a:endParaRPr lang="en-US" dirty="0"/>
          </a:p>
        </p:txBody>
      </p:sp>
      <p:sp>
        <p:nvSpPr>
          <p:cNvPr id="7" name="Freeform 1">
            <a:extLst>
              <a:ext uri="{FF2B5EF4-FFF2-40B4-BE49-F238E27FC236}">
                <a16:creationId xmlns:a16="http://schemas.microsoft.com/office/drawing/2014/main" id="{C009C2CB-0D45-244B-8254-95D0D9E3683C}"/>
              </a:ext>
            </a:extLst>
          </p:cNvPr>
          <p:cNvSpPr>
            <a:spLocks noChangeArrowheads="1"/>
          </p:cNvSpPr>
          <p:nvPr/>
        </p:nvSpPr>
        <p:spPr bwMode="auto">
          <a:xfrm>
            <a:off x="6799803" y="0"/>
            <a:ext cx="2747583" cy="2612551"/>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317058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A0F53C5-A548-4DE5-9BA2-42A906FDBD6E}"/>
              </a:ext>
            </a:extLst>
          </p:cNvPr>
          <p:cNvSpPr>
            <a:spLocks noGrp="1"/>
          </p:cNvSpPr>
          <p:nvPr>
            <p:ph type="title"/>
          </p:nvPr>
        </p:nvSpPr>
        <p:spPr>
          <a:xfrm>
            <a:off x="9525" y="1"/>
            <a:ext cx="6975475" cy="808037"/>
          </a:xfrm>
        </p:spPr>
        <p:txBody>
          <a:bodyPr/>
          <a:lstStyle/>
          <a:p>
            <a:r>
              <a:rPr lang="fr-FR" dirty="0" err="1"/>
              <a:t>Fallback</a:t>
            </a:r>
            <a:r>
              <a:rPr lang="fr-FR" dirty="0"/>
              <a:t> / </a:t>
            </a:r>
            <a:r>
              <a:rPr lang="fr-FR" dirty="0" err="1"/>
              <a:t>Negative</a:t>
            </a:r>
            <a:r>
              <a:rPr lang="fr-FR" dirty="0"/>
              <a:t> exemples</a:t>
            </a:r>
          </a:p>
        </p:txBody>
      </p:sp>
      <p:sp>
        <p:nvSpPr>
          <p:cNvPr id="4" name="Rectangle 3">
            <a:extLst>
              <a:ext uri="{FF2B5EF4-FFF2-40B4-BE49-F238E27FC236}">
                <a16:creationId xmlns:a16="http://schemas.microsoft.com/office/drawing/2014/main" id="{DD670120-1A6D-4BCA-9E8A-ADF7EFAC032B}"/>
              </a:ext>
            </a:extLst>
          </p:cNvPr>
          <p:cNvSpPr/>
          <p:nvPr/>
        </p:nvSpPr>
        <p:spPr>
          <a:xfrm>
            <a:off x="6475542" y="1121916"/>
            <a:ext cx="2205325" cy="1020726"/>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dirty="0" err="1">
                <a:solidFill>
                  <a:schemeClr val="accent2"/>
                </a:solidFill>
              </a:rPr>
              <a:t>Modify_Insurance</a:t>
            </a:r>
            <a:endParaRPr lang="fr-FR" dirty="0">
              <a:solidFill>
                <a:schemeClr val="accent2"/>
              </a:solidFill>
            </a:endParaRPr>
          </a:p>
          <a:p>
            <a:r>
              <a:rPr lang="en-US" sz="1200" i="1" dirty="0">
                <a:solidFill>
                  <a:schemeClr val="tx1"/>
                </a:solidFill>
              </a:rPr>
              <a:t>I want to change my car insurance</a:t>
            </a:r>
          </a:p>
          <a:p>
            <a:r>
              <a:rPr lang="en-US" sz="1200" i="1" dirty="0">
                <a:solidFill>
                  <a:schemeClr val="tx1"/>
                </a:solidFill>
              </a:rPr>
              <a:t>I want to modify my car insurance</a:t>
            </a:r>
            <a:endParaRPr lang="fr-FR" sz="1200" i="1" dirty="0">
              <a:solidFill>
                <a:schemeClr val="tx1"/>
              </a:solidFill>
            </a:endParaRPr>
          </a:p>
        </p:txBody>
      </p:sp>
      <p:sp>
        <p:nvSpPr>
          <p:cNvPr id="8" name="Rectangle 7">
            <a:extLst>
              <a:ext uri="{FF2B5EF4-FFF2-40B4-BE49-F238E27FC236}">
                <a16:creationId xmlns:a16="http://schemas.microsoft.com/office/drawing/2014/main" id="{7180BFD5-81C4-40ED-A759-427D96E55D54}"/>
              </a:ext>
            </a:extLst>
          </p:cNvPr>
          <p:cNvSpPr/>
          <p:nvPr/>
        </p:nvSpPr>
        <p:spPr>
          <a:xfrm>
            <a:off x="6475542" y="3714004"/>
            <a:ext cx="2205325" cy="1020726"/>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dirty="0">
                <a:solidFill>
                  <a:schemeClr val="accent2"/>
                </a:solidFill>
              </a:rPr>
              <a:t>Default </a:t>
            </a:r>
            <a:r>
              <a:rPr lang="fr-FR" dirty="0" err="1">
                <a:solidFill>
                  <a:schemeClr val="accent2"/>
                </a:solidFill>
              </a:rPr>
              <a:t>fallback</a:t>
            </a:r>
            <a:endParaRPr lang="fr-FR" dirty="0">
              <a:solidFill>
                <a:schemeClr val="accent2"/>
              </a:solidFill>
            </a:endParaRPr>
          </a:p>
          <a:p>
            <a:r>
              <a:rPr lang="en-US" sz="1200" i="1" dirty="0">
                <a:solidFill>
                  <a:schemeClr val="tx1"/>
                </a:solidFill>
              </a:rPr>
              <a:t>I want to suspend my car insurance</a:t>
            </a:r>
            <a:endParaRPr lang="fr-FR" sz="1200" i="1" dirty="0">
              <a:solidFill>
                <a:schemeClr val="tx1"/>
              </a:solidFill>
            </a:endParaRPr>
          </a:p>
        </p:txBody>
      </p:sp>
      <p:sp>
        <p:nvSpPr>
          <p:cNvPr id="9" name="Rectangle 8">
            <a:extLst>
              <a:ext uri="{FF2B5EF4-FFF2-40B4-BE49-F238E27FC236}">
                <a16:creationId xmlns:a16="http://schemas.microsoft.com/office/drawing/2014/main" id="{45CE41B9-31E4-4E70-823E-44A20A91CD7B}"/>
              </a:ext>
            </a:extLst>
          </p:cNvPr>
          <p:cNvSpPr/>
          <p:nvPr/>
        </p:nvSpPr>
        <p:spPr>
          <a:xfrm>
            <a:off x="6475542" y="2607889"/>
            <a:ext cx="2205325" cy="1020726"/>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dirty="0" err="1">
                <a:solidFill>
                  <a:schemeClr val="accent2"/>
                </a:solidFill>
              </a:rPr>
              <a:t>Modify_Insurance</a:t>
            </a:r>
            <a:endParaRPr lang="fr-FR" dirty="0">
              <a:solidFill>
                <a:schemeClr val="accent2"/>
              </a:solidFill>
            </a:endParaRPr>
          </a:p>
          <a:p>
            <a:r>
              <a:rPr lang="en-US" sz="1200" i="1" dirty="0">
                <a:solidFill>
                  <a:schemeClr val="tx1"/>
                </a:solidFill>
              </a:rPr>
              <a:t>I want to change my car insurance</a:t>
            </a:r>
          </a:p>
          <a:p>
            <a:r>
              <a:rPr lang="en-US" sz="1200" i="1" dirty="0">
                <a:solidFill>
                  <a:schemeClr val="tx1"/>
                </a:solidFill>
              </a:rPr>
              <a:t>I want to modify my car insurance</a:t>
            </a:r>
            <a:endParaRPr lang="fr-FR" sz="1200" i="1" dirty="0">
              <a:solidFill>
                <a:schemeClr val="tx1"/>
              </a:solidFill>
            </a:endParaRPr>
          </a:p>
        </p:txBody>
      </p:sp>
      <p:sp>
        <p:nvSpPr>
          <p:cNvPr id="10" name="Rectangle 9">
            <a:extLst>
              <a:ext uri="{FF2B5EF4-FFF2-40B4-BE49-F238E27FC236}">
                <a16:creationId xmlns:a16="http://schemas.microsoft.com/office/drawing/2014/main" id="{CCE5C0E5-AFDC-40AA-9B38-538CD5BC25AF}"/>
              </a:ext>
            </a:extLst>
          </p:cNvPr>
          <p:cNvSpPr/>
          <p:nvPr/>
        </p:nvSpPr>
        <p:spPr>
          <a:xfrm>
            <a:off x="7097316" y="779140"/>
            <a:ext cx="961776" cy="300082"/>
          </a:xfrm>
          <a:prstGeom prst="rect">
            <a:avLst/>
          </a:prstGeom>
        </p:spPr>
        <p:txBody>
          <a:bodyPr wrap="square">
            <a:spAutoFit/>
          </a:bodyPr>
          <a:lstStyle/>
          <a:p>
            <a:pPr algn="ctr"/>
            <a:r>
              <a:rPr lang="fr-FR" dirty="0" err="1"/>
              <a:t>Intents</a:t>
            </a:r>
            <a:endParaRPr lang="fr-FR" dirty="0"/>
          </a:p>
        </p:txBody>
      </p:sp>
      <p:sp>
        <p:nvSpPr>
          <p:cNvPr id="11" name="Freeform 721">
            <a:extLst>
              <a:ext uri="{FF2B5EF4-FFF2-40B4-BE49-F238E27FC236}">
                <a16:creationId xmlns:a16="http://schemas.microsoft.com/office/drawing/2014/main" id="{D4FB73D5-3ACF-4999-B916-32482AF159BF}"/>
              </a:ext>
            </a:extLst>
          </p:cNvPr>
          <p:cNvSpPr>
            <a:spLocks noChangeAspect="1"/>
          </p:cNvSpPr>
          <p:nvPr/>
        </p:nvSpPr>
        <p:spPr bwMode="auto">
          <a:xfrm>
            <a:off x="4049862" y="1334605"/>
            <a:ext cx="1723928" cy="808037"/>
          </a:xfrm>
          <a:custGeom>
            <a:avLst/>
            <a:gdLst/>
            <a:ahLst/>
            <a:cxnLst>
              <a:cxn ang="0">
                <a:pos x="44" y="112"/>
              </a:cxn>
              <a:cxn ang="0">
                <a:pos x="36" y="144"/>
              </a:cxn>
              <a:cxn ang="0">
                <a:pos x="93" y="103"/>
              </a:cxn>
              <a:cxn ang="0">
                <a:pos x="113" y="57"/>
              </a:cxn>
              <a:cxn ang="0">
                <a:pos x="56" y="0"/>
              </a:cxn>
              <a:cxn ang="0">
                <a:pos x="0" y="57"/>
              </a:cxn>
              <a:cxn ang="0">
                <a:pos x="26" y="105"/>
              </a:cxn>
            </a:cxnLst>
            <a:rect l="0" t="0" r="r" b="b"/>
            <a:pathLst>
              <a:path w="113" h="144">
                <a:moveTo>
                  <a:pt x="44" y="112"/>
                </a:moveTo>
                <a:cubicBezTo>
                  <a:pt x="36" y="144"/>
                  <a:pt x="36" y="144"/>
                  <a:pt x="36" y="144"/>
                </a:cubicBezTo>
                <a:cubicBezTo>
                  <a:pt x="36" y="144"/>
                  <a:pt x="80" y="116"/>
                  <a:pt x="93" y="103"/>
                </a:cubicBezTo>
                <a:cubicBezTo>
                  <a:pt x="102" y="94"/>
                  <a:pt x="113" y="81"/>
                  <a:pt x="113" y="57"/>
                </a:cubicBezTo>
                <a:cubicBezTo>
                  <a:pt x="113" y="25"/>
                  <a:pt x="88" y="0"/>
                  <a:pt x="56" y="0"/>
                </a:cubicBezTo>
                <a:cubicBezTo>
                  <a:pt x="25" y="0"/>
                  <a:pt x="0" y="25"/>
                  <a:pt x="0" y="57"/>
                </a:cubicBezTo>
                <a:cubicBezTo>
                  <a:pt x="0" y="77"/>
                  <a:pt x="10" y="95"/>
                  <a:pt x="26" y="105"/>
                </a:cubicBezTo>
              </a:path>
            </a:pathLst>
          </a:custGeom>
          <a:solidFill>
            <a:srgbClr val="FFFFFF"/>
          </a:solid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dirty="0">
              <a:latin typeface="Arial" pitchFamily="34" charset="0"/>
              <a:cs typeface="Arial" pitchFamily="34" charset="0"/>
            </a:endParaRPr>
          </a:p>
          <a:p>
            <a:pPr algn="ctr"/>
            <a:r>
              <a:rPr lang="en-US" sz="1100" dirty="0">
                <a:latin typeface="Arial" pitchFamily="34" charset="0"/>
                <a:cs typeface="Arial" pitchFamily="34" charset="0"/>
              </a:rPr>
              <a:t>I want to suspend my car insurance</a:t>
            </a:r>
          </a:p>
        </p:txBody>
      </p:sp>
      <p:cxnSp>
        <p:nvCxnSpPr>
          <p:cNvPr id="12" name="Connecteur droit avec flèche 11">
            <a:extLst>
              <a:ext uri="{FF2B5EF4-FFF2-40B4-BE49-F238E27FC236}">
                <a16:creationId xmlns:a16="http://schemas.microsoft.com/office/drawing/2014/main" id="{D969E392-FC3E-4AF8-8B92-DFED0D220645}"/>
              </a:ext>
            </a:extLst>
          </p:cNvPr>
          <p:cNvCxnSpPr>
            <a:cxnSpLocks/>
          </p:cNvCxnSpPr>
          <p:nvPr/>
        </p:nvCxnSpPr>
        <p:spPr>
          <a:xfrm flipH="1" flipV="1">
            <a:off x="5836929" y="1660265"/>
            <a:ext cx="638615" cy="1"/>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15" name="Freeform 721">
            <a:extLst>
              <a:ext uri="{FF2B5EF4-FFF2-40B4-BE49-F238E27FC236}">
                <a16:creationId xmlns:a16="http://schemas.microsoft.com/office/drawing/2014/main" id="{1E98D86B-9272-4EA1-88FE-11638991A6E9}"/>
              </a:ext>
            </a:extLst>
          </p:cNvPr>
          <p:cNvSpPr>
            <a:spLocks noChangeAspect="1"/>
          </p:cNvSpPr>
          <p:nvPr/>
        </p:nvSpPr>
        <p:spPr bwMode="auto">
          <a:xfrm>
            <a:off x="4049860" y="3832023"/>
            <a:ext cx="1723928" cy="808037"/>
          </a:xfrm>
          <a:custGeom>
            <a:avLst/>
            <a:gdLst/>
            <a:ahLst/>
            <a:cxnLst>
              <a:cxn ang="0">
                <a:pos x="44" y="112"/>
              </a:cxn>
              <a:cxn ang="0">
                <a:pos x="36" y="144"/>
              </a:cxn>
              <a:cxn ang="0">
                <a:pos x="93" y="103"/>
              </a:cxn>
              <a:cxn ang="0">
                <a:pos x="113" y="57"/>
              </a:cxn>
              <a:cxn ang="0">
                <a:pos x="56" y="0"/>
              </a:cxn>
              <a:cxn ang="0">
                <a:pos x="0" y="57"/>
              </a:cxn>
              <a:cxn ang="0">
                <a:pos x="26" y="105"/>
              </a:cxn>
            </a:cxnLst>
            <a:rect l="0" t="0" r="r" b="b"/>
            <a:pathLst>
              <a:path w="113" h="144">
                <a:moveTo>
                  <a:pt x="44" y="112"/>
                </a:moveTo>
                <a:cubicBezTo>
                  <a:pt x="36" y="144"/>
                  <a:pt x="36" y="144"/>
                  <a:pt x="36" y="144"/>
                </a:cubicBezTo>
                <a:cubicBezTo>
                  <a:pt x="36" y="144"/>
                  <a:pt x="80" y="116"/>
                  <a:pt x="93" y="103"/>
                </a:cubicBezTo>
                <a:cubicBezTo>
                  <a:pt x="102" y="94"/>
                  <a:pt x="113" y="81"/>
                  <a:pt x="113" y="57"/>
                </a:cubicBezTo>
                <a:cubicBezTo>
                  <a:pt x="113" y="25"/>
                  <a:pt x="88" y="0"/>
                  <a:pt x="56" y="0"/>
                </a:cubicBezTo>
                <a:cubicBezTo>
                  <a:pt x="25" y="0"/>
                  <a:pt x="0" y="25"/>
                  <a:pt x="0" y="57"/>
                </a:cubicBezTo>
                <a:cubicBezTo>
                  <a:pt x="0" y="77"/>
                  <a:pt x="10" y="95"/>
                  <a:pt x="26" y="105"/>
                </a:cubicBezTo>
              </a:path>
            </a:pathLst>
          </a:custGeom>
          <a:solidFill>
            <a:srgbClr val="FFFFFF"/>
          </a:solid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dirty="0">
              <a:latin typeface="Arial" pitchFamily="34" charset="0"/>
              <a:cs typeface="Arial" pitchFamily="34" charset="0"/>
            </a:endParaRPr>
          </a:p>
          <a:p>
            <a:pPr algn="ctr"/>
            <a:r>
              <a:rPr lang="en-US" sz="1100" dirty="0">
                <a:latin typeface="Arial" pitchFamily="34" charset="0"/>
                <a:cs typeface="Arial" pitchFamily="34" charset="0"/>
              </a:rPr>
              <a:t>I want to suspend my car insurance</a:t>
            </a:r>
          </a:p>
        </p:txBody>
      </p:sp>
      <p:cxnSp>
        <p:nvCxnSpPr>
          <p:cNvPr id="16" name="Connecteur droit avec flèche 15">
            <a:extLst>
              <a:ext uri="{FF2B5EF4-FFF2-40B4-BE49-F238E27FC236}">
                <a16:creationId xmlns:a16="http://schemas.microsoft.com/office/drawing/2014/main" id="{B25061DE-2C7B-48D8-A0A0-7C2B56ECF453}"/>
              </a:ext>
            </a:extLst>
          </p:cNvPr>
          <p:cNvCxnSpPr>
            <a:cxnSpLocks/>
          </p:cNvCxnSpPr>
          <p:nvPr/>
        </p:nvCxnSpPr>
        <p:spPr>
          <a:xfrm flipH="1" flipV="1">
            <a:off x="5836927" y="4157683"/>
            <a:ext cx="638615" cy="1"/>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cxnSp>
        <p:nvCxnSpPr>
          <p:cNvPr id="17" name="Connecteur droit avec flèche 16">
            <a:extLst>
              <a:ext uri="{FF2B5EF4-FFF2-40B4-BE49-F238E27FC236}">
                <a16:creationId xmlns:a16="http://schemas.microsoft.com/office/drawing/2014/main" id="{083DE568-5B26-41F4-AB5B-E3BCA48C196D}"/>
              </a:ext>
            </a:extLst>
          </p:cNvPr>
          <p:cNvCxnSpPr>
            <a:cxnSpLocks/>
          </p:cNvCxnSpPr>
          <p:nvPr/>
        </p:nvCxnSpPr>
        <p:spPr>
          <a:xfrm flipH="1">
            <a:off x="4273210" y="2407226"/>
            <a:ext cx="4198431" cy="1"/>
          </a:xfrm>
          <a:prstGeom prst="straightConnector1">
            <a:avLst/>
          </a:prstGeom>
          <a:noFill/>
          <a:ln w="25400">
            <a:solidFill>
              <a:schemeClr val="accent2"/>
            </a:solidFill>
            <a:prstDash val="dash"/>
            <a:headEnd type="none"/>
          </a:ln>
        </p:spPr>
        <p:style>
          <a:lnRef idx="2">
            <a:schemeClr val="accent1">
              <a:shade val="50000"/>
            </a:schemeClr>
          </a:lnRef>
          <a:fillRef idx="1">
            <a:schemeClr val="accent1"/>
          </a:fillRef>
          <a:effectRef idx="0">
            <a:schemeClr val="accent1"/>
          </a:effectRef>
          <a:fontRef idx="minor">
            <a:schemeClr val="lt1"/>
          </a:fontRef>
        </p:style>
      </p:cxnSp>
      <p:sp>
        <p:nvSpPr>
          <p:cNvPr id="19" name="Rectangle 18">
            <a:extLst>
              <a:ext uri="{FF2B5EF4-FFF2-40B4-BE49-F238E27FC236}">
                <a16:creationId xmlns:a16="http://schemas.microsoft.com/office/drawing/2014/main" id="{8D68AD48-E428-43DC-902C-9404EF735F15}"/>
              </a:ext>
            </a:extLst>
          </p:cNvPr>
          <p:cNvSpPr/>
          <p:nvPr/>
        </p:nvSpPr>
        <p:spPr>
          <a:xfrm>
            <a:off x="240224" y="951315"/>
            <a:ext cx="3556861" cy="1546577"/>
          </a:xfrm>
          <a:prstGeom prst="rect">
            <a:avLst/>
          </a:prstGeom>
        </p:spPr>
        <p:txBody>
          <a:bodyPr wrap="square">
            <a:spAutoFit/>
          </a:bodyPr>
          <a:lstStyle/>
          <a:p>
            <a:r>
              <a:rPr lang="en-US" dirty="0"/>
              <a:t>You can add training phrases to fallback intents that act as negative examples. There may be cases where user queries have a slight resemblance to your training phrases, but you do not want these queries to match any normal intents.</a:t>
            </a:r>
            <a:endParaRPr lang="fr-FR" dirty="0"/>
          </a:p>
        </p:txBody>
      </p:sp>
      <p:pic>
        <p:nvPicPr>
          <p:cNvPr id="20" name="Image 19">
            <a:extLst>
              <a:ext uri="{FF2B5EF4-FFF2-40B4-BE49-F238E27FC236}">
                <a16:creationId xmlns:a16="http://schemas.microsoft.com/office/drawing/2014/main" id="{3C579B3C-752D-4339-B645-39A02E143377}"/>
              </a:ext>
            </a:extLst>
          </p:cNvPr>
          <p:cNvPicPr>
            <a:picLocks noChangeAspect="1"/>
          </p:cNvPicPr>
          <p:nvPr/>
        </p:nvPicPr>
        <p:blipFill>
          <a:blip r:embed="rId2"/>
          <a:stretch>
            <a:fillRect/>
          </a:stretch>
        </p:blipFill>
        <p:spPr>
          <a:xfrm>
            <a:off x="240224" y="2685005"/>
            <a:ext cx="3618948" cy="1780661"/>
          </a:xfrm>
          <a:prstGeom prst="rect">
            <a:avLst/>
          </a:prstGeom>
        </p:spPr>
      </p:pic>
      <p:sp>
        <p:nvSpPr>
          <p:cNvPr id="14" name="Bande diagonale 13">
            <a:extLst>
              <a:ext uri="{FF2B5EF4-FFF2-40B4-BE49-F238E27FC236}">
                <a16:creationId xmlns:a16="http://schemas.microsoft.com/office/drawing/2014/main" id="{1C0AD7E9-E7D6-4637-BD24-0AD959E6D044}"/>
              </a:ext>
            </a:extLst>
          </p:cNvPr>
          <p:cNvSpPr/>
          <p:nvPr/>
        </p:nvSpPr>
        <p:spPr>
          <a:xfrm rot="5400000">
            <a:off x="7236889" y="-6860"/>
            <a:ext cx="1908000" cy="1906223"/>
          </a:xfrm>
          <a:prstGeom prst="diagStripe">
            <a:avLst>
              <a:gd name="adj" fmla="val 6268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18" name="ZoneTexte 17">
            <a:extLst>
              <a:ext uri="{FF2B5EF4-FFF2-40B4-BE49-F238E27FC236}">
                <a16:creationId xmlns:a16="http://schemas.microsoft.com/office/drawing/2014/main" id="{84F0E10F-9B4A-4BB2-BCE6-2B4DF2F6371C}"/>
              </a:ext>
            </a:extLst>
          </p:cNvPr>
          <p:cNvSpPr txBox="1"/>
          <p:nvPr/>
        </p:nvSpPr>
        <p:spPr>
          <a:xfrm rot="2735380">
            <a:off x="7522062" y="411510"/>
            <a:ext cx="1731203" cy="682028"/>
          </a:xfrm>
          <a:prstGeom prst="rect">
            <a:avLst/>
          </a:prstGeom>
        </p:spPr>
        <p:txBody>
          <a:bodyPr wrap="square" lIns="72000" tIns="72000" rIns="72000" bIns="72000" rtlCol="0">
            <a:spAutoFit/>
          </a:bodyPr>
          <a:lstStyle/>
          <a:p>
            <a:pPr algn="ctr">
              <a:lnSpc>
                <a:spcPct val="120000"/>
              </a:lnSpc>
              <a:spcAft>
                <a:spcPts val="600"/>
              </a:spcAft>
            </a:pPr>
            <a:r>
              <a:rPr lang="fr-FR" sz="3200" b="1" dirty="0">
                <a:solidFill>
                  <a:schemeClr val="bg1"/>
                </a:solidFill>
                <a:latin typeface="Arial" panose="020B0604020202020204" pitchFamily="34" charset="0"/>
                <a:cs typeface="Arial" panose="020B0604020202020204" pitchFamily="34" charset="0"/>
              </a:rPr>
              <a:t>BONUS</a:t>
            </a:r>
          </a:p>
        </p:txBody>
      </p:sp>
    </p:spTree>
    <p:extLst>
      <p:ext uri="{BB962C8B-B14F-4D97-AF65-F5344CB8AC3E}">
        <p14:creationId xmlns:p14="http://schemas.microsoft.com/office/powerpoint/2010/main" val="150309409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9520538-9BF0-4FB6-848B-50F9117C5BEE}"/>
              </a:ext>
            </a:extLst>
          </p:cNvPr>
          <p:cNvSpPr>
            <a:spLocks noGrp="1"/>
          </p:cNvSpPr>
          <p:nvPr>
            <p:ph type="title"/>
          </p:nvPr>
        </p:nvSpPr>
        <p:spPr/>
        <p:txBody>
          <a:bodyPr/>
          <a:lstStyle/>
          <a:p>
            <a:r>
              <a:rPr lang="fr-FR" dirty="0"/>
              <a:t>Agent </a:t>
            </a:r>
            <a:r>
              <a:rPr lang="fr-FR" dirty="0" err="1"/>
              <a:t>limits</a:t>
            </a:r>
            <a:endParaRPr lang="fr-FR" dirty="0"/>
          </a:p>
        </p:txBody>
      </p:sp>
      <p:pic>
        <p:nvPicPr>
          <p:cNvPr id="3" name="Image 2">
            <a:extLst>
              <a:ext uri="{FF2B5EF4-FFF2-40B4-BE49-F238E27FC236}">
                <a16:creationId xmlns:a16="http://schemas.microsoft.com/office/drawing/2014/main" id="{165D26F7-5DFB-4CBC-95E7-FAE342A6E432}"/>
              </a:ext>
            </a:extLst>
          </p:cNvPr>
          <p:cNvPicPr>
            <a:picLocks noChangeAspect="1"/>
          </p:cNvPicPr>
          <p:nvPr/>
        </p:nvPicPr>
        <p:blipFill>
          <a:blip r:embed="rId2"/>
          <a:stretch>
            <a:fillRect/>
          </a:stretch>
        </p:blipFill>
        <p:spPr>
          <a:xfrm>
            <a:off x="1121869" y="586589"/>
            <a:ext cx="6751151" cy="4433966"/>
          </a:xfrm>
          <a:prstGeom prst="rect">
            <a:avLst/>
          </a:prstGeom>
        </p:spPr>
      </p:pic>
    </p:spTree>
    <p:extLst>
      <p:ext uri="{BB962C8B-B14F-4D97-AF65-F5344CB8AC3E}">
        <p14:creationId xmlns:p14="http://schemas.microsoft.com/office/powerpoint/2010/main" val="342761738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544E057-DF3E-47F7-A03E-D728444C6F76}"/>
              </a:ext>
            </a:extLst>
          </p:cNvPr>
          <p:cNvSpPr>
            <a:spLocks noGrp="1"/>
          </p:cNvSpPr>
          <p:nvPr>
            <p:ph type="title"/>
          </p:nvPr>
        </p:nvSpPr>
        <p:spPr>
          <a:xfrm>
            <a:off x="0" y="58301"/>
            <a:ext cx="6975475" cy="808037"/>
          </a:xfrm>
        </p:spPr>
        <p:txBody>
          <a:bodyPr/>
          <a:lstStyle/>
          <a:p>
            <a:r>
              <a:rPr lang="fr-FR" dirty="0"/>
              <a:t>Workshop : </a:t>
            </a:r>
            <a:r>
              <a:rPr lang="fr-FR" dirty="0" err="1"/>
              <a:t>ordering</a:t>
            </a:r>
            <a:r>
              <a:rPr lang="fr-FR" dirty="0"/>
              <a:t> a pizza</a:t>
            </a:r>
          </a:p>
        </p:txBody>
      </p:sp>
      <p:sp>
        <p:nvSpPr>
          <p:cNvPr id="9" name="Bulle narrative : rectangle 8">
            <a:extLst>
              <a:ext uri="{FF2B5EF4-FFF2-40B4-BE49-F238E27FC236}">
                <a16:creationId xmlns:a16="http://schemas.microsoft.com/office/drawing/2014/main" id="{2F56E778-6EA9-4392-9C01-7195EDEE221E}"/>
              </a:ext>
            </a:extLst>
          </p:cNvPr>
          <p:cNvSpPr/>
          <p:nvPr/>
        </p:nvSpPr>
        <p:spPr>
          <a:xfrm>
            <a:off x="1378973" y="776544"/>
            <a:ext cx="2049486" cy="317331"/>
          </a:xfrm>
          <a:prstGeom prst="wedgeRectCallout">
            <a:avLst>
              <a:gd name="adj1" fmla="val 54908"/>
              <a:gd name="adj2" fmla="val -1615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Hello, </a:t>
            </a:r>
            <a:r>
              <a:rPr lang="fr-FR" sz="1200" dirty="0" err="1">
                <a:solidFill>
                  <a:schemeClr val="bg1"/>
                </a:solidFill>
              </a:rPr>
              <a:t>may</a:t>
            </a:r>
            <a:r>
              <a:rPr lang="fr-FR" sz="1200" dirty="0">
                <a:solidFill>
                  <a:schemeClr val="bg1"/>
                </a:solidFill>
              </a:rPr>
              <a:t> I help </a:t>
            </a:r>
            <a:r>
              <a:rPr lang="fr-FR" sz="1200" dirty="0" err="1">
                <a:solidFill>
                  <a:schemeClr val="bg1"/>
                </a:solidFill>
              </a:rPr>
              <a:t>you</a:t>
            </a:r>
            <a:r>
              <a:rPr lang="fr-FR" sz="1200" dirty="0">
                <a:solidFill>
                  <a:schemeClr val="bg1"/>
                </a:solidFill>
              </a:rPr>
              <a:t>?</a:t>
            </a:r>
          </a:p>
        </p:txBody>
      </p:sp>
      <p:sp>
        <p:nvSpPr>
          <p:cNvPr id="10" name="Bulle narrative : rectangle 9">
            <a:extLst>
              <a:ext uri="{FF2B5EF4-FFF2-40B4-BE49-F238E27FC236}">
                <a16:creationId xmlns:a16="http://schemas.microsoft.com/office/drawing/2014/main" id="{4567DDC1-51B0-49DA-B2F5-EDD6C93FDF3E}"/>
              </a:ext>
            </a:extLst>
          </p:cNvPr>
          <p:cNvSpPr/>
          <p:nvPr/>
        </p:nvSpPr>
        <p:spPr>
          <a:xfrm>
            <a:off x="858394" y="1245628"/>
            <a:ext cx="2049486" cy="501557"/>
          </a:xfrm>
          <a:prstGeom prst="wedgeRectCallout">
            <a:avLst>
              <a:gd name="adj1" fmla="val -55516"/>
              <a:gd name="adj2" fmla="val -1889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I would like to order a pizza</a:t>
            </a:r>
            <a:endParaRPr lang="fr-FR" sz="1200" dirty="0">
              <a:solidFill>
                <a:schemeClr val="bg1"/>
              </a:solidFill>
            </a:endParaRPr>
          </a:p>
        </p:txBody>
      </p:sp>
      <p:sp>
        <p:nvSpPr>
          <p:cNvPr id="11" name="Bulle narrative : rectangle 10">
            <a:extLst>
              <a:ext uri="{FF2B5EF4-FFF2-40B4-BE49-F238E27FC236}">
                <a16:creationId xmlns:a16="http://schemas.microsoft.com/office/drawing/2014/main" id="{2D4A9B5D-D344-4A65-8F0F-8B6D95324981}"/>
              </a:ext>
            </a:extLst>
          </p:cNvPr>
          <p:cNvSpPr/>
          <p:nvPr/>
        </p:nvSpPr>
        <p:spPr>
          <a:xfrm>
            <a:off x="2307011" y="1879440"/>
            <a:ext cx="1121448" cy="317331"/>
          </a:xfrm>
          <a:prstGeom prst="wedgeRectCallout">
            <a:avLst>
              <a:gd name="adj1" fmla="val 54908"/>
              <a:gd name="adj2" fmla="val -1615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What kind ?</a:t>
            </a:r>
            <a:endParaRPr lang="fr-FR" sz="1200" dirty="0">
              <a:solidFill>
                <a:schemeClr val="bg1"/>
              </a:solidFill>
            </a:endParaRPr>
          </a:p>
        </p:txBody>
      </p:sp>
      <p:sp>
        <p:nvSpPr>
          <p:cNvPr id="12" name="Bulle narrative : rectangle 11">
            <a:extLst>
              <a:ext uri="{FF2B5EF4-FFF2-40B4-BE49-F238E27FC236}">
                <a16:creationId xmlns:a16="http://schemas.microsoft.com/office/drawing/2014/main" id="{FEE725ED-3326-44C7-A06F-38B1044B47A8}"/>
              </a:ext>
            </a:extLst>
          </p:cNvPr>
          <p:cNvSpPr/>
          <p:nvPr/>
        </p:nvSpPr>
        <p:spPr>
          <a:xfrm>
            <a:off x="858393" y="2281972"/>
            <a:ext cx="1013075" cy="317332"/>
          </a:xfrm>
          <a:prstGeom prst="wedgeRectCallout">
            <a:avLst>
              <a:gd name="adj1" fmla="val -55516"/>
              <a:gd name="adj2" fmla="val -1889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err="1">
                <a:solidFill>
                  <a:schemeClr val="bg1"/>
                </a:solidFill>
              </a:rPr>
              <a:t>Thuna</a:t>
            </a:r>
            <a:endParaRPr lang="fr-FR" sz="1200" dirty="0">
              <a:solidFill>
                <a:schemeClr val="bg1"/>
              </a:solidFill>
            </a:endParaRPr>
          </a:p>
        </p:txBody>
      </p:sp>
      <p:sp>
        <p:nvSpPr>
          <p:cNvPr id="13" name="Bulle narrative : rectangle 12">
            <a:extLst>
              <a:ext uri="{FF2B5EF4-FFF2-40B4-BE49-F238E27FC236}">
                <a16:creationId xmlns:a16="http://schemas.microsoft.com/office/drawing/2014/main" id="{2F767EFF-B7E1-447B-B083-1E3C7C1E305C}"/>
              </a:ext>
            </a:extLst>
          </p:cNvPr>
          <p:cNvSpPr/>
          <p:nvPr/>
        </p:nvSpPr>
        <p:spPr>
          <a:xfrm>
            <a:off x="2336007" y="2665005"/>
            <a:ext cx="1092451" cy="317331"/>
          </a:xfrm>
          <a:prstGeom prst="wedgeRectCallout">
            <a:avLst>
              <a:gd name="adj1" fmla="val 54908"/>
              <a:gd name="adj2" fmla="val -1615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What size ?</a:t>
            </a:r>
            <a:endParaRPr lang="fr-FR" sz="1200" dirty="0">
              <a:solidFill>
                <a:schemeClr val="bg1"/>
              </a:solidFill>
            </a:endParaRPr>
          </a:p>
        </p:txBody>
      </p:sp>
      <p:sp>
        <p:nvSpPr>
          <p:cNvPr id="14" name="Bulle narrative : rectangle 13">
            <a:extLst>
              <a:ext uri="{FF2B5EF4-FFF2-40B4-BE49-F238E27FC236}">
                <a16:creationId xmlns:a16="http://schemas.microsoft.com/office/drawing/2014/main" id="{936D198D-2920-45C0-8D3D-7A311F81F13D}"/>
              </a:ext>
            </a:extLst>
          </p:cNvPr>
          <p:cNvSpPr/>
          <p:nvPr/>
        </p:nvSpPr>
        <p:spPr>
          <a:xfrm>
            <a:off x="872435" y="3065588"/>
            <a:ext cx="1518862" cy="317332"/>
          </a:xfrm>
          <a:prstGeom prst="wedgeRectCallout">
            <a:avLst>
              <a:gd name="adj1" fmla="val -55516"/>
              <a:gd name="adj2" fmla="val -1889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Medium</a:t>
            </a:r>
            <a:endParaRPr lang="fr-FR" sz="1200" dirty="0">
              <a:solidFill>
                <a:schemeClr val="bg1"/>
              </a:solidFill>
            </a:endParaRPr>
          </a:p>
        </p:txBody>
      </p:sp>
      <p:sp>
        <p:nvSpPr>
          <p:cNvPr id="15" name="Bulle narrative : rectangle 14">
            <a:extLst>
              <a:ext uri="{FF2B5EF4-FFF2-40B4-BE49-F238E27FC236}">
                <a16:creationId xmlns:a16="http://schemas.microsoft.com/office/drawing/2014/main" id="{9C2439CB-554C-43F2-9683-7DF60EE35962}"/>
              </a:ext>
            </a:extLst>
          </p:cNvPr>
          <p:cNvSpPr/>
          <p:nvPr/>
        </p:nvSpPr>
        <p:spPr>
          <a:xfrm>
            <a:off x="1378973" y="3466172"/>
            <a:ext cx="2049486" cy="854118"/>
          </a:xfrm>
          <a:prstGeom prst="wedgeRectCallout">
            <a:avLst>
              <a:gd name="adj1" fmla="val 54908"/>
              <a:gd name="adj2" fmla="val -1615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Ok. Your Tuna Medium Pizza </a:t>
            </a:r>
            <a:r>
              <a:rPr lang="en-US" sz="1200" dirty="0" err="1">
                <a:solidFill>
                  <a:schemeClr val="bg1"/>
                </a:solidFill>
              </a:rPr>
              <a:t>wil</a:t>
            </a:r>
            <a:r>
              <a:rPr lang="en-US" sz="1200" dirty="0">
                <a:solidFill>
                  <a:schemeClr val="bg1"/>
                </a:solidFill>
              </a:rPr>
              <a:t> be ready in 20 minutes.</a:t>
            </a:r>
            <a:endParaRPr lang="fr-FR" sz="1200" dirty="0">
              <a:solidFill>
                <a:schemeClr val="bg1"/>
              </a:solidFill>
            </a:endParaRPr>
          </a:p>
        </p:txBody>
      </p:sp>
      <p:sp>
        <p:nvSpPr>
          <p:cNvPr id="3" name="Rectangle 2">
            <a:extLst>
              <a:ext uri="{FF2B5EF4-FFF2-40B4-BE49-F238E27FC236}">
                <a16:creationId xmlns:a16="http://schemas.microsoft.com/office/drawing/2014/main" id="{82A30D22-9240-403C-87C8-F5A01A2DF825}"/>
              </a:ext>
            </a:extLst>
          </p:cNvPr>
          <p:cNvSpPr/>
          <p:nvPr/>
        </p:nvSpPr>
        <p:spPr>
          <a:xfrm>
            <a:off x="4552911" y="2122307"/>
            <a:ext cx="2474792" cy="252122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dirty="0">
                <a:solidFill>
                  <a:schemeClr val="tx1"/>
                </a:solidFill>
              </a:rPr>
              <a:t>New </a:t>
            </a:r>
            <a:r>
              <a:rPr lang="fr-FR" dirty="0" err="1">
                <a:solidFill>
                  <a:schemeClr val="tx1"/>
                </a:solidFill>
              </a:rPr>
              <a:t>entities</a:t>
            </a:r>
            <a:r>
              <a:rPr lang="fr-FR" dirty="0">
                <a:solidFill>
                  <a:schemeClr val="tx1"/>
                </a:solidFill>
              </a:rPr>
              <a:t> to </a:t>
            </a:r>
            <a:r>
              <a:rPr lang="fr-FR" dirty="0" err="1">
                <a:solidFill>
                  <a:schemeClr val="tx1"/>
                </a:solidFill>
              </a:rPr>
              <a:t>create</a:t>
            </a:r>
            <a:r>
              <a:rPr lang="fr-FR" dirty="0">
                <a:solidFill>
                  <a:schemeClr val="tx1"/>
                </a:solidFill>
              </a:rPr>
              <a:t> :</a:t>
            </a:r>
          </a:p>
          <a:p>
            <a:endParaRPr lang="fr-FR" dirty="0">
              <a:solidFill>
                <a:schemeClr val="tx1"/>
              </a:solidFill>
            </a:endParaRPr>
          </a:p>
          <a:p>
            <a:pPr lvl="1"/>
            <a:r>
              <a:rPr lang="fr-FR" dirty="0">
                <a:solidFill>
                  <a:schemeClr val="tx1"/>
                </a:solidFill>
              </a:rPr>
              <a:t>SIZE</a:t>
            </a:r>
          </a:p>
          <a:p>
            <a:pPr marL="628650" lvl="1" indent="-285750">
              <a:buFont typeface="Arial" panose="020B0604020202020204" pitchFamily="34" charset="0"/>
              <a:buChar char="•"/>
            </a:pPr>
            <a:r>
              <a:rPr lang="fr-FR" dirty="0">
                <a:solidFill>
                  <a:schemeClr val="tx1"/>
                </a:solidFill>
              </a:rPr>
              <a:t>Small</a:t>
            </a:r>
          </a:p>
          <a:p>
            <a:pPr marL="628650" lvl="1" indent="-285750">
              <a:buFont typeface="Arial" panose="020B0604020202020204" pitchFamily="34" charset="0"/>
              <a:buChar char="•"/>
            </a:pPr>
            <a:r>
              <a:rPr lang="fr-FR" dirty="0">
                <a:solidFill>
                  <a:schemeClr val="tx1"/>
                </a:solidFill>
              </a:rPr>
              <a:t>Medium</a:t>
            </a:r>
          </a:p>
          <a:p>
            <a:pPr marL="628650" lvl="1" indent="-285750">
              <a:buFont typeface="Arial" panose="020B0604020202020204" pitchFamily="34" charset="0"/>
              <a:buChar char="•"/>
            </a:pPr>
            <a:r>
              <a:rPr lang="fr-FR" dirty="0">
                <a:solidFill>
                  <a:schemeClr val="tx1"/>
                </a:solidFill>
              </a:rPr>
              <a:t>Large</a:t>
            </a:r>
          </a:p>
          <a:p>
            <a:pPr lvl="1"/>
            <a:endParaRPr lang="fr-FR" dirty="0">
              <a:solidFill>
                <a:schemeClr val="tx1"/>
              </a:solidFill>
            </a:endParaRPr>
          </a:p>
          <a:p>
            <a:pPr lvl="1"/>
            <a:r>
              <a:rPr lang="fr-FR" dirty="0">
                <a:solidFill>
                  <a:schemeClr val="tx1"/>
                </a:solidFill>
              </a:rPr>
              <a:t>PIZZA</a:t>
            </a:r>
          </a:p>
          <a:p>
            <a:pPr marL="628650" lvl="1" indent="-285750">
              <a:buFont typeface="Arial" panose="020B0604020202020204" pitchFamily="34" charset="0"/>
              <a:buChar char="•"/>
            </a:pPr>
            <a:r>
              <a:rPr lang="fr-FR" dirty="0" err="1">
                <a:solidFill>
                  <a:schemeClr val="tx1"/>
                </a:solidFill>
              </a:rPr>
              <a:t>Tuna</a:t>
            </a:r>
            <a:endParaRPr lang="fr-FR" dirty="0">
              <a:solidFill>
                <a:schemeClr val="tx1"/>
              </a:solidFill>
            </a:endParaRPr>
          </a:p>
          <a:p>
            <a:pPr marL="628650" lvl="1" indent="-285750">
              <a:buFont typeface="Arial" panose="020B0604020202020204" pitchFamily="34" charset="0"/>
              <a:buChar char="•"/>
            </a:pPr>
            <a:r>
              <a:rPr lang="fr-FR" dirty="0" err="1">
                <a:solidFill>
                  <a:schemeClr val="tx1"/>
                </a:solidFill>
              </a:rPr>
              <a:t>Neapolitan</a:t>
            </a:r>
            <a:endParaRPr lang="fr-FR" dirty="0">
              <a:solidFill>
                <a:schemeClr val="tx1"/>
              </a:solidFill>
            </a:endParaRPr>
          </a:p>
          <a:p>
            <a:pPr marL="628650" lvl="1" indent="-285750">
              <a:buFont typeface="Arial" panose="020B0604020202020204" pitchFamily="34" charset="0"/>
              <a:buChar char="•"/>
            </a:pPr>
            <a:r>
              <a:rPr lang="fr-FR" dirty="0" err="1">
                <a:solidFill>
                  <a:schemeClr val="tx1"/>
                </a:solidFill>
              </a:rPr>
              <a:t>Sicilian</a:t>
            </a:r>
            <a:endParaRPr lang="fr-FR" dirty="0">
              <a:solidFill>
                <a:schemeClr val="tx1"/>
              </a:solidFill>
            </a:endParaRPr>
          </a:p>
        </p:txBody>
      </p:sp>
      <p:sp>
        <p:nvSpPr>
          <p:cNvPr id="18" name="Rectangle 17">
            <a:extLst>
              <a:ext uri="{FF2B5EF4-FFF2-40B4-BE49-F238E27FC236}">
                <a16:creationId xmlns:a16="http://schemas.microsoft.com/office/drawing/2014/main" id="{B694E58F-6406-4E2A-9686-856FDC7BAC71}"/>
              </a:ext>
            </a:extLst>
          </p:cNvPr>
          <p:cNvSpPr/>
          <p:nvPr/>
        </p:nvSpPr>
        <p:spPr>
          <a:xfrm>
            <a:off x="872435" y="4456181"/>
            <a:ext cx="2556023" cy="31733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rPr>
              <a:t>(End of conversation)</a:t>
            </a:r>
          </a:p>
        </p:txBody>
      </p:sp>
      <p:sp>
        <p:nvSpPr>
          <p:cNvPr id="16" name="Text Placeholder 16">
            <a:extLst>
              <a:ext uri="{FF2B5EF4-FFF2-40B4-BE49-F238E27FC236}">
                <a16:creationId xmlns:a16="http://schemas.microsoft.com/office/drawing/2014/main" id="{571F66E5-561B-4B2F-AF79-BC1EE6EE384B}"/>
              </a:ext>
            </a:extLst>
          </p:cNvPr>
          <p:cNvSpPr txBox="1">
            <a:spLocks/>
          </p:cNvSpPr>
          <p:nvPr/>
        </p:nvSpPr>
        <p:spPr>
          <a:xfrm>
            <a:off x="4179730" y="959170"/>
            <a:ext cx="4772169" cy="653917"/>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900" indent="-342900">
              <a:buClr>
                <a:schemeClr val="accent2"/>
              </a:buClr>
              <a:buFont typeface="Arial" panose="020B0604020202020204" pitchFamily="34" charset="0"/>
              <a:buChar char="•"/>
            </a:pPr>
            <a:r>
              <a:rPr lang="en-US" sz="1400" dirty="0"/>
              <a:t>Modify the “default intent” for the welcome message</a:t>
            </a:r>
          </a:p>
          <a:p>
            <a:pPr marL="342900" indent="-342900">
              <a:buClr>
                <a:schemeClr val="accent2"/>
              </a:buClr>
              <a:buFont typeface="Arial" panose="020B0604020202020204" pitchFamily="34" charset="0"/>
              <a:buChar char="•"/>
            </a:pPr>
            <a:r>
              <a:rPr lang="en-US" sz="1400" dirty="0"/>
              <a:t>Add a new “ordering pizza” intent, with two mandatory custom entities</a:t>
            </a:r>
          </a:p>
          <a:p>
            <a:pPr marL="690563" lvl="1" indent="-285750"/>
            <a:endParaRPr lang="en-US" sz="145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sp>
        <p:nvSpPr>
          <p:cNvPr id="17" name="Bande diagonale 16">
            <a:extLst>
              <a:ext uri="{FF2B5EF4-FFF2-40B4-BE49-F238E27FC236}">
                <a16:creationId xmlns:a16="http://schemas.microsoft.com/office/drawing/2014/main" id="{7F84ED10-CBD3-40B9-893D-97FDDBBF6885}"/>
              </a:ext>
            </a:extLst>
          </p:cNvPr>
          <p:cNvSpPr/>
          <p:nvPr/>
        </p:nvSpPr>
        <p:spPr>
          <a:xfrm rot="5400000">
            <a:off x="7236889" y="-6860"/>
            <a:ext cx="1908000" cy="1906223"/>
          </a:xfrm>
          <a:prstGeom prst="diagStripe">
            <a:avLst>
              <a:gd name="adj" fmla="val 6268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19" name="ZoneTexte 18">
            <a:extLst>
              <a:ext uri="{FF2B5EF4-FFF2-40B4-BE49-F238E27FC236}">
                <a16:creationId xmlns:a16="http://schemas.microsoft.com/office/drawing/2014/main" id="{7917F1DB-A8CA-4B88-9831-F50FA7771C36}"/>
              </a:ext>
            </a:extLst>
          </p:cNvPr>
          <p:cNvSpPr txBox="1"/>
          <p:nvPr/>
        </p:nvSpPr>
        <p:spPr>
          <a:xfrm rot="2735380">
            <a:off x="7539304" y="520290"/>
            <a:ext cx="1712736" cy="480819"/>
          </a:xfrm>
          <a:prstGeom prst="rect">
            <a:avLst/>
          </a:prstGeom>
        </p:spPr>
        <p:txBody>
          <a:bodyPr wrap="square" lIns="72000" tIns="72000" rIns="72000" bIns="72000" rtlCol="0">
            <a:spAutoFit/>
          </a:bodyPr>
          <a:lstStyle/>
          <a:p>
            <a:pPr algn="ctr">
              <a:lnSpc>
                <a:spcPct val="120000"/>
              </a:lnSpc>
              <a:spcAft>
                <a:spcPts val="600"/>
              </a:spcAft>
            </a:pPr>
            <a:r>
              <a:rPr lang="fr-FR" sz="2000" b="1" dirty="0">
                <a:solidFill>
                  <a:schemeClr val="bg1"/>
                </a:solidFill>
                <a:latin typeface="Arial" panose="020B0604020202020204" pitchFamily="34" charset="0"/>
                <a:cs typeface="Arial" panose="020B0604020202020204" pitchFamily="34" charset="0"/>
              </a:rPr>
              <a:t>WORKSHOP</a:t>
            </a:r>
          </a:p>
        </p:txBody>
      </p:sp>
    </p:spTree>
    <p:extLst>
      <p:ext uri="{BB962C8B-B14F-4D97-AF65-F5344CB8AC3E}">
        <p14:creationId xmlns:p14="http://schemas.microsoft.com/office/powerpoint/2010/main" val="326305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llipse 5">
            <a:extLst>
              <a:ext uri="{FF2B5EF4-FFF2-40B4-BE49-F238E27FC236}">
                <a16:creationId xmlns:a16="http://schemas.microsoft.com/office/drawing/2014/main" id="{0C04EDAC-5594-49D9-A348-ADF93F2EC4EE}"/>
              </a:ext>
            </a:extLst>
          </p:cNvPr>
          <p:cNvSpPr/>
          <p:nvPr/>
        </p:nvSpPr>
        <p:spPr>
          <a:xfrm>
            <a:off x="3418087" y="1021162"/>
            <a:ext cx="5311361" cy="5254433"/>
          </a:xfrm>
          <a:prstGeom prst="ellipse">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A58C9069-A253-0946-846F-2D00A4204D95}"/>
              </a:ext>
            </a:extLst>
          </p:cNvPr>
          <p:cNvSpPr>
            <a:spLocks noGrp="1"/>
          </p:cNvSpPr>
          <p:nvPr>
            <p:ph type="title"/>
          </p:nvPr>
        </p:nvSpPr>
        <p:spPr/>
        <p:txBody>
          <a:bodyPr/>
          <a:lstStyle/>
          <a:p>
            <a:r>
              <a:rPr lang="en-US" dirty="0" err="1"/>
              <a:t>Dialogflow</a:t>
            </a:r>
            <a:br>
              <a:rPr lang="en-US" dirty="0"/>
            </a:br>
            <a:r>
              <a:rPr lang="en-US" dirty="0"/>
              <a:t>Training</a:t>
            </a:r>
          </a:p>
        </p:txBody>
      </p:sp>
      <p:sp>
        <p:nvSpPr>
          <p:cNvPr id="3" name="Text Placeholder 2">
            <a:extLst>
              <a:ext uri="{FF2B5EF4-FFF2-40B4-BE49-F238E27FC236}">
                <a16:creationId xmlns:a16="http://schemas.microsoft.com/office/drawing/2014/main" id="{F52F02E1-A4DC-B244-BCC1-26DDC889B5C3}"/>
              </a:ext>
            </a:extLst>
          </p:cNvPr>
          <p:cNvSpPr>
            <a:spLocks noGrp="1"/>
          </p:cNvSpPr>
          <p:nvPr>
            <p:ph type="body" sz="quarter" idx="10"/>
          </p:nvPr>
        </p:nvSpPr>
        <p:spPr/>
        <p:txBody>
          <a:bodyPr/>
          <a:lstStyle/>
          <a:p>
            <a:r>
              <a:rPr lang="en-US" dirty="0"/>
              <a:t>Module 5 : Integration with Google Assistant</a:t>
            </a:r>
          </a:p>
        </p:txBody>
      </p:sp>
      <p:sp>
        <p:nvSpPr>
          <p:cNvPr id="7" name="Freeform 1">
            <a:extLst>
              <a:ext uri="{FF2B5EF4-FFF2-40B4-BE49-F238E27FC236}">
                <a16:creationId xmlns:a16="http://schemas.microsoft.com/office/drawing/2014/main" id="{C009C2CB-0D45-244B-8254-95D0D9E3683C}"/>
              </a:ext>
            </a:extLst>
          </p:cNvPr>
          <p:cNvSpPr>
            <a:spLocks noChangeArrowheads="1"/>
          </p:cNvSpPr>
          <p:nvPr/>
        </p:nvSpPr>
        <p:spPr bwMode="auto">
          <a:xfrm>
            <a:off x="6799803" y="0"/>
            <a:ext cx="2747583" cy="2612551"/>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3959468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CE417E-42E4-4D1E-B00D-DF63064939B6}"/>
              </a:ext>
            </a:extLst>
          </p:cNvPr>
          <p:cNvSpPr>
            <a:spLocks noGrp="1"/>
          </p:cNvSpPr>
          <p:nvPr>
            <p:ph type="title"/>
          </p:nvPr>
        </p:nvSpPr>
        <p:spPr/>
        <p:txBody>
          <a:bodyPr/>
          <a:lstStyle/>
          <a:p>
            <a:r>
              <a:rPr lang="fr-FR" dirty="0"/>
              <a:t>Global native architecture</a:t>
            </a:r>
          </a:p>
        </p:txBody>
      </p:sp>
      <p:pic>
        <p:nvPicPr>
          <p:cNvPr id="52" name="Image 51">
            <a:extLst>
              <a:ext uri="{FF2B5EF4-FFF2-40B4-BE49-F238E27FC236}">
                <a16:creationId xmlns:a16="http://schemas.microsoft.com/office/drawing/2014/main" id="{373CA4AE-3887-49B3-B13A-8C6A44C9CC13}"/>
              </a:ext>
            </a:extLst>
          </p:cNvPr>
          <p:cNvPicPr>
            <a:picLocks noChangeAspect="1"/>
          </p:cNvPicPr>
          <p:nvPr/>
        </p:nvPicPr>
        <p:blipFill>
          <a:blip r:embed="rId2"/>
          <a:stretch>
            <a:fillRect/>
          </a:stretch>
        </p:blipFill>
        <p:spPr>
          <a:xfrm>
            <a:off x="573437" y="622058"/>
            <a:ext cx="7997125" cy="4148723"/>
          </a:xfrm>
          <a:prstGeom prst="rect">
            <a:avLst/>
          </a:prstGeom>
          <a:solidFill>
            <a:schemeClr val="bg1"/>
          </a:solidFill>
        </p:spPr>
      </p:pic>
    </p:spTree>
    <p:extLst>
      <p:ext uri="{BB962C8B-B14F-4D97-AF65-F5344CB8AC3E}">
        <p14:creationId xmlns:p14="http://schemas.microsoft.com/office/powerpoint/2010/main" val="3334635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A841B1D-9784-4C66-9C33-8FF79C6AE880}"/>
              </a:ext>
            </a:extLst>
          </p:cNvPr>
          <p:cNvSpPr>
            <a:spLocks noGrp="1"/>
          </p:cNvSpPr>
          <p:nvPr>
            <p:ph type="title"/>
          </p:nvPr>
        </p:nvSpPr>
        <p:spPr/>
        <p:txBody>
          <a:bodyPr/>
          <a:lstStyle/>
          <a:p>
            <a:r>
              <a:rPr lang="fr-FR" dirty="0"/>
              <a:t>Limitations </a:t>
            </a:r>
            <a:r>
              <a:rPr lang="fr-FR" dirty="0" err="1"/>
              <a:t>with</a:t>
            </a:r>
            <a:r>
              <a:rPr lang="fr-FR" dirty="0"/>
              <a:t> GCP </a:t>
            </a:r>
            <a:r>
              <a:rPr lang="fr-FR" dirty="0" err="1"/>
              <a:t>projects</a:t>
            </a:r>
            <a:endParaRPr lang="fr-FR" dirty="0"/>
          </a:p>
        </p:txBody>
      </p:sp>
      <p:sp>
        <p:nvSpPr>
          <p:cNvPr id="3" name="Text Placeholder 16">
            <a:extLst>
              <a:ext uri="{FF2B5EF4-FFF2-40B4-BE49-F238E27FC236}">
                <a16:creationId xmlns:a16="http://schemas.microsoft.com/office/drawing/2014/main" id="{9C10929A-696E-43DC-A745-BF40287AF8A0}"/>
              </a:ext>
            </a:extLst>
          </p:cNvPr>
          <p:cNvSpPr txBox="1">
            <a:spLocks/>
          </p:cNvSpPr>
          <p:nvPr/>
        </p:nvSpPr>
        <p:spPr>
          <a:xfrm>
            <a:off x="228600" y="668889"/>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solidFill>
                <a:schemeClr val="accent2"/>
              </a:solidFill>
            </a:endParaRPr>
          </a:p>
          <a:p>
            <a:pPr marL="285750" indent="-285750">
              <a:buFont typeface="Arial" panose="020B0604020202020204" pitchFamily="34" charset="0"/>
              <a:buChar char="•"/>
            </a:pPr>
            <a:r>
              <a:rPr lang="en-US" sz="1600" dirty="0">
                <a:solidFill>
                  <a:schemeClr val="accent2"/>
                </a:solidFill>
              </a:rPr>
              <a:t>The number of projects is limited. </a:t>
            </a:r>
            <a:r>
              <a:rPr lang="en-US" sz="1600" dirty="0"/>
              <a:t>You must try to :</a:t>
            </a:r>
          </a:p>
          <a:p>
            <a:pPr marL="690563" lvl="1" indent="-285750"/>
            <a:r>
              <a:rPr lang="en-US" sz="1450" dirty="0"/>
              <a:t>Reuse existing projects, without creating new ones</a:t>
            </a:r>
          </a:p>
          <a:p>
            <a:pPr marL="690563" lvl="1" indent="-285750"/>
            <a:r>
              <a:rPr lang="en-US" sz="1450" dirty="0"/>
              <a:t>Delete old project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solidFill>
                  <a:schemeClr val="accent2"/>
                </a:solidFill>
              </a:rPr>
              <a:t>You can’t delete a project immediately</a:t>
            </a:r>
            <a:r>
              <a:rPr lang="en-US" sz="1600" dirty="0"/>
              <a:t>: the technical delay is one month. During this month, your project is still active.</a:t>
            </a:r>
            <a:endParaRPr lang="en-US" sz="1450" i="1" dirty="0"/>
          </a:p>
          <a:p>
            <a:pPr marL="690563" lvl="1" indent="-285750"/>
            <a:endParaRPr lang="en-US" sz="145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1826893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9F0B77D-B072-49F2-970D-61E2D91C5CC3}"/>
              </a:ext>
            </a:extLst>
          </p:cNvPr>
          <p:cNvSpPr>
            <a:spLocks noGrp="1"/>
          </p:cNvSpPr>
          <p:nvPr>
            <p:ph type="title"/>
          </p:nvPr>
        </p:nvSpPr>
        <p:spPr/>
        <p:txBody>
          <a:bodyPr/>
          <a:lstStyle/>
          <a:p>
            <a:r>
              <a:rPr lang="fr-FR" dirty="0" err="1"/>
              <a:t>Create</a:t>
            </a:r>
            <a:r>
              <a:rPr lang="fr-FR" dirty="0"/>
              <a:t> a new </a:t>
            </a:r>
            <a:r>
              <a:rPr lang="fr-FR" dirty="0" err="1"/>
              <a:t>project</a:t>
            </a:r>
            <a:r>
              <a:rPr lang="fr-FR" dirty="0"/>
              <a:t> in Google Assistant	</a:t>
            </a:r>
          </a:p>
        </p:txBody>
      </p:sp>
      <p:pic>
        <p:nvPicPr>
          <p:cNvPr id="4" name="Image 3">
            <a:extLst>
              <a:ext uri="{FF2B5EF4-FFF2-40B4-BE49-F238E27FC236}">
                <a16:creationId xmlns:a16="http://schemas.microsoft.com/office/drawing/2014/main" id="{645A8960-BF25-4381-931F-F679A6211E5F}"/>
              </a:ext>
            </a:extLst>
          </p:cNvPr>
          <p:cNvPicPr>
            <a:picLocks noChangeAspect="1"/>
          </p:cNvPicPr>
          <p:nvPr/>
        </p:nvPicPr>
        <p:blipFill>
          <a:blip r:embed="rId2"/>
          <a:stretch>
            <a:fillRect/>
          </a:stretch>
        </p:blipFill>
        <p:spPr>
          <a:xfrm>
            <a:off x="761325" y="1590615"/>
            <a:ext cx="3402311" cy="2692908"/>
          </a:xfrm>
          <a:prstGeom prst="rect">
            <a:avLst/>
          </a:prstGeom>
        </p:spPr>
      </p:pic>
      <p:pic>
        <p:nvPicPr>
          <p:cNvPr id="5" name="Image 4">
            <a:extLst>
              <a:ext uri="{FF2B5EF4-FFF2-40B4-BE49-F238E27FC236}">
                <a16:creationId xmlns:a16="http://schemas.microsoft.com/office/drawing/2014/main" id="{1FB24372-F821-475C-97D2-4C638354C8FB}"/>
              </a:ext>
            </a:extLst>
          </p:cNvPr>
          <p:cNvPicPr>
            <a:picLocks noChangeAspect="1"/>
          </p:cNvPicPr>
          <p:nvPr/>
        </p:nvPicPr>
        <p:blipFill>
          <a:blip r:embed="rId3"/>
          <a:stretch>
            <a:fillRect/>
          </a:stretch>
        </p:blipFill>
        <p:spPr>
          <a:xfrm>
            <a:off x="1220276" y="782578"/>
            <a:ext cx="2571750" cy="371475"/>
          </a:xfrm>
          <a:prstGeom prst="rect">
            <a:avLst/>
          </a:prstGeom>
        </p:spPr>
      </p:pic>
      <p:pic>
        <p:nvPicPr>
          <p:cNvPr id="6" name="Image 5">
            <a:extLst>
              <a:ext uri="{FF2B5EF4-FFF2-40B4-BE49-F238E27FC236}">
                <a16:creationId xmlns:a16="http://schemas.microsoft.com/office/drawing/2014/main" id="{17F2EE02-B1C2-4CE2-BD1C-7B6FB3948465}"/>
              </a:ext>
            </a:extLst>
          </p:cNvPr>
          <p:cNvPicPr>
            <a:picLocks noChangeAspect="1"/>
          </p:cNvPicPr>
          <p:nvPr/>
        </p:nvPicPr>
        <p:blipFill>
          <a:blip r:embed="rId4"/>
          <a:stretch>
            <a:fillRect/>
          </a:stretch>
        </p:blipFill>
        <p:spPr>
          <a:xfrm>
            <a:off x="4925637" y="1831531"/>
            <a:ext cx="2482907" cy="2122932"/>
          </a:xfrm>
          <a:prstGeom prst="rect">
            <a:avLst/>
          </a:prstGeom>
        </p:spPr>
      </p:pic>
      <p:cxnSp>
        <p:nvCxnSpPr>
          <p:cNvPr id="7" name="Connecteur droit avec flèche 6">
            <a:extLst>
              <a:ext uri="{FF2B5EF4-FFF2-40B4-BE49-F238E27FC236}">
                <a16:creationId xmlns:a16="http://schemas.microsoft.com/office/drawing/2014/main" id="{8273ADC0-EF71-4038-8547-C2A1CFB00E71}"/>
              </a:ext>
            </a:extLst>
          </p:cNvPr>
          <p:cNvCxnSpPr>
            <a:cxnSpLocks/>
          </p:cNvCxnSpPr>
          <p:nvPr/>
        </p:nvCxnSpPr>
        <p:spPr>
          <a:xfrm flipV="1">
            <a:off x="2298192" y="1154054"/>
            <a:ext cx="0" cy="436561"/>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cxnSp>
        <p:nvCxnSpPr>
          <p:cNvPr id="10" name="Connecteur droit avec flèche 9">
            <a:extLst>
              <a:ext uri="{FF2B5EF4-FFF2-40B4-BE49-F238E27FC236}">
                <a16:creationId xmlns:a16="http://schemas.microsoft.com/office/drawing/2014/main" id="{062AB1A6-2074-4BD7-BED6-1EEBFDCE8426}"/>
              </a:ext>
            </a:extLst>
          </p:cNvPr>
          <p:cNvCxnSpPr>
            <a:cxnSpLocks/>
          </p:cNvCxnSpPr>
          <p:nvPr/>
        </p:nvCxnSpPr>
        <p:spPr>
          <a:xfrm flipH="1">
            <a:off x="4248912" y="2440310"/>
            <a:ext cx="676725" cy="1"/>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12" name="Ellipse 11">
            <a:extLst>
              <a:ext uri="{FF2B5EF4-FFF2-40B4-BE49-F238E27FC236}">
                <a16:creationId xmlns:a16="http://schemas.microsoft.com/office/drawing/2014/main" id="{E2093BA1-5841-495D-AD33-65169822AA1A}"/>
              </a:ext>
            </a:extLst>
          </p:cNvPr>
          <p:cNvSpPr/>
          <p:nvPr/>
        </p:nvSpPr>
        <p:spPr>
          <a:xfrm>
            <a:off x="3450336" y="2300483"/>
            <a:ext cx="877004" cy="279654"/>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123402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8C3117-B76E-4A5B-8C3F-6A7600F6F0B4}"/>
              </a:ext>
            </a:extLst>
          </p:cNvPr>
          <p:cNvSpPr>
            <a:spLocks noGrp="1"/>
          </p:cNvSpPr>
          <p:nvPr>
            <p:ph type="title"/>
          </p:nvPr>
        </p:nvSpPr>
        <p:spPr/>
        <p:txBody>
          <a:bodyPr/>
          <a:lstStyle/>
          <a:p>
            <a:r>
              <a:rPr lang="fr-FR" dirty="0" err="1"/>
              <a:t>Parameter</a:t>
            </a:r>
            <a:r>
              <a:rPr lang="fr-FR" dirty="0"/>
              <a:t> the </a:t>
            </a:r>
            <a:r>
              <a:rPr lang="fr-FR" dirty="0" err="1"/>
              <a:t>project</a:t>
            </a:r>
            <a:endParaRPr lang="fr-FR" dirty="0"/>
          </a:p>
        </p:txBody>
      </p:sp>
      <p:pic>
        <p:nvPicPr>
          <p:cNvPr id="3" name="Image 2">
            <a:extLst>
              <a:ext uri="{FF2B5EF4-FFF2-40B4-BE49-F238E27FC236}">
                <a16:creationId xmlns:a16="http://schemas.microsoft.com/office/drawing/2014/main" id="{95572423-F66D-4CD4-9569-873C3732679F}"/>
              </a:ext>
            </a:extLst>
          </p:cNvPr>
          <p:cNvPicPr>
            <a:picLocks noChangeAspect="1"/>
          </p:cNvPicPr>
          <p:nvPr/>
        </p:nvPicPr>
        <p:blipFill>
          <a:blip r:embed="rId2"/>
          <a:stretch>
            <a:fillRect/>
          </a:stretch>
        </p:blipFill>
        <p:spPr>
          <a:xfrm>
            <a:off x="2159000" y="804101"/>
            <a:ext cx="1936667" cy="1767649"/>
          </a:xfrm>
          <a:prstGeom prst="rect">
            <a:avLst/>
          </a:prstGeom>
        </p:spPr>
      </p:pic>
      <p:sp>
        <p:nvSpPr>
          <p:cNvPr id="4" name="Text Placeholder 16">
            <a:extLst>
              <a:ext uri="{FF2B5EF4-FFF2-40B4-BE49-F238E27FC236}">
                <a16:creationId xmlns:a16="http://schemas.microsoft.com/office/drawing/2014/main" id="{95C4C444-EB88-4EB6-BCB7-12188478B20B}"/>
              </a:ext>
            </a:extLst>
          </p:cNvPr>
          <p:cNvSpPr txBox="1">
            <a:spLocks/>
          </p:cNvSpPr>
          <p:nvPr/>
        </p:nvSpPr>
        <p:spPr>
          <a:xfrm>
            <a:off x="4936026" y="500246"/>
            <a:ext cx="3995268" cy="2708673"/>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p>
          <a:p>
            <a:r>
              <a:rPr lang="fr-FR" sz="1600" dirty="0"/>
              <a:t>How how </a:t>
            </a:r>
            <a:r>
              <a:rPr lang="fr-FR" sz="1600" dirty="0" err="1"/>
              <a:t>your</a:t>
            </a:r>
            <a:r>
              <a:rPr lang="fr-FR" sz="1600" dirty="0"/>
              <a:t> bot </a:t>
            </a:r>
            <a:r>
              <a:rPr lang="fr-FR" sz="1600" dirty="0" err="1"/>
              <a:t>is</a:t>
            </a:r>
            <a:r>
              <a:rPr lang="fr-FR" sz="1600" dirty="0"/>
              <a:t> </a:t>
            </a:r>
            <a:r>
              <a:rPr lang="fr-FR" sz="1600" dirty="0" err="1"/>
              <a:t>invoked</a:t>
            </a:r>
            <a:r>
              <a:rPr lang="fr-FR" sz="1600" dirty="0"/>
              <a:t>.</a:t>
            </a:r>
          </a:p>
          <a:p>
            <a:endParaRPr lang="fr-FR" sz="1600" dirty="0"/>
          </a:p>
          <a:p>
            <a:r>
              <a:rPr lang="fr-FR" sz="1600" dirty="0"/>
              <a:t>Link to </a:t>
            </a:r>
            <a:r>
              <a:rPr lang="fr-FR" sz="1600" dirty="0" err="1"/>
              <a:t>Dialoglow</a:t>
            </a:r>
            <a:r>
              <a:rPr lang="fr-FR" sz="1600" dirty="0"/>
              <a:t> agent</a:t>
            </a:r>
          </a:p>
          <a:p>
            <a:endParaRPr lang="fr-FR" sz="1600" dirty="0"/>
          </a:p>
          <a:p>
            <a:r>
              <a:rPr lang="fr-FR" sz="1600" dirty="0" err="1"/>
              <a:t>Icons</a:t>
            </a:r>
            <a:r>
              <a:rPr lang="fr-FR" sz="1600" dirty="0"/>
              <a:t>, images, </a:t>
            </a:r>
            <a:r>
              <a:rPr lang="fr-FR" sz="1600" dirty="0" err="1"/>
              <a:t>colours</a:t>
            </a:r>
            <a:r>
              <a:rPr lang="fr-FR" sz="1600" dirty="0"/>
              <a:t>… for </a:t>
            </a:r>
            <a:r>
              <a:rPr lang="fr-FR" sz="1600" dirty="0" err="1"/>
              <a:t>text</a:t>
            </a:r>
            <a:r>
              <a:rPr lang="fr-FR" sz="1600" dirty="0"/>
              <a:t> bots</a:t>
            </a:r>
          </a:p>
          <a:p>
            <a:endParaRPr lang="fr-FR" sz="1400" dirty="0"/>
          </a:p>
          <a:p>
            <a:endParaRPr lang="fr-FR" sz="800" dirty="0"/>
          </a:p>
          <a:p>
            <a:endParaRPr lang="fr-FR" sz="1600" dirty="0"/>
          </a:p>
          <a:p>
            <a:r>
              <a:rPr lang="fr-FR" sz="1600" dirty="0"/>
              <a:t>Contact, description, </a:t>
            </a:r>
            <a:r>
              <a:rPr lang="fr-FR" sz="1600" dirty="0" err="1"/>
              <a:t>icons</a:t>
            </a:r>
            <a:r>
              <a:rPr lang="fr-FR" sz="1600" dirty="0"/>
              <a:t>…</a:t>
            </a:r>
          </a:p>
          <a:p>
            <a:endParaRPr lang="fr-FR" sz="1450" dirty="0"/>
          </a:p>
          <a:p>
            <a:endParaRPr lang="en-US" dirty="0"/>
          </a:p>
        </p:txBody>
      </p:sp>
      <p:cxnSp>
        <p:nvCxnSpPr>
          <p:cNvPr id="5" name="Connecteur droit avec flèche 4">
            <a:extLst>
              <a:ext uri="{FF2B5EF4-FFF2-40B4-BE49-F238E27FC236}">
                <a16:creationId xmlns:a16="http://schemas.microsoft.com/office/drawing/2014/main" id="{AB0F0BE6-6E02-4651-BA05-7CDE5AEAE789}"/>
              </a:ext>
            </a:extLst>
          </p:cNvPr>
          <p:cNvCxnSpPr>
            <a:cxnSpLocks/>
          </p:cNvCxnSpPr>
          <p:nvPr/>
        </p:nvCxnSpPr>
        <p:spPr>
          <a:xfrm flipH="1">
            <a:off x="2973222" y="1601916"/>
            <a:ext cx="1962804" cy="0"/>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cxnSp>
        <p:nvCxnSpPr>
          <p:cNvPr id="8" name="Connecteur droit avec flèche 7">
            <a:extLst>
              <a:ext uri="{FF2B5EF4-FFF2-40B4-BE49-F238E27FC236}">
                <a16:creationId xmlns:a16="http://schemas.microsoft.com/office/drawing/2014/main" id="{EFFEFBAA-C7BE-40BC-BBF9-A595E8C3A59C}"/>
              </a:ext>
            </a:extLst>
          </p:cNvPr>
          <p:cNvCxnSpPr>
            <a:cxnSpLocks/>
          </p:cNvCxnSpPr>
          <p:nvPr/>
        </p:nvCxnSpPr>
        <p:spPr>
          <a:xfrm flipH="1">
            <a:off x="3015894" y="980885"/>
            <a:ext cx="1920132" cy="377191"/>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cxnSp>
        <p:nvCxnSpPr>
          <p:cNvPr id="10" name="Connecteur droit avec flèche 9">
            <a:extLst>
              <a:ext uri="{FF2B5EF4-FFF2-40B4-BE49-F238E27FC236}">
                <a16:creationId xmlns:a16="http://schemas.microsoft.com/office/drawing/2014/main" id="{2090153C-78EA-4AA7-8682-5E4B74731855}"/>
              </a:ext>
            </a:extLst>
          </p:cNvPr>
          <p:cNvCxnSpPr>
            <a:cxnSpLocks/>
          </p:cNvCxnSpPr>
          <p:nvPr/>
        </p:nvCxnSpPr>
        <p:spPr>
          <a:xfrm flipH="1" flipV="1">
            <a:off x="3541884" y="1854583"/>
            <a:ext cx="1394142" cy="412558"/>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pic>
        <p:nvPicPr>
          <p:cNvPr id="7" name="Image 6">
            <a:extLst>
              <a:ext uri="{FF2B5EF4-FFF2-40B4-BE49-F238E27FC236}">
                <a16:creationId xmlns:a16="http://schemas.microsoft.com/office/drawing/2014/main" id="{39A39CAC-457E-4213-B12F-B6E0D4D34C4D}"/>
              </a:ext>
            </a:extLst>
          </p:cNvPr>
          <p:cNvPicPr>
            <a:picLocks noChangeAspect="1"/>
          </p:cNvPicPr>
          <p:nvPr/>
        </p:nvPicPr>
        <p:blipFill>
          <a:blip r:embed="rId3"/>
          <a:stretch>
            <a:fillRect/>
          </a:stretch>
        </p:blipFill>
        <p:spPr>
          <a:xfrm>
            <a:off x="2175536" y="2769552"/>
            <a:ext cx="1920131" cy="2171226"/>
          </a:xfrm>
          <a:prstGeom prst="rect">
            <a:avLst/>
          </a:prstGeom>
        </p:spPr>
      </p:pic>
      <p:cxnSp>
        <p:nvCxnSpPr>
          <p:cNvPr id="9" name="Connecteur droit avec flèche 8">
            <a:extLst>
              <a:ext uri="{FF2B5EF4-FFF2-40B4-BE49-F238E27FC236}">
                <a16:creationId xmlns:a16="http://schemas.microsoft.com/office/drawing/2014/main" id="{7B7BC911-F5BD-43EE-B26D-1D6F496C52D8}"/>
              </a:ext>
            </a:extLst>
          </p:cNvPr>
          <p:cNvCxnSpPr>
            <a:cxnSpLocks/>
          </p:cNvCxnSpPr>
          <p:nvPr/>
        </p:nvCxnSpPr>
        <p:spPr>
          <a:xfrm flipH="1">
            <a:off x="3602736" y="3394790"/>
            <a:ext cx="1394142" cy="0"/>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11" name="Text Placeholder 16">
            <a:extLst>
              <a:ext uri="{FF2B5EF4-FFF2-40B4-BE49-F238E27FC236}">
                <a16:creationId xmlns:a16="http://schemas.microsoft.com/office/drawing/2014/main" id="{68A3FF1C-95BA-465B-992A-802A0597E9D6}"/>
              </a:ext>
            </a:extLst>
          </p:cNvPr>
          <p:cNvSpPr txBox="1">
            <a:spLocks/>
          </p:cNvSpPr>
          <p:nvPr/>
        </p:nvSpPr>
        <p:spPr>
          <a:xfrm>
            <a:off x="431317" y="804101"/>
            <a:ext cx="3995268" cy="3220887"/>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FR" sz="1600" dirty="0" err="1"/>
              <a:t>Develop</a:t>
            </a:r>
            <a:r>
              <a:rPr lang="fr-FR" sz="1600" dirty="0"/>
              <a:t> menu</a:t>
            </a:r>
          </a:p>
          <a:p>
            <a:endParaRPr lang="fr-FR" sz="1600" dirty="0"/>
          </a:p>
          <a:p>
            <a:endParaRPr lang="fr-FR" sz="1600" dirty="0"/>
          </a:p>
          <a:p>
            <a:endParaRPr lang="fr-FR" sz="1600" dirty="0"/>
          </a:p>
          <a:p>
            <a:endParaRPr lang="fr-FR" sz="1600" dirty="0"/>
          </a:p>
          <a:p>
            <a:endParaRPr lang="fr-FR" sz="1600" dirty="0"/>
          </a:p>
          <a:p>
            <a:r>
              <a:rPr lang="fr-FR" sz="1600" dirty="0" err="1"/>
              <a:t>Deploy</a:t>
            </a:r>
            <a:r>
              <a:rPr lang="fr-FR" sz="1600" dirty="0"/>
              <a:t> menu</a:t>
            </a:r>
            <a:endParaRPr lang="fr-FR" sz="1450" dirty="0"/>
          </a:p>
          <a:p>
            <a:endParaRPr lang="en-US" dirty="0"/>
          </a:p>
        </p:txBody>
      </p:sp>
    </p:spTree>
    <p:extLst>
      <p:ext uri="{BB962C8B-B14F-4D97-AF65-F5344CB8AC3E}">
        <p14:creationId xmlns:p14="http://schemas.microsoft.com/office/powerpoint/2010/main" val="691959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36BF5CE-9987-4253-9D39-CCC9278159DD}"/>
              </a:ext>
            </a:extLst>
          </p:cNvPr>
          <p:cNvSpPr>
            <a:spLocks noGrp="1"/>
          </p:cNvSpPr>
          <p:nvPr>
            <p:ph type="title"/>
          </p:nvPr>
        </p:nvSpPr>
        <p:spPr/>
        <p:txBody>
          <a:bodyPr/>
          <a:lstStyle/>
          <a:p>
            <a:r>
              <a:rPr lang="fr-FR" dirty="0"/>
              <a:t>1 - Invocation</a:t>
            </a:r>
          </a:p>
        </p:txBody>
      </p:sp>
      <p:sp>
        <p:nvSpPr>
          <p:cNvPr id="4" name="Text Placeholder 16">
            <a:extLst>
              <a:ext uri="{FF2B5EF4-FFF2-40B4-BE49-F238E27FC236}">
                <a16:creationId xmlns:a16="http://schemas.microsoft.com/office/drawing/2014/main" id="{25E25C98-A463-4406-97ED-46987315D4BF}"/>
              </a:ext>
            </a:extLst>
          </p:cNvPr>
          <p:cNvSpPr txBox="1">
            <a:spLocks/>
          </p:cNvSpPr>
          <p:nvPr/>
        </p:nvSpPr>
        <p:spPr>
          <a:xfrm>
            <a:off x="288236" y="808037"/>
            <a:ext cx="3995268" cy="2708673"/>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p>
          <a:p>
            <a:pPr marL="285750" indent="-285750">
              <a:buClr>
                <a:schemeClr val="accent2"/>
              </a:buClr>
              <a:buFont typeface="Arial" panose="020B0604020202020204" pitchFamily="34" charset="0"/>
              <a:buChar char="•"/>
            </a:pPr>
            <a:r>
              <a:rPr lang="fr-FR" sz="1600" dirty="0" err="1"/>
              <a:t>Define</a:t>
            </a:r>
            <a:r>
              <a:rPr lang="fr-FR" sz="1600" dirty="0"/>
              <a:t> how </a:t>
            </a:r>
            <a:r>
              <a:rPr lang="fr-FR" sz="1600" dirty="0" err="1"/>
              <a:t>your</a:t>
            </a:r>
            <a:r>
              <a:rPr lang="fr-FR" sz="1600" dirty="0"/>
              <a:t> bot </a:t>
            </a:r>
            <a:r>
              <a:rPr lang="fr-FR" sz="1600" dirty="0" err="1"/>
              <a:t>is</a:t>
            </a:r>
            <a:r>
              <a:rPr lang="fr-FR" sz="1600" dirty="0"/>
              <a:t> </a:t>
            </a:r>
            <a:r>
              <a:rPr lang="fr-FR" sz="1600" dirty="0" err="1"/>
              <a:t>invoked</a:t>
            </a:r>
            <a:r>
              <a:rPr lang="fr-FR" sz="1600" dirty="0"/>
              <a:t>.</a:t>
            </a:r>
          </a:p>
          <a:p>
            <a:pPr marL="690563" lvl="1" indent="-285750"/>
            <a:r>
              <a:rPr lang="fr-FR" sz="1450" dirty="0"/>
              <a:t>« Ok Google, talk to </a:t>
            </a:r>
            <a:r>
              <a:rPr lang="fr-FR" sz="1450" dirty="0" err="1"/>
              <a:t>doctors</a:t>
            </a:r>
            <a:r>
              <a:rPr lang="fr-FR" sz="1450" dirty="0"/>
              <a:t> </a:t>
            </a:r>
            <a:r>
              <a:rPr lang="fr-FR" sz="1450" dirty="0" err="1"/>
              <a:t>appointment</a:t>
            </a:r>
            <a:r>
              <a:rPr lang="fr-FR" sz="1450" dirty="0"/>
              <a:t> »</a:t>
            </a:r>
          </a:p>
          <a:p>
            <a:pPr marL="690563" lvl="1" indent="-285750"/>
            <a:endParaRPr lang="fr-FR" sz="1450" dirty="0"/>
          </a:p>
          <a:p>
            <a:pPr marL="285750" indent="-285750">
              <a:buClr>
                <a:schemeClr val="accent2"/>
              </a:buClr>
              <a:buFont typeface="Arial" panose="020B0604020202020204" pitchFamily="34" charset="0"/>
              <a:buChar char="•"/>
            </a:pPr>
            <a:r>
              <a:rPr lang="fr-FR" sz="1600" dirty="0" err="1"/>
              <a:t>Choose</a:t>
            </a:r>
            <a:r>
              <a:rPr lang="fr-FR" sz="1600" dirty="0"/>
              <a:t> the </a:t>
            </a:r>
            <a:r>
              <a:rPr lang="fr-FR" sz="1600" dirty="0" err="1"/>
              <a:t>voice</a:t>
            </a:r>
            <a:r>
              <a:rPr lang="fr-FR" sz="1600" dirty="0"/>
              <a:t> of the bot</a:t>
            </a:r>
          </a:p>
          <a:p>
            <a:pPr marL="690563" lvl="1" indent="-285750"/>
            <a:r>
              <a:rPr lang="fr-FR" sz="1450" dirty="0"/>
              <a:t>The Google home </a:t>
            </a:r>
            <a:r>
              <a:rPr lang="fr-FR" sz="1450" dirty="0" err="1"/>
              <a:t>voice</a:t>
            </a:r>
            <a:r>
              <a:rPr lang="fr-FR" sz="1450" dirty="0"/>
              <a:t> </a:t>
            </a:r>
            <a:r>
              <a:rPr lang="fr-FR" sz="1450" dirty="0" err="1"/>
              <a:t>can’t</a:t>
            </a:r>
            <a:r>
              <a:rPr lang="fr-FR" sz="1450" dirty="0"/>
              <a:t> </a:t>
            </a:r>
            <a:r>
              <a:rPr lang="fr-FR" sz="1450" dirty="0" err="1"/>
              <a:t>be</a:t>
            </a:r>
            <a:r>
              <a:rPr lang="fr-FR" sz="1450" dirty="0"/>
              <a:t> </a:t>
            </a:r>
            <a:r>
              <a:rPr lang="fr-FR" sz="1450" dirty="0" err="1"/>
              <a:t>used</a:t>
            </a:r>
            <a:r>
              <a:rPr lang="fr-FR" sz="1450" dirty="0"/>
              <a:t> for a custom bot</a:t>
            </a:r>
          </a:p>
          <a:p>
            <a:endParaRPr lang="en-US" dirty="0"/>
          </a:p>
        </p:txBody>
      </p:sp>
      <p:pic>
        <p:nvPicPr>
          <p:cNvPr id="5" name="Image 4">
            <a:extLst>
              <a:ext uri="{FF2B5EF4-FFF2-40B4-BE49-F238E27FC236}">
                <a16:creationId xmlns:a16="http://schemas.microsoft.com/office/drawing/2014/main" id="{3F98CF24-2A9B-4259-959C-EB62CA020CD8}"/>
              </a:ext>
            </a:extLst>
          </p:cNvPr>
          <p:cNvPicPr>
            <a:picLocks noChangeAspect="1"/>
          </p:cNvPicPr>
          <p:nvPr/>
        </p:nvPicPr>
        <p:blipFill>
          <a:blip r:embed="rId2"/>
          <a:stretch>
            <a:fillRect/>
          </a:stretch>
        </p:blipFill>
        <p:spPr>
          <a:xfrm>
            <a:off x="4524366" y="935943"/>
            <a:ext cx="4331398" cy="2377042"/>
          </a:xfrm>
          <a:prstGeom prst="rect">
            <a:avLst/>
          </a:prstGeom>
        </p:spPr>
      </p:pic>
    </p:spTree>
    <p:extLst>
      <p:ext uri="{BB962C8B-B14F-4D97-AF65-F5344CB8AC3E}">
        <p14:creationId xmlns:p14="http://schemas.microsoft.com/office/powerpoint/2010/main" val="3505790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C3A9387-6ED2-45EA-AB1F-20CDE8D8994B}"/>
              </a:ext>
            </a:extLst>
          </p:cNvPr>
          <p:cNvSpPr>
            <a:spLocks noGrp="1"/>
          </p:cNvSpPr>
          <p:nvPr>
            <p:ph type="title"/>
          </p:nvPr>
        </p:nvSpPr>
        <p:spPr/>
        <p:txBody>
          <a:bodyPr/>
          <a:lstStyle/>
          <a:p>
            <a:r>
              <a:rPr lang="fr-FR" dirty="0"/>
              <a:t>2 - Actions</a:t>
            </a:r>
          </a:p>
        </p:txBody>
      </p:sp>
      <p:pic>
        <p:nvPicPr>
          <p:cNvPr id="3" name="Image 2">
            <a:extLst>
              <a:ext uri="{FF2B5EF4-FFF2-40B4-BE49-F238E27FC236}">
                <a16:creationId xmlns:a16="http://schemas.microsoft.com/office/drawing/2014/main" id="{6BE39FB2-9D3C-4AB3-A2A9-D16A332BA954}"/>
              </a:ext>
            </a:extLst>
          </p:cNvPr>
          <p:cNvPicPr>
            <a:picLocks noChangeAspect="1"/>
          </p:cNvPicPr>
          <p:nvPr/>
        </p:nvPicPr>
        <p:blipFill>
          <a:blip r:embed="rId2"/>
          <a:stretch>
            <a:fillRect/>
          </a:stretch>
        </p:blipFill>
        <p:spPr>
          <a:xfrm>
            <a:off x="288236" y="790773"/>
            <a:ext cx="3648400" cy="1506115"/>
          </a:xfrm>
          <a:prstGeom prst="rect">
            <a:avLst/>
          </a:prstGeom>
        </p:spPr>
      </p:pic>
      <p:pic>
        <p:nvPicPr>
          <p:cNvPr id="4" name="Image 3">
            <a:extLst>
              <a:ext uri="{FF2B5EF4-FFF2-40B4-BE49-F238E27FC236}">
                <a16:creationId xmlns:a16="http://schemas.microsoft.com/office/drawing/2014/main" id="{A9393268-C9F3-463B-AB1C-E6D05C0CCAD2}"/>
              </a:ext>
            </a:extLst>
          </p:cNvPr>
          <p:cNvPicPr>
            <a:picLocks noChangeAspect="1"/>
          </p:cNvPicPr>
          <p:nvPr/>
        </p:nvPicPr>
        <p:blipFill>
          <a:blip r:embed="rId3"/>
          <a:stretch>
            <a:fillRect/>
          </a:stretch>
        </p:blipFill>
        <p:spPr>
          <a:xfrm>
            <a:off x="4443869" y="564703"/>
            <a:ext cx="2239441" cy="1759299"/>
          </a:xfrm>
          <a:prstGeom prst="rect">
            <a:avLst/>
          </a:prstGeom>
        </p:spPr>
      </p:pic>
      <p:pic>
        <p:nvPicPr>
          <p:cNvPr id="5" name="Image 4">
            <a:extLst>
              <a:ext uri="{FF2B5EF4-FFF2-40B4-BE49-F238E27FC236}">
                <a16:creationId xmlns:a16="http://schemas.microsoft.com/office/drawing/2014/main" id="{A8BE2BBB-5BBA-4EC7-BB62-8752D49F227E}"/>
              </a:ext>
            </a:extLst>
          </p:cNvPr>
          <p:cNvPicPr>
            <a:picLocks noChangeAspect="1"/>
          </p:cNvPicPr>
          <p:nvPr/>
        </p:nvPicPr>
        <p:blipFill>
          <a:blip r:embed="rId4"/>
          <a:stretch>
            <a:fillRect/>
          </a:stretch>
        </p:blipFill>
        <p:spPr>
          <a:xfrm>
            <a:off x="371855" y="2927279"/>
            <a:ext cx="6311455" cy="1651518"/>
          </a:xfrm>
          <a:prstGeom prst="rect">
            <a:avLst/>
          </a:prstGeom>
        </p:spPr>
      </p:pic>
      <p:sp>
        <p:nvSpPr>
          <p:cNvPr id="6" name="Text Placeholder 16">
            <a:extLst>
              <a:ext uri="{FF2B5EF4-FFF2-40B4-BE49-F238E27FC236}">
                <a16:creationId xmlns:a16="http://schemas.microsoft.com/office/drawing/2014/main" id="{284C2832-C6F0-4E17-9B8C-E72D98EE611E}"/>
              </a:ext>
            </a:extLst>
          </p:cNvPr>
          <p:cNvSpPr txBox="1">
            <a:spLocks/>
          </p:cNvSpPr>
          <p:nvPr/>
        </p:nvSpPr>
        <p:spPr>
          <a:xfrm>
            <a:off x="6719886" y="703722"/>
            <a:ext cx="2168452" cy="2789286"/>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p>
          <a:p>
            <a:r>
              <a:rPr lang="fr-FR" sz="1600" dirty="0"/>
              <a:t>Custom </a:t>
            </a:r>
            <a:r>
              <a:rPr lang="fr-FR" sz="1600" dirty="0" err="1"/>
              <a:t>intent</a:t>
            </a:r>
            <a:r>
              <a:rPr lang="fr-FR" sz="1600" dirty="0"/>
              <a:t> = new </a:t>
            </a:r>
            <a:r>
              <a:rPr lang="fr-FR" sz="1600" dirty="0" err="1"/>
              <a:t>Dialogflow</a:t>
            </a:r>
            <a:r>
              <a:rPr lang="fr-FR" sz="1600" dirty="0"/>
              <a:t> agent</a:t>
            </a:r>
            <a:endParaRPr lang="fr-FR" sz="1450" dirty="0"/>
          </a:p>
          <a:p>
            <a:endParaRPr lang="en-US" dirty="0"/>
          </a:p>
        </p:txBody>
      </p:sp>
      <p:cxnSp>
        <p:nvCxnSpPr>
          <p:cNvPr id="7" name="Connecteur droit avec flèche 6">
            <a:extLst>
              <a:ext uri="{FF2B5EF4-FFF2-40B4-BE49-F238E27FC236}">
                <a16:creationId xmlns:a16="http://schemas.microsoft.com/office/drawing/2014/main" id="{111D9A53-4C24-469B-B643-7F037313BDA5}"/>
              </a:ext>
            </a:extLst>
          </p:cNvPr>
          <p:cNvCxnSpPr>
            <a:cxnSpLocks/>
            <a:stCxn id="4" idx="1"/>
          </p:cNvCxnSpPr>
          <p:nvPr/>
        </p:nvCxnSpPr>
        <p:spPr>
          <a:xfrm flipH="1">
            <a:off x="3936637" y="1444353"/>
            <a:ext cx="507232" cy="8179"/>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8" name="Ellipse 7">
            <a:extLst>
              <a:ext uri="{FF2B5EF4-FFF2-40B4-BE49-F238E27FC236}">
                <a16:creationId xmlns:a16="http://schemas.microsoft.com/office/drawing/2014/main" id="{E56351C4-C40D-4BC3-ABAF-8FD31BBD7971}"/>
              </a:ext>
            </a:extLst>
          </p:cNvPr>
          <p:cNvSpPr/>
          <p:nvPr/>
        </p:nvSpPr>
        <p:spPr>
          <a:xfrm>
            <a:off x="5957151" y="1965201"/>
            <a:ext cx="877004" cy="279654"/>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0" name="Connecteur droit avec flèche 9">
            <a:extLst>
              <a:ext uri="{FF2B5EF4-FFF2-40B4-BE49-F238E27FC236}">
                <a16:creationId xmlns:a16="http://schemas.microsoft.com/office/drawing/2014/main" id="{F91E08B4-5694-4DB1-A69D-2D77DAE2B347}"/>
              </a:ext>
            </a:extLst>
          </p:cNvPr>
          <p:cNvCxnSpPr>
            <a:cxnSpLocks/>
          </p:cNvCxnSpPr>
          <p:nvPr/>
        </p:nvCxnSpPr>
        <p:spPr>
          <a:xfrm flipV="1">
            <a:off x="5637421" y="2391316"/>
            <a:ext cx="0" cy="468649"/>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72065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27BB8-D6EA-2A4B-9E29-4B163BA076AA}"/>
              </a:ext>
            </a:extLst>
          </p:cNvPr>
          <p:cNvSpPr>
            <a:spLocks noGrp="1"/>
          </p:cNvSpPr>
          <p:nvPr>
            <p:ph type="title"/>
          </p:nvPr>
        </p:nvSpPr>
        <p:spPr/>
        <p:txBody>
          <a:bodyPr/>
          <a:lstStyle/>
          <a:p>
            <a:r>
              <a:rPr lang="en-US" dirty="0" err="1"/>
              <a:t>Dialogflow</a:t>
            </a:r>
            <a:r>
              <a:rPr lang="en-US" dirty="0"/>
              <a:t> in a few words</a:t>
            </a:r>
          </a:p>
        </p:txBody>
      </p:sp>
      <p:sp>
        <p:nvSpPr>
          <p:cNvPr id="9" name="Text Placeholder 16">
            <a:extLst>
              <a:ext uri="{FF2B5EF4-FFF2-40B4-BE49-F238E27FC236}">
                <a16:creationId xmlns:a16="http://schemas.microsoft.com/office/drawing/2014/main" id="{3BB3A0CB-2068-448E-A87D-D6F4E55852EB}"/>
              </a:ext>
            </a:extLst>
          </p:cNvPr>
          <p:cNvSpPr txBox="1">
            <a:spLocks/>
          </p:cNvSpPr>
          <p:nvPr/>
        </p:nvSpPr>
        <p:spPr>
          <a:xfrm>
            <a:off x="288236" y="808037"/>
            <a:ext cx="4711148"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p>
          <a:p>
            <a:pPr marL="285750" indent="-285750">
              <a:buClr>
                <a:schemeClr val="accent2"/>
              </a:buClr>
              <a:buFont typeface="Arial" panose="020B0604020202020204" pitchFamily="34" charset="0"/>
              <a:buChar char="•"/>
            </a:pPr>
            <a:r>
              <a:rPr lang="en-US" sz="1400" dirty="0"/>
              <a:t>Formerly "API.AI", bought by Google in 2016, and renamed "</a:t>
            </a:r>
            <a:r>
              <a:rPr lang="en-US" sz="1400" dirty="0" err="1"/>
              <a:t>Dialogflow</a:t>
            </a:r>
            <a:r>
              <a:rPr lang="en-US" sz="1400" dirty="0"/>
              <a:t>" in 2017</a:t>
            </a:r>
          </a:p>
          <a:p>
            <a:pPr marL="285750" indent="-285750">
              <a:buClr>
                <a:schemeClr val="accent2"/>
              </a:buClr>
              <a:buFont typeface="Arial" panose="020B0604020202020204" pitchFamily="34" charset="0"/>
              <a:buChar char="•"/>
            </a:pPr>
            <a:r>
              <a:rPr lang="en-US" sz="1400" dirty="0"/>
              <a:t>Natural conversation engine (text and voice)</a:t>
            </a:r>
          </a:p>
          <a:p>
            <a:pPr marL="285750" indent="-285750">
              <a:buClr>
                <a:schemeClr val="accent2"/>
              </a:buClr>
              <a:buFont typeface="Arial" panose="020B0604020202020204" pitchFamily="34" charset="0"/>
              <a:buChar char="•"/>
            </a:pPr>
            <a:r>
              <a:rPr lang="en-US" sz="1400" dirty="0"/>
              <a:t>Machine Learning: learning from sample requests, to understand users' intentions</a:t>
            </a:r>
          </a:p>
          <a:p>
            <a:pPr marL="285750" indent="-285750">
              <a:buClr>
                <a:schemeClr val="accent2"/>
              </a:buClr>
              <a:buFont typeface="Arial" panose="020B0604020202020204" pitchFamily="34" charset="0"/>
              <a:buChar char="•"/>
            </a:pPr>
            <a:r>
              <a:rPr lang="en-US" sz="1400" dirty="0"/>
              <a:t>Open: usable with most platforms: Google Assistant, Amazon Alexa, Facebook Messenger, and any device / application by API. </a:t>
            </a:r>
          </a:p>
          <a:p>
            <a:pPr marL="285750" indent="-285750">
              <a:buClr>
                <a:schemeClr val="accent2"/>
              </a:buClr>
              <a:buFont typeface="Arial" panose="020B0604020202020204" pitchFamily="34" charset="0"/>
              <a:buChar char="•"/>
            </a:pPr>
            <a:r>
              <a:rPr lang="en-US" sz="1400" dirty="0"/>
              <a:t>Since July 2018, telephony module.</a:t>
            </a:r>
            <a:endParaRPr lang="fr-FR" sz="1400" dirty="0"/>
          </a:p>
          <a:p>
            <a:endParaRPr lang="en-US" dirty="0"/>
          </a:p>
        </p:txBody>
      </p:sp>
      <p:pic>
        <p:nvPicPr>
          <p:cNvPr id="10" name="Graphique 9">
            <a:extLst>
              <a:ext uri="{FF2B5EF4-FFF2-40B4-BE49-F238E27FC236}">
                <a16:creationId xmlns:a16="http://schemas.microsoft.com/office/drawing/2014/main" id="{74EFF82A-05D0-4CAB-809D-53715695A11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093143" y="662195"/>
            <a:ext cx="3962483" cy="3860109"/>
          </a:xfrm>
          <a:prstGeom prst="rect">
            <a:avLst/>
          </a:prstGeom>
        </p:spPr>
      </p:pic>
    </p:spTree>
    <p:extLst>
      <p:ext uri="{BB962C8B-B14F-4D97-AF65-F5344CB8AC3E}">
        <p14:creationId xmlns:p14="http://schemas.microsoft.com/office/powerpoint/2010/main" val="296152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C3A9387-6ED2-45EA-AB1F-20CDE8D8994B}"/>
              </a:ext>
            </a:extLst>
          </p:cNvPr>
          <p:cNvSpPr>
            <a:spLocks noGrp="1"/>
          </p:cNvSpPr>
          <p:nvPr>
            <p:ph type="title"/>
          </p:nvPr>
        </p:nvSpPr>
        <p:spPr/>
        <p:txBody>
          <a:bodyPr/>
          <a:lstStyle/>
          <a:p>
            <a:r>
              <a:rPr lang="fr-FR" dirty="0"/>
              <a:t>3 – </a:t>
            </a:r>
            <a:r>
              <a:rPr lang="fr-FR" dirty="0" err="1"/>
              <a:t>Theme</a:t>
            </a:r>
            <a:r>
              <a:rPr lang="fr-FR" dirty="0"/>
              <a:t> </a:t>
            </a:r>
            <a:r>
              <a:rPr lang="fr-FR" dirty="0" err="1"/>
              <a:t>customization</a:t>
            </a:r>
            <a:endParaRPr lang="fr-FR" dirty="0"/>
          </a:p>
        </p:txBody>
      </p:sp>
      <p:pic>
        <p:nvPicPr>
          <p:cNvPr id="7" name="Image 6">
            <a:extLst>
              <a:ext uri="{FF2B5EF4-FFF2-40B4-BE49-F238E27FC236}">
                <a16:creationId xmlns:a16="http://schemas.microsoft.com/office/drawing/2014/main" id="{794AA087-9679-43BA-9E2C-4473C7BAC99F}"/>
              </a:ext>
            </a:extLst>
          </p:cNvPr>
          <p:cNvPicPr>
            <a:picLocks noChangeAspect="1"/>
          </p:cNvPicPr>
          <p:nvPr/>
        </p:nvPicPr>
        <p:blipFill>
          <a:blip r:embed="rId2"/>
          <a:stretch>
            <a:fillRect/>
          </a:stretch>
        </p:blipFill>
        <p:spPr>
          <a:xfrm>
            <a:off x="854216" y="621792"/>
            <a:ext cx="3908513" cy="4224841"/>
          </a:xfrm>
          <a:prstGeom prst="rect">
            <a:avLst/>
          </a:prstGeom>
        </p:spPr>
      </p:pic>
      <p:cxnSp>
        <p:nvCxnSpPr>
          <p:cNvPr id="9" name="Connecteur droit avec flèche 8">
            <a:extLst>
              <a:ext uri="{FF2B5EF4-FFF2-40B4-BE49-F238E27FC236}">
                <a16:creationId xmlns:a16="http://schemas.microsoft.com/office/drawing/2014/main" id="{70D0DB36-A2B0-4063-9A92-1C9009AAF83C}"/>
              </a:ext>
            </a:extLst>
          </p:cNvPr>
          <p:cNvCxnSpPr>
            <a:cxnSpLocks/>
          </p:cNvCxnSpPr>
          <p:nvPr/>
        </p:nvCxnSpPr>
        <p:spPr>
          <a:xfrm flipH="1">
            <a:off x="4762730" y="2434214"/>
            <a:ext cx="676725" cy="1"/>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11" name="Text Placeholder 16">
            <a:extLst>
              <a:ext uri="{FF2B5EF4-FFF2-40B4-BE49-F238E27FC236}">
                <a16:creationId xmlns:a16="http://schemas.microsoft.com/office/drawing/2014/main" id="{96FD84BD-2073-4363-866D-C97E6442DA4F}"/>
              </a:ext>
            </a:extLst>
          </p:cNvPr>
          <p:cNvSpPr txBox="1">
            <a:spLocks/>
          </p:cNvSpPr>
          <p:nvPr/>
        </p:nvSpPr>
        <p:spPr>
          <a:xfrm>
            <a:off x="5524700" y="1947989"/>
            <a:ext cx="3174292" cy="113049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p>
          <a:p>
            <a:r>
              <a:rPr lang="fr-FR" sz="1600" dirty="0"/>
              <a:t>(</a:t>
            </a:r>
            <a:r>
              <a:rPr lang="fr-FR" sz="1600" dirty="0" err="1"/>
              <a:t>Optional</a:t>
            </a:r>
            <a:r>
              <a:rPr lang="fr-FR" sz="1600" dirty="0"/>
              <a:t> for a </a:t>
            </a:r>
            <a:r>
              <a:rPr lang="fr-FR" sz="1600" dirty="0" err="1"/>
              <a:t>demo</a:t>
            </a:r>
            <a:r>
              <a:rPr lang="fr-FR" sz="1600" dirty="0"/>
              <a:t>)</a:t>
            </a:r>
            <a:endParaRPr lang="fr-FR" sz="1300" dirty="0"/>
          </a:p>
          <a:p>
            <a:pPr marL="690563" lvl="1" indent="-285750"/>
            <a:endParaRPr lang="fr-FR" sz="1450" dirty="0"/>
          </a:p>
          <a:p>
            <a:pPr marL="285750" indent="-285750">
              <a:buFont typeface="Arial" panose="020B0604020202020204" pitchFamily="34" charset="0"/>
              <a:buChar char="•"/>
            </a:pPr>
            <a:endParaRPr lang="fr-FR" sz="1600" dirty="0"/>
          </a:p>
          <a:p>
            <a:endParaRPr lang="en-US" dirty="0"/>
          </a:p>
        </p:txBody>
      </p:sp>
    </p:spTree>
    <p:extLst>
      <p:ext uri="{BB962C8B-B14F-4D97-AF65-F5344CB8AC3E}">
        <p14:creationId xmlns:p14="http://schemas.microsoft.com/office/powerpoint/2010/main" val="2966449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C3A9387-6ED2-45EA-AB1F-20CDE8D8994B}"/>
              </a:ext>
            </a:extLst>
          </p:cNvPr>
          <p:cNvSpPr>
            <a:spLocks noGrp="1"/>
          </p:cNvSpPr>
          <p:nvPr>
            <p:ph type="title"/>
          </p:nvPr>
        </p:nvSpPr>
        <p:spPr/>
        <p:txBody>
          <a:bodyPr/>
          <a:lstStyle/>
          <a:p>
            <a:r>
              <a:rPr lang="fr-FR" dirty="0"/>
              <a:t>4 – Directory information</a:t>
            </a:r>
          </a:p>
        </p:txBody>
      </p:sp>
      <p:pic>
        <p:nvPicPr>
          <p:cNvPr id="3" name="Image 2">
            <a:extLst>
              <a:ext uri="{FF2B5EF4-FFF2-40B4-BE49-F238E27FC236}">
                <a16:creationId xmlns:a16="http://schemas.microsoft.com/office/drawing/2014/main" id="{1EDCDCC4-4318-4952-A562-6B1ECB2CD622}"/>
              </a:ext>
            </a:extLst>
          </p:cNvPr>
          <p:cNvPicPr>
            <a:picLocks noChangeAspect="1"/>
          </p:cNvPicPr>
          <p:nvPr/>
        </p:nvPicPr>
        <p:blipFill>
          <a:blip r:embed="rId2"/>
          <a:stretch>
            <a:fillRect/>
          </a:stretch>
        </p:blipFill>
        <p:spPr>
          <a:xfrm>
            <a:off x="2286000" y="871264"/>
            <a:ext cx="5020775" cy="3882092"/>
          </a:xfrm>
          <a:prstGeom prst="rect">
            <a:avLst/>
          </a:prstGeom>
        </p:spPr>
      </p:pic>
    </p:spTree>
    <p:extLst>
      <p:ext uri="{BB962C8B-B14F-4D97-AF65-F5344CB8AC3E}">
        <p14:creationId xmlns:p14="http://schemas.microsoft.com/office/powerpoint/2010/main" val="3980205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B0575D-409A-4362-9231-ADB75B0C8CB3}"/>
              </a:ext>
            </a:extLst>
          </p:cNvPr>
          <p:cNvSpPr>
            <a:spLocks noGrp="1"/>
          </p:cNvSpPr>
          <p:nvPr>
            <p:ph type="title"/>
          </p:nvPr>
        </p:nvSpPr>
        <p:spPr/>
        <p:txBody>
          <a:bodyPr/>
          <a:lstStyle/>
          <a:p>
            <a:r>
              <a:rPr lang="fr-FR" dirty="0"/>
              <a:t>The simulator</a:t>
            </a:r>
          </a:p>
        </p:txBody>
      </p:sp>
      <p:pic>
        <p:nvPicPr>
          <p:cNvPr id="3" name="Image 2">
            <a:extLst>
              <a:ext uri="{FF2B5EF4-FFF2-40B4-BE49-F238E27FC236}">
                <a16:creationId xmlns:a16="http://schemas.microsoft.com/office/drawing/2014/main" id="{96ADD12A-C7A2-4E3E-95EA-CD8D68E67579}"/>
              </a:ext>
            </a:extLst>
          </p:cNvPr>
          <p:cNvPicPr>
            <a:picLocks noChangeAspect="1"/>
          </p:cNvPicPr>
          <p:nvPr/>
        </p:nvPicPr>
        <p:blipFill>
          <a:blip r:embed="rId2"/>
          <a:stretch>
            <a:fillRect/>
          </a:stretch>
        </p:blipFill>
        <p:spPr>
          <a:xfrm>
            <a:off x="457200" y="746993"/>
            <a:ext cx="5770436" cy="3649514"/>
          </a:xfrm>
          <a:prstGeom prst="rect">
            <a:avLst/>
          </a:prstGeom>
        </p:spPr>
      </p:pic>
      <p:sp>
        <p:nvSpPr>
          <p:cNvPr id="4" name="Text Placeholder 16">
            <a:extLst>
              <a:ext uri="{FF2B5EF4-FFF2-40B4-BE49-F238E27FC236}">
                <a16:creationId xmlns:a16="http://schemas.microsoft.com/office/drawing/2014/main" id="{2859EF8B-B07E-4659-91B0-39D615F95E02}"/>
              </a:ext>
            </a:extLst>
          </p:cNvPr>
          <p:cNvSpPr txBox="1">
            <a:spLocks/>
          </p:cNvSpPr>
          <p:nvPr/>
        </p:nvSpPr>
        <p:spPr>
          <a:xfrm>
            <a:off x="6328064" y="746993"/>
            <a:ext cx="2370928" cy="2331487"/>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p>
          <a:p>
            <a:r>
              <a:rPr lang="fr-FR" sz="1600" dirty="0" err="1"/>
              <a:t>Before</a:t>
            </a:r>
            <a:r>
              <a:rPr lang="fr-FR" sz="1600" dirty="0"/>
              <a:t> </a:t>
            </a:r>
            <a:r>
              <a:rPr lang="fr-FR" sz="1600" dirty="0" err="1"/>
              <a:t>testing</a:t>
            </a:r>
            <a:r>
              <a:rPr lang="fr-FR" sz="1600" dirty="0"/>
              <a:t> on </a:t>
            </a:r>
            <a:r>
              <a:rPr lang="fr-FR" sz="1600" dirty="0" err="1"/>
              <a:t>your</a:t>
            </a:r>
            <a:r>
              <a:rPr lang="fr-FR" sz="1600" dirty="0"/>
              <a:t> </a:t>
            </a:r>
            <a:r>
              <a:rPr lang="fr-FR" sz="1600" dirty="0" err="1"/>
              <a:t>own</a:t>
            </a:r>
            <a:r>
              <a:rPr lang="fr-FR" sz="1600" dirty="0"/>
              <a:t> </a:t>
            </a:r>
            <a:r>
              <a:rPr lang="fr-FR" sz="1600" dirty="0" err="1"/>
              <a:t>device</a:t>
            </a:r>
            <a:r>
              <a:rPr lang="fr-FR" sz="1600" dirty="0"/>
              <a:t> (Google Home / Google Assistant) first </a:t>
            </a:r>
            <a:r>
              <a:rPr lang="fr-FR" sz="1600" dirty="0" err="1"/>
              <a:t>you</a:t>
            </a:r>
            <a:r>
              <a:rPr lang="fr-FR" sz="1600" dirty="0"/>
              <a:t> have to launch the simulator (« Test »).</a:t>
            </a:r>
            <a:endParaRPr lang="fr-FR" sz="1300" dirty="0"/>
          </a:p>
          <a:p>
            <a:pPr marL="690563" lvl="1" indent="-285750"/>
            <a:endParaRPr lang="fr-FR" sz="1450" dirty="0"/>
          </a:p>
          <a:p>
            <a:pPr marL="285750" indent="-285750">
              <a:buFont typeface="Arial" panose="020B0604020202020204" pitchFamily="34" charset="0"/>
              <a:buChar char="•"/>
            </a:pPr>
            <a:endParaRPr lang="fr-FR" sz="1600" dirty="0"/>
          </a:p>
          <a:p>
            <a:endParaRPr lang="en-US" dirty="0"/>
          </a:p>
        </p:txBody>
      </p:sp>
    </p:spTree>
    <p:extLst>
      <p:ext uri="{BB962C8B-B14F-4D97-AF65-F5344CB8AC3E}">
        <p14:creationId xmlns:p14="http://schemas.microsoft.com/office/powerpoint/2010/main" val="2085329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27BB8-D6EA-2A4B-9E29-4B163BA076AA}"/>
              </a:ext>
            </a:extLst>
          </p:cNvPr>
          <p:cNvSpPr>
            <a:spLocks noGrp="1"/>
          </p:cNvSpPr>
          <p:nvPr>
            <p:ph type="title"/>
          </p:nvPr>
        </p:nvSpPr>
        <p:spPr/>
        <p:txBody>
          <a:bodyPr/>
          <a:lstStyle/>
          <a:p>
            <a:r>
              <a:rPr lang="fr-FR" dirty="0" err="1"/>
              <a:t>Granting</a:t>
            </a:r>
            <a:r>
              <a:rPr lang="fr-FR" dirty="0"/>
              <a:t> </a:t>
            </a:r>
            <a:r>
              <a:rPr lang="fr-FR" dirty="0" err="1"/>
              <a:t>acces</a:t>
            </a:r>
            <a:r>
              <a:rPr lang="fr-FR" dirty="0"/>
              <a:t> to the bot to </a:t>
            </a:r>
            <a:r>
              <a:rPr lang="fr-FR" dirty="0" err="1"/>
              <a:t>users</a:t>
            </a:r>
            <a:endParaRPr lang="en-US" dirty="0"/>
          </a:p>
        </p:txBody>
      </p:sp>
      <p:sp>
        <p:nvSpPr>
          <p:cNvPr id="9" name="Text Placeholder 16">
            <a:extLst>
              <a:ext uri="{FF2B5EF4-FFF2-40B4-BE49-F238E27FC236}">
                <a16:creationId xmlns:a16="http://schemas.microsoft.com/office/drawing/2014/main" id="{3BB3A0CB-2068-448E-A87D-D6F4E55852EB}"/>
              </a:ext>
            </a:extLst>
          </p:cNvPr>
          <p:cNvSpPr txBox="1">
            <a:spLocks/>
          </p:cNvSpPr>
          <p:nvPr/>
        </p:nvSpPr>
        <p:spPr>
          <a:xfrm>
            <a:off x="288236" y="808037"/>
            <a:ext cx="8185204"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p>
          <a:p>
            <a:pPr marL="285750" indent="-285750">
              <a:buClr>
                <a:schemeClr val="accent2"/>
              </a:buClr>
              <a:buFont typeface="Arial" panose="020B0604020202020204" pitchFamily="34" charset="0"/>
              <a:buChar char="•"/>
            </a:pPr>
            <a:r>
              <a:rPr lang="fr-FR" sz="1600" dirty="0"/>
              <a:t>By default, </a:t>
            </a:r>
            <a:r>
              <a:rPr lang="fr-FR" sz="1600" dirty="0" err="1"/>
              <a:t>only</a:t>
            </a:r>
            <a:r>
              <a:rPr lang="fr-FR" sz="1600" dirty="0"/>
              <a:t> the </a:t>
            </a:r>
            <a:r>
              <a:rPr lang="fr-FR" sz="1600" dirty="0" err="1"/>
              <a:t>owner</a:t>
            </a:r>
            <a:r>
              <a:rPr lang="fr-FR" sz="1600" dirty="0"/>
              <a:t> (</a:t>
            </a:r>
            <a:r>
              <a:rPr lang="fr-FR" sz="1600" dirty="0" err="1"/>
              <a:t>you</a:t>
            </a:r>
            <a:r>
              <a:rPr lang="fr-FR" sz="1600" dirty="0"/>
              <a:t>) can </a:t>
            </a:r>
            <a:r>
              <a:rPr lang="fr-FR" sz="1600" dirty="0" err="1"/>
              <a:t>access</a:t>
            </a:r>
            <a:r>
              <a:rPr lang="fr-FR" sz="1600" dirty="0"/>
              <a:t> to the new bot.</a:t>
            </a:r>
          </a:p>
          <a:p>
            <a:pPr marL="285750" indent="-285750">
              <a:buFont typeface="Arial" panose="020B0604020202020204" pitchFamily="34" charset="0"/>
              <a:buChar char="•"/>
            </a:pPr>
            <a:endParaRPr lang="fr-FR" sz="1600" dirty="0"/>
          </a:p>
          <a:p>
            <a:pPr marL="285750" indent="-285750">
              <a:buClr>
                <a:schemeClr val="accent2"/>
              </a:buClr>
              <a:buFont typeface="Arial" panose="020B0604020202020204" pitchFamily="34" charset="0"/>
              <a:buChar char="•"/>
            </a:pPr>
            <a:r>
              <a:rPr lang="fr-FR" sz="1600" dirty="0"/>
              <a:t>If </a:t>
            </a:r>
            <a:r>
              <a:rPr lang="fr-FR" sz="1600" dirty="0" err="1"/>
              <a:t>you</a:t>
            </a:r>
            <a:r>
              <a:rPr lang="fr-FR" sz="1600" dirty="0"/>
              <a:t> </a:t>
            </a:r>
            <a:r>
              <a:rPr lang="fr-FR" sz="1600" dirty="0" err="1"/>
              <a:t>want</a:t>
            </a:r>
            <a:r>
              <a:rPr lang="fr-FR" sz="1600" dirty="0"/>
              <a:t> to </a:t>
            </a:r>
            <a:r>
              <a:rPr lang="fr-FR" sz="1600" dirty="0" err="1"/>
              <a:t>autorize</a:t>
            </a:r>
            <a:r>
              <a:rPr lang="fr-FR" sz="1600" dirty="0"/>
              <a:t> new </a:t>
            </a:r>
            <a:r>
              <a:rPr lang="fr-FR" sz="1600" dirty="0" err="1"/>
              <a:t>users</a:t>
            </a:r>
            <a:r>
              <a:rPr lang="fr-FR" sz="1600" dirty="0"/>
              <a:t> to </a:t>
            </a:r>
            <a:r>
              <a:rPr lang="fr-FR" sz="1600" dirty="0" err="1"/>
              <a:t>join</a:t>
            </a:r>
            <a:r>
              <a:rPr lang="fr-FR" sz="1600" dirty="0"/>
              <a:t> </a:t>
            </a:r>
            <a:r>
              <a:rPr lang="fr-FR" sz="1600" dirty="0" err="1"/>
              <a:t>your</a:t>
            </a:r>
            <a:r>
              <a:rPr lang="fr-FR" sz="1600" dirty="0"/>
              <a:t> </a:t>
            </a:r>
            <a:r>
              <a:rPr lang="fr-FR" sz="1600" dirty="0" err="1"/>
              <a:t>sandbox</a:t>
            </a:r>
            <a:r>
              <a:rPr lang="fr-FR" sz="1600" dirty="0"/>
              <a:t> (for </a:t>
            </a:r>
            <a:r>
              <a:rPr lang="fr-FR" sz="1600" dirty="0" err="1"/>
              <a:t>invoking</a:t>
            </a:r>
            <a:r>
              <a:rPr lang="fr-FR" sz="1600" dirty="0"/>
              <a:t> the bot </a:t>
            </a:r>
            <a:r>
              <a:rPr lang="fr-FR" sz="1600" dirty="0" err="1"/>
              <a:t>from</a:t>
            </a:r>
            <a:r>
              <a:rPr lang="fr-FR" sz="1600" dirty="0"/>
              <a:t> a Google Home or </a:t>
            </a:r>
            <a:r>
              <a:rPr lang="fr-FR" sz="1600" dirty="0" err="1"/>
              <a:t>from</a:t>
            </a:r>
            <a:r>
              <a:rPr lang="fr-FR" sz="1600" dirty="0"/>
              <a:t> a Google Assistant), </a:t>
            </a:r>
            <a:r>
              <a:rPr lang="fr-FR" sz="1600" dirty="0" err="1"/>
              <a:t>two</a:t>
            </a:r>
            <a:r>
              <a:rPr lang="fr-FR" sz="1600" dirty="0"/>
              <a:t> </a:t>
            </a:r>
            <a:r>
              <a:rPr lang="fr-FR" sz="1600" dirty="0" err="1"/>
              <a:t>methods</a:t>
            </a:r>
            <a:r>
              <a:rPr lang="fr-FR" sz="1600" dirty="0"/>
              <a:t> :</a:t>
            </a:r>
          </a:p>
          <a:p>
            <a:pPr marL="690563" lvl="1" indent="-285750"/>
            <a:r>
              <a:rPr lang="fr-FR" sz="1450" dirty="0"/>
              <a:t>Clean one : </a:t>
            </a:r>
            <a:r>
              <a:rPr lang="fr-FR" sz="1450" dirty="0" err="1"/>
              <a:t>you</a:t>
            </a:r>
            <a:r>
              <a:rPr lang="fr-FR" sz="1450" dirty="0"/>
              <a:t> can </a:t>
            </a:r>
            <a:r>
              <a:rPr lang="fr-FR" sz="1450" dirty="0" err="1"/>
              <a:t>add</a:t>
            </a:r>
            <a:r>
              <a:rPr lang="fr-FR" sz="1450" dirty="0"/>
              <a:t> </a:t>
            </a:r>
            <a:r>
              <a:rPr lang="fr-FR" sz="1450" dirty="0" err="1"/>
              <a:t>them</a:t>
            </a:r>
            <a:r>
              <a:rPr lang="fr-FR" sz="1450" dirty="0"/>
              <a:t> as « alpha </a:t>
            </a:r>
            <a:r>
              <a:rPr lang="fr-FR" sz="1450" dirty="0" err="1"/>
              <a:t>users</a:t>
            </a:r>
            <a:r>
              <a:rPr lang="fr-FR" sz="1450" dirty="0"/>
              <a:t> » </a:t>
            </a:r>
          </a:p>
          <a:p>
            <a:pPr marL="960835" lvl="2" indent="-285750"/>
            <a:r>
              <a:rPr lang="fr-FR" sz="1300" dirty="0"/>
              <a:t>(</a:t>
            </a:r>
            <a:r>
              <a:rPr lang="en-US" sz="1300" dirty="0"/>
              <a:t>« Production » and « Beta » agents must be released by Google)</a:t>
            </a:r>
          </a:p>
          <a:p>
            <a:pPr marL="690563" lvl="1" indent="-285750"/>
            <a:r>
              <a:rPr lang="en-US" sz="1450" dirty="0"/>
              <a:t>Fast one : add the users as viewers of your project:</a:t>
            </a:r>
          </a:p>
          <a:p>
            <a:pPr marL="960835" lvl="2" indent="-285750"/>
            <a:r>
              <a:rPr lang="en-US" sz="1300" dirty="0"/>
              <a:t>Users can invoke easily the agent</a:t>
            </a:r>
          </a:p>
          <a:p>
            <a:pPr marL="960835" lvl="2" indent="-285750"/>
            <a:r>
              <a:rPr lang="en-US" sz="1300" dirty="0"/>
              <a:t>And it’s faster : they can access the agent immediately</a:t>
            </a:r>
            <a:endParaRPr lang="fr-FR" sz="1300" dirty="0"/>
          </a:p>
          <a:p>
            <a:pPr marL="690563" lvl="1" indent="-285750"/>
            <a:endParaRPr lang="fr-FR" sz="1450" dirty="0"/>
          </a:p>
          <a:p>
            <a:pPr marL="285750" indent="-285750">
              <a:buFont typeface="Arial" panose="020B0604020202020204" pitchFamily="34" charset="0"/>
              <a:buChar char="•"/>
            </a:pPr>
            <a:endParaRPr lang="fr-FR" sz="1600" dirty="0"/>
          </a:p>
          <a:p>
            <a:endParaRPr lang="en-US" dirty="0"/>
          </a:p>
        </p:txBody>
      </p:sp>
    </p:spTree>
    <p:extLst>
      <p:ext uri="{BB962C8B-B14F-4D97-AF65-F5344CB8AC3E}">
        <p14:creationId xmlns:p14="http://schemas.microsoft.com/office/powerpoint/2010/main" val="2457775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27BB8-D6EA-2A4B-9E29-4B163BA076AA}"/>
              </a:ext>
            </a:extLst>
          </p:cNvPr>
          <p:cNvSpPr>
            <a:spLocks noGrp="1"/>
          </p:cNvSpPr>
          <p:nvPr>
            <p:ph type="title"/>
          </p:nvPr>
        </p:nvSpPr>
        <p:spPr/>
        <p:txBody>
          <a:bodyPr/>
          <a:lstStyle/>
          <a:p>
            <a:r>
              <a:rPr lang="fr-FR" dirty="0" err="1"/>
              <a:t>Granting</a:t>
            </a:r>
            <a:r>
              <a:rPr lang="fr-FR" dirty="0"/>
              <a:t> </a:t>
            </a:r>
            <a:r>
              <a:rPr lang="fr-FR" dirty="0" err="1"/>
              <a:t>acces</a:t>
            </a:r>
            <a:r>
              <a:rPr lang="fr-FR" dirty="0"/>
              <a:t> to the bot to </a:t>
            </a:r>
            <a:r>
              <a:rPr lang="fr-FR" dirty="0" err="1"/>
              <a:t>users</a:t>
            </a:r>
            <a:br>
              <a:rPr lang="fr-FR" dirty="0"/>
            </a:br>
            <a:r>
              <a:rPr lang="fr-FR" sz="1400" i="1" dirty="0"/>
              <a:t>alpha release</a:t>
            </a:r>
            <a:endParaRPr lang="en-US" sz="1400" i="1" dirty="0"/>
          </a:p>
        </p:txBody>
      </p:sp>
      <p:pic>
        <p:nvPicPr>
          <p:cNvPr id="2" name="Image 1">
            <a:extLst>
              <a:ext uri="{FF2B5EF4-FFF2-40B4-BE49-F238E27FC236}">
                <a16:creationId xmlns:a16="http://schemas.microsoft.com/office/drawing/2014/main" id="{3D2F3171-08C6-4EFB-B2AA-FC702A622F0C}"/>
              </a:ext>
            </a:extLst>
          </p:cNvPr>
          <p:cNvPicPr>
            <a:picLocks noChangeAspect="1"/>
          </p:cNvPicPr>
          <p:nvPr/>
        </p:nvPicPr>
        <p:blipFill>
          <a:blip r:embed="rId2"/>
          <a:stretch>
            <a:fillRect/>
          </a:stretch>
        </p:blipFill>
        <p:spPr>
          <a:xfrm>
            <a:off x="383238" y="707136"/>
            <a:ext cx="6486953" cy="2991719"/>
          </a:xfrm>
          <a:prstGeom prst="rect">
            <a:avLst/>
          </a:prstGeom>
        </p:spPr>
      </p:pic>
      <p:pic>
        <p:nvPicPr>
          <p:cNvPr id="3" name="Image 2">
            <a:extLst>
              <a:ext uri="{FF2B5EF4-FFF2-40B4-BE49-F238E27FC236}">
                <a16:creationId xmlns:a16="http://schemas.microsoft.com/office/drawing/2014/main" id="{F6B890E6-D3A8-4D78-881B-E98B46D4C2CB}"/>
              </a:ext>
            </a:extLst>
          </p:cNvPr>
          <p:cNvPicPr>
            <a:picLocks noChangeAspect="1"/>
          </p:cNvPicPr>
          <p:nvPr/>
        </p:nvPicPr>
        <p:blipFill>
          <a:blip r:embed="rId3"/>
          <a:stretch>
            <a:fillRect/>
          </a:stretch>
        </p:blipFill>
        <p:spPr>
          <a:xfrm>
            <a:off x="5187696" y="255133"/>
            <a:ext cx="3062287" cy="1947862"/>
          </a:xfrm>
          <a:prstGeom prst="rect">
            <a:avLst/>
          </a:prstGeom>
        </p:spPr>
      </p:pic>
      <p:pic>
        <p:nvPicPr>
          <p:cNvPr id="5" name="Image 4">
            <a:extLst>
              <a:ext uri="{FF2B5EF4-FFF2-40B4-BE49-F238E27FC236}">
                <a16:creationId xmlns:a16="http://schemas.microsoft.com/office/drawing/2014/main" id="{471FBC0C-6149-4D21-8E1F-DF12AEF35201}"/>
              </a:ext>
            </a:extLst>
          </p:cNvPr>
          <p:cNvPicPr>
            <a:picLocks noChangeAspect="1"/>
          </p:cNvPicPr>
          <p:nvPr/>
        </p:nvPicPr>
        <p:blipFill>
          <a:blip r:embed="rId4"/>
          <a:stretch>
            <a:fillRect/>
          </a:stretch>
        </p:blipFill>
        <p:spPr>
          <a:xfrm>
            <a:off x="4064872" y="2388876"/>
            <a:ext cx="3644330" cy="2619957"/>
          </a:xfrm>
          <a:prstGeom prst="rect">
            <a:avLst/>
          </a:prstGeom>
        </p:spPr>
      </p:pic>
      <p:cxnSp>
        <p:nvCxnSpPr>
          <p:cNvPr id="7" name="Connecteur droit avec flèche 6">
            <a:extLst>
              <a:ext uri="{FF2B5EF4-FFF2-40B4-BE49-F238E27FC236}">
                <a16:creationId xmlns:a16="http://schemas.microsoft.com/office/drawing/2014/main" id="{80FFD899-1838-421D-B577-9890E1525755}"/>
              </a:ext>
            </a:extLst>
          </p:cNvPr>
          <p:cNvCxnSpPr>
            <a:cxnSpLocks/>
          </p:cNvCxnSpPr>
          <p:nvPr/>
        </p:nvCxnSpPr>
        <p:spPr>
          <a:xfrm flipH="1">
            <a:off x="2682240" y="1255776"/>
            <a:ext cx="2627376" cy="1934343"/>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cxnSp>
        <p:nvCxnSpPr>
          <p:cNvPr id="10" name="Connecteur droit avec flèche 9">
            <a:extLst>
              <a:ext uri="{FF2B5EF4-FFF2-40B4-BE49-F238E27FC236}">
                <a16:creationId xmlns:a16="http://schemas.microsoft.com/office/drawing/2014/main" id="{E44CD60A-9F0E-410A-85A4-1D038C9B938D}"/>
              </a:ext>
            </a:extLst>
          </p:cNvPr>
          <p:cNvCxnSpPr>
            <a:cxnSpLocks/>
          </p:cNvCxnSpPr>
          <p:nvPr/>
        </p:nvCxnSpPr>
        <p:spPr>
          <a:xfrm flipH="1" flipV="1">
            <a:off x="2782824" y="3444487"/>
            <a:ext cx="1435608" cy="322841"/>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cxnSp>
        <p:nvCxnSpPr>
          <p:cNvPr id="12" name="Connecteur droit avec flèche 11">
            <a:extLst>
              <a:ext uri="{FF2B5EF4-FFF2-40B4-BE49-F238E27FC236}">
                <a16:creationId xmlns:a16="http://schemas.microsoft.com/office/drawing/2014/main" id="{716D5766-10B8-4D7E-9EC5-CFCA82AFF273}"/>
              </a:ext>
            </a:extLst>
          </p:cNvPr>
          <p:cNvCxnSpPr>
            <a:cxnSpLocks/>
          </p:cNvCxnSpPr>
          <p:nvPr/>
        </p:nvCxnSpPr>
        <p:spPr>
          <a:xfrm flipH="1">
            <a:off x="6214870" y="2798311"/>
            <a:ext cx="1667258" cy="1"/>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14" name="Text Placeholder 16">
            <a:extLst>
              <a:ext uri="{FF2B5EF4-FFF2-40B4-BE49-F238E27FC236}">
                <a16:creationId xmlns:a16="http://schemas.microsoft.com/office/drawing/2014/main" id="{62083540-0AEB-4425-924C-74BC9BF3F355}"/>
              </a:ext>
            </a:extLst>
          </p:cNvPr>
          <p:cNvSpPr txBox="1">
            <a:spLocks/>
          </p:cNvSpPr>
          <p:nvPr/>
        </p:nvSpPr>
        <p:spPr>
          <a:xfrm>
            <a:off x="7775445" y="2222947"/>
            <a:ext cx="1436932" cy="1763713"/>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p>
          <a:p>
            <a:r>
              <a:rPr lang="fr-FR" sz="1400" dirty="0"/>
              <a:t>Link to </a:t>
            </a:r>
            <a:r>
              <a:rPr lang="fr-FR" sz="1400" dirty="0" err="1"/>
              <a:t>give</a:t>
            </a:r>
            <a:r>
              <a:rPr lang="fr-FR" sz="1400" dirty="0"/>
              <a:t> to the </a:t>
            </a:r>
            <a:r>
              <a:rPr lang="fr-FR" sz="1400" dirty="0" err="1"/>
              <a:t>users</a:t>
            </a:r>
            <a:endParaRPr lang="fr-FR" sz="1400" dirty="0"/>
          </a:p>
          <a:p>
            <a:endParaRPr lang="en-US" dirty="0"/>
          </a:p>
        </p:txBody>
      </p:sp>
    </p:spTree>
    <p:extLst>
      <p:ext uri="{BB962C8B-B14F-4D97-AF65-F5344CB8AC3E}">
        <p14:creationId xmlns:p14="http://schemas.microsoft.com/office/powerpoint/2010/main" val="3140085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27BB8-D6EA-2A4B-9E29-4B163BA076AA}"/>
              </a:ext>
            </a:extLst>
          </p:cNvPr>
          <p:cNvSpPr>
            <a:spLocks noGrp="1"/>
          </p:cNvSpPr>
          <p:nvPr>
            <p:ph type="title"/>
          </p:nvPr>
        </p:nvSpPr>
        <p:spPr/>
        <p:txBody>
          <a:bodyPr/>
          <a:lstStyle/>
          <a:p>
            <a:r>
              <a:rPr lang="fr-FR" dirty="0" err="1"/>
              <a:t>Granting</a:t>
            </a:r>
            <a:r>
              <a:rPr lang="fr-FR" dirty="0"/>
              <a:t> </a:t>
            </a:r>
            <a:r>
              <a:rPr lang="fr-FR" dirty="0" err="1"/>
              <a:t>acces</a:t>
            </a:r>
            <a:r>
              <a:rPr lang="fr-FR" dirty="0"/>
              <a:t> to the bot to </a:t>
            </a:r>
            <a:r>
              <a:rPr lang="fr-FR" dirty="0" err="1"/>
              <a:t>users</a:t>
            </a:r>
            <a:br>
              <a:rPr lang="fr-FR" dirty="0"/>
            </a:br>
            <a:r>
              <a:rPr lang="fr-FR" sz="1400" i="1" dirty="0" err="1"/>
              <a:t>add</a:t>
            </a:r>
            <a:r>
              <a:rPr lang="fr-FR" sz="1400" i="1" dirty="0"/>
              <a:t> new </a:t>
            </a:r>
            <a:r>
              <a:rPr lang="fr-FR" sz="1400" i="1" dirty="0" err="1"/>
              <a:t>owner</a:t>
            </a:r>
            <a:endParaRPr lang="en-US" sz="1400" i="1" dirty="0"/>
          </a:p>
        </p:txBody>
      </p:sp>
      <p:sp>
        <p:nvSpPr>
          <p:cNvPr id="14" name="Text Placeholder 16">
            <a:extLst>
              <a:ext uri="{FF2B5EF4-FFF2-40B4-BE49-F238E27FC236}">
                <a16:creationId xmlns:a16="http://schemas.microsoft.com/office/drawing/2014/main" id="{62083540-0AEB-4425-924C-74BC9BF3F355}"/>
              </a:ext>
            </a:extLst>
          </p:cNvPr>
          <p:cNvSpPr txBox="1">
            <a:spLocks/>
          </p:cNvSpPr>
          <p:nvPr/>
        </p:nvSpPr>
        <p:spPr>
          <a:xfrm>
            <a:off x="4506597" y="3749040"/>
            <a:ext cx="1436932" cy="1034554"/>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lgn="ctr">
              <a:buFont typeface="Arial" panose="020B0604020202020204" pitchFamily="34" charset="0"/>
              <a:buChar char="•"/>
            </a:pPr>
            <a:endParaRPr lang="en-US" sz="1600" dirty="0"/>
          </a:p>
          <a:p>
            <a:pPr algn="ctr"/>
            <a:r>
              <a:rPr lang="fr-FR" sz="1400" dirty="0"/>
              <a:t>Gmail </a:t>
            </a:r>
            <a:r>
              <a:rPr lang="fr-FR" sz="1400" dirty="0" err="1"/>
              <a:t>address</a:t>
            </a:r>
            <a:endParaRPr lang="fr-FR" sz="1400" dirty="0"/>
          </a:p>
          <a:p>
            <a:pPr algn="ctr"/>
            <a:endParaRPr lang="en-US" dirty="0"/>
          </a:p>
        </p:txBody>
      </p:sp>
      <p:pic>
        <p:nvPicPr>
          <p:cNvPr id="6" name="Image 5">
            <a:extLst>
              <a:ext uri="{FF2B5EF4-FFF2-40B4-BE49-F238E27FC236}">
                <a16:creationId xmlns:a16="http://schemas.microsoft.com/office/drawing/2014/main" id="{6642FFE8-F25A-4BA3-8BC8-6FED9D8CDF48}"/>
              </a:ext>
            </a:extLst>
          </p:cNvPr>
          <p:cNvPicPr>
            <a:picLocks noChangeAspect="1"/>
          </p:cNvPicPr>
          <p:nvPr/>
        </p:nvPicPr>
        <p:blipFill>
          <a:blip r:embed="rId2"/>
          <a:stretch>
            <a:fillRect/>
          </a:stretch>
        </p:blipFill>
        <p:spPr>
          <a:xfrm>
            <a:off x="375354" y="1284217"/>
            <a:ext cx="1773036" cy="3028187"/>
          </a:xfrm>
          <a:prstGeom prst="rect">
            <a:avLst/>
          </a:prstGeom>
        </p:spPr>
      </p:pic>
      <p:sp>
        <p:nvSpPr>
          <p:cNvPr id="11" name="Text Placeholder 16">
            <a:extLst>
              <a:ext uri="{FF2B5EF4-FFF2-40B4-BE49-F238E27FC236}">
                <a16:creationId xmlns:a16="http://schemas.microsoft.com/office/drawing/2014/main" id="{B723B2E9-D1F1-434C-B243-9BE8152E5A65}"/>
              </a:ext>
            </a:extLst>
          </p:cNvPr>
          <p:cNvSpPr txBox="1">
            <a:spLocks/>
          </p:cNvSpPr>
          <p:nvPr/>
        </p:nvSpPr>
        <p:spPr>
          <a:xfrm>
            <a:off x="239887" y="623660"/>
            <a:ext cx="2496316" cy="1763713"/>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p>
          <a:p>
            <a:r>
              <a:rPr lang="fr-FR" sz="1400" dirty="0" err="1"/>
              <a:t>From</a:t>
            </a:r>
            <a:r>
              <a:rPr lang="fr-FR" sz="1400" dirty="0"/>
              <a:t> the GCP Console :</a:t>
            </a:r>
          </a:p>
          <a:p>
            <a:endParaRPr lang="en-US" dirty="0"/>
          </a:p>
        </p:txBody>
      </p:sp>
      <p:sp>
        <p:nvSpPr>
          <p:cNvPr id="13" name="Ellipse 12">
            <a:extLst>
              <a:ext uri="{FF2B5EF4-FFF2-40B4-BE49-F238E27FC236}">
                <a16:creationId xmlns:a16="http://schemas.microsoft.com/office/drawing/2014/main" id="{CE11485F-28FC-49F2-8EC9-5905AAF828D3}"/>
              </a:ext>
            </a:extLst>
          </p:cNvPr>
          <p:cNvSpPr/>
          <p:nvPr/>
        </p:nvSpPr>
        <p:spPr>
          <a:xfrm>
            <a:off x="1261872" y="2616301"/>
            <a:ext cx="749808" cy="279654"/>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Ellipse 14">
            <a:extLst>
              <a:ext uri="{FF2B5EF4-FFF2-40B4-BE49-F238E27FC236}">
                <a16:creationId xmlns:a16="http://schemas.microsoft.com/office/drawing/2014/main" id="{29BCD795-0DD0-44DC-BE69-675D6AA0ACD5}"/>
              </a:ext>
            </a:extLst>
          </p:cNvPr>
          <p:cNvSpPr/>
          <p:nvPr/>
        </p:nvSpPr>
        <p:spPr>
          <a:xfrm>
            <a:off x="375354" y="2573876"/>
            <a:ext cx="749808" cy="279654"/>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Image 7">
            <a:extLst>
              <a:ext uri="{FF2B5EF4-FFF2-40B4-BE49-F238E27FC236}">
                <a16:creationId xmlns:a16="http://schemas.microsoft.com/office/drawing/2014/main" id="{488322A9-B278-4E30-B55F-24514D62AD2D}"/>
              </a:ext>
            </a:extLst>
          </p:cNvPr>
          <p:cNvPicPr>
            <a:picLocks noChangeAspect="1"/>
          </p:cNvPicPr>
          <p:nvPr/>
        </p:nvPicPr>
        <p:blipFill>
          <a:blip r:embed="rId3"/>
          <a:stretch>
            <a:fillRect/>
          </a:stretch>
        </p:blipFill>
        <p:spPr>
          <a:xfrm>
            <a:off x="2736203" y="1078208"/>
            <a:ext cx="5552940" cy="2618329"/>
          </a:xfrm>
          <a:prstGeom prst="rect">
            <a:avLst/>
          </a:prstGeom>
        </p:spPr>
      </p:pic>
      <p:cxnSp>
        <p:nvCxnSpPr>
          <p:cNvPr id="10" name="Connecteur droit avec flèche 9">
            <a:extLst>
              <a:ext uri="{FF2B5EF4-FFF2-40B4-BE49-F238E27FC236}">
                <a16:creationId xmlns:a16="http://schemas.microsoft.com/office/drawing/2014/main" id="{E44CD60A-9F0E-410A-85A4-1D038C9B938D}"/>
              </a:ext>
            </a:extLst>
          </p:cNvPr>
          <p:cNvCxnSpPr>
            <a:cxnSpLocks/>
          </p:cNvCxnSpPr>
          <p:nvPr/>
        </p:nvCxnSpPr>
        <p:spPr>
          <a:xfrm flipH="1">
            <a:off x="1954025" y="2756127"/>
            <a:ext cx="782178" cy="1"/>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cxnSp>
        <p:nvCxnSpPr>
          <p:cNvPr id="16" name="Connecteur droit avec flèche 15">
            <a:extLst>
              <a:ext uri="{FF2B5EF4-FFF2-40B4-BE49-F238E27FC236}">
                <a16:creationId xmlns:a16="http://schemas.microsoft.com/office/drawing/2014/main" id="{DD5CF266-9C1C-4A66-99E2-A322E83F915F}"/>
              </a:ext>
            </a:extLst>
          </p:cNvPr>
          <p:cNvCxnSpPr>
            <a:cxnSpLocks/>
          </p:cNvCxnSpPr>
          <p:nvPr/>
        </p:nvCxnSpPr>
        <p:spPr>
          <a:xfrm flipH="1">
            <a:off x="5168807" y="1932823"/>
            <a:ext cx="502656" cy="2132469"/>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18" name="Text Placeholder 16">
            <a:extLst>
              <a:ext uri="{FF2B5EF4-FFF2-40B4-BE49-F238E27FC236}">
                <a16:creationId xmlns:a16="http://schemas.microsoft.com/office/drawing/2014/main" id="{71C31146-F027-44B1-923B-001C408B8A88}"/>
              </a:ext>
            </a:extLst>
          </p:cNvPr>
          <p:cNvSpPr txBox="1">
            <a:spLocks/>
          </p:cNvSpPr>
          <p:nvPr/>
        </p:nvSpPr>
        <p:spPr>
          <a:xfrm>
            <a:off x="6134229" y="3749040"/>
            <a:ext cx="1436932" cy="1034554"/>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lgn="ctr">
              <a:buFont typeface="Arial" panose="020B0604020202020204" pitchFamily="34" charset="0"/>
              <a:buChar char="•"/>
            </a:pPr>
            <a:endParaRPr lang="en-US" sz="1600" dirty="0"/>
          </a:p>
          <a:p>
            <a:pPr algn="ctr"/>
            <a:r>
              <a:rPr lang="fr-FR" sz="1400" dirty="0"/>
              <a:t>Project / </a:t>
            </a:r>
            <a:r>
              <a:rPr lang="fr-FR" sz="1400" dirty="0" err="1"/>
              <a:t>viewer</a:t>
            </a:r>
            <a:endParaRPr lang="fr-FR" sz="1400" dirty="0"/>
          </a:p>
          <a:p>
            <a:pPr algn="ctr"/>
            <a:endParaRPr lang="en-US" dirty="0"/>
          </a:p>
        </p:txBody>
      </p:sp>
      <p:cxnSp>
        <p:nvCxnSpPr>
          <p:cNvPr id="19" name="Connecteur droit avec flèche 18">
            <a:extLst>
              <a:ext uri="{FF2B5EF4-FFF2-40B4-BE49-F238E27FC236}">
                <a16:creationId xmlns:a16="http://schemas.microsoft.com/office/drawing/2014/main" id="{B9945D12-5BE4-43AC-9D9D-9ADD51B106B1}"/>
              </a:ext>
            </a:extLst>
          </p:cNvPr>
          <p:cNvCxnSpPr>
            <a:cxnSpLocks/>
          </p:cNvCxnSpPr>
          <p:nvPr/>
        </p:nvCxnSpPr>
        <p:spPr>
          <a:xfrm>
            <a:off x="6605739" y="2798310"/>
            <a:ext cx="159554" cy="1266982"/>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945311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A9A9B865-76EC-4B6A-B893-1A0774C60FE9}"/>
              </a:ext>
            </a:extLst>
          </p:cNvPr>
          <p:cNvPicPr>
            <a:picLocks noChangeAspect="1"/>
          </p:cNvPicPr>
          <p:nvPr/>
        </p:nvPicPr>
        <p:blipFill>
          <a:blip r:embed="rId2"/>
          <a:stretch>
            <a:fillRect/>
          </a:stretch>
        </p:blipFill>
        <p:spPr>
          <a:xfrm>
            <a:off x="239886" y="1351124"/>
            <a:ext cx="5943600" cy="2852466"/>
          </a:xfrm>
          <a:prstGeom prst="rect">
            <a:avLst/>
          </a:prstGeom>
        </p:spPr>
      </p:pic>
      <p:sp>
        <p:nvSpPr>
          <p:cNvPr id="4" name="Title 3">
            <a:extLst>
              <a:ext uri="{FF2B5EF4-FFF2-40B4-BE49-F238E27FC236}">
                <a16:creationId xmlns:a16="http://schemas.microsoft.com/office/drawing/2014/main" id="{16227BB8-D6EA-2A4B-9E29-4B163BA076AA}"/>
              </a:ext>
            </a:extLst>
          </p:cNvPr>
          <p:cNvSpPr>
            <a:spLocks noGrp="1"/>
          </p:cNvSpPr>
          <p:nvPr>
            <p:ph type="title"/>
          </p:nvPr>
        </p:nvSpPr>
        <p:spPr/>
        <p:txBody>
          <a:bodyPr/>
          <a:lstStyle/>
          <a:p>
            <a:r>
              <a:rPr lang="fr-FR" dirty="0" err="1"/>
              <a:t>Granting</a:t>
            </a:r>
            <a:r>
              <a:rPr lang="fr-FR" dirty="0"/>
              <a:t> </a:t>
            </a:r>
            <a:r>
              <a:rPr lang="fr-FR" dirty="0" err="1"/>
              <a:t>acces</a:t>
            </a:r>
            <a:r>
              <a:rPr lang="fr-FR" dirty="0"/>
              <a:t> to the bot to </a:t>
            </a:r>
            <a:r>
              <a:rPr lang="fr-FR" dirty="0" err="1"/>
              <a:t>users</a:t>
            </a:r>
            <a:br>
              <a:rPr lang="fr-FR" dirty="0"/>
            </a:br>
            <a:r>
              <a:rPr lang="fr-FR" sz="1400" i="1" dirty="0" err="1"/>
              <a:t>add</a:t>
            </a:r>
            <a:r>
              <a:rPr lang="fr-FR" sz="1400" i="1" dirty="0"/>
              <a:t> new </a:t>
            </a:r>
            <a:r>
              <a:rPr lang="fr-FR" sz="1400" i="1" dirty="0" err="1"/>
              <a:t>owner</a:t>
            </a:r>
            <a:endParaRPr lang="en-US" sz="1400" i="1" dirty="0"/>
          </a:p>
        </p:txBody>
      </p:sp>
      <p:sp>
        <p:nvSpPr>
          <p:cNvPr id="11" name="Text Placeholder 16">
            <a:extLst>
              <a:ext uri="{FF2B5EF4-FFF2-40B4-BE49-F238E27FC236}">
                <a16:creationId xmlns:a16="http://schemas.microsoft.com/office/drawing/2014/main" id="{B723B2E9-D1F1-434C-B243-9BE8152E5A65}"/>
              </a:ext>
            </a:extLst>
          </p:cNvPr>
          <p:cNvSpPr txBox="1">
            <a:spLocks/>
          </p:cNvSpPr>
          <p:nvPr/>
        </p:nvSpPr>
        <p:spPr>
          <a:xfrm>
            <a:off x="239886" y="623660"/>
            <a:ext cx="3972449" cy="1763713"/>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p>
          <a:p>
            <a:r>
              <a:rPr lang="fr-FR" sz="1400" dirty="0" err="1"/>
              <a:t>From</a:t>
            </a:r>
            <a:r>
              <a:rPr lang="fr-FR" sz="1400" dirty="0"/>
              <a:t> the Action on Google Console :</a:t>
            </a:r>
          </a:p>
          <a:p>
            <a:endParaRPr lang="en-US" dirty="0"/>
          </a:p>
        </p:txBody>
      </p:sp>
      <p:sp>
        <p:nvSpPr>
          <p:cNvPr id="15" name="Ellipse 14">
            <a:extLst>
              <a:ext uri="{FF2B5EF4-FFF2-40B4-BE49-F238E27FC236}">
                <a16:creationId xmlns:a16="http://schemas.microsoft.com/office/drawing/2014/main" id="{29BCD795-0DD0-44DC-BE69-675D6AA0ACD5}"/>
              </a:ext>
            </a:extLst>
          </p:cNvPr>
          <p:cNvSpPr/>
          <p:nvPr/>
        </p:nvSpPr>
        <p:spPr>
          <a:xfrm>
            <a:off x="478986" y="1271519"/>
            <a:ext cx="2648262" cy="279654"/>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6" name="Connecteur droit avec flèche 15">
            <a:extLst>
              <a:ext uri="{FF2B5EF4-FFF2-40B4-BE49-F238E27FC236}">
                <a16:creationId xmlns:a16="http://schemas.microsoft.com/office/drawing/2014/main" id="{DD5CF266-9C1C-4A66-99E2-A322E83F915F}"/>
              </a:ext>
            </a:extLst>
          </p:cNvPr>
          <p:cNvCxnSpPr>
            <a:cxnSpLocks/>
          </p:cNvCxnSpPr>
          <p:nvPr/>
        </p:nvCxnSpPr>
        <p:spPr>
          <a:xfrm flipH="1" flipV="1">
            <a:off x="3127248" y="1431697"/>
            <a:ext cx="3395473" cy="232511"/>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17" name="Text Placeholder 16">
            <a:extLst>
              <a:ext uri="{FF2B5EF4-FFF2-40B4-BE49-F238E27FC236}">
                <a16:creationId xmlns:a16="http://schemas.microsoft.com/office/drawing/2014/main" id="{8C29CB56-8541-4492-A5F4-2D478D1D4CA7}"/>
              </a:ext>
            </a:extLst>
          </p:cNvPr>
          <p:cNvSpPr txBox="1">
            <a:spLocks/>
          </p:cNvSpPr>
          <p:nvPr/>
        </p:nvSpPr>
        <p:spPr>
          <a:xfrm>
            <a:off x="6522720" y="1257561"/>
            <a:ext cx="2142293" cy="1034554"/>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p>
          <a:p>
            <a:r>
              <a:rPr lang="fr-FR" sz="1400" dirty="0" err="1"/>
              <a:t>Give</a:t>
            </a:r>
            <a:r>
              <a:rPr lang="fr-FR" sz="1400" dirty="0"/>
              <a:t> </a:t>
            </a:r>
            <a:r>
              <a:rPr lang="fr-FR" sz="1400" dirty="0" err="1"/>
              <a:t>this</a:t>
            </a:r>
            <a:r>
              <a:rPr lang="fr-FR" sz="1400" dirty="0"/>
              <a:t> url to </a:t>
            </a:r>
            <a:r>
              <a:rPr lang="fr-FR" sz="1400" dirty="0" err="1"/>
              <a:t>your</a:t>
            </a:r>
            <a:r>
              <a:rPr lang="fr-FR" sz="1400" dirty="0"/>
              <a:t> new user (</a:t>
            </a:r>
            <a:r>
              <a:rPr lang="fr-FR" sz="1400" dirty="0" err="1"/>
              <a:t>he</a:t>
            </a:r>
            <a:r>
              <a:rPr lang="fr-FR" sz="1400" dirty="0"/>
              <a:t> must </a:t>
            </a:r>
            <a:r>
              <a:rPr lang="fr-FR" sz="1400" dirty="0" err="1"/>
              <a:t>enrole</a:t>
            </a:r>
            <a:r>
              <a:rPr lang="fr-FR" sz="1400" dirty="0"/>
              <a:t> </a:t>
            </a:r>
            <a:r>
              <a:rPr lang="fr-FR" sz="1400" dirty="0" err="1"/>
              <a:t>himself</a:t>
            </a:r>
            <a:r>
              <a:rPr lang="fr-FR" sz="1400" dirty="0"/>
              <a:t>)</a:t>
            </a:r>
          </a:p>
          <a:p>
            <a:endParaRPr lang="en-US" dirty="0"/>
          </a:p>
        </p:txBody>
      </p:sp>
    </p:spTree>
    <p:extLst>
      <p:ext uri="{BB962C8B-B14F-4D97-AF65-F5344CB8AC3E}">
        <p14:creationId xmlns:p14="http://schemas.microsoft.com/office/powerpoint/2010/main" val="4267621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75F70AB-D5FA-40D4-B31E-D7766A26BC05}"/>
              </a:ext>
            </a:extLst>
          </p:cNvPr>
          <p:cNvSpPr>
            <a:spLocks noGrp="1"/>
          </p:cNvSpPr>
          <p:nvPr>
            <p:ph type="title"/>
          </p:nvPr>
        </p:nvSpPr>
        <p:spPr/>
        <p:txBody>
          <a:bodyPr/>
          <a:lstStyle/>
          <a:p>
            <a:r>
              <a:rPr lang="fr-FR" dirty="0" err="1"/>
              <a:t>Deep</a:t>
            </a:r>
            <a:r>
              <a:rPr lang="fr-FR" dirty="0"/>
              <a:t> links</a:t>
            </a:r>
          </a:p>
        </p:txBody>
      </p:sp>
      <p:sp>
        <p:nvSpPr>
          <p:cNvPr id="3" name="Bande diagonale 2">
            <a:extLst>
              <a:ext uri="{FF2B5EF4-FFF2-40B4-BE49-F238E27FC236}">
                <a16:creationId xmlns:a16="http://schemas.microsoft.com/office/drawing/2014/main" id="{3A4A86F7-7078-4C25-A510-840C29E1AE3B}"/>
              </a:ext>
            </a:extLst>
          </p:cNvPr>
          <p:cNvSpPr/>
          <p:nvPr/>
        </p:nvSpPr>
        <p:spPr>
          <a:xfrm rot="5400000">
            <a:off x="7236889" y="-6860"/>
            <a:ext cx="1908000" cy="1906223"/>
          </a:xfrm>
          <a:prstGeom prst="diagStripe">
            <a:avLst>
              <a:gd name="adj" fmla="val 6268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4" name="ZoneTexte 3">
            <a:extLst>
              <a:ext uri="{FF2B5EF4-FFF2-40B4-BE49-F238E27FC236}">
                <a16:creationId xmlns:a16="http://schemas.microsoft.com/office/drawing/2014/main" id="{5CE330BF-6880-498D-B2FF-90548EC01FAE}"/>
              </a:ext>
            </a:extLst>
          </p:cNvPr>
          <p:cNvSpPr txBox="1"/>
          <p:nvPr/>
        </p:nvSpPr>
        <p:spPr>
          <a:xfrm rot="2735380">
            <a:off x="7553002" y="548280"/>
            <a:ext cx="1937289" cy="682028"/>
          </a:xfrm>
          <a:prstGeom prst="rect">
            <a:avLst/>
          </a:prstGeom>
        </p:spPr>
        <p:txBody>
          <a:bodyPr wrap="square" lIns="72000" tIns="72000" rIns="72000" bIns="72000" rtlCol="0">
            <a:spAutoFit/>
          </a:bodyPr>
          <a:lstStyle/>
          <a:p>
            <a:pPr algn="l">
              <a:lnSpc>
                <a:spcPct val="120000"/>
              </a:lnSpc>
              <a:spcAft>
                <a:spcPts val="600"/>
              </a:spcAft>
            </a:pPr>
            <a:r>
              <a:rPr lang="fr-FR" sz="3200" b="1" dirty="0">
                <a:solidFill>
                  <a:schemeClr val="bg1"/>
                </a:solidFill>
                <a:latin typeface="Arial" panose="020B0604020202020204" pitchFamily="34" charset="0"/>
                <a:cs typeface="Arial" panose="020B0604020202020204" pitchFamily="34" charset="0"/>
              </a:rPr>
              <a:t>BONUS</a:t>
            </a:r>
          </a:p>
        </p:txBody>
      </p:sp>
      <p:sp>
        <p:nvSpPr>
          <p:cNvPr id="5" name="Rectangle 4">
            <a:extLst>
              <a:ext uri="{FF2B5EF4-FFF2-40B4-BE49-F238E27FC236}">
                <a16:creationId xmlns:a16="http://schemas.microsoft.com/office/drawing/2014/main" id="{772F8633-94D8-4996-A42B-7007AED75599}"/>
              </a:ext>
            </a:extLst>
          </p:cNvPr>
          <p:cNvSpPr/>
          <p:nvPr/>
        </p:nvSpPr>
        <p:spPr>
          <a:xfrm>
            <a:off x="404648" y="808038"/>
            <a:ext cx="7688317" cy="1661993"/>
          </a:xfrm>
          <a:prstGeom prst="rect">
            <a:avLst/>
          </a:prstGeom>
        </p:spPr>
        <p:txBody>
          <a:bodyPr wrap="square">
            <a:spAutoFit/>
          </a:bodyPr>
          <a:lstStyle/>
          <a:p>
            <a:r>
              <a:rPr lang="en-US" sz="1400" dirty="0"/>
              <a:t>Users can specify the Action explicitly by its name, along with a qualifying phrase that represents a task for your Action to handle.</a:t>
            </a:r>
          </a:p>
          <a:p>
            <a:endParaRPr lang="en-US" sz="1400" dirty="0"/>
          </a:p>
          <a:p>
            <a:endParaRPr lang="en-US" sz="1400" dirty="0"/>
          </a:p>
          <a:p>
            <a:endParaRPr lang="en-US" sz="1400" dirty="0"/>
          </a:p>
          <a:p>
            <a:endParaRPr lang="en-US" sz="1400" dirty="0"/>
          </a:p>
          <a:p>
            <a:r>
              <a:rPr lang="en-US" sz="1800" i="1" dirty="0"/>
              <a:t>      “Ok Google, ask to Bob the Robot to add 3 and 4”</a:t>
            </a:r>
            <a:endParaRPr lang="fr-FR" sz="1800" i="1" dirty="0"/>
          </a:p>
        </p:txBody>
      </p:sp>
      <p:pic>
        <p:nvPicPr>
          <p:cNvPr id="7" name="Image 6">
            <a:extLst>
              <a:ext uri="{FF2B5EF4-FFF2-40B4-BE49-F238E27FC236}">
                <a16:creationId xmlns:a16="http://schemas.microsoft.com/office/drawing/2014/main" id="{9935F533-28B0-4E58-A280-0410E5456F98}"/>
              </a:ext>
            </a:extLst>
          </p:cNvPr>
          <p:cNvPicPr>
            <a:picLocks noChangeAspect="1"/>
          </p:cNvPicPr>
          <p:nvPr/>
        </p:nvPicPr>
        <p:blipFill>
          <a:blip r:embed="rId2"/>
          <a:stretch>
            <a:fillRect/>
          </a:stretch>
        </p:blipFill>
        <p:spPr>
          <a:xfrm>
            <a:off x="404648" y="1996582"/>
            <a:ext cx="473449" cy="473449"/>
          </a:xfrm>
          <a:prstGeom prst="rect">
            <a:avLst/>
          </a:prstGeom>
        </p:spPr>
      </p:pic>
      <p:sp>
        <p:nvSpPr>
          <p:cNvPr id="8" name="Accolade fermante 7">
            <a:extLst>
              <a:ext uri="{FF2B5EF4-FFF2-40B4-BE49-F238E27FC236}">
                <a16:creationId xmlns:a16="http://schemas.microsoft.com/office/drawing/2014/main" id="{FCE35FD6-1AC8-4B63-A40C-10F3DC6F9DAA}"/>
              </a:ext>
            </a:extLst>
          </p:cNvPr>
          <p:cNvSpPr/>
          <p:nvPr/>
        </p:nvSpPr>
        <p:spPr>
          <a:xfrm rot="5400000">
            <a:off x="3815852" y="1871442"/>
            <a:ext cx="388784" cy="1585966"/>
          </a:xfrm>
          <a:prstGeom prst="rightBrace">
            <a:avLst>
              <a:gd name="adj1" fmla="val 48662"/>
              <a:gd name="adj2" fmla="val 50646"/>
            </a:avLst>
          </a:prstGeom>
          <a:no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a:solidFill>
                <a:schemeClr val="lt1"/>
              </a:solidFill>
            </a:endParaRPr>
          </a:p>
        </p:txBody>
      </p:sp>
      <p:sp>
        <p:nvSpPr>
          <p:cNvPr id="9" name="Accolade fermante 8">
            <a:extLst>
              <a:ext uri="{FF2B5EF4-FFF2-40B4-BE49-F238E27FC236}">
                <a16:creationId xmlns:a16="http://schemas.microsoft.com/office/drawing/2014/main" id="{35D436F7-E3C8-46DD-9D67-427B4A497A5B}"/>
              </a:ext>
            </a:extLst>
          </p:cNvPr>
          <p:cNvSpPr/>
          <p:nvPr/>
        </p:nvSpPr>
        <p:spPr>
          <a:xfrm rot="5400000">
            <a:off x="5743953" y="1948256"/>
            <a:ext cx="388784" cy="1450428"/>
          </a:xfrm>
          <a:prstGeom prst="rightBrace">
            <a:avLst>
              <a:gd name="adj1" fmla="val 48662"/>
              <a:gd name="adj2" fmla="val 50646"/>
            </a:avLst>
          </a:prstGeom>
          <a:no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a:solidFill>
                <a:schemeClr val="lt1"/>
              </a:solidFill>
            </a:endParaRPr>
          </a:p>
        </p:txBody>
      </p:sp>
      <p:sp>
        <p:nvSpPr>
          <p:cNvPr id="10" name="ZoneTexte 9">
            <a:extLst>
              <a:ext uri="{FF2B5EF4-FFF2-40B4-BE49-F238E27FC236}">
                <a16:creationId xmlns:a16="http://schemas.microsoft.com/office/drawing/2014/main" id="{7D0C746D-F751-42E1-9129-38D84D663B7D}"/>
              </a:ext>
            </a:extLst>
          </p:cNvPr>
          <p:cNvSpPr txBox="1"/>
          <p:nvPr/>
        </p:nvSpPr>
        <p:spPr>
          <a:xfrm>
            <a:off x="3217261" y="3195145"/>
            <a:ext cx="1585966" cy="376560"/>
          </a:xfrm>
          <a:prstGeom prst="rect">
            <a:avLst/>
          </a:prstGeom>
        </p:spPr>
        <p:txBody>
          <a:bodyPr wrap="square" lIns="72000" tIns="72000" rIns="72000" bIns="72000" rtlCol="0">
            <a:spAutoFit/>
          </a:bodyPr>
          <a:lstStyle/>
          <a:p>
            <a:pPr algn="ctr">
              <a:lnSpc>
                <a:spcPct val="120000"/>
              </a:lnSpc>
              <a:spcAft>
                <a:spcPts val="600"/>
              </a:spcAft>
            </a:pPr>
            <a:r>
              <a:rPr lang="fr-FR" sz="1400" b="1" i="1" dirty="0">
                <a:solidFill>
                  <a:schemeClr val="accent2"/>
                </a:solidFill>
              </a:rPr>
              <a:t>Action </a:t>
            </a:r>
            <a:r>
              <a:rPr lang="fr-FR" sz="1400" b="1" i="1" dirty="0" err="1">
                <a:solidFill>
                  <a:schemeClr val="accent2"/>
                </a:solidFill>
              </a:rPr>
              <a:t>name</a:t>
            </a:r>
            <a:endParaRPr lang="fr-FR" sz="1400" b="1" i="1" dirty="0">
              <a:solidFill>
                <a:schemeClr val="accent2"/>
              </a:solidFill>
            </a:endParaRPr>
          </a:p>
        </p:txBody>
      </p:sp>
      <p:sp>
        <p:nvSpPr>
          <p:cNvPr id="11" name="ZoneTexte 10">
            <a:extLst>
              <a:ext uri="{FF2B5EF4-FFF2-40B4-BE49-F238E27FC236}">
                <a16:creationId xmlns:a16="http://schemas.microsoft.com/office/drawing/2014/main" id="{02890716-11B5-4D2B-81B4-E18F55FB08BD}"/>
              </a:ext>
            </a:extLst>
          </p:cNvPr>
          <p:cNvSpPr txBox="1"/>
          <p:nvPr/>
        </p:nvSpPr>
        <p:spPr>
          <a:xfrm>
            <a:off x="5145362" y="3195145"/>
            <a:ext cx="1585966" cy="635092"/>
          </a:xfrm>
          <a:prstGeom prst="rect">
            <a:avLst/>
          </a:prstGeom>
        </p:spPr>
        <p:txBody>
          <a:bodyPr wrap="square" lIns="72000" tIns="72000" rIns="72000" bIns="72000" rtlCol="0">
            <a:spAutoFit/>
          </a:bodyPr>
          <a:lstStyle/>
          <a:p>
            <a:pPr algn="ctr">
              <a:lnSpc>
                <a:spcPct val="120000"/>
              </a:lnSpc>
              <a:spcAft>
                <a:spcPts val="600"/>
              </a:spcAft>
            </a:pPr>
            <a:r>
              <a:rPr lang="fr-FR" sz="1400" b="1" i="1" dirty="0">
                <a:solidFill>
                  <a:schemeClr val="accent2"/>
                </a:solidFill>
              </a:rPr>
              <a:t>Intent « addition»</a:t>
            </a:r>
          </a:p>
        </p:txBody>
      </p:sp>
    </p:spTree>
    <p:extLst>
      <p:ext uri="{BB962C8B-B14F-4D97-AF65-F5344CB8AC3E}">
        <p14:creationId xmlns:p14="http://schemas.microsoft.com/office/powerpoint/2010/main" val="84879318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11">
            <a:extLst>
              <a:ext uri="{FF2B5EF4-FFF2-40B4-BE49-F238E27FC236}">
                <a16:creationId xmlns:a16="http://schemas.microsoft.com/office/drawing/2014/main" id="{A0EA4FD2-D36B-44A9-9A32-5A33F5A1C8AC}"/>
              </a:ext>
            </a:extLst>
          </p:cNvPr>
          <p:cNvPicPr>
            <a:picLocks noChangeAspect="1"/>
          </p:cNvPicPr>
          <p:nvPr/>
        </p:nvPicPr>
        <p:blipFill>
          <a:blip r:embed="rId2"/>
          <a:stretch>
            <a:fillRect/>
          </a:stretch>
        </p:blipFill>
        <p:spPr>
          <a:xfrm>
            <a:off x="4105037" y="946251"/>
            <a:ext cx="4416609" cy="4039914"/>
          </a:xfrm>
          <a:prstGeom prst="rect">
            <a:avLst/>
          </a:prstGeom>
        </p:spPr>
      </p:pic>
      <p:sp>
        <p:nvSpPr>
          <p:cNvPr id="2" name="Titre 1">
            <a:extLst>
              <a:ext uri="{FF2B5EF4-FFF2-40B4-BE49-F238E27FC236}">
                <a16:creationId xmlns:a16="http://schemas.microsoft.com/office/drawing/2014/main" id="{075F70AB-D5FA-40D4-B31E-D7766A26BC05}"/>
              </a:ext>
            </a:extLst>
          </p:cNvPr>
          <p:cNvSpPr>
            <a:spLocks noGrp="1"/>
          </p:cNvSpPr>
          <p:nvPr>
            <p:ph type="title"/>
          </p:nvPr>
        </p:nvSpPr>
        <p:spPr/>
        <p:txBody>
          <a:bodyPr/>
          <a:lstStyle/>
          <a:p>
            <a:r>
              <a:rPr lang="fr-FR" dirty="0" err="1"/>
              <a:t>Deep</a:t>
            </a:r>
            <a:r>
              <a:rPr lang="fr-FR" dirty="0"/>
              <a:t> links</a:t>
            </a:r>
          </a:p>
        </p:txBody>
      </p:sp>
      <p:sp>
        <p:nvSpPr>
          <p:cNvPr id="3" name="Bande diagonale 2">
            <a:extLst>
              <a:ext uri="{FF2B5EF4-FFF2-40B4-BE49-F238E27FC236}">
                <a16:creationId xmlns:a16="http://schemas.microsoft.com/office/drawing/2014/main" id="{3A4A86F7-7078-4C25-A510-840C29E1AE3B}"/>
              </a:ext>
            </a:extLst>
          </p:cNvPr>
          <p:cNvSpPr/>
          <p:nvPr/>
        </p:nvSpPr>
        <p:spPr>
          <a:xfrm rot="5400000">
            <a:off x="7236889" y="-6860"/>
            <a:ext cx="1908000" cy="1906223"/>
          </a:xfrm>
          <a:prstGeom prst="diagStripe">
            <a:avLst>
              <a:gd name="adj" fmla="val 6268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4" name="ZoneTexte 3">
            <a:extLst>
              <a:ext uri="{FF2B5EF4-FFF2-40B4-BE49-F238E27FC236}">
                <a16:creationId xmlns:a16="http://schemas.microsoft.com/office/drawing/2014/main" id="{5CE330BF-6880-498D-B2FF-90548EC01FAE}"/>
              </a:ext>
            </a:extLst>
          </p:cNvPr>
          <p:cNvSpPr txBox="1"/>
          <p:nvPr/>
        </p:nvSpPr>
        <p:spPr>
          <a:xfrm rot="2735380">
            <a:off x="7553002" y="548280"/>
            <a:ext cx="1937289" cy="682028"/>
          </a:xfrm>
          <a:prstGeom prst="rect">
            <a:avLst/>
          </a:prstGeom>
        </p:spPr>
        <p:txBody>
          <a:bodyPr wrap="square" lIns="72000" tIns="72000" rIns="72000" bIns="72000" rtlCol="0">
            <a:spAutoFit/>
          </a:bodyPr>
          <a:lstStyle/>
          <a:p>
            <a:pPr algn="l">
              <a:lnSpc>
                <a:spcPct val="120000"/>
              </a:lnSpc>
              <a:spcAft>
                <a:spcPts val="600"/>
              </a:spcAft>
            </a:pPr>
            <a:r>
              <a:rPr lang="fr-FR" sz="3200" b="1" dirty="0">
                <a:solidFill>
                  <a:schemeClr val="bg1"/>
                </a:solidFill>
                <a:latin typeface="Arial" panose="020B0604020202020204" pitchFamily="34" charset="0"/>
                <a:cs typeface="Arial" panose="020B0604020202020204" pitchFamily="34" charset="0"/>
              </a:rPr>
              <a:t>BONUS</a:t>
            </a:r>
          </a:p>
        </p:txBody>
      </p:sp>
      <p:sp>
        <p:nvSpPr>
          <p:cNvPr id="5" name="Rectangle 4">
            <a:extLst>
              <a:ext uri="{FF2B5EF4-FFF2-40B4-BE49-F238E27FC236}">
                <a16:creationId xmlns:a16="http://schemas.microsoft.com/office/drawing/2014/main" id="{772F8633-94D8-4996-A42B-7007AED75599}"/>
              </a:ext>
            </a:extLst>
          </p:cNvPr>
          <p:cNvSpPr/>
          <p:nvPr/>
        </p:nvSpPr>
        <p:spPr>
          <a:xfrm>
            <a:off x="404648" y="808038"/>
            <a:ext cx="7688317" cy="954107"/>
          </a:xfrm>
          <a:prstGeom prst="rect">
            <a:avLst/>
          </a:prstGeom>
        </p:spPr>
        <p:txBody>
          <a:bodyPr wrap="square">
            <a:spAutoFit/>
          </a:bodyPr>
          <a:lstStyle/>
          <a:p>
            <a:endParaRPr lang="en-US" sz="1400" dirty="0"/>
          </a:p>
          <a:p>
            <a:endParaRPr lang="en-US" sz="1400" dirty="0"/>
          </a:p>
          <a:p>
            <a:endParaRPr lang="en-US" sz="1400" dirty="0"/>
          </a:p>
          <a:p>
            <a:endParaRPr lang="en-US" sz="1400" dirty="0"/>
          </a:p>
        </p:txBody>
      </p:sp>
      <p:pic>
        <p:nvPicPr>
          <p:cNvPr id="6" name="Image 5">
            <a:extLst>
              <a:ext uri="{FF2B5EF4-FFF2-40B4-BE49-F238E27FC236}">
                <a16:creationId xmlns:a16="http://schemas.microsoft.com/office/drawing/2014/main" id="{65D28DB0-F2C7-4A00-B95F-5003A3D6C567}"/>
              </a:ext>
            </a:extLst>
          </p:cNvPr>
          <p:cNvPicPr>
            <a:picLocks noChangeAspect="1"/>
          </p:cNvPicPr>
          <p:nvPr/>
        </p:nvPicPr>
        <p:blipFill>
          <a:blip r:embed="rId3"/>
          <a:stretch>
            <a:fillRect/>
          </a:stretch>
        </p:blipFill>
        <p:spPr>
          <a:xfrm>
            <a:off x="138106" y="622135"/>
            <a:ext cx="4110700" cy="1789531"/>
          </a:xfrm>
          <a:prstGeom prst="rect">
            <a:avLst/>
          </a:prstGeom>
        </p:spPr>
      </p:pic>
      <p:sp>
        <p:nvSpPr>
          <p:cNvPr id="13" name="Ellipse 12">
            <a:extLst>
              <a:ext uri="{FF2B5EF4-FFF2-40B4-BE49-F238E27FC236}">
                <a16:creationId xmlns:a16="http://schemas.microsoft.com/office/drawing/2014/main" id="{B5CB287C-4EA3-4BFF-B457-C42809118967}"/>
              </a:ext>
            </a:extLst>
          </p:cNvPr>
          <p:cNvSpPr/>
          <p:nvPr/>
        </p:nvSpPr>
        <p:spPr>
          <a:xfrm>
            <a:off x="2663143" y="1411718"/>
            <a:ext cx="1142796" cy="279654"/>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4" name="Connecteur droit avec flèche 13">
            <a:extLst>
              <a:ext uri="{FF2B5EF4-FFF2-40B4-BE49-F238E27FC236}">
                <a16:creationId xmlns:a16="http://schemas.microsoft.com/office/drawing/2014/main" id="{E7FE7568-A2DD-4AA4-A09E-7AEA28E74BC9}"/>
              </a:ext>
            </a:extLst>
          </p:cNvPr>
          <p:cNvCxnSpPr>
            <a:cxnSpLocks/>
            <a:stCxn id="15" idx="1"/>
          </p:cNvCxnSpPr>
          <p:nvPr/>
        </p:nvCxnSpPr>
        <p:spPr>
          <a:xfrm flipH="1" flipV="1">
            <a:off x="3497262" y="1665929"/>
            <a:ext cx="1109488" cy="1914970"/>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15" name="Ellipse 14">
            <a:extLst>
              <a:ext uri="{FF2B5EF4-FFF2-40B4-BE49-F238E27FC236}">
                <a16:creationId xmlns:a16="http://schemas.microsoft.com/office/drawing/2014/main" id="{27103AB5-0EDD-48DC-9941-70E44511AA29}"/>
              </a:ext>
            </a:extLst>
          </p:cNvPr>
          <p:cNvSpPr/>
          <p:nvPr/>
        </p:nvSpPr>
        <p:spPr>
          <a:xfrm>
            <a:off x="4439391" y="3539945"/>
            <a:ext cx="1142796" cy="279654"/>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84465486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327B900-BE34-4783-B8B6-6A916305AAE6}"/>
              </a:ext>
            </a:extLst>
          </p:cNvPr>
          <p:cNvSpPr>
            <a:spLocks noGrp="1"/>
          </p:cNvSpPr>
          <p:nvPr>
            <p:ph type="title"/>
          </p:nvPr>
        </p:nvSpPr>
        <p:spPr/>
        <p:txBody>
          <a:bodyPr/>
          <a:lstStyle/>
          <a:p>
            <a:r>
              <a:rPr lang="fr-FR" dirty="0"/>
              <a:t>Workshop : </a:t>
            </a:r>
            <a:r>
              <a:rPr lang="fr-FR" dirty="0" err="1"/>
              <a:t>migrate</a:t>
            </a:r>
            <a:r>
              <a:rPr lang="fr-FR" dirty="0"/>
              <a:t> </a:t>
            </a:r>
            <a:r>
              <a:rPr lang="fr-FR" dirty="0" err="1"/>
              <a:t>you</a:t>
            </a:r>
            <a:r>
              <a:rPr lang="fr-FR" dirty="0"/>
              <a:t> bot « </a:t>
            </a:r>
            <a:r>
              <a:rPr lang="fr-FR" dirty="0" err="1"/>
              <a:t>Ordering</a:t>
            </a:r>
            <a:r>
              <a:rPr lang="fr-FR" dirty="0"/>
              <a:t> Pizza » to Google Assistant</a:t>
            </a:r>
          </a:p>
        </p:txBody>
      </p:sp>
      <p:sp>
        <p:nvSpPr>
          <p:cNvPr id="3" name="Text Placeholder 16">
            <a:extLst>
              <a:ext uri="{FF2B5EF4-FFF2-40B4-BE49-F238E27FC236}">
                <a16:creationId xmlns:a16="http://schemas.microsoft.com/office/drawing/2014/main" id="{570B557F-2EBC-4D93-B261-0A2CEFB8576F}"/>
              </a:ext>
            </a:extLst>
          </p:cNvPr>
          <p:cNvSpPr txBox="1">
            <a:spLocks/>
          </p:cNvSpPr>
          <p:nvPr/>
        </p:nvSpPr>
        <p:spPr>
          <a:xfrm>
            <a:off x="288236" y="808037"/>
            <a:ext cx="8185204"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p>
          <a:p>
            <a:pPr marL="285750" indent="-285750">
              <a:buClr>
                <a:schemeClr val="accent2"/>
              </a:buClr>
              <a:buFont typeface="Arial" panose="020B0604020202020204" pitchFamily="34" charset="0"/>
              <a:buChar char="•"/>
            </a:pPr>
            <a:r>
              <a:rPr lang="fr-FR" sz="1400" dirty="0" err="1">
                <a:latin typeface="+mn-lt"/>
              </a:rPr>
              <a:t>Create</a:t>
            </a:r>
            <a:r>
              <a:rPr lang="fr-FR" sz="1400" dirty="0">
                <a:latin typeface="+mn-lt"/>
              </a:rPr>
              <a:t> a new Google Assistant </a:t>
            </a:r>
            <a:r>
              <a:rPr lang="fr-FR" sz="1400" dirty="0" err="1">
                <a:latin typeface="+mn-lt"/>
              </a:rPr>
              <a:t>project</a:t>
            </a:r>
            <a:endParaRPr lang="fr-FR" sz="1400" dirty="0">
              <a:latin typeface="+mn-lt"/>
            </a:endParaRPr>
          </a:p>
          <a:p>
            <a:pPr marL="690563" lvl="1" indent="-285750"/>
            <a:r>
              <a:rPr lang="fr-FR" sz="1400" dirty="0" err="1">
                <a:latin typeface="+mn-lt"/>
              </a:rPr>
              <a:t>With</a:t>
            </a:r>
            <a:r>
              <a:rPr lang="fr-FR" sz="1400" dirty="0">
                <a:latin typeface="+mn-lt"/>
              </a:rPr>
              <a:t> a new </a:t>
            </a:r>
            <a:r>
              <a:rPr lang="fr-FR" sz="1400" dirty="0" err="1">
                <a:latin typeface="+mn-lt"/>
              </a:rPr>
              <a:t>dialofglow</a:t>
            </a:r>
            <a:r>
              <a:rPr lang="fr-FR" sz="1400" dirty="0">
                <a:latin typeface="+mn-lt"/>
              </a:rPr>
              <a:t> custom bot</a:t>
            </a:r>
          </a:p>
          <a:p>
            <a:pPr marL="285750" indent="-285750">
              <a:buClr>
                <a:schemeClr val="accent2"/>
              </a:buClr>
              <a:buFont typeface="Arial" panose="020B0604020202020204" pitchFamily="34" charset="0"/>
              <a:buChar char="•"/>
            </a:pPr>
            <a:r>
              <a:rPr lang="fr-FR" sz="1400" dirty="0">
                <a:latin typeface="+mn-lt"/>
              </a:rPr>
              <a:t>Export </a:t>
            </a:r>
            <a:r>
              <a:rPr lang="fr-FR" sz="1400" dirty="0" err="1">
                <a:latin typeface="+mn-lt"/>
              </a:rPr>
              <a:t>your</a:t>
            </a:r>
            <a:r>
              <a:rPr lang="fr-FR" sz="1400" dirty="0">
                <a:latin typeface="+mn-lt"/>
              </a:rPr>
              <a:t> </a:t>
            </a:r>
            <a:r>
              <a:rPr lang="fr-FR" sz="1400" dirty="0" err="1">
                <a:latin typeface="+mn-lt"/>
              </a:rPr>
              <a:t>existing</a:t>
            </a:r>
            <a:r>
              <a:rPr lang="fr-FR" sz="1400" dirty="0">
                <a:latin typeface="+mn-lt"/>
              </a:rPr>
              <a:t> « </a:t>
            </a:r>
            <a:r>
              <a:rPr lang="fr-FR" sz="1400" dirty="0" err="1">
                <a:latin typeface="+mn-lt"/>
              </a:rPr>
              <a:t>ordering</a:t>
            </a:r>
            <a:r>
              <a:rPr lang="fr-FR" sz="1400" dirty="0">
                <a:latin typeface="+mn-lt"/>
              </a:rPr>
              <a:t> pizza bot » (export as Zip) and import </a:t>
            </a:r>
            <a:r>
              <a:rPr lang="fr-FR" sz="1400" dirty="0" err="1">
                <a:latin typeface="+mn-lt"/>
              </a:rPr>
              <a:t>it</a:t>
            </a:r>
            <a:r>
              <a:rPr lang="fr-FR" sz="1400" dirty="0">
                <a:latin typeface="+mn-lt"/>
              </a:rPr>
              <a:t> in the new </a:t>
            </a:r>
            <a:r>
              <a:rPr lang="fr-FR" sz="1400" dirty="0" err="1">
                <a:latin typeface="+mn-lt"/>
              </a:rPr>
              <a:t>Dialogflow</a:t>
            </a:r>
            <a:r>
              <a:rPr lang="fr-FR" sz="1400" dirty="0">
                <a:latin typeface="+mn-lt"/>
              </a:rPr>
              <a:t> bot</a:t>
            </a:r>
          </a:p>
          <a:p>
            <a:pPr marL="285750" indent="-285750">
              <a:buFont typeface="Arial" panose="020B0604020202020204" pitchFamily="34" charset="0"/>
              <a:buChar char="•"/>
            </a:pPr>
            <a:endParaRPr lang="fr-FR" sz="1600" dirty="0"/>
          </a:p>
          <a:p>
            <a:pPr marL="285750" indent="-285750">
              <a:buFont typeface="Arial" panose="020B0604020202020204" pitchFamily="34" charset="0"/>
              <a:buChar char="•"/>
            </a:pPr>
            <a:endParaRPr lang="fr-FR" sz="1600" dirty="0"/>
          </a:p>
          <a:p>
            <a:pPr marL="285750" indent="-285750">
              <a:buFont typeface="Arial" panose="020B0604020202020204" pitchFamily="34" charset="0"/>
              <a:buChar char="•"/>
            </a:pPr>
            <a:endParaRPr lang="fr-FR" sz="1600" dirty="0"/>
          </a:p>
          <a:p>
            <a:pPr marL="285750" indent="-285750">
              <a:buFont typeface="Arial" panose="020B0604020202020204" pitchFamily="34" charset="0"/>
              <a:buChar char="•"/>
            </a:pPr>
            <a:endParaRPr lang="fr-FR" sz="1600" dirty="0"/>
          </a:p>
          <a:p>
            <a:pPr marL="285750" indent="-285750">
              <a:buFont typeface="Arial" panose="020B0604020202020204" pitchFamily="34" charset="0"/>
              <a:buChar char="•"/>
            </a:pPr>
            <a:endParaRPr lang="fr-FR" sz="1600" dirty="0"/>
          </a:p>
          <a:p>
            <a:pPr marL="285750" indent="-285750">
              <a:buFont typeface="Arial" panose="020B0604020202020204" pitchFamily="34" charset="0"/>
              <a:buChar char="•"/>
            </a:pPr>
            <a:endParaRPr lang="fr-FR" sz="1600" dirty="0"/>
          </a:p>
          <a:p>
            <a:pPr marL="285750" indent="-285750">
              <a:buFont typeface="Arial" panose="020B0604020202020204" pitchFamily="34" charset="0"/>
              <a:buChar char="•"/>
            </a:pPr>
            <a:endParaRPr lang="fr-FR" sz="1600" dirty="0"/>
          </a:p>
          <a:p>
            <a:pPr marL="285750" indent="-285750">
              <a:buClr>
                <a:schemeClr val="accent2"/>
              </a:buClr>
              <a:buFont typeface="Arial" panose="020B0604020202020204" pitchFamily="34" charset="0"/>
              <a:buChar char="•"/>
            </a:pPr>
            <a:r>
              <a:rPr lang="fr-FR" sz="1400" dirty="0"/>
              <a:t>Test </a:t>
            </a:r>
            <a:r>
              <a:rPr lang="fr-FR" sz="1400" dirty="0" err="1"/>
              <a:t>it</a:t>
            </a:r>
            <a:r>
              <a:rPr lang="fr-FR" sz="1400" dirty="0"/>
              <a:t>, </a:t>
            </a:r>
            <a:r>
              <a:rPr lang="fr-FR" sz="1400" dirty="0" err="1"/>
              <a:t>with</a:t>
            </a:r>
            <a:r>
              <a:rPr lang="fr-FR" sz="1400" dirty="0"/>
              <a:t> the simulator (and </a:t>
            </a:r>
            <a:r>
              <a:rPr lang="fr-FR" sz="1400" dirty="0" err="1"/>
              <a:t>with</a:t>
            </a:r>
            <a:r>
              <a:rPr lang="fr-FR" sz="1400" dirty="0"/>
              <a:t> </a:t>
            </a:r>
            <a:r>
              <a:rPr lang="fr-FR" sz="1400" dirty="0" err="1"/>
              <a:t>your</a:t>
            </a:r>
            <a:r>
              <a:rPr lang="fr-FR" sz="1400" dirty="0"/>
              <a:t> Google Assistant)</a:t>
            </a:r>
          </a:p>
          <a:p>
            <a:pPr marL="285750" indent="-285750">
              <a:buFont typeface="Arial" panose="020B0604020202020204" pitchFamily="34" charset="0"/>
              <a:buChar char="•"/>
            </a:pPr>
            <a:endParaRPr lang="fr-FR" sz="1600" dirty="0"/>
          </a:p>
          <a:p>
            <a:pPr marL="285750" indent="-285750">
              <a:buFont typeface="Arial" panose="020B0604020202020204" pitchFamily="34" charset="0"/>
              <a:buChar char="•"/>
            </a:pPr>
            <a:endParaRPr lang="fr-FR" sz="1600" dirty="0"/>
          </a:p>
          <a:p>
            <a:pPr marL="285750" indent="-285750"/>
            <a:endParaRPr lang="fr-FR" sz="1600" dirty="0"/>
          </a:p>
          <a:p>
            <a:pPr marL="285750" indent="-285750">
              <a:buFont typeface="Arial" panose="020B0604020202020204" pitchFamily="34" charset="0"/>
              <a:buChar char="•"/>
            </a:pPr>
            <a:endParaRPr lang="fr-FR" sz="1300" dirty="0"/>
          </a:p>
          <a:p>
            <a:pPr marL="690563" lvl="1" indent="-285750"/>
            <a:endParaRPr lang="fr-FR" sz="1450" dirty="0"/>
          </a:p>
          <a:p>
            <a:pPr marL="285750" indent="-285750">
              <a:buFont typeface="Arial" panose="020B0604020202020204" pitchFamily="34" charset="0"/>
              <a:buChar char="•"/>
            </a:pPr>
            <a:endParaRPr lang="fr-FR" sz="1600" dirty="0"/>
          </a:p>
          <a:p>
            <a:endParaRPr lang="en-US" dirty="0"/>
          </a:p>
        </p:txBody>
      </p:sp>
      <p:pic>
        <p:nvPicPr>
          <p:cNvPr id="4" name="Image 3">
            <a:extLst>
              <a:ext uri="{FF2B5EF4-FFF2-40B4-BE49-F238E27FC236}">
                <a16:creationId xmlns:a16="http://schemas.microsoft.com/office/drawing/2014/main" id="{6DE30422-7865-4734-BE54-C603DFE9286D}"/>
              </a:ext>
            </a:extLst>
          </p:cNvPr>
          <p:cNvPicPr>
            <a:picLocks noChangeAspect="1"/>
          </p:cNvPicPr>
          <p:nvPr/>
        </p:nvPicPr>
        <p:blipFill>
          <a:blip r:embed="rId2"/>
          <a:stretch>
            <a:fillRect/>
          </a:stretch>
        </p:blipFill>
        <p:spPr>
          <a:xfrm>
            <a:off x="1392382" y="2421075"/>
            <a:ext cx="6131922" cy="1813667"/>
          </a:xfrm>
          <a:prstGeom prst="rect">
            <a:avLst/>
          </a:prstGeom>
        </p:spPr>
      </p:pic>
      <p:sp>
        <p:nvSpPr>
          <p:cNvPr id="5" name="Bande diagonale 4">
            <a:extLst>
              <a:ext uri="{FF2B5EF4-FFF2-40B4-BE49-F238E27FC236}">
                <a16:creationId xmlns:a16="http://schemas.microsoft.com/office/drawing/2014/main" id="{B2B85C30-B03E-490C-8995-0380E5353629}"/>
              </a:ext>
            </a:extLst>
          </p:cNvPr>
          <p:cNvSpPr/>
          <p:nvPr/>
        </p:nvSpPr>
        <p:spPr>
          <a:xfrm rot="5400000">
            <a:off x="7236889" y="7316"/>
            <a:ext cx="1908000" cy="1906223"/>
          </a:xfrm>
          <a:prstGeom prst="diagStripe">
            <a:avLst>
              <a:gd name="adj" fmla="val 6268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6" name="ZoneTexte 5">
            <a:extLst>
              <a:ext uri="{FF2B5EF4-FFF2-40B4-BE49-F238E27FC236}">
                <a16:creationId xmlns:a16="http://schemas.microsoft.com/office/drawing/2014/main" id="{D96CA7D7-9941-42C1-9D6C-BB45F2206781}"/>
              </a:ext>
            </a:extLst>
          </p:cNvPr>
          <p:cNvSpPr txBox="1"/>
          <p:nvPr/>
        </p:nvSpPr>
        <p:spPr>
          <a:xfrm rot="2735380">
            <a:off x="7539304" y="534466"/>
            <a:ext cx="1712736" cy="480819"/>
          </a:xfrm>
          <a:prstGeom prst="rect">
            <a:avLst/>
          </a:prstGeom>
        </p:spPr>
        <p:txBody>
          <a:bodyPr wrap="square" lIns="72000" tIns="72000" rIns="72000" bIns="72000" rtlCol="0">
            <a:spAutoFit/>
          </a:bodyPr>
          <a:lstStyle/>
          <a:p>
            <a:pPr algn="ctr">
              <a:lnSpc>
                <a:spcPct val="120000"/>
              </a:lnSpc>
              <a:spcAft>
                <a:spcPts val="600"/>
              </a:spcAft>
            </a:pPr>
            <a:r>
              <a:rPr lang="fr-FR" sz="2000" b="1" dirty="0">
                <a:solidFill>
                  <a:schemeClr val="bg1"/>
                </a:solidFill>
                <a:latin typeface="Arial" panose="020B0604020202020204" pitchFamily="34" charset="0"/>
                <a:cs typeface="Arial" panose="020B0604020202020204" pitchFamily="34" charset="0"/>
              </a:rPr>
              <a:t>WORKSHOP</a:t>
            </a:r>
          </a:p>
        </p:txBody>
      </p:sp>
    </p:spTree>
    <p:extLst>
      <p:ext uri="{BB962C8B-B14F-4D97-AF65-F5344CB8AC3E}">
        <p14:creationId xmlns:p14="http://schemas.microsoft.com/office/powerpoint/2010/main" val="822298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85C5860-DF16-4564-AC2E-EA3111857BF2}"/>
              </a:ext>
            </a:extLst>
          </p:cNvPr>
          <p:cNvSpPr>
            <a:spLocks noGrp="1"/>
          </p:cNvSpPr>
          <p:nvPr>
            <p:ph type="title"/>
          </p:nvPr>
        </p:nvSpPr>
        <p:spPr/>
        <p:txBody>
          <a:bodyPr/>
          <a:lstStyle/>
          <a:p>
            <a:r>
              <a:rPr lang="fr-FR" dirty="0" err="1"/>
              <a:t>Dialogflow</a:t>
            </a:r>
            <a:r>
              <a:rPr lang="fr-FR" dirty="0"/>
              <a:t> </a:t>
            </a:r>
            <a:r>
              <a:rPr lang="fr-FR" dirty="0" err="1"/>
              <a:t>is</a:t>
            </a:r>
            <a:r>
              <a:rPr lang="fr-FR" dirty="0"/>
              <a:t> not </a:t>
            </a:r>
            <a:r>
              <a:rPr lang="fr-FR" dirty="0" err="1"/>
              <a:t>only</a:t>
            </a:r>
            <a:r>
              <a:rPr lang="fr-FR" dirty="0"/>
              <a:t> for Google Home</a:t>
            </a:r>
          </a:p>
        </p:txBody>
      </p:sp>
      <p:cxnSp>
        <p:nvCxnSpPr>
          <p:cNvPr id="5" name="Connecteur droit avec flèche 4">
            <a:extLst>
              <a:ext uri="{FF2B5EF4-FFF2-40B4-BE49-F238E27FC236}">
                <a16:creationId xmlns:a16="http://schemas.microsoft.com/office/drawing/2014/main" id="{24D296A0-A207-4E24-9FB6-3B0E67556E2F}"/>
              </a:ext>
            </a:extLst>
          </p:cNvPr>
          <p:cNvCxnSpPr/>
          <p:nvPr/>
        </p:nvCxnSpPr>
        <p:spPr>
          <a:xfrm>
            <a:off x="3285669" y="2761522"/>
            <a:ext cx="480324" cy="0"/>
          </a:xfrm>
          <a:prstGeom prst="straightConnector1">
            <a:avLst/>
          </a:prstGeom>
          <a:noFill/>
          <a:ln w="38100" cap="flat" cmpd="sng" algn="ctr">
            <a:solidFill>
              <a:schemeClr val="accent2"/>
            </a:solidFill>
            <a:prstDash val="solid"/>
            <a:miter lim="800000"/>
            <a:headEnd type="triangle"/>
            <a:tailEnd type="triangle"/>
          </a:ln>
          <a:effectLst/>
        </p:spPr>
      </p:cxnSp>
      <p:sp>
        <p:nvSpPr>
          <p:cNvPr id="6" name="Accolade ouvrante 5">
            <a:extLst>
              <a:ext uri="{FF2B5EF4-FFF2-40B4-BE49-F238E27FC236}">
                <a16:creationId xmlns:a16="http://schemas.microsoft.com/office/drawing/2014/main" id="{2976A67A-C4BD-450B-A4D9-A6CA58B1DED4}"/>
              </a:ext>
            </a:extLst>
          </p:cNvPr>
          <p:cNvSpPr/>
          <p:nvPr/>
        </p:nvSpPr>
        <p:spPr>
          <a:xfrm>
            <a:off x="3920228" y="608572"/>
            <a:ext cx="212480" cy="4306387"/>
          </a:xfrm>
          <a:prstGeom prst="leftBrace">
            <a:avLst/>
          </a:prstGeom>
          <a:noFill/>
          <a:ln w="15875"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36" name="Graphique 35">
            <a:extLst>
              <a:ext uri="{FF2B5EF4-FFF2-40B4-BE49-F238E27FC236}">
                <a16:creationId xmlns:a16="http://schemas.microsoft.com/office/drawing/2014/main" id="{8A089572-BAF9-4FD3-86DE-BEEC6E833E8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0485" y="2475772"/>
            <a:ext cx="2155549" cy="571500"/>
          </a:xfrm>
          <a:prstGeom prst="rect">
            <a:avLst/>
          </a:prstGeom>
        </p:spPr>
      </p:pic>
      <p:pic>
        <p:nvPicPr>
          <p:cNvPr id="3" name="Image 2">
            <a:extLst>
              <a:ext uri="{FF2B5EF4-FFF2-40B4-BE49-F238E27FC236}">
                <a16:creationId xmlns:a16="http://schemas.microsoft.com/office/drawing/2014/main" id="{362D3652-04DC-4630-AD22-0B24B236EDD7}"/>
              </a:ext>
            </a:extLst>
          </p:cNvPr>
          <p:cNvPicPr>
            <a:picLocks noChangeAspect="1"/>
          </p:cNvPicPr>
          <p:nvPr/>
        </p:nvPicPr>
        <p:blipFill>
          <a:blip r:embed="rId5"/>
          <a:stretch>
            <a:fillRect/>
          </a:stretch>
        </p:blipFill>
        <p:spPr>
          <a:xfrm>
            <a:off x="4286943" y="583477"/>
            <a:ext cx="4271841" cy="4331482"/>
          </a:xfrm>
          <a:prstGeom prst="rect">
            <a:avLst/>
          </a:prstGeom>
        </p:spPr>
      </p:pic>
    </p:spTree>
    <p:extLst>
      <p:ext uri="{BB962C8B-B14F-4D97-AF65-F5344CB8AC3E}">
        <p14:creationId xmlns:p14="http://schemas.microsoft.com/office/powerpoint/2010/main" val="306862889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llipse 5">
            <a:extLst>
              <a:ext uri="{FF2B5EF4-FFF2-40B4-BE49-F238E27FC236}">
                <a16:creationId xmlns:a16="http://schemas.microsoft.com/office/drawing/2014/main" id="{0C04EDAC-5594-49D9-A348-ADF93F2EC4EE}"/>
              </a:ext>
            </a:extLst>
          </p:cNvPr>
          <p:cNvSpPr/>
          <p:nvPr/>
        </p:nvSpPr>
        <p:spPr>
          <a:xfrm>
            <a:off x="3418087" y="1021162"/>
            <a:ext cx="5311361" cy="5254433"/>
          </a:xfrm>
          <a:prstGeom prst="ellipse">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A58C9069-A253-0946-846F-2D00A4204D95}"/>
              </a:ext>
            </a:extLst>
          </p:cNvPr>
          <p:cNvSpPr>
            <a:spLocks noGrp="1"/>
          </p:cNvSpPr>
          <p:nvPr>
            <p:ph type="title"/>
          </p:nvPr>
        </p:nvSpPr>
        <p:spPr/>
        <p:txBody>
          <a:bodyPr/>
          <a:lstStyle/>
          <a:p>
            <a:r>
              <a:rPr lang="en-US" dirty="0" err="1"/>
              <a:t>Dialogflow</a:t>
            </a:r>
            <a:br>
              <a:rPr lang="en-US" dirty="0"/>
            </a:br>
            <a:r>
              <a:rPr lang="en-US" dirty="0"/>
              <a:t>Training</a:t>
            </a:r>
          </a:p>
        </p:txBody>
      </p:sp>
      <p:sp>
        <p:nvSpPr>
          <p:cNvPr id="3" name="Text Placeholder 2">
            <a:extLst>
              <a:ext uri="{FF2B5EF4-FFF2-40B4-BE49-F238E27FC236}">
                <a16:creationId xmlns:a16="http://schemas.microsoft.com/office/drawing/2014/main" id="{F52F02E1-A4DC-B244-BCC1-26DDC889B5C3}"/>
              </a:ext>
            </a:extLst>
          </p:cNvPr>
          <p:cNvSpPr>
            <a:spLocks noGrp="1"/>
          </p:cNvSpPr>
          <p:nvPr>
            <p:ph type="body" sz="quarter" idx="10"/>
          </p:nvPr>
        </p:nvSpPr>
        <p:spPr/>
        <p:txBody>
          <a:bodyPr/>
          <a:lstStyle/>
          <a:p>
            <a:r>
              <a:rPr lang="en-US" dirty="0"/>
              <a:t>Module 6 : Tuning and Learning</a:t>
            </a:r>
          </a:p>
        </p:txBody>
      </p:sp>
      <p:sp>
        <p:nvSpPr>
          <p:cNvPr id="7" name="Freeform 1">
            <a:extLst>
              <a:ext uri="{FF2B5EF4-FFF2-40B4-BE49-F238E27FC236}">
                <a16:creationId xmlns:a16="http://schemas.microsoft.com/office/drawing/2014/main" id="{C009C2CB-0D45-244B-8254-95D0D9E3683C}"/>
              </a:ext>
            </a:extLst>
          </p:cNvPr>
          <p:cNvSpPr>
            <a:spLocks noChangeArrowheads="1"/>
          </p:cNvSpPr>
          <p:nvPr/>
        </p:nvSpPr>
        <p:spPr bwMode="auto">
          <a:xfrm>
            <a:off x="6799803" y="0"/>
            <a:ext cx="2747583" cy="2612551"/>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1684503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4F11244-DE4F-486B-B4A4-A944036F1034}"/>
              </a:ext>
            </a:extLst>
          </p:cNvPr>
          <p:cNvSpPr>
            <a:spLocks noGrp="1"/>
          </p:cNvSpPr>
          <p:nvPr>
            <p:ph type="title"/>
          </p:nvPr>
        </p:nvSpPr>
        <p:spPr/>
        <p:txBody>
          <a:bodyPr/>
          <a:lstStyle/>
          <a:p>
            <a:r>
              <a:rPr lang="fr-FR" dirty="0"/>
              <a:t>How DF </a:t>
            </a:r>
            <a:r>
              <a:rPr lang="fr-FR" dirty="0" err="1"/>
              <a:t>computes</a:t>
            </a:r>
            <a:r>
              <a:rPr lang="fr-FR" dirty="0"/>
              <a:t> a classification</a:t>
            </a:r>
          </a:p>
        </p:txBody>
      </p:sp>
      <p:sp>
        <p:nvSpPr>
          <p:cNvPr id="24" name="Rectangle 23">
            <a:extLst>
              <a:ext uri="{FF2B5EF4-FFF2-40B4-BE49-F238E27FC236}">
                <a16:creationId xmlns:a16="http://schemas.microsoft.com/office/drawing/2014/main" id="{A7D8670F-9EBE-4CEE-B685-899DB85E5245}"/>
              </a:ext>
            </a:extLst>
          </p:cNvPr>
          <p:cNvSpPr/>
          <p:nvPr/>
        </p:nvSpPr>
        <p:spPr>
          <a:xfrm>
            <a:off x="177363" y="2476063"/>
            <a:ext cx="1187866" cy="598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1350" b="0" i="0" u="none" strike="noStrike" kern="1200" cap="none" spc="0" normalizeH="0" baseline="0" noProof="0" dirty="0">
                <a:ln>
                  <a:noFill/>
                </a:ln>
                <a:solidFill>
                  <a:srgbClr val="FFFFFF"/>
                </a:solidFill>
                <a:effectLst/>
                <a:uLnTx/>
                <a:uFillTx/>
                <a:latin typeface="Verdana"/>
                <a:ea typeface="+mn-ea"/>
                <a:cs typeface="+mn-cs"/>
              </a:rPr>
              <a:t>« How </a:t>
            </a:r>
            <a:r>
              <a:rPr kumimoji="0" lang="fr-FR" sz="1350" b="0" i="0" u="none" strike="noStrike" kern="1200" cap="none" spc="0" normalizeH="0" baseline="0" noProof="0" dirty="0" err="1">
                <a:ln>
                  <a:noFill/>
                </a:ln>
                <a:solidFill>
                  <a:srgbClr val="FFFFFF"/>
                </a:solidFill>
                <a:effectLst/>
                <a:uLnTx/>
                <a:uFillTx/>
                <a:latin typeface="Verdana"/>
                <a:ea typeface="+mn-ea"/>
                <a:cs typeface="+mn-cs"/>
              </a:rPr>
              <a:t>old</a:t>
            </a:r>
            <a:r>
              <a:rPr kumimoji="0" lang="fr-FR" sz="1350" b="0" i="0" u="none" strike="noStrike" kern="1200" cap="none" spc="0" normalizeH="0" baseline="0" noProof="0" dirty="0">
                <a:ln>
                  <a:noFill/>
                </a:ln>
                <a:solidFill>
                  <a:srgbClr val="FFFFFF"/>
                </a:solidFill>
                <a:effectLst/>
                <a:uLnTx/>
                <a:uFillTx/>
                <a:latin typeface="Verdana"/>
                <a:ea typeface="+mn-ea"/>
                <a:cs typeface="+mn-cs"/>
              </a:rPr>
              <a:t> are </a:t>
            </a:r>
            <a:r>
              <a:rPr kumimoji="0" lang="fr-FR" sz="1350" b="0" i="0" u="none" strike="noStrike" kern="1200" cap="none" spc="0" normalizeH="0" baseline="0" noProof="0" dirty="0" err="1">
                <a:ln>
                  <a:noFill/>
                </a:ln>
                <a:solidFill>
                  <a:srgbClr val="FFFFFF"/>
                </a:solidFill>
                <a:effectLst/>
                <a:uLnTx/>
                <a:uFillTx/>
                <a:latin typeface="Verdana"/>
                <a:ea typeface="+mn-ea"/>
                <a:cs typeface="+mn-cs"/>
              </a:rPr>
              <a:t>you</a:t>
            </a:r>
            <a:r>
              <a:rPr kumimoji="0" lang="fr-FR" sz="1350" b="0" i="0" u="none" strike="noStrike" kern="1200" cap="none" spc="0" normalizeH="0" baseline="0" noProof="0" dirty="0">
                <a:ln>
                  <a:noFill/>
                </a:ln>
                <a:solidFill>
                  <a:srgbClr val="FFFFFF"/>
                </a:solidFill>
                <a:effectLst/>
                <a:uLnTx/>
                <a:uFillTx/>
                <a:latin typeface="Verdana"/>
                <a:ea typeface="+mn-ea"/>
                <a:cs typeface="+mn-cs"/>
              </a:rPr>
              <a:t>? »</a:t>
            </a:r>
          </a:p>
        </p:txBody>
      </p:sp>
      <p:sp>
        <p:nvSpPr>
          <p:cNvPr id="27" name="Rectangle 26">
            <a:extLst>
              <a:ext uri="{FF2B5EF4-FFF2-40B4-BE49-F238E27FC236}">
                <a16:creationId xmlns:a16="http://schemas.microsoft.com/office/drawing/2014/main" id="{44B56680-2262-4209-B6EB-7DDBC9F19CB6}"/>
              </a:ext>
            </a:extLst>
          </p:cNvPr>
          <p:cNvSpPr/>
          <p:nvPr/>
        </p:nvSpPr>
        <p:spPr>
          <a:xfrm>
            <a:off x="1913725" y="2476063"/>
            <a:ext cx="1438598" cy="598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rgbClr val="FFFFFF"/>
                </a:solidFill>
                <a:latin typeface="Verdana"/>
              </a:rPr>
              <a:t>Sentence Encoder</a:t>
            </a:r>
          </a:p>
        </p:txBody>
      </p:sp>
      <p:sp>
        <p:nvSpPr>
          <p:cNvPr id="20" name="Rectangle 19">
            <a:extLst>
              <a:ext uri="{FF2B5EF4-FFF2-40B4-BE49-F238E27FC236}">
                <a16:creationId xmlns:a16="http://schemas.microsoft.com/office/drawing/2014/main" id="{47E33C81-41D2-4C6E-9744-501ACBEE3F47}"/>
              </a:ext>
            </a:extLst>
          </p:cNvPr>
          <p:cNvSpPr/>
          <p:nvPr/>
        </p:nvSpPr>
        <p:spPr>
          <a:xfrm>
            <a:off x="7616635" y="2476059"/>
            <a:ext cx="1332910" cy="598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1350" b="0" i="0" u="none" strike="noStrike" kern="1200" cap="none" spc="0" normalizeH="0" baseline="0" noProof="0" dirty="0">
                <a:ln>
                  <a:noFill/>
                </a:ln>
                <a:solidFill>
                  <a:srgbClr val="FFFFFF"/>
                </a:solidFill>
                <a:effectLst/>
                <a:uLnTx/>
                <a:uFillTx/>
                <a:latin typeface="Verdana"/>
                <a:ea typeface="+mn-ea"/>
                <a:cs typeface="+mn-cs"/>
              </a:rPr>
              <a:t>«HOW_OLD»</a:t>
            </a:r>
          </a:p>
        </p:txBody>
      </p:sp>
      <p:cxnSp>
        <p:nvCxnSpPr>
          <p:cNvPr id="21" name="Connecteur droit avec flèche 20">
            <a:extLst>
              <a:ext uri="{FF2B5EF4-FFF2-40B4-BE49-F238E27FC236}">
                <a16:creationId xmlns:a16="http://schemas.microsoft.com/office/drawing/2014/main" id="{9FAF8F05-A21E-49B8-A74B-FB0B597988C4}"/>
              </a:ext>
            </a:extLst>
          </p:cNvPr>
          <p:cNvCxnSpPr>
            <a:cxnSpLocks/>
            <a:stCxn id="33" idx="3"/>
          </p:cNvCxnSpPr>
          <p:nvPr/>
        </p:nvCxnSpPr>
        <p:spPr>
          <a:xfrm flipV="1">
            <a:off x="6201914" y="2775081"/>
            <a:ext cx="1414721" cy="4"/>
          </a:xfrm>
          <a:prstGeom prst="straightConnector1">
            <a:avLst/>
          </a:prstGeom>
          <a:ln w="254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31" name="Image 30">
            <a:extLst>
              <a:ext uri="{FF2B5EF4-FFF2-40B4-BE49-F238E27FC236}">
                <a16:creationId xmlns:a16="http://schemas.microsoft.com/office/drawing/2014/main" id="{E5EBE4AE-2325-44AE-B457-8472BDD6FC09}"/>
              </a:ext>
            </a:extLst>
          </p:cNvPr>
          <p:cNvPicPr>
            <a:picLocks noChangeAspect="1"/>
          </p:cNvPicPr>
          <p:nvPr/>
        </p:nvPicPr>
        <p:blipFill>
          <a:blip r:embed="rId2"/>
          <a:stretch>
            <a:fillRect/>
          </a:stretch>
        </p:blipFill>
        <p:spPr>
          <a:xfrm>
            <a:off x="2141766" y="3156505"/>
            <a:ext cx="957746" cy="730792"/>
          </a:xfrm>
          <a:prstGeom prst="rect">
            <a:avLst/>
          </a:prstGeom>
        </p:spPr>
      </p:pic>
      <p:sp>
        <p:nvSpPr>
          <p:cNvPr id="33" name="Rectangle 32">
            <a:extLst>
              <a:ext uri="{FF2B5EF4-FFF2-40B4-BE49-F238E27FC236}">
                <a16:creationId xmlns:a16="http://schemas.microsoft.com/office/drawing/2014/main" id="{37A6BBFC-E5C7-4234-A369-BA5D51628457}"/>
              </a:ext>
            </a:extLst>
          </p:cNvPr>
          <p:cNvSpPr/>
          <p:nvPr/>
        </p:nvSpPr>
        <p:spPr>
          <a:xfrm>
            <a:off x="4763316" y="2476065"/>
            <a:ext cx="1438598" cy="598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rgbClr val="FFFFFF"/>
                </a:solidFill>
                <a:latin typeface="Verdana"/>
              </a:rPr>
              <a:t>Classifier</a:t>
            </a:r>
          </a:p>
        </p:txBody>
      </p:sp>
      <p:cxnSp>
        <p:nvCxnSpPr>
          <p:cNvPr id="34" name="Connecteur droit avec flèche 33">
            <a:extLst>
              <a:ext uri="{FF2B5EF4-FFF2-40B4-BE49-F238E27FC236}">
                <a16:creationId xmlns:a16="http://schemas.microsoft.com/office/drawing/2014/main" id="{CADBCED2-9E65-4A25-8AB8-10274118705E}"/>
              </a:ext>
            </a:extLst>
          </p:cNvPr>
          <p:cNvCxnSpPr>
            <a:cxnSpLocks/>
          </p:cNvCxnSpPr>
          <p:nvPr/>
        </p:nvCxnSpPr>
        <p:spPr>
          <a:xfrm>
            <a:off x="3337646" y="2775085"/>
            <a:ext cx="1362543" cy="0"/>
          </a:xfrm>
          <a:prstGeom prst="straightConnector1">
            <a:avLst/>
          </a:prstGeom>
          <a:ln w="254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35" name="Image 34">
            <a:extLst>
              <a:ext uri="{FF2B5EF4-FFF2-40B4-BE49-F238E27FC236}">
                <a16:creationId xmlns:a16="http://schemas.microsoft.com/office/drawing/2014/main" id="{DEBA80B3-70A3-4B41-8942-B7F2FEA02542}"/>
              </a:ext>
            </a:extLst>
          </p:cNvPr>
          <p:cNvPicPr>
            <a:picLocks noChangeAspect="1"/>
          </p:cNvPicPr>
          <p:nvPr/>
        </p:nvPicPr>
        <p:blipFill>
          <a:blip r:embed="rId2"/>
          <a:stretch>
            <a:fillRect/>
          </a:stretch>
        </p:blipFill>
        <p:spPr>
          <a:xfrm>
            <a:off x="5003742" y="3156507"/>
            <a:ext cx="957746" cy="730792"/>
          </a:xfrm>
          <a:prstGeom prst="rect">
            <a:avLst/>
          </a:prstGeom>
        </p:spPr>
      </p:pic>
      <p:cxnSp>
        <p:nvCxnSpPr>
          <p:cNvPr id="37" name="Connecteur droit avec flèche 36">
            <a:extLst>
              <a:ext uri="{FF2B5EF4-FFF2-40B4-BE49-F238E27FC236}">
                <a16:creationId xmlns:a16="http://schemas.microsoft.com/office/drawing/2014/main" id="{81C828D3-8F7F-44AB-96BC-6CE92DBE02F5}"/>
              </a:ext>
            </a:extLst>
          </p:cNvPr>
          <p:cNvCxnSpPr>
            <a:cxnSpLocks/>
          </p:cNvCxnSpPr>
          <p:nvPr/>
        </p:nvCxnSpPr>
        <p:spPr>
          <a:xfrm>
            <a:off x="1365229" y="2756137"/>
            <a:ext cx="548496" cy="0"/>
          </a:xfrm>
          <a:prstGeom prst="straightConnector1">
            <a:avLst/>
          </a:prstGeom>
          <a:ln w="254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A8F5E02A-B533-4CAA-8EE2-49F11757060E}"/>
              </a:ext>
            </a:extLst>
          </p:cNvPr>
          <p:cNvSpPr/>
          <p:nvPr/>
        </p:nvSpPr>
        <p:spPr>
          <a:xfrm>
            <a:off x="3337646" y="2486789"/>
            <a:ext cx="2012535" cy="230832"/>
          </a:xfrm>
          <a:prstGeom prst="rect">
            <a:avLst/>
          </a:prstGeom>
        </p:spPr>
        <p:txBody>
          <a:bodyPr wrap="square">
            <a:spAutoFit/>
          </a:bodyPr>
          <a:lstStyle/>
          <a:p>
            <a:r>
              <a:rPr lang="en-US" sz="900" b="1" dirty="0"/>
              <a:t>[0.3, -0.2, 0.08 …]</a:t>
            </a:r>
            <a:endParaRPr lang="fr-FR" sz="900" b="1" dirty="0"/>
          </a:p>
        </p:txBody>
      </p:sp>
      <p:sp>
        <p:nvSpPr>
          <p:cNvPr id="8" name="Rectangle 7">
            <a:extLst>
              <a:ext uri="{FF2B5EF4-FFF2-40B4-BE49-F238E27FC236}">
                <a16:creationId xmlns:a16="http://schemas.microsoft.com/office/drawing/2014/main" id="{3AEECC38-3671-4910-BA2F-FDC83739A0AB}"/>
              </a:ext>
            </a:extLst>
          </p:cNvPr>
          <p:cNvSpPr/>
          <p:nvPr/>
        </p:nvSpPr>
        <p:spPr>
          <a:xfrm>
            <a:off x="1611464" y="3955531"/>
            <a:ext cx="2043120" cy="1131079"/>
          </a:xfrm>
          <a:prstGeom prst="rect">
            <a:avLst/>
          </a:prstGeom>
        </p:spPr>
        <p:txBody>
          <a:bodyPr wrap="square">
            <a:spAutoFit/>
          </a:bodyPr>
          <a:lstStyle/>
          <a:p>
            <a:pPr algn="ctr"/>
            <a:r>
              <a:rPr lang="fr-FR" dirty="0"/>
              <a:t>The Universal Sentence Encoder encodes </a:t>
            </a:r>
            <a:r>
              <a:rPr lang="fr-FR" dirty="0" err="1"/>
              <a:t>text</a:t>
            </a:r>
            <a:r>
              <a:rPr lang="fr-FR" dirty="0"/>
              <a:t> </a:t>
            </a:r>
            <a:r>
              <a:rPr lang="fr-FR" dirty="0" err="1"/>
              <a:t>into</a:t>
            </a:r>
            <a:r>
              <a:rPr lang="fr-FR" dirty="0"/>
              <a:t> high-</a:t>
            </a:r>
            <a:r>
              <a:rPr lang="fr-FR" dirty="0" err="1"/>
              <a:t>dimensional</a:t>
            </a:r>
            <a:r>
              <a:rPr lang="fr-FR" dirty="0"/>
              <a:t> </a:t>
            </a:r>
            <a:r>
              <a:rPr lang="fr-FR" dirty="0" err="1"/>
              <a:t>vectors</a:t>
            </a:r>
            <a:r>
              <a:rPr lang="fr-FR" dirty="0"/>
              <a:t> </a:t>
            </a:r>
          </a:p>
        </p:txBody>
      </p:sp>
      <p:sp>
        <p:nvSpPr>
          <p:cNvPr id="39" name="Rectangle 38">
            <a:extLst>
              <a:ext uri="{FF2B5EF4-FFF2-40B4-BE49-F238E27FC236}">
                <a16:creationId xmlns:a16="http://schemas.microsoft.com/office/drawing/2014/main" id="{BB61492D-B7D8-40F3-9E40-E3799CE6133A}"/>
              </a:ext>
            </a:extLst>
          </p:cNvPr>
          <p:cNvSpPr/>
          <p:nvPr/>
        </p:nvSpPr>
        <p:spPr>
          <a:xfrm>
            <a:off x="2997357" y="1565983"/>
            <a:ext cx="2043120" cy="507831"/>
          </a:xfrm>
          <a:prstGeom prst="rect">
            <a:avLst/>
          </a:prstGeom>
        </p:spPr>
        <p:txBody>
          <a:bodyPr wrap="square">
            <a:spAutoFit/>
          </a:bodyPr>
          <a:lstStyle/>
          <a:p>
            <a:pPr algn="ctr"/>
            <a:r>
              <a:rPr lang="fr-FR" dirty="0"/>
              <a:t>512 </a:t>
            </a:r>
            <a:r>
              <a:rPr lang="fr-FR" dirty="0" err="1"/>
              <a:t>dimensional</a:t>
            </a:r>
            <a:r>
              <a:rPr lang="fr-FR" dirty="0"/>
              <a:t> </a:t>
            </a:r>
            <a:r>
              <a:rPr lang="fr-FR" dirty="0" err="1"/>
              <a:t>vector</a:t>
            </a:r>
            <a:endParaRPr lang="fr-FR" dirty="0"/>
          </a:p>
        </p:txBody>
      </p:sp>
      <p:cxnSp>
        <p:nvCxnSpPr>
          <p:cNvPr id="40" name="Connecteur droit avec flèche 39">
            <a:extLst>
              <a:ext uri="{FF2B5EF4-FFF2-40B4-BE49-F238E27FC236}">
                <a16:creationId xmlns:a16="http://schemas.microsoft.com/office/drawing/2014/main" id="{629974E7-6D95-4D7E-91AE-1E4020B6208B}"/>
              </a:ext>
            </a:extLst>
          </p:cNvPr>
          <p:cNvCxnSpPr>
            <a:cxnSpLocks/>
          </p:cNvCxnSpPr>
          <p:nvPr/>
        </p:nvCxnSpPr>
        <p:spPr>
          <a:xfrm>
            <a:off x="4036009" y="2059536"/>
            <a:ext cx="0" cy="298661"/>
          </a:xfrm>
          <a:prstGeom prst="straightConnector1">
            <a:avLst/>
          </a:prstGeom>
          <a:ln w="254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61E72CB6-B276-45B2-A99D-11898D4126C1}"/>
              </a:ext>
            </a:extLst>
          </p:cNvPr>
          <p:cNvSpPr/>
          <p:nvPr/>
        </p:nvSpPr>
        <p:spPr>
          <a:xfrm>
            <a:off x="4461055" y="3955531"/>
            <a:ext cx="2043120" cy="923330"/>
          </a:xfrm>
          <a:prstGeom prst="rect">
            <a:avLst/>
          </a:prstGeom>
        </p:spPr>
        <p:txBody>
          <a:bodyPr wrap="square">
            <a:spAutoFit/>
          </a:bodyPr>
          <a:lstStyle/>
          <a:p>
            <a:pPr algn="ctr"/>
            <a:r>
              <a:rPr lang="en-US" dirty="0"/>
              <a:t>Utilizes some training data (intents / corpus) to classify given input variables</a:t>
            </a:r>
            <a:endParaRPr lang="fr-FR" dirty="0"/>
          </a:p>
        </p:txBody>
      </p:sp>
      <p:sp>
        <p:nvSpPr>
          <p:cNvPr id="42" name="Rectangle 41">
            <a:extLst>
              <a:ext uri="{FF2B5EF4-FFF2-40B4-BE49-F238E27FC236}">
                <a16:creationId xmlns:a16="http://schemas.microsoft.com/office/drawing/2014/main" id="{85D7CE82-4334-4AEE-9377-7AFA74600A96}"/>
              </a:ext>
            </a:extLst>
          </p:cNvPr>
          <p:cNvSpPr/>
          <p:nvPr/>
        </p:nvSpPr>
        <p:spPr>
          <a:xfrm>
            <a:off x="6178037" y="2386168"/>
            <a:ext cx="2012535" cy="369332"/>
          </a:xfrm>
          <a:prstGeom prst="rect">
            <a:avLst/>
          </a:prstGeom>
        </p:spPr>
        <p:txBody>
          <a:bodyPr wrap="square">
            <a:spAutoFit/>
          </a:bodyPr>
          <a:lstStyle/>
          <a:p>
            <a:r>
              <a:rPr lang="en-US" sz="900" b="1" dirty="0"/>
              <a:t>95% </a:t>
            </a:r>
            <a:r>
              <a:rPr lang="en-US" sz="900" dirty="0"/>
              <a:t>HOW_OLD</a:t>
            </a:r>
          </a:p>
          <a:p>
            <a:r>
              <a:rPr lang="en-US" sz="900" b="1" dirty="0"/>
              <a:t>60% </a:t>
            </a:r>
            <a:r>
              <a:rPr lang="en-US" sz="900" dirty="0"/>
              <a:t>HOW_ARE_YOU</a:t>
            </a:r>
            <a:endParaRPr lang="fr-FR" sz="900" dirty="0"/>
          </a:p>
        </p:txBody>
      </p:sp>
      <p:sp>
        <p:nvSpPr>
          <p:cNvPr id="43" name="Accolade ouvrante 42">
            <a:extLst>
              <a:ext uri="{FF2B5EF4-FFF2-40B4-BE49-F238E27FC236}">
                <a16:creationId xmlns:a16="http://schemas.microsoft.com/office/drawing/2014/main" id="{4F5DB73D-5DCA-4874-B06B-F58E04E1B477}"/>
              </a:ext>
            </a:extLst>
          </p:cNvPr>
          <p:cNvSpPr/>
          <p:nvPr/>
        </p:nvSpPr>
        <p:spPr>
          <a:xfrm rot="5400000">
            <a:off x="3862141" y="-805467"/>
            <a:ext cx="367469" cy="4264303"/>
          </a:xfrm>
          <a:prstGeom prst="leftBrace">
            <a:avLst>
              <a:gd name="adj1" fmla="val 38566"/>
              <a:gd name="adj2" fmla="val 50000"/>
            </a:avLst>
          </a:prstGeom>
          <a:ln w="25400">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44" name="Rectangle 43">
            <a:extLst>
              <a:ext uri="{FF2B5EF4-FFF2-40B4-BE49-F238E27FC236}">
                <a16:creationId xmlns:a16="http://schemas.microsoft.com/office/drawing/2014/main" id="{0018CCEC-3D83-473C-9B1A-1C7F4C0AACA3}"/>
              </a:ext>
            </a:extLst>
          </p:cNvPr>
          <p:cNvSpPr/>
          <p:nvPr/>
        </p:nvSpPr>
        <p:spPr>
          <a:xfrm>
            <a:off x="3024315" y="648865"/>
            <a:ext cx="2043120" cy="300082"/>
          </a:xfrm>
          <a:prstGeom prst="rect">
            <a:avLst/>
          </a:prstGeom>
        </p:spPr>
        <p:txBody>
          <a:bodyPr wrap="square">
            <a:spAutoFit/>
          </a:bodyPr>
          <a:lstStyle/>
          <a:p>
            <a:pPr algn="ctr"/>
            <a:r>
              <a:rPr lang="en-US" b="1" dirty="0">
                <a:solidFill>
                  <a:schemeClr val="accent2"/>
                </a:solidFill>
              </a:rPr>
              <a:t>DNN</a:t>
            </a:r>
            <a:endParaRPr lang="fr-FR" b="1" dirty="0">
              <a:solidFill>
                <a:schemeClr val="accent2"/>
              </a:solidFill>
            </a:endParaRPr>
          </a:p>
        </p:txBody>
      </p:sp>
      <p:sp>
        <p:nvSpPr>
          <p:cNvPr id="45" name="Rectangle 44">
            <a:extLst>
              <a:ext uri="{FF2B5EF4-FFF2-40B4-BE49-F238E27FC236}">
                <a16:creationId xmlns:a16="http://schemas.microsoft.com/office/drawing/2014/main" id="{81EC3118-8CAC-4F66-AFE0-64A9053BBE66}"/>
              </a:ext>
            </a:extLst>
          </p:cNvPr>
          <p:cNvSpPr/>
          <p:nvPr/>
        </p:nvSpPr>
        <p:spPr>
          <a:xfrm>
            <a:off x="5808923" y="1762629"/>
            <a:ext cx="2043120" cy="300082"/>
          </a:xfrm>
          <a:prstGeom prst="rect">
            <a:avLst/>
          </a:prstGeom>
        </p:spPr>
        <p:txBody>
          <a:bodyPr wrap="square">
            <a:spAutoFit/>
          </a:bodyPr>
          <a:lstStyle/>
          <a:p>
            <a:pPr algn="ctr"/>
            <a:r>
              <a:rPr lang="fr-FR" dirty="0"/>
              <a:t>Classes /</a:t>
            </a:r>
            <a:r>
              <a:rPr lang="fr-FR" dirty="0" err="1"/>
              <a:t>intents</a:t>
            </a:r>
            <a:endParaRPr lang="fr-FR" dirty="0"/>
          </a:p>
        </p:txBody>
      </p:sp>
      <p:cxnSp>
        <p:nvCxnSpPr>
          <p:cNvPr id="46" name="Connecteur droit avec flèche 45">
            <a:extLst>
              <a:ext uri="{FF2B5EF4-FFF2-40B4-BE49-F238E27FC236}">
                <a16:creationId xmlns:a16="http://schemas.microsoft.com/office/drawing/2014/main" id="{450C54D5-5C17-4431-9DB7-6839A8A46A22}"/>
              </a:ext>
            </a:extLst>
          </p:cNvPr>
          <p:cNvCxnSpPr>
            <a:cxnSpLocks/>
          </p:cNvCxnSpPr>
          <p:nvPr/>
        </p:nvCxnSpPr>
        <p:spPr>
          <a:xfrm>
            <a:off x="6830483" y="2073814"/>
            <a:ext cx="0" cy="298661"/>
          </a:xfrm>
          <a:prstGeom prst="straightConnector1">
            <a:avLst/>
          </a:prstGeom>
          <a:ln w="254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405010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73E289DD-025B-4FED-A134-6951B04BB6DD}"/>
              </a:ext>
            </a:extLst>
          </p:cNvPr>
          <p:cNvPicPr>
            <a:picLocks noChangeAspect="1"/>
          </p:cNvPicPr>
          <p:nvPr/>
        </p:nvPicPr>
        <p:blipFill>
          <a:blip r:embed="rId2"/>
          <a:stretch>
            <a:fillRect/>
          </a:stretch>
        </p:blipFill>
        <p:spPr>
          <a:xfrm>
            <a:off x="2295733" y="506442"/>
            <a:ext cx="5464714" cy="4605240"/>
          </a:xfrm>
          <a:prstGeom prst="rect">
            <a:avLst/>
          </a:prstGeom>
        </p:spPr>
      </p:pic>
      <p:sp>
        <p:nvSpPr>
          <p:cNvPr id="5" name="Rectangle 4">
            <a:extLst>
              <a:ext uri="{FF2B5EF4-FFF2-40B4-BE49-F238E27FC236}">
                <a16:creationId xmlns:a16="http://schemas.microsoft.com/office/drawing/2014/main" id="{C182F76A-FFA1-4C05-97B9-9C2867F5D0C5}"/>
              </a:ext>
            </a:extLst>
          </p:cNvPr>
          <p:cNvSpPr/>
          <p:nvPr/>
        </p:nvSpPr>
        <p:spPr>
          <a:xfrm>
            <a:off x="273466" y="662130"/>
            <a:ext cx="2384560" cy="261610"/>
          </a:xfrm>
          <a:prstGeom prst="rect">
            <a:avLst/>
          </a:prstGeom>
        </p:spPr>
        <p:txBody>
          <a:bodyPr wrap="square">
            <a:spAutoFit/>
          </a:bodyPr>
          <a:lstStyle/>
          <a:p>
            <a:r>
              <a:rPr lang="fr-FR" sz="1100" b="1" dirty="0">
                <a:solidFill>
                  <a:schemeClr val="accent2"/>
                </a:solidFill>
              </a:rPr>
              <a:t>Change a </a:t>
            </a:r>
            <a:r>
              <a:rPr lang="fr-FR" sz="1100" b="1" dirty="0" err="1">
                <a:solidFill>
                  <a:schemeClr val="accent2"/>
                </a:solidFill>
              </a:rPr>
              <a:t>card</a:t>
            </a:r>
            <a:r>
              <a:rPr lang="fr-FR" sz="1100" b="1" dirty="0">
                <a:solidFill>
                  <a:schemeClr val="accent2"/>
                </a:solidFill>
              </a:rPr>
              <a:t> </a:t>
            </a:r>
            <a:r>
              <a:rPr lang="fr-FR" sz="1100" b="1" dirty="0" err="1">
                <a:solidFill>
                  <a:schemeClr val="accent2"/>
                </a:solidFill>
              </a:rPr>
              <a:t>limit</a:t>
            </a:r>
            <a:endParaRPr lang="fr-FR" sz="1100" b="1" dirty="0">
              <a:solidFill>
                <a:schemeClr val="accent2"/>
              </a:solidFill>
            </a:endParaRPr>
          </a:p>
        </p:txBody>
      </p:sp>
      <p:sp>
        <p:nvSpPr>
          <p:cNvPr id="6" name="Accolade ouvrante 5">
            <a:extLst>
              <a:ext uri="{FF2B5EF4-FFF2-40B4-BE49-F238E27FC236}">
                <a16:creationId xmlns:a16="http://schemas.microsoft.com/office/drawing/2014/main" id="{4BA5945B-8B34-4F38-B068-7FE53D41C338}"/>
              </a:ext>
            </a:extLst>
          </p:cNvPr>
          <p:cNvSpPr/>
          <p:nvPr/>
        </p:nvSpPr>
        <p:spPr>
          <a:xfrm>
            <a:off x="2070173" y="610379"/>
            <a:ext cx="225560" cy="406444"/>
          </a:xfrm>
          <a:prstGeom prst="leftBrace">
            <a:avLst>
              <a:gd name="adj1" fmla="val 36240"/>
              <a:gd name="adj2" fmla="val 50000"/>
            </a:avLst>
          </a:prstGeom>
          <a:ln w="25400">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7" name="Rectangle 6">
            <a:extLst>
              <a:ext uri="{FF2B5EF4-FFF2-40B4-BE49-F238E27FC236}">
                <a16:creationId xmlns:a16="http://schemas.microsoft.com/office/drawing/2014/main" id="{B6E8A8F8-ADA3-4DA0-8B09-59CE2E387658}"/>
              </a:ext>
            </a:extLst>
          </p:cNvPr>
          <p:cNvSpPr/>
          <p:nvPr/>
        </p:nvSpPr>
        <p:spPr>
          <a:xfrm>
            <a:off x="1059679" y="1131179"/>
            <a:ext cx="2384560" cy="261610"/>
          </a:xfrm>
          <a:prstGeom prst="rect">
            <a:avLst/>
          </a:prstGeom>
        </p:spPr>
        <p:txBody>
          <a:bodyPr wrap="square">
            <a:spAutoFit/>
          </a:bodyPr>
          <a:lstStyle/>
          <a:p>
            <a:r>
              <a:rPr lang="fr-FR" sz="1100" b="1" dirty="0" err="1">
                <a:solidFill>
                  <a:schemeClr val="accent2"/>
                </a:solidFill>
              </a:rPr>
              <a:t>Find</a:t>
            </a:r>
            <a:r>
              <a:rPr lang="fr-FR" sz="1100" b="1" dirty="0">
                <a:solidFill>
                  <a:schemeClr val="accent2"/>
                </a:solidFill>
              </a:rPr>
              <a:t> a </a:t>
            </a:r>
            <a:r>
              <a:rPr lang="fr-FR" sz="1100" b="1" dirty="0" err="1">
                <a:solidFill>
                  <a:schemeClr val="accent2"/>
                </a:solidFill>
              </a:rPr>
              <a:t>bank</a:t>
            </a:r>
            <a:r>
              <a:rPr lang="fr-FR" sz="1100" b="1" dirty="0">
                <a:solidFill>
                  <a:schemeClr val="accent2"/>
                </a:solidFill>
              </a:rPr>
              <a:t> </a:t>
            </a:r>
            <a:r>
              <a:rPr lang="fr-FR" sz="1100" b="1" dirty="0" err="1">
                <a:solidFill>
                  <a:schemeClr val="accent2"/>
                </a:solidFill>
              </a:rPr>
              <a:t>branch</a:t>
            </a:r>
            <a:endParaRPr lang="fr-FR" sz="1100" b="1" dirty="0">
              <a:solidFill>
                <a:schemeClr val="accent2"/>
              </a:solidFill>
            </a:endParaRPr>
          </a:p>
        </p:txBody>
      </p:sp>
      <p:sp>
        <p:nvSpPr>
          <p:cNvPr id="8" name="Accolade ouvrante 7">
            <a:extLst>
              <a:ext uri="{FF2B5EF4-FFF2-40B4-BE49-F238E27FC236}">
                <a16:creationId xmlns:a16="http://schemas.microsoft.com/office/drawing/2014/main" id="{1D5D1C17-C21C-4824-9F9A-43F4E80F7CA2}"/>
              </a:ext>
            </a:extLst>
          </p:cNvPr>
          <p:cNvSpPr/>
          <p:nvPr/>
        </p:nvSpPr>
        <p:spPr>
          <a:xfrm>
            <a:off x="2856386" y="1079428"/>
            <a:ext cx="225560" cy="406444"/>
          </a:xfrm>
          <a:prstGeom prst="leftBrace">
            <a:avLst>
              <a:gd name="adj1" fmla="val 36240"/>
              <a:gd name="adj2" fmla="val 50000"/>
            </a:avLst>
          </a:prstGeom>
          <a:ln w="25400">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0" name="Rectangle 9">
            <a:extLst>
              <a:ext uri="{FF2B5EF4-FFF2-40B4-BE49-F238E27FC236}">
                <a16:creationId xmlns:a16="http://schemas.microsoft.com/office/drawing/2014/main" id="{DFD3932B-5E7D-40C6-A68F-E64997477213}"/>
              </a:ext>
            </a:extLst>
          </p:cNvPr>
          <p:cNvSpPr/>
          <p:nvPr/>
        </p:nvSpPr>
        <p:spPr>
          <a:xfrm>
            <a:off x="1465746" y="1631995"/>
            <a:ext cx="2384560" cy="261610"/>
          </a:xfrm>
          <a:prstGeom prst="rect">
            <a:avLst/>
          </a:prstGeom>
        </p:spPr>
        <p:txBody>
          <a:bodyPr wrap="square">
            <a:spAutoFit/>
          </a:bodyPr>
          <a:lstStyle/>
          <a:p>
            <a:r>
              <a:rPr lang="fr-FR" sz="1100" b="1" dirty="0">
                <a:solidFill>
                  <a:schemeClr val="accent2"/>
                </a:solidFill>
              </a:rPr>
              <a:t>Car </a:t>
            </a:r>
            <a:r>
              <a:rPr lang="fr-FR" sz="1100" b="1" dirty="0" err="1">
                <a:solidFill>
                  <a:schemeClr val="accent2"/>
                </a:solidFill>
              </a:rPr>
              <a:t>insurance</a:t>
            </a:r>
            <a:endParaRPr lang="fr-FR" sz="1100" b="1" dirty="0">
              <a:solidFill>
                <a:schemeClr val="accent2"/>
              </a:solidFill>
            </a:endParaRPr>
          </a:p>
        </p:txBody>
      </p:sp>
      <p:sp>
        <p:nvSpPr>
          <p:cNvPr id="11" name="Accolade ouvrante 10">
            <a:extLst>
              <a:ext uri="{FF2B5EF4-FFF2-40B4-BE49-F238E27FC236}">
                <a16:creationId xmlns:a16="http://schemas.microsoft.com/office/drawing/2014/main" id="{35D4CB91-5008-4639-BAE7-24CEAEC286EE}"/>
              </a:ext>
            </a:extLst>
          </p:cNvPr>
          <p:cNvSpPr/>
          <p:nvPr/>
        </p:nvSpPr>
        <p:spPr>
          <a:xfrm>
            <a:off x="2856386" y="1561756"/>
            <a:ext cx="225560" cy="406444"/>
          </a:xfrm>
          <a:prstGeom prst="leftBrace">
            <a:avLst>
              <a:gd name="adj1" fmla="val 36240"/>
              <a:gd name="adj2" fmla="val 50000"/>
            </a:avLst>
          </a:prstGeom>
          <a:ln w="25400">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2" name="Rectangle 11">
            <a:extLst>
              <a:ext uri="{FF2B5EF4-FFF2-40B4-BE49-F238E27FC236}">
                <a16:creationId xmlns:a16="http://schemas.microsoft.com/office/drawing/2014/main" id="{51918B4D-B722-4B62-8E9C-B3CD87915EEC}"/>
              </a:ext>
            </a:extLst>
          </p:cNvPr>
          <p:cNvSpPr/>
          <p:nvPr/>
        </p:nvSpPr>
        <p:spPr>
          <a:xfrm>
            <a:off x="3251533" y="2039728"/>
            <a:ext cx="2384560" cy="261610"/>
          </a:xfrm>
          <a:prstGeom prst="rect">
            <a:avLst/>
          </a:prstGeom>
        </p:spPr>
        <p:txBody>
          <a:bodyPr wrap="square">
            <a:spAutoFit/>
          </a:bodyPr>
          <a:lstStyle/>
          <a:p>
            <a:r>
              <a:rPr lang="fr-FR" sz="1100" b="1" dirty="0">
                <a:solidFill>
                  <a:schemeClr val="accent2"/>
                </a:solidFill>
              </a:rPr>
              <a:t>Age</a:t>
            </a:r>
          </a:p>
        </p:txBody>
      </p:sp>
      <p:sp>
        <p:nvSpPr>
          <p:cNvPr id="13" name="Accolade ouvrante 12">
            <a:extLst>
              <a:ext uri="{FF2B5EF4-FFF2-40B4-BE49-F238E27FC236}">
                <a16:creationId xmlns:a16="http://schemas.microsoft.com/office/drawing/2014/main" id="{2C254D02-2411-4B0D-8911-87CEFD2A48F3}"/>
              </a:ext>
            </a:extLst>
          </p:cNvPr>
          <p:cNvSpPr/>
          <p:nvPr/>
        </p:nvSpPr>
        <p:spPr>
          <a:xfrm>
            <a:off x="3821777" y="2040369"/>
            <a:ext cx="225560" cy="257254"/>
          </a:xfrm>
          <a:prstGeom prst="leftBrace">
            <a:avLst>
              <a:gd name="adj1" fmla="val 36240"/>
              <a:gd name="adj2" fmla="val 50000"/>
            </a:avLst>
          </a:prstGeom>
          <a:ln w="25400">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4" name="Rectangle 13">
            <a:extLst>
              <a:ext uri="{FF2B5EF4-FFF2-40B4-BE49-F238E27FC236}">
                <a16:creationId xmlns:a16="http://schemas.microsoft.com/office/drawing/2014/main" id="{D041744C-EF1B-4BA0-9B92-33F13BE55737}"/>
              </a:ext>
            </a:extLst>
          </p:cNvPr>
          <p:cNvSpPr/>
          <p:nvPr/>
        </p:nvSpPr>
        <p:spPr>
          <a:xfrm>
            <a:off x="5230026" y="305679"/>
            <a:ext cx="1837346" cy="2586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84F11244-DE4F-486B-B4A4-A944036F1034}"/>
              </a:ext>
            </a:extLst>
          </p:cNvPr>
          <p:cNvSpPr>
            <a:spLocks noGrp="1"/>
          </p:cNvSpPr>
          <p:nvPr>
            <p:ph type="title"/>
          </p:nvPr>
        </p:nvSpPr>
        <p:spPr/>
        <p:txBody>
          <a:bodyPr/>
          <a:lstStyle/>
          <a:p>
            <a:r>
              <a:rPr lang="fr-FR" dirty="0"/>
              <a:t>Sentence Encoder / </a:t>
            </a:r>
            <a:r>
              <a:rPr lang="fr-FR" dirty="0" err="1"/>
              <a:t>Semantic</a:t>
            </a:r>
            <a:r>
              <a:rPr lang="fr-FR" dirty="0"/>
              <a:t> </a:t>
            </a:r>
            <a:r>
              <a:rPr lang="fr-FR" dirty="0" err="1"/>
              <a:t>Textual</a:t>
            </a:r>
            <a:r>
              <a:rPr lang="fr-FR" dirty="0"/>
              <a:t> </a:t>
            </a:r>
            <a:r>
              <a:rPr lang="fr-FR" dirty="0" err="1"/>
              <a:t>Similarity</a:t>
            </a:r>
            <a:endParaRPr lang="fr-FR" dirty="0"/>
          </a:p>
        </p:txBody>
      </p:sp>
    </p:spTree>
    <p:extLst>
      <p:ext uri="{BB962C8B-B14F-4D97-AF65-F5344CB8AC3E}">
        <p14:creationId xmlns:p14="http://schemas.microsoft.com/office/powerpoint/2010/main" val="91383115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327B900-BE34-4783-B8B6-6A916305AAE6}"/>
              </a:ext>
            </a:extLst>
          </p:cNvPr>
          <p:cNvSpPr>
            <a:spLocks noGrp="1"/>
          </p:cNvSpPr>
          <p:nvPr>
            <p:ph type="title"/>
          </p:nvPr>
        </p:nvSpPr>
        <p:spPr/>
        <p:txBody>
          <a:bodyPr/>
          <a:lstStyle/>
          <a:p>
            <a:r>
              <a:rPr lang="fr-FR" dirty="0"/>
              <a:t>Tuning</a:t>
            </a:r>
          </a:p>
        </p:txBody>
      </p:sp>
      <p:sp>
        <p:nvSpPr>
          <p:cNvPr id="3" name="Text Placeholder 16">
            <a:extLst>
              <a:ext uri="{FF2B5EF4-FFF2-40B4-BE49-F238E27FC236}">
                <a16:creationId xmlns:a16="http://schemas.microsoft.com/office/drawing/2014/main" id="{570B557F-2EBC-4D93-B261-0A2CEFB8576F}"/>
              </a:ext>
            </a:extLst>
          </p:cNvPr>
          <p:cNvSpPr txBox="1">
            <a:spLocks/>
          </p:cNvSpPr>
          <p:nvPr/>
        </p:nvSpPr>
        <p:spPr>
          <a:xfrm>
            <a:off x="288236" y="808037"/>
            <a:ext cx="8185204"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400" b="1" dirty="0">
                <a:solidFill>
                  <a:schemeClr val="accent2"/>
                </a:solidFill>
                <a:latin typeface="+mn-lt"/>
              </a:rPr>
              <a:t>ML Classification Threshold: </a:t>
            </a:r>
            <a:r>
              <a:rPr lang="en-US" sz="1400" dirty="0">
                <a:solidFill>
                  <a:schemeClr val="accent1"/>
                </a:solidFill>
                <a:latin typeface="+mn-lt"/>
              </a:rPr>
              <a:t>To filter out false positive results, you can tune the machine learning classification threshold. </a:t>
            </a:r>
          </a:p>
          <a:p>
            <a:pPr marL="690563" lvl="1" indent="-285750"/>
            <a:r>
              <a:rPr lang="en-US" sz="1250" dirty="0">
                <a:solidFill>
                  <a:schemeClr val="accent1"/>
                </a:solidFill>
                <a:latin typeface="+mn-lt"/>
              </a:rPr>
              <a:t>Intent matches have an intent detection confidence value in a range from 0.0 (completely uncertain) to 1.0 (completely certain). </a:t>
            </a:r>
          </a:p>
          <a:p>
            <a:pPr marL="690563" lvl="1" indent="-285750"/>
            <a:r>
              <a:rPr lang="en-US" sz="1250" dirty="0">
                <a:solidFill>
                  <a:schemeClr val="accent1"/>
                </a:solidFill>
                <a:latin typeface="+mn-lt"/>
              </a:rPr>
              <a:t>If the confidence value is less than the ML classification threshold, a fallback intent is triggered. </a:t>
            </a:r>
            <a:endParaRPr lang="fr-FR" sz="1450" dirty="0"/>
          </a:p>
          <a:p>
            <a:pPr marL="285750" indent="-285750">
              <a:buFont typeface="Arial" panose="020B0604020202020204" pitchFamily="34" charset="0"/>
              <a:buChar char="•"/>
            </a:pPr>
            <a:endParaRPr lang="fr-FR" sz="1600" dirty="0"/>
          </a:p>
          <a:p>
            <a:pPr marL="285750" indent="-285750"/>
            <a:endParaRPr lang="fr-FR" sz="1600" dirty="0"/>
          </a:p>
          <a:p>
            <a:pPr marL="285750" indent="-285750">
              <a:buFont typeface="Arial" panose="020B0604020202020204" pitchFamily="34" charset="0"/>
              <a:buChar char="•"/>
            </a:pPr>
            <a:endParaRPr lang="fr-FR" sz="1300" dirty="0"/>
          </a:p>
          <a:p>
            <a:pPr marL="690563" lvl="1" indent="-285750"/>
            <a:endParaRPr lang="fr-FR" sz="1450" dirty="0"/>
          </a:p>
          <a:p>
            <a:pPr marL="285750" indent="-285750">
              <a:buFont typeface="Arial" panose="020B0604020202020204" pitchFamily="34" charset="0"/>
              <a:buChar char="•"/>
            </a:pPr>
            <a:endParaRPr lang="fr-FR" sz="1600" dirty="0"/>
          </a:p>
          <a:p>
            <a:endParaRPr lang="en-US" dirty="0"/>
          </a:p>
        </p:txBody>
      </p:sp>
      <p:pic>
        <p:nvPicPr>
          <p:cNvPr id="8" name="Image 7">
            <a:extLst>
              <a:ext uri="{FF2B5EF4-FFF2-40B4-BE49-F238E27FC236}">
                <a16:creationId xmlns:a16="http://schemas.microsoft.com/office/drawing/2014/main" id="{467D6799-2EDB-41DB-8202-E8DA218D9E1E}"/>
              </a:ext>
            </a:extLst>
          </p:cNvPr>
          <p:cNvPicPr>
            <a:picLocks noChangeAspect="1"/>
          </p:cNvPicPr>
          <p:nvPr/>
        </p:nvPicPr>
        <p:blipFill>
          <a:blip r:embed="rId2"/>
          <a:stretch>
            <a:fillRect/>
          </a:stretch>
        </p:blipFill>
        <p:spPr>
          <a:xfrm>
            <a:off x="645042" y="907848"/>
            <a:ext cx="7853916" cy="826728"/>
          </a:xfrm>
          <a:prstGeom prst="rect">
            <a:avLst/>
          </a:prstGeom>
        </p:spPr>
      </p:pic>
    </p:spTree>
    <p:extLst>
      <p:ext uri="{BB962C8B-B14F-4D97-AF65-F5344CB8AC3E}">
        <p14:creationId xmlns:p14="http://schemas.microsoft.com/office/powerpoint/2010/main" val="6714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327B900-BE34-4783-B8B6-6A916305AAE6}"/>
              </a:ext>
            </a:extLst>
          </p:cNvPr>
          <p:cNvSpPr>
            <a:spLocks noGrp="1"/>
          </p:cNvSpPr>
          <p:nvPr>
            <p:ph type="title"/>
          </p:nvPr>
        </p:nvSpPr>
        <p:spPr/>
        <p:txBody>
          <a:bodyPr/>
          <a:lstStyle/>
          <a:p>
            <a:r>
              <a:rPr lang="fr-FR" dirty="0"/>
              <a:t>Learning</a:t>
            </a:r>
          </a:p>
        </p:txBody>
      </p:sp>
      <p:sp>
        <p:nvSpPr>
          <p:cNvPr id="3" name="Text Placeholder 16">
            <a:extLst>
              <a:ext uri="{FF2B5EF4-FFF2-40B4-BE49-F238E27FC236}">
                <a16:creationId xmlns:a16="http://schemas.microsoft.com/office/drawing/2014/main" id="{570B557F-2EBC-4D93-B261-0A2CEFB8576F}"/>
              </a:ext>
            </a:extLst>
          </p:cNvPr>
          <p:cNvSpPr txBox="1">
            <a:spLocks/>
          </p:cNvSpPr>
          <p:nvPr/>
        </p:nvSpPr>
        <p:spPr>
          <a:xfrm>
            <a:off x="288236" y="808037"/>
            <a:ext cx="8185204"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FR" sz="1400" dirty="0" err="1">
                <a:latin typeface="+mn-lt"/>
              </a:rPr>
              <a:t>With</a:t>
            </a:r>
            <a:r>
              <a:rPr lang="fr-FR" sz="1400" dirty="0">
                <a:latin typeface="+mn-lt"/>
              </a:rPr>
              <a:t> the « </a:t>
            </a:r>
            <a:r>
              <a:rPr lang="fr-FR" sz="1400" b="1" dirty="0">
                <a:solidFill>
                  <a:schemeClr val="accent2"/>
                </a:solidFill>
                <a:latin typeface="+mn-lt"/>
              </a:rPr>
              <a:t>Learning</a:t>
            </a:r>
            <a:r>
              <a:rPr lang="fr-FR" sz="1400" b="1" dirty="0">
                <a:solidFill>
                  <a:srgbClr val="FF0000"/>
                </a:solidFill>
                <a:latin typeface="+mn-lt"/>
              </a:rPr>
              <a:t> </a:t>
            </a:r>
            <a:r>
              <a:rPr lang="fr-FR" sz="1400" dirty="0">
                <a:latin typeface="+mn-lt"/>
              </a:rPr>
              <a:t>Module », </a:t>
            </a:r>
            <a:r>
              <a:rPr lang="fr-FR" sz="1400" dirty="0" err="1">
                <a:latin typeface="+mn-lt"/>
              </a:rPr>
              <a:t>you</a:t>
            </a:r>
            <a:r>
              <a:rPr lang="fr-FR" sz="1400" dirty="0">
                <a:latin typeface="+mn-lt"/>
              </a:rPr>
              <a:t> can :</a:t>
            </a:r>
          </a:p>
          <a:p>
            <a:pPr marL="285750" indent="-285750">
              <a:buClr>
                <a:schemeClr val="accent2"/>
              </a:buClr>
              <a:buFont typeface="Arial" panose="020B0604020202020204" pitchFamily="34" charset="0"/>
              <a:buChar char="•"/>
            </a:pPr>
            <a:r>
              <a:rPr lang="fr-FR" sz="1400" dirty="0" err="1">
                <a:latin typeface="+mn-lt"/>
              </a:rPr>
              <a:t>View</a:t>
            </a:r>
            <a:r>
              <a:rPr lang="fr-FR" sz="1400" dirty="0">
                <a:latin typeface="+mn-lt"/>
              </a:rPr>
              <a:t> the conversations</a:t>
            </a:r>
          </a:p>
          <a:p>
            <a:pPr marL="285750" indent="-285750">
              <a:buClr>
                <a:schemeClr val="accent2"/>
              </a:buClr>
              <a:buFont typeface="Arial" panose="020B0604020202020204" pitchFamily="34" charset="0"/>
              <a:buChar char="•"/>
            </a:pPr>
            <a:r>
              <a:rPr lang="fr-FR" sz="1400" dirty="0" err="1">
                <a:latin typeface="+mn-lt"/>
              </a:rPr>
              <a:t>Add</a:t>
            </a:r>
            <a:r>
              <a:rPr lang="fr-FR" sz="1400" dirty="0">
                <a:latin typeface="+mn-lt"/>
              </a:rPr>
              <a:t> a training phrase to an </a:t>
            </a:r>
            <a:r>
              <a:rPr lang="fr-FR" sz="1400" dirty="0" err="1">
                <a:latin typeface="+mn-lt"/>
              </a:rPr>
              <a:t>intent</a:t>
            </a:r>
            <a:r>
              <a:rPr lang="fr-FR" sz="1400" dirty="0">
                <a:latin typeface="+mn-lt"/>
              </a:rPr>
              <a:t> (</a:t>
            </a:r>
            <a:r>
              <a:rPr lang="fr-FR" sz="1400" dirty="0" err="1">
                <a:latin typeface="+mn-lt"/>
              </a:rPr>
              <a:t>Fallback</a:t>
            </a:r>
            <a:r>
              <a:rPr lang="fr-FR" sz="1400" dirty="0">
                <a:latin typeface="+mn-lt"/>
              </a:rPr>
              <a:t> or </a:t>
            </a:r>
            <a:r>
              <a:rPr lang="fr-FR" sz="1400" dirty="0" err="1">
                <a:latin typeface="+mn-lt"/>
              </a:rPr>
              <a:t>bad</a:t>
            </a:r>
            <a:r>
              <a:rPr lang="fr-FR" sz="1400" dirty="0">
                <a:latin typeface="+mn-lt"/>
              </a:rPr>
              <a:t> classification)</a:t>
            </a:r>
          </a:p>
          <a:p>
            <a:pPr marL="285750" indent="-285750">
              <a:buFont typeface="Arial" panose="020B0604020202020204" pitchFamily="34" charset="0"/>
              <a:buChar char="•"/>
            </a:pPr>
            <a:endParaRPr lang="fr-FR" sz="1400" dirty="0"/>
          </a:p>
          <a:p>
            <a:pPr marL="285750" indent="-285750">
              <a:buFont typeface="Arial" panose="020B0604020202020204" pitchFamily="34" charset="0"/>
              <a:buChar char="•"/>
            </a:pPr>
            <a:endParaRPr lang="fr-FR" sz="1600" dirty="0"/>
          </a:p>
          <a:p>
            <a:pPr marL="285750" indent="-285750">
              <a:buFont typeface="Arial" panose="020B0604020202020204" pitchFamily="34" charset="0"/>
              <a:buChar char="•"/>
            </a:pPr>
            <a:endParaRPr lang="fr-FR" sz="1600" dirty="0"/>
          </a:p>
          <a:p>
            <a:pPr marL="285750" indent="-285750"/>
            <a:endParaRPr lang="fr-FR" sz="1600" dirty="0"/>
          </a:p>
          <a:p>
            <a:pPr marL="285750" indent="-285750">
              <a:buFont typeface="Arial" panose="020B0604020202020204" pitchFamily="34" charset="0"/>
              <a:buChar char="•"/>
            </a:pPr>
            <a:endParaRPr lang="fr-FR" sz="1300" dirty="0"/>
          </a:p>
          <a:p>
            <a:pPr marL="690563" lvl="1" indent="-285750"/>
            <a:endParaRPr lang="fr-FR" sz="1450" dirty="0"/>
          </a:p>
          <a:p>
            <a:pPr marL="285750" indent="-285750">
              <a:buFont typeface="Arial" panose="020B0604020202020204" pitchFamily="34" charset="0"/>
              <a:buChar char="•"/>
            </a:pPr>
            <a:endParaRPr lang="fr-FR" sz="1600" dirty="0"/>
          </a:p>
          <a:p>
            <a:endParaRPr lang="en-US" dirty="0"/>
          </a:p>
        </p:txBody>
      </p:sp>
      <p:pic>
        <p:nvPicPr>
          <p:cNvPr id="4" name="Image 3">
            <a:extLst>
              <a:ext uri="{FF2B5EF4-FFF2-40B4-BE49-F238E27FC236}">
                <a16:creationId xmlns:a16="http://schemas.microsoft.com/office/drawing/2014/main" id="{3D5B81A7-C8D1-4D72-9F7D-C1B3A759EFE1}"/>
              </a:ext>
            </a:extLst>
          </p:cNvPr>
          <p:cNvPicPr>
            <a:picLocks noChangeAspect="1"/>
          </p:cNvPicPr>
          <p:nvPr/>
        </p:nvPicPr>
        <p:blipFill>
          <a:blip r:embed="rId2"/>
          <a:stretch>
            <a:fillRect/>
          </a:stretch>
        </p:blipFill>
        <p:spPr>
          <a:xfrm>
            <a:off x="288236" y="1855244"/>
            <a:ext cx="1716275" cy="2518557"/>
          </a:xfrm>
          <a:prstGeom prst="rect">
            <a:avLst/>
          </a:prstGeom>
        </p:spPr>
      </p:pic>
      <p:pic>
        <p:nvPicPr>
          <p:cNvPr id="6" name="Image 5">
            <a:extLst>
              <a:ext uri="{FF2B5EF4-FFF2-40B4-BE49-F238E27FC236}">
                <a16:creationId xmlns:a16="http://schemas.microsoft.com/office/drawing/2014/main" id="{CB32FC2A-8DD5-4E9C-A676-8E309C9EC3BA}"/>
              </a:ext>
            </a:extLst>
          </p:cNvPr>
          <p:cNvPicPr>
            <a:picLocks noChangeAspect="1"/>
          </p:cNvPicPr>
          <p:nvPr/>
        </p:nvPicPr>
        <p:blipFill>
          <a:blip r:embed="rId3"/>
          <a:stretch>
            <a:fillRect/>
          </a:stretch>
        </p:blipFill>
        <p:spPr>
          <a:xfrm>
            <a:off x="2211571" y="2571750"/>
            <a:ext cx="6811926" cy="2326609"/>
          </a:xfrm>
          <a:prstGeom prst="rect">
            <a:avLst/>
          </a:prstGeom>
        </p:spPr>
      </p:pic>
      <p:cxnSp>
        <p:nvCxnSpPr>
          <p:cNvPr id="5" name="Connecteur droit avec flèche 4">
            <a:extLst>
              <a:ext uri="{FF2B5EF4-FFF2-40B4-BE49-F238E27FC236}">
                <a16:creationId xmlns:a16="http://schemas.microsoft.com/office/drawing/2014/main" id="{78B70CAB-7102-4621-AC7E-4EACC2F49149}"/>
              </a:ext>
            </a:extLst>
          </p:cNvPr>
          <p:cNvCxnSpPr>
            <a:cxnSpLocks/>
          </p:cNvCxnSpPr>
          <p:nvPr/>
        </p:nvCxnSpPr>
        <p:spPr>
          <a:xfrm flipH="1">
            <a:off x="1753463" y="4081693"/>
            <a:ext cx="2123877" cy="0"/>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642767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472BAAE-2E4B-488C-B627-A8E480A64A71}"/>
              </a:ext>
            </a:extLst>
          </p:cNvPr>
          <p:cNvSpPr>
            <a:spLocks noGrp="1"/>
          </p:cNvSpPr>
          <p:nvPr>
            <p:ph type="title"/>
          </p:nvPr>
        </p:nvSpPr>
        <p:spPr/>
        <p:txBody>
          <a:bodyPr/>
          <a:lstStyle/>
          <a:p>
            <a:r>
              <a:rPr lang="en-US" dirty="0"/>
              <a:t>Analyzing the quality of training phrases</a:t>
            </a:r>
            <a:endParaRPr lang="fr-FR" dirty="0"/>
          </a:p>
        </p:txBody>
      </p:sp>
      <p:pic>
        <p:nvPicPr>
          <p:cNvPr id="3" name="Image 2">
            <a:extLst>
              <a:ext uri="{FF2B5EF4-FFF2-40B4-BE49-F238E27FC236}">
                <a16:creationId xmlns:a16="http://schemas.microsoft.com/office/drawing/2014/main" id="{47F5AAF1-508B-4E3A-8E41-A57115310408}"/>
              </a:ext>
            </a:extLst>
          </p:cNvPr>
          <p:cNvPicPr>
            <a:picLocks noChangeAspect="1"/>
          </p:cNvPicPr>
          <p:nvPr/>
        </p:nvPicPr>
        <p:blipFill>
          <a:blip r:embed="rId2"/>
          <a:stretch>
            <a:fillRect/>
          </a:stretch>
        </p:blipFill>
        <p:spPr>
          <a:xfrm>
            <a:off x="5323365" y="1734873"/>
            <a:ext cx="2471031" cy="1941126"/>
          </a:xfrm>
          <a:prstGeom prst="rect">
            <a:avLst/>
          </a:prstGeom>
        </p:spPr>
      </p:pic>
      <p:sp>
        <p:nvSpPr>
          <p:cNvPr id="4" name="Ellipse 3">
            <a:extLst>
              <a:ext uri="{FF2B5EF4-FFF2-40B4-BE49-F238E27FC236}">
                <a16:creationId xmlns:a16="http://schemas.microsoft.com/office/drawing/2014/main" id="{6291C640-0E08-4BDC-B95C-7F2DC64C962C}"/>
              </a:ext>
            </a:extLst>
          </p:cNvPr>
          <p:cNvSpPr/>
          <p:nvPr/>
        </p:nvSpPr>
        <p:spPr>
          <a:xfrm>
            <a:off x="5115719" y="1851196"/>
            <a:ext cx="1142796" cy="672263"/>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Ellipse 4">
            <a:extLst>
              <a:ext uri="{FF2B5EF4-FFF2-40B4-BE49-F238E27FC236}">
                <a16:creationId xmlns:a16="http://schemas.microsoft.com/office/drawing/2014/main" id="{AEEDD023-DA59-4234-8A12-3E52E3151546}"/>
              </a:ext>
            </a:extLst>
          </p:cNvPr>
          <p:cNvSpPr/>
          <p:nvPr/>
        </p:nvSpPr>
        <p:spPr>
          <a:xfrm>
            <a:off x="6455057" y="1645633"/>
            <a:ext cx="1142796" cy="672263"/>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llipse 5">
            <a:extLst>
              <a:ext uri="{FF2B5EF4-FFF2-40B4-BE49-F238E27FC236}">
                <a16:creationId xmlns:a16="http://schemas.microsoft.com/office/drawing/2014/main" id="{523CBB6A-1D95-4EF3-8EE2-44E0D7629DE3}"/>
              </a:ext>
            </a:extLst>
          </p:cNvPr>
          <p:cNvSpPr/>
          <p:nvPr/>
        </p:nvSpPr>
        <p:spPr>
          <a:xfrm>
            <a:off x="6651600" y="2412345"/>
            <a:ext cx="1142796" cy="672263"/>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Ellipse 6">
            <a:extLst>
              <a:ext uri="{FF2B5EF4-FFF2-40B4-BE49-F238E27FC236}">
                <a16:creationId xmlns:a16="http://schemas.microsoft.com/office/drawing/2014/main" id="{5CD3ED28-FFA7-4D80-B6E0-5BEE2F0AD40B}"/>
              </a:ext>
            </a:extLst>
          </p:cNvPr>
          <p:cNvSpPr/>
          <p:nvPr/>
        </p:nvSpPr>
        <p:spPr>
          <a:xfrm>
            <a:off x="5555609" y="2785118"/>
            <a:ext cx="1142796" cy="672263"/>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a:extLst>
              <a:ext uri="{FF2B5EF4-FFF2-40B4-BE49-F238E27FC236}">
                <a16:creationId xmlns:a16="http://schemas.microsoft.com/office/drawing/2014/main" id="{1682CFC6-295A-42FA-B365-FE4B301B1E7B}"/>
              </a:ext>
            </a:extLst>
          </p:cNvPr>
          <p:cNvSpPr/>
          <p:nvPr/>
        </p:nvSpPr>
        <p:spPr>
          <a:xfrm>
            <a:off x="347176" y="1183968"/>
            <a:ext cx="4572000" cy="1338828"/>
          </a:xfrm>
          <a:prstGeom prst="rect">
            <a:avLst/>
          </a:prstGeom>
        </p:spPr>
        <p:txBody>
          <a:bodyPr>
            <a:spAutoFit/>
          </a:bodyPr>
          <a:lstStyle/>
          <a:p>
            <a:r>
              <a:rPr lang="en-US" dirty="0"/>
              <a:t>In a perfect world :</a:t>
            </a:r>
          </a:p>
          <a:p>
            <a:pPr marL="285750" indent="-285750">
              <a:buClr>
                <a:schemeClr val="accent2"/>
              </a:buClr>
              <a:buFont typeface="Arial" panose="020B0604020202020204" pitchFamily="34" charset="0"/>
              <a:buChar char="•"/>
            </a:pPr>
            <a:r>
              <a:rPr lang="en-US" dirty="0"/>
              <a:t>all sentences contained in the same intention are similar, </a:t>
            </a:r>
          </a:p>
          <a:p>
            <a:pPr marL="285750" indent="-285750">
              <a:buClr>
                <a:schemeClr val="accent2"/>
              </a:buClr>
              <a:buFont typeface="Arial" panose="020B0604020202020204" pitchFamily="34" charset="0"/>
              <a:buChar char="•"/>
            </a:pPr>
            <a:r>
              <a:rPr lang="en-US" dirty="0"/>
              <a:t>all intentions are clearly separated, </a:t>
            </a:r>
          </a:p>
          <a:p>
            <a:pPr marL="285750" indent="-285750">
              <a:buClr>
                <a:schemeClr val="accent2"/>
              </a:buClr>
              <a:buFont typeface="Arial" panose="020B0604020202020204" pitchFamily="34" charset="0"/>
              <a:buChar char="•"/>
            </a:pPr>
            <a:r>
              <a:rPr lang="en-US" dirty="0"/>
              <a:t>and there are no similar phrases in two intentions.</a:t>
            </a:r>
            <a:endParaRPr lang="fr-FR" dirty="0"/>
          </a:p>
        </p:txBody>
      </p:sp>
      <p:sp>
        <p:nvSpPr>
          <p:cNvPr id="10" name="Rectangle 9">
            <a:extLst>
              <a:ext uri="{FF2B5EF4-FFF2-40B4-BE49-F238E27FC236}">
                <a16:creationId xmlns:a16="http://schemas.microsoft.com/office/drawing/2014/main" id="{CFEB7552-77CE-41F4-85FB-BCFBB03FAB8A}"/>
              </a:ext>
            </a:extLst>
          </p:cNvPr>
          <p:cNvSpPr/>
          <p:nvPr/>
        </p:nvSpPr>
        <p:spPr>
          <a:xfrm>
            <a:off x="4749952" y="1600170"/>
            <a:ext cx="1095991" cy="300082"/>
          </a:xfrm>
          <a:prstGeom prst="rect">
            <a:avLst/>
          </a:prstGeom>
        </p:spPr>
        <p:txBody>
          <a:bodyPr wrap="square">
            <a:spAutoFit/>
          </a:bodyPr>
          <a:lstStyle/>
          <a:p>
            <a:r>
              <a:rPr lang="en-US" dirty="0"/>
              <a:t>“A” intent</a:t>
            </a:r>
            <a:endParaRPr lang="fr-FR" dirty="0"/>
          </a:p>
        </p:txBody>
      </p:sp>
      <p:sp>
        <p:nvSpPr>
          <p:cNvPr id="11" name="Rectangle 10">
            <a:extLst>
              <a:ext uri="{FF2B5EF4-FFF2-40B4-BE49-F238E27FC236}">
                <a16:creationId xmlns:a16="http://schemas.microsoft.com/office/drawing/2014/main" id="{A614FA9D-6AAF-4275-82D4-5C3C36C8C9B6}"/>
              </a:ext>
            </a:extLst>
          </p:cNvPr>
          <p:cNvSpPr/>
          <p:nvPr/>
        </p:nvSpPr>
        <p:spPr>
          <a:xfrm>
            <a:off x="7344672" y="1551114"/>
            <a:ext cx="1095991" cy="300082"/>
          </a:xfrm>
          <a:prstGeom prst="rect">
            <a:avLst/>
          </a:prstGeom>
        </p:spPr>
        <p:txBody>
          <a:bodyPr wrap="square">
            <a:spAutoFit/>
          </a:bodyPr>
          <a:lstStyle/>
          <a:p>
            <a:r>
              <a:rPr lang="en-US" dirty="0"/>
              <a:t>“B” intent</a:t>
            </a:r>
            <a:endParaRPr lang="fr-FR" dirty="0"/>
          </a:p>
        </p:txBody>
      </p:sp>
      <p:sp>
        <p:nvSpPr>
          <p:cNvPr id="12" name="Rectangle 11">
            <a:extLst>
              <a:ext uri="{FF2B5EF4-FFF2-40B4-BE49-F238E27FC236}">
                <a16:creationId xmlns:a16="http://schemas.microsoft.com/office/drawing/2014/main" id="{7F6B83DF-77AC-4D24-9407-7F734220E47A}"/>
              </a:ext>
            </a:extLst>
          </p:cNvPr>
          <p:cNvSpPr/>
          <p:nvPr/>
        </p:nvSpPr>
        <p:spPr>
          <a:xfrm>
            <a:off x="7315717" y="3005450"/>
            <a:ext cx="1095991" cy="300082"/>
          </a:xfrm>
          <a:prstGeom prst="rect">
            <a:avLst/>
          </a:prstGeom>
        </p:spPr>
        <p:txBody>
          <a:bodyPr wrap="square">
            <a:spAutoFit/>
          </a:bodyPr>
          <a:lstStyle/>
          <a:p>
            <a:r>
              <a:rPr lang="en-US" dirty="0"/>
              <a:t>“C” intent</a:t>
            </a:r>
            <a:endParaRPr lang="fr-FR" dirty="0"/>
          </a:p>
        </p:txBody>
      </p:sp>
      <p:sp>
        <p:nvSpPr>
          <p:cNvPr id="13" name="Rectangle 12">
            <a:extLst>
              <a:ext uri="{FF2B5EF4-FFF2-40B4-BE49-F238E27FC236}">
                <a16:creationId xmlns:a16="http://schemas.microsoft.com/office/drawing/2014/main" id="{8D903235-AAB0-4B8D-958F-6D3DD3255098}"/>
              </a:ext>
            </a:extLst>
          </p:cNvPr>
          <p:cNvSpPr/>
          <p:nvPr/>
        </p:nvSpPr>
        <p:spPr>
          <a:xfrm>
            <a:off x="4775369" y="3305532"/>
            <a:ext cx="1095991" cy="300082"/>
          </a:xfrm>
          <a:prstGeom prst="rect">
            <a:avLst/>
          </a:prstGeom>
        </p:spPr>
        <p:txBody>
          <a:bodyPr wrap="square">
            <a:spAutoFit/>
          </a:bodyPr>
          <a:lstStyle/>
          <a:p>
            <a:r>
              <a:rPr lang="en-US" dirty="0"/>
              <a:t>“D” intent</a:t>
            </a:r>
            <a:endParaRPr lang="fr-FR" dirty="0"/>
          </a:p>
        </p:txBody>
      </p:sp>
      <p:sp>
        <p:nvSpPr>
          <p:cNvPr id="14" name="Bande diagonale 13">
            <a:extLst>
              <a:ext uri="{FF2B5EF4-FFF2-40B4-BE49-F238E27FC236}">
                <a16:creationId xmlns:a16="http://schemas.microsoft.com/office/drawing/2014/main" id="{7153C192-FC93-4522-B5A5-48BEDF089FAF}"/>
              </a:ext>
            </a:extLst>
          </p:cNvPr>
          <p:cNvSpPr/>
          <p:nvPr/>
        </p:nvSpPr>
        <p:spPr>
          <a:xfrm rot="5400000">
            <a:off x="7236889" y="-6860"/>
            <a:ext cx="1908000" cy="1906223"/>
          </a:xfrm>
          <a:prstGeom prst="diagStripe">
            <a:avLst>
              <a:gd name="adj" fmla="val 6268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15" name="ZoneTexte 14">
            <a:extLst>
              <a:ext uri="{FF2B5EF4-FFF2-40B4-BE49-F238E27FC236}">
                <a16:creationId xmlns:a16="http://schemas.microsoft.com/office/drawing/2014/main" id="{1E0E20A5-648F-41EC-B086-A5AA23A1845B}"/>
              </a:ext>
            </a:extLst>
          </p:cNvPr>
          <p:cNvSpPr txBox="1"/>
          <p:nvPr/>
        </p:nvSpPr>
        <p:spPr>
          <a:xfrm rot="2735380">
            <a:off x="7553002" y="548280"/>
            <a:ext cx="1937289" cy="682028"/>
          </a:xfrm>
          <a:prstGeom prst="rect">
            <a:avLst/>
          </a:prstGeom>
        </p:spPr>
        <p:txBody>
          <a:bodyPr wrap="square" lIns="72000" tIns="72000" rIns="72000" bIns="72000" rtlCol="0">
            <a:spAutoFit/>
          </a:bodyPr>
          <a:lstStyle/>
          <a:p>
            <a:pPr algn="l">
              <a:lnSpc>
                <a:spcPct val="120000"/>
              </a:lnSpc>
              <a:spcAft>
                <a:spcPts val="600"/>
              </a:spcAft>
            </a:pPr>
            <a:r>
              <a:rPr lang="fr-FR" sz="3200" b="1" dirty="0">
                <a:solidFill>
                  <a:schemeClr val="bg1"/>
                </a:solidFill>
                <a:latin typeface="Arial" panose="020B0604020202020204" pitchFamily="34" charset="0"/>
                <a:cs typeface="Arial" panose="020B0604020202020204" pitchFamily="34" charset="0"/>
              </a:rPr>
              <a:t>BONUS</a:t>
            </a:r>
          </a:p>
        </p:txBody>
      </p:sp>
    </p:spTree>
    <p:extLst>
      <p:ext uri="{BB962C8B-B14F-4D97-AF65-F5344CB8AC3E}">
        <p14:creationId xmlns:p14="http://schemas.microsoft.com/office/powerpoint/2010/main" val="426043927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327B900-BE34-4783-B8B6-6A916305AAE6}"/>
              </a:ext>
            </a:extLst>
          </p:cNvPr>
          <p:cNvSpPr>
            <a:spLocks noGrp="1"/>
          </p:cNvSpPr>
          <p:nvPr>
            <p:ph type="title"/>
          </p:nvPr>
        </p:nvSpPr>
        <p:spPr/>
        <p:txBody>
          <a:bodyPr/>
          <a:lstStyle/>
          <a:p>
            <a:r>
              <a:rPr lang="en-US" dirty="0"/>
              <a:t>Analyzing the quality of training phrases</a:t>
            </a:r>
            <a:endParaRPr lang="fr-FR" dirty="0"/>
          </a:p>
        </p:txBody>
      </p:sp>
      <p:sp>
        <p:nvSpPr>
          <p:cNvPr id="3" name="Text Placeholder 16">
            <a:extLst>
              <a:ext uri="{FF2B5EF4-FFF2-40B4-BE49-F238E27FC236}">
                <a16:creationId xmlns:a16="http://schemas.microsoft.com/office/drawing/2014/main" id="{570B557F-2EBC-4D93-B261-0A2CEFB8576F}"/>
              </a:ext>
            </a:extLst>
          </p:cNvPr>
          <p:cNvSpPr txBox="1">
            <a:spLocks/>
          </p:cNvSpPr>
          <p:nvPr/>
        </p:nvSpPr>
        <p:spPr>
          <a:xfrm>
            <a:off x="288236" y="808037"/>
            <a:ext cx="8005159"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Clr>
                <a:schemeClr val="accent2"/>
              </a:buClr>
              <a:buFont typeface="Arial" panose="020B0604020202020204" pitchFamily="34" charset="0"/>
              <a:buChar char="•"/>
            </a:pPr>
            <a:r>
              <a:rPr lang="en-US" sz="1400" dirty="0">
                <a:latin typeface="+mn-lt"/>
              </a:rPr>
              <a:t>TensorFlow is an open source Machine Learning library created by Google to develop and run Machine Learning and Deep Learning applications.</a:t>
            </a:r>
          </a:p>
          <a:p>
            <a:pPr marL="285750" indent="-285750">
              <a:buClr>
                <a:schemeClr val="accent2"/>
              </a:buClr>
              <a:buFont typeface="Arial" panose="020B0604020202020204" pitchFamily="34" charset="0"/>
              <a:buChar char="•"/>
            </a:pPr>
            <a:endParaRPr lang="fr-FR" sz="1400" dirty="0">
              <a:latin typeface="+mn-lt"/>
            </a:endParaRPr>
          </a:p>
          <a:p>
            <a:pPr marL="285750" indent="-285750">
              <a:buClr>
                <a:schemeClr val="accent2"/>
              </a:buClr>
              <a:buFont typeface="Arial" panose="020B0604020202020204" pitchFamily="34" charset="0"/>
              <a:buChar char="•"/>
            </a:pPr>
            <a:endParaRPr lang="fr-FR" sz="1400" dirty="0">
              <a:latin typeface="+mn-lt"/>
            </a:endParaRPr>
          </a:p>
          <a:p>
            <a:pPr marL="285750" indent="-285750">
              <a:buClr>
                <a:schemeClr val="accent2"/>
              </a:buClr>
              <a:buFont typeface="Arial" panose="020B0604020202020204" pitchFamily="34" charset="0"/>
              <a:buChar char="•"/>
            </a:pPr>
            <a:endParaRPr lang="fr-FR" sz="1400" dirty="0">
              <a:latin typeface="+mn-lt"/>
            </a:endParaRPr>
          </a:p>
          <a:p>
            <a:pPr marL="285750" indent="-285750">
              <a:buClr>
                <a:schemeClr val="accent2"/>
              </a:buClr>
              <a:buFont typeface="Arial" panose="020B0604020202020204" pitchFamily="34" charset="0"/>
              <a:buChar char="•"/>
            </a:pPr>
            <a:endParaRPr lang="fr-FR" sz="1400" dirty="0">
              <a:latin typeface="+mn-lt"/>
            </a:endParaRPr>
          </a:p>
          <a:p>
            <a:pPr marL="285750" indent="-285750">
              <a:buClr>
                <a:schemeClr val="accent2"/>
              </a:buClr>
              <a:buFont typeface="Arial" panose="020B0604020202020204" pitchFamily="34" charset="0"/>
              <a:buChar char="•"/>
            </a:pPr>
            <a:endParaRPr lang="fr-FR" sz="1400" dirty="0">
              <a:latin typeface="+mn-lt"/>
            </a:endParaRPr>
          </a:p>
          <a:p>
            <a:pPr marL="285750" indent="-285750">
              <a:buClr>
                <a:schemeClr val="accent2"/>
              </a:buClr>
              <a:buFont typeface="Arial" panose="020B0604020202020204" pitchFamily="34" charset="0"/>
              <a:buChar char="•"/>
            </a:pPr>
            <a:r>
              <a:rPr lang="fr-FR" sz="1400" dirty="0" err="1">
                <a:latin typeface="+mn-lt"/>
              </a:rPr>
              <a:t>With</a:t>
            </a:r>
            <a:r>
              <a:rPr lang="fr-FR" sz="1400" dirty="0">
                <a:latin typeface="+mn-lt"/>
              </a:rPr>
              <a:t> </a:t>
            </a:r>
            <a:r>
              <a:rPr lang="fr-FR" sz="1400" dirty="0" err="1">
                <a:latin typeface="+mn-lt"/>
              </a:rPr>
              <a:t>Tensorflow</a:t>
            </a:r>
            <a:r>
              <a:rPr lang="fr-FR" sz="1400" dirty="0">
                <a:latin typeface="+mn-lt"/>
              </a:rPr>
              <a:t>, </a:t>
            </a:r>
            <a:r>
              <a:rPr lang="fr-FR" sz="1400" dirty="0" err="1">
                <a:latin typeface="+mn-lt"/>
              </a:rPr>
              <a:t>you</a:t>
            </a:r>
            <a:r>
              <a:rPr lang="fr-FR" sz="1400" dirty="0">
                <a:latin typeface="+mn-lt"/>
              </a:rPr>
              <a:t> can </a:t>
            </a:r>
            <a:r>
              <a:rPr lang="fr-FR" sz="1400" dirty="0" err="1">
                <a:latin typeface="+mn-lt"/>
              </a:rPr>
              <a:t>evaluate</a:t>
            </a:r>
            <a:r>
              <a:rPr lang="fr-FR" sz="1400" dirty="0">
                <a:latin typeface="+mn-lt"/>
              </a:rPr>
              <a:t> :</a:t>
            </a:r>
          </a:p>
          <a:p>
            <a:pPr marL="690563" lvl="1" indent="-285750"/>
            <a:r>
              <a:rPr lang="en-US" sz="1250" dirty="0">
                <a:solidFill>
                  <a:schemeClr val="accent2"/>
                </a:solidFill>
              </a:rPr>
              <a:t>Cohesion</a:t>
            </a:r>
            <a:r>
              <a:rPr lang="en-US" sz="1250" dirty="0"/>
              <a:t>: The average similarity value between each pair of phrases in the same intent. That value is computed for each intent. The higher the intent cohesion value, the better the intent training phrases.</a:t>
            </a:r>
          </a:p>
          <a:p>
            <a:pPr marL="690563" lvl="1" indent="-285750"/>
            <a:r>
              <a:rPr lang="en-US" sz="1250" dirty="0">
                <a:solidFill>
                  <a:schemeClr val="accent2"/>
                </a:solidFill>
              </a:rPr>
              <a:t>Separation</a:t>
            </a:r>
            <a:r>
              <a:rPr lang="en-US" sz="1250" dirty="0"/>
              <a:t>: Given two intents, the average distance between each pair of training phrases in the two intents.</a:t>
            </a:r>
          </a:p>
          <a:p>
            <a:pPr marL="690563" lvl="1" indent="-285750"/>
            <a:r>
              <a:rPr lang="en-US" sz="1250" dirty="0">
                <a:solidFill>
                  <a:schemeClr val="accent2"/>
                </a:solidFill>
              </a:rPr>
              <a:t>Confusing</a:t>
            </a:r>
            <a:r>
              <a:rPr lang="en-US" sz="1250" dirty="0"/>
              <a:t> phrases: Training phrases that are highly similar to training phrases in other intents.</a:t>
            </a:r>
            <a:endParaRPr lang="fr-FR" sz="1250" dirty="0"/>
          </a:p>
          <a:p>
            <a:pPr marL="285750" indent="-285750">
              <a:buFont typeface="Arial" panose="020B0604020202020204" pitchFamily="34" charset="0"/>
              <a:buChar char="•"/>
            </a:pPr>
            <a:endParaRPr lang="fr-FR" sz="1600" dirty="0"/>
          </a:p>
          <a:p>
            <a:pPr marL="285750" indent="-285750">
              <a:buFont typeface="Arial" panose="020B0604020202020204" pitchFamily="34" charset="0"/>
              <a:buChar char="•"/>
            </a:pPr>
            <a:endParaRPr lang="fr-FR" sz="1600" dirty="0"/>
          </a:p>
          <a:p>
            <a:pPr marL="285750" indent="-285750"/>
            <a:endParaRPr lang="fr-FR" sz="1600" dirty="0"/>
          </a:p>
          <a:p>
            <a:pPr marL="285750" indent="-285750">
              <a:buFont typeface="Arial" panose="020B0604020202020204" pitchFamily="34" charset="0"/>
              <a:buChar char="•"/>
            </a:pPr>
            <a:endParaRPr lang="fr-FR" sz="1300" dirty="0"/>
          </a:p>
          <a:p>
            <a:pPr marL="690563" lvl="1" indent="-285750"/>
            <a:endParaRPr lang="fr-FR" sz="1450" dirty="0"/>
          </a:p>
          <a:p>
            <a:pPr marL="285750" indent="-285750">
              <a:buFont typeface="Arial" panose="020B0604020202020204" pitchFamily="34" charset="0"/>
              <a:buChar char="•"/>
            </a:pPr>
            <a:endParaRPr lang="fr-FR" sz="1600" dirty="0"/>
          </a:p>
          <a:p>
            <a:endParaRPr lang="en-US" dirty="0"/>
          </a:p>
        </p:txBody>
      </p:sp>
      <p:pic>
        <p:nvPicPr>
          <p:cNvPr id="55299" name="Picture 3" descr="Description de l'image TensorFlowLogo.svg.">
            <a:extLst>
              <a:ext uri="{FF2B5EF4-FFF2-40B4-BE49-F238E27FC236}">
                <a16:creationId xmlns:a16="http://schemas.microsoft.com/office/drawing/2014/main" id="{5BAE9375-4B2B-44EF-98A0-0756253D33B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79627" y="1314049"/>
            <a:ext cx="1366727" cy="1136868"/>
          </a:xfrm>
          <a:prstGeom prst="rect">
            <a:avLst/>
          </a:prstGeom>
          <a:noFill/>
          <a:extLst>
            <a:ext uri="{909E8E84-426E-40DD-AFC4-6F175D3DCCD1}">
              <a14:hiddenFill xmlns:a14="http://schemas.microsoft.com/office/drawing/2010/main">
                <a:solidFill>
                  <a:srgbClr val="FFFFFF"/>
                </a:solidFill>
              </a14:hiddenFill>
            </a:ext>
          </a:extLst>
        </p:spPr>
      </p:pic>
      <p:sp>
        <p:nvSpPr>
          <p:cNvPr id="7" name="Bande diagonale 6">
            <a:extLst>
              <a:ext uri="{FF2B5EF4-FFF2-40B4-BE49-F238E27FC236}">
                <a16:creationId xmlns:a16="http://schemas.microsoft.com/office/drawing/2014/main" id="{5ACC1943-2EAF-4F6D-B16F-FDFB210DDE25}"/>
              </a:ext>
            </a:extLst>
          </p:cNvPr>
          <p:cNvSpPr/>
          <p:nvPr/>
        </p:nvSpPr>
        <p:spPr>
          <a:xfrm rot="5400000">
            <a:off x="7236889" y="-6860"/>
            <a:ext cx="1908000" cy="1906223"/>
          </a:xfrm>
          <a:prstGeom prst="diagStripe">
            <a:avLst>
              <a:gd name="adj" fmla="val 6268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8" name="ZoneTexte 7">
            <a:extLst>
              <a:ext uri="{FF2B5EF4-FFF2-40B4-BE49-F238E27FC236}">
                <a16:creationId xmlns:a16="http://schemas.microsoft.com/office/drawing/2014/main" id="{96A05631-5850-42EF-B973-58118D62FA0E}"/>
              </a:ext>
            </a:extLst>
          </p:cNvPr>
          <p:cNvSpPr txBox="1"/>
          <p:nvPr/>
        </p:nvSpPr>
        <p:spPr>
          <a:xfrm rot="2735380">
            <a:off x="7553002" y="548280"/>
            <a:ext cx="1937289" cy="682028"/>
          </a:xfrm>
          <a:prstGeom prst="rect">
            <a:avLst/>
          </a:prstGeom>
        </p:spPr>
        <p:txBody>
          <a:bodyPr wrap="square" lIns="72000" tIns="72000" rIns="72000" bIns="72000" rtlCol="0">
            <a:spAutoFit/>
          </a:bodyPr>
          <a:lstStyle/>
          <a:p>
            <a:pPr algn="l">
              <a:lnSpc>
                <a:spcPct val="120000"/>
              </a:lnSpc>
              <a:spcAft>
                <a:spcPts val="600"/>
              </a:spcAft>
            </a:pPr>
            <a:r>
              <a:rPr lang="fr-FR" sz="3200" b="1" dirty="0">
                <a:solidFill>
                  <a:schemeClr val="bg1"/>
                </a:solidFill>
                <a:latin typeface="Arial" panose="020B0604020202020204" pitchFamily="34" charset="0"/>
                <a:cs typeface="Arial" panose="020B0604020202020204" pitchFamily="34" charset="0"/>
              </a:rPr>
              <a:t>BONUS</a:t>
            </a:r>
          </a:p>
        </p:txBody>
      </p:sp>
    </p:spTree>
    <p:extLst>
      <p:ext uri="{BB962C8B-B14F-4D97-AF65-F5344CB8AC3E}">
        <p14:creationId xmlns:p14="http://schemas.microsoft.com/office/powerpoint/2010/main" val="807148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2138CB1-3872-40FF-87C1-C4087FB11C51}"/>
              </a:ext>
            </a:extLst>
          </p:cNvPr>
          <p:cNvSpPr>
            <a:spLocks noGrp="1"/>
          </p:cNvSpPr>
          <p:nvPr>
            <p:ph type="title"/>
          </p:nvPr>
        </p:nvSpPr>
        <p:spPr/>
        <p:txBody>
          <a:bodyPr/>
          <a:lstStyle/>
          <a:p>
            <a:r>
              <a:rPr lang="en-US" dirty="0"/>
              <a:t>Analyzing the quality of training phrases</a:t>
            </a:r>
            <a:endParaRPr lang="fr-FR" dirty="0"/>
          </a:p>
        </p:txBody>
      </p:sp>
      <p:pic>
        <p:nvPicPr>
          <p:cNvPr id="56322" name="Picture 2" descr="Visualiser les représentations vectorielles continues des phrases avec la dimensionnalité réduite">
            <a:extLst>
              <a:ext uri="{FF2B5EF4-FFF2-40B4-BE49-F238E27FC236}">
                <a16:creationId xmlns:a16="http://schemas.microsoft.com/office/drawing/2014/main" id="{98B388F6-FA03-47BC-AC2E-709EC1AD6D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2353" y="585246"/>
            <a:ext cx="6839135" cy="437661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DA92E8E2-AACD-479E-87EF-7E0942C2D1AB}"/>
              </a:ext>
            </a:extLst>
          </p:cNvPr>
          <p:cNvSpPr/>
          <p:nvPr/>
        </p:nvSpPr>
        <p:spPr>
          <a:xfrm>
            <a:off x="213795" y="688802"/>
            <a:ext cx="1393885" cy="1131079"/>
          </a:xfrm>
          <a:prstGeom prst="rect">
            <a:avLst/>
          </a:prstGeom>
        </p:spPr>
        <p:txBody>
          <a:bodyPr wrap="square">
            <a:spAutoFit/>
          </a:bodyPr>
          <a:lstStyle/>
          <a:p>
            <a:r>
              <a:rPr lang="en-US" dirty="0">
                <a:solidFill>
                  <a:srgbClr val="212121"/>
                </a:solidFill>
                <a:latin typeface="Roboto"/>
              </a:rPr>
              <a:t>A 2D representation of the training phrases embeddings.</a:t>
            </a:r>
            <a:endParaRPr lang="fr-FR" dirty="0"/>
          </a:p>
        </p:txBody>
      </p:sp>
      <p:sp>
        <p:nvSpPr>
          <p:cNvPr id="5" name="Bande diagonale 4">
            <a:extLst>
              <a:ext uri="{FF2B5EF4-FFF2-40B4-BE49-F238E27FC236}">
                <a16:creationId xmlns:a16="http://schemas.microsoft.com/office/drawing/2014/main" id="{1930D0B2-0936-4204-825C-83E11DF5AC17}"/>
              </a:ext>
            </a:extLst>
          </p:cNvPr>
          <p:cNvSpPr/>
          <p:nvPr/>
        </p:nvSpPr>
        <p:spPr>
          <a:xfrm rot="5400000">
            <a:off x="7236889" y="-6860"/>
            <a:ext cx="1908000" cy="1906223"/>
          </a:xfrm>
          <a:prstGeom prst="diagStripe">
            <a:avLst>
              <a:gd name="adj" fmla="val 6268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6" name="ZoneTexte 5">
            <a:extLst>
              <a:ext uri="{FF2B5EF4-FFF2-40B4-BE49-F238E27FC236}">
                <a16:creationId xmlns:a16="http://schemas.microsoft.com/office/drawing/2014/main" id="{27CBB10C-18CA-4058-8F45-692696AF1BF6}"/>
              </a:ext>
            </a:extLst>
          </p:cNvPr>
          <p:cNvSpPr txBox="1"/>
          <p:nvPr/>
        </p:nvSpPr>
        <p:spPr>
          <a:xfrm rot="2735380">
            <a:off x="7553002" y="548280"/>
            <a:ext cx="1937289" cy="682028"/>
          </a:xfrm>
          <a:prstGeom prst="rect">
            <a:avLst/>
          </a:prstGeom>
        </p:spPr>
        <p:txBody>
          <a:bodyPr wrap="square" lIns="72000" tIns="72000" rIns="72000" bIns="72000" rtlCol="0">
            <a:spAutoFit/>
          </a:bodyPr>
          <a:lstStyle/>
          <a:p>
            <a:pPr algn="l">
              <a:lnSpc>
                <a:spcPct val="120000"/>
              </a:lnSpc>
              <a:spcAft>
                <a:spcPts val="600"/>
              </a:spcAft>
            </a:pPr>
            <a:r>
              <a:rPr lang="fr-FR" sz="3200" b="1" dirty="0">
                <a:solidFill>
                  <a:schemeClr val="bg1"/>
                </a:solidFill>
                <a:latin typeface="Arial" panose="020B0604020202020204" pitchFamily="34" charset="0"/>
                <a:cs typeface="Arial" panose="020B0604020202020204" pitchFamily="34" charset="0"/>
              </a:rPr>
              <a:t>BONUS</a:t>
            </a:r>
          </a:p>
        </p:txBody>
      </p:sp>
    </p:spTree>
    <p:extLst>
      <p:ext uri="{BB962C8B-B14F-4D97-AF65-F5344CB8AC3E}">
        <p14:creationId xmlns:p14="http://schemas.microsoft.com/office/powerpoint/2010/main" val="258002187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2138CB1-3872-40FF-87C1-C4087FB11C51}"/>
              </a:ext>
            </a:extLst>
          </p:cNvPr>
          <p:cNvSpPr>
            <a:spLocks noGrp="1"/>
          </p:cNvSpPr>
          <p:nvPr>
            <p:ph type="title"/>
          </p:nvPr>
        </p:nvSpPr>
        <p:spPr/>
        <p:txBody>
          <a:bodyPr/>
          <a:lstStyle/>
          <a:p>
            <a:r>
              <a:rPr lang="en-US" dirty="0"/>
              <a:t>Analyzing the quality of training phrases</a:t>
            </a:r>
            <a:endParaRPr lang="fr-FR" dirty="0"/>
          </a:p>
        </p:txBody>
      </p:sp>
      <p:sp>
        <p:nvSpPr>
          <p:cNvPr id="3" name="Rectangle 2">
            <a:extLst>
              <a:ext uri="{FF2B5EF4-FFF2-40B4-BE49-F238E27FC236}">
                <a16:creationId xmlns:a16="http://schemas.microsoft.com/office/drawing/2014/main" id="{DA92E8E2-AACD-479E-87EF-7E0942C2D1AB}"/>
              </a:ext>
            </a:extLst>
          </p:cNvPr>
          <p:cNvSpPr/>
          <p:nvPr/>
        </p:nvSpPr>
        <p:spPr>
          <a:xfrm>
            <a:off x="449092" y="694623"/>
            <a:ext cx="8503522" cy="2793072"/>
          </a:xfrm>
          <a:prstGeom prst="rect">
            <a:avLst/>
          </a:prstGeom>
        </p:spPr>
        <p:txBody>
          <a:bodyPr wrap="square">
            <a:spAutoFit/>
          </a:bodyPr>
          <a:lstStyle/>
          <a:p>
            <a:r>
              <a:rPr lang="en-US" dirty="0">
                <a:solidFill>
                  <a:srgbClr val="212121"/>
                </a:solidFill>
                <a:latin typeface="Roboto"/>
              </a:rPr>
              <a:t>You can find the most similar training phrases that don't belong to the same intent:</a:t>
            </a:r>
          </a:p>
          <a:p>
            <a:endParaRPr lang="en-US" dirty="0">
              <a:solidFill>
                <a:srgbClr val="212121"/>
              </a:solidFill>
              <a:latin typeface="Roboto"/>
            </a:endParaRPr>
          </a:p>
          <a:p>
            <a:endParaRPr lang="en-US" dirty="0">
              <a:solidFill>
                <a:srgbClr val="212121"/>
              </a:solidFill>
              <a:latin typeface="Roboto"/>
            </a:endParaRPr>
          </a:p>
          <a:p>
            <a:endParaRPr lang="en-US" dirty="0">
              <a:solidFill>
                <a:srgbClr val="212121"/>
              </a:solidFill>
              <a:latin typeface="Roboto"/>
            </a:endParaRPr>
          </a:p>
          <a:p>
            <a:endParaRPr lang="en-US" dirty="0">
              <a:solidFill>
                <a:srgbClr val="212121"/>
              </a:solidFill>
              <a:latin typeface="Roboto"/>
            </a:endParaRPr>
          </a:p>
          <a:p>
            <a:endParaRPr lang="en-US" dirty="0">
              <a:solidFill>
                <a:srgbClr val="212121"/>
              </a:solidFill>
              <a:latin typeface="Roboto"/>
            </a:endParaRPr>
          </a:p>
          <a:p>
            <a:endParaRPr lang="en-US" dirty="0">
              <a:solidFill>
                <a:srgbClr val="212121"/>
              </a:solidFill>
              <a:latin typeface="Roboto"/>
            </a:endParaRPr>
          </a:p>
          <a:p>
            <a:endParaRPr lang="en-US" dirty="0">
              <a:solidFill>
                <a:srgbClr val="212121"/>
              </a:solidFill>
              <a:latin typeface="Roboto"/>
            </a:endParaRPr>
          </a:p>
          <a:p>
            <a:endParaRPr lang="en-US" dirty="0">
              <a:solidFill>
                <a:srgbClr val="212121"/>
              </a:solidFill>
              <a:latin typeface="Roboto"/>
            </a:endParaRPr>
          </a:p>
          <a:p>
            <a:endParaRPr lang="en-US" dirty="0">
              <a:solidFill>
                <a:srgbClr val="212121"/>
              </a:solidFill>
              <a:latin typeface="Roboto"/>
            </a:endParaRPr>
          </a:p>
          <a:p>
            <a:endParaRPr lang="en-US" dirty="0">
              <a:solidFill>
                <a:srgbClr val="212121"/>
              </a:solidFill>
              <a:latin typeface="Roboto"/>
            </a:endParaRPr>
          </a:p>
          <a:p>
            <a:r>
              <a:rPr lang="en-US" dirty="0">
                <a:solidFill>
                  <a:srgbClr val="212121"/>
                </a:solidFill>
                <a:latin typeface="Roboto"/>
              </a:rPr>
              <a:t>Phrases in different intents that have high similarity value can be confusing to the </a:t>
            </a:r>
            <a:r>
              <a:rPr lang="en-US" dirty="0" err="1">
                <a:solidFill>
                  <a:srgbClr val="212121"/>
                </a:solidFill>
                <a:latin typeface="Roboto"/>
              </a:rPr>
              <a:t>Dialogflow</a:t>
            </a:r>
            <a:r>
              <a:rPr lang="en-US" dirty="0">
                <a:solidFill>
                  <a:srgbClr val="212121"/>
                </a:solidFill>
                <a:latin typeface="Roboto"/>
              </a:rPr>
              <a:t> agent, and could lead to directing the user input to the wrong intent.</a:t>
            </a:r>
            <a:endParaRPr lang="fr-FR" dirty="0"/>
          </a:p>
        </p:txBody>
      </p:sp>
      <p:pic>
        <p:nvPicPr>
          <p:cNvPr id="4" name="Image 3">
            <a:extLst>
              <a:ext uri="{FF2B5EF4-FFF2-40B4-BE49-F238E27FC236}">
                <a16:creationId xmlns:a16="http://schemas.microsoft.com/office/drawing/2014/main" id="{FCF68480-8A54-498B-A82F-004C45F1C345}"/>
              </a:ext>
            </a:extLst>
          </p:cNvPr>
          <p:cNvPicPr>
            <a:picLocks noChangeAspect="1"/>
          </p:cNvPicPr>
          <p:nvPr/>
        </p:nvPicPr>
        <p:blipFill>
          <a:blip r:embed="rId2"/>
          <a:stretch>
            <a:fillRect/>
          </a:stretch>
        </p:blipFill>
        <p:spPr>
          <a:xfrm>
            <a:off x="1834189" y="1214844"/>
            <a:ext cx="5305502" cy="1356906"/>
          </a:xfrm>
          <a:prstGeom prst="rect">
            <a:avLst/>
          </a:prstGeom>
        </p:spPr>
      </p:pic>
      <p:sp>
        <p:nvSpPr>
          <p:cNvPr id="6" name="Bande diagonale 5">
            <a:extLst>
              <a:ext uri="{FF2B5EF4-FFF2-40B4-BE49-F238E27FC236}">
                <a16:creationId xmlns:a16="http://schemas.microsoft.com/office/drawing/2014/main" id="{EEE36EB1-B9C1-41B7-834B-038EC2880D38}"/>
              </a:ext>
            </a:extLst>
          </p:cNvPr>
          <p:cNvSpPr/>
          <p:nvPr/>
        </p:nvSpPr>
        <p:spPr>
          <a:xfrm rot="5400000">
            <a:off x="7236889" y="-6860"/>
            <a:ext cx="1908000" cy="1906223"/>
          </a:xfrm>
          <a:prstGeom prst="diagStripe">
            <a:avLst>
              <a:gd name="adj" fmla="val 6268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7" name="ZoneTexte 6">
            <a:extLst>
              <a:ext uri="{FF2B5EF4-FFF2-40B4-BE49-F238E27FC236}">
                <a16:creationId xmlns:a16="http://schemas.microsoft.com/office/drawing/2014/main" id="{45542EC1-10F3-4E6F-90E2-53EFFEFE1475}"/>
              </a:ext>
            </a:extLst>
          </p:cNvPr>
          <p:cNvSpPr txBox="1"/>
          <p:nvPr/>
        </p:nvSpPr>
        <p:spPr>
          <a:xfrm rot="2735380">
            <a:off x="7553002" y="548280"/>
            <a:ext cx="1937289" cy="682028"/>
          </a:xfrm>
          <a:prstGeom prst="rect">
            <a:avLst/>
          </a:prstGeom>
        </p:spPr>
        <p:txBody>
          <a:bodyPr wrap="square" lIns="72000" tIns="72000" rIns="72000" bIns="72000" rtlCol="0">
            <a:spAutoFit/>
          </a:bodyPr>
          <a:lstStyle/>
          <a:p>
            <a:pPr algn="l">
              <a:lnSpc>
                <a:spcPct val="120000"/>
              </a:lnSpc>
              <a:spcAft>
                <a:spcPts val="600"/>
              </a:spcAft>
            </a:pPr>
            <a:r>
              <a:rPr lang="fr-FR" sz="3200" b="1" dirty="0">
                <a:solidFill>
                  <a:schemeClr val="bg1"/>
                </a:solidFill>
                <a:latin typeface="Arial" panose="020B0604020202020204" pitchFamily="34" charset="0"/>
                <a:cs typeface="Arial" panose="020B0604020202020204" pitchFamily="34" charset="0"/>
              </a:rPr>
              <a:t>BONUS</a:t>
            </a:r>
          </a:p>
        </p:txBody>
      </p:sp>
    </p:spTree>
    <p:extLst>
      <p:ext uri="{BB962C8B-B14F-4D97-AF65-F5344CB8AC3E}">
        <p14:creationId xmlns:p14="http://schemas.microsoft.com/office/powerpoint/2010/main" val="325861710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llipse 5">
            <a:extLst>
              <a:ext uri="{FF2B5EF4-FFF2-40B4-BE49-F238E27FC236}">
                <a16:creationId xmlns:a16="http://schemas.microsoft.com/office/drawing/2014/main" id="{0C04EDAC-5594-49D9-A348-ADF93F2EC4EE}"/>
              </a:ext>
            </a:extLst>
          </p:cNvPr>
          <p:cNvSpPr/>
          <p:nvPr/>
        </p:nvSpPr>
        <p:spPr>
          <a:xfrm>
            <a:off x="3418087" y="1021162"/>
            <a:ext cx="5311361" cy="5254433"/>
          </a:xfrm>
          <a:prstGeom prst="ellipse">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A58C9069-A253-0946-846F-2D00A4204D95}"/>
              </a:ext>
            </a:extLst>
          </p:cNvPr>
          <p:cNvSpPr>
            <a:spLocks noGrp="1"/>
          </p:cNvSpPr>
          <p:nvPr>
            <p:ph type="title"/>
          </p:nvPr>
        </p:nvSpPr>
        <p:spPr/>
        <p:txBody>
          <a:bodyPr/>
          <a:lstStyle/>
          <a:p>
            <a:r>
              <a:rPr lang="en-US" dirty="0" err="1"/>
              <a:t>Dialogflow</a:t>
            </a:r>
            <a:br>
              <a:rPr lang="en-US" dirty="0"/>
            </a:br>
            <a:r>
              <a:rPr lang="en-US" dirty="0"/>
              <a:t>Training</a:t>
            </a:r>
          </a:p>
        </p:txBody>
      </p:sp>
      <p:sp>
        <p:nvSpPr>
          <p:cNvPr id="3" name="Text Placeholder 2">
            <a:extLst>
              <a:ext uri="{FF2B5EF4-FFF2-40B4-BE49-F238E27FC236}">
                <a16:creationId xmlns:a16="http://schemas.microsoft.com/office/drawing/2014/main" id="{F52F02E1-A4DC-B244-BCC1-26DDC889B5C3}"/>
              </a:ext>
            </a:extLst>
          </p:cNvPr>
          <p:cNvSpPr>
            <a:spLocks noGrp="1"/>
          </p:cNvSpPr>
          <p:nvPr>
            <p:ph type="body" sz="quarter" idx="10"/>
          </p:nvPr>
        </p:nvSpPr>
        <p:spPr/>
        <p:txBody>
          <a:bodyPr/>
          <a:lstStyle/>
          <a:p>
            <a:r>
              <a:rPr lang="en-US" dirty="0"/>
              <a:t>Module 7 : Contexts</a:t>
            </a:r>
          </a:p>
        </p:txBody>
      </p:sp>
      <p:sp>
        <p:nvSpPr>
          <p:cNvPr id="7" name="Freeform 1">
            <a:extLst>
              <a:ext uri="{FF2B5EF4-FFF2-40B4-BE49-F238E27FC236}">
                <a16:creationId xmlns:a16="http://schemas.microsoft.com/office/drawing/2014/main" id="{C009C2CB-0D45-244B-8254-95D0D9E3683C}"/>
              </a:ext>
            </a:extLst>
          </p:cNvPr>
          <p:cNvSpPr>
            <a:spLocks noChangeArrowheads="1"/>
          </p:cNvSpPr>
          <p:nvPr/>
        </p:nvSpPr>
        <p:spPr bwMode="auto">
          <a:xfrm>
            <a:off x="6799803" y="0"/>
            <a:ext cx="2747583" cy="2612551"/>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1414744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E689308-3664-469C-B2D1-A5C98A53C918}"/>
              </a:ext>
            </a:extLst>
          </p:cNvPr>
          <p:cNvSpPr>
            <a:spLocks noGrp="1"/>
          </p:cNvSpPr>
          <p:nvPr>
            <p:ph type="title"/>
          </p:nvPr>
        </p:nvSpPr>
        <p:spPr/>
        <p:txBody>
          <a:bodyPr/>
          <a:lstStyle/>
          <a:p>
            <a:r>
              <a:rPr lang="fr-FR" dirty="0" err="1"/>
              <a:t>Internal</a:t>
            </a:r>
            <a:r>
              <a:rPr lang="fr-FR" dirty="0"/>
              <a:t> architecture</a:t>
            </a:r>
          </a:p>
        </p:txBody>
      </p:sp>
      <p:pic>
        <p:nvPicPr>
          <p:cNvPr id="5" name="Image 4" descr="Une image contenant capture d’écran&#10;&#10;Description générée automatiquement">
            <a:extLst>
              <a:ext uri="{FF2B5EF4-FFF2-40B4-BE49-F238E27FC236}">
                <a16:creationId xmlns:a16="http://schemas.microsoft.com/office/drawing/2014/main" id="{0F803362-0680-411B-B92E-D9BD7DD7AE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555" y="329184"/>
            <a:ext cx="8202102" cy="4638845"/>
          </a:xfrm>
          <a:prstGeom prst="rect">
            <a:avLst/>
          </a:prstGeom>
        </p:spPr>
      </p:pic>
    </p:spTree>
    <p:extLst>
      <p:ext uri="{BB962C8B-B14F-4D97-AF65-F5344CB8AC3E}">
        <p14:creationId xmlns:p14="http://schemas.microsoft.com/office/powerpoint/2010/main" val="1220206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544E057-DF3E-47F7-A03E-D728444C6F76}"/>
              </a:ext>
            </a:extLst>
          </p:cNvPr>
          <p:cNvSpPr>
            <a:spLocks noGrp="1"/>
          </p:cNvSpPr>
          <p:nvPr>
            <p:ph type="title"/>
          </p:nvPr>
        </p:nvSpPr>
        <p:spPr>
          <a:xfrm>
            <a:off x="0" y="58301"/>
            <a:ext cx="6975475" cy="808037"/>
          </a:xfrm>
        </p:spPr>
        <p:txBody>
          <a:bodyPr/>
          <a:lstStyle/>
          <a:p>
            <a:r>
              <a:rPr lang="en-US" dirty="0"/>
              <a:t>Ordering a dialog : g</a:t>
            </a:r>
            <a:r>
              <a:rPr lang="fr-FR" dirty="0" err="1"/>
              <a:t>raphs</a:t>
            </a:r>
            <a:r>
              <a:rPr lang="fr-FR" dirty="0"/>
              <a:t> and </a:t>
            </a:r>
            <a:r>
              <a:rPr lang="fr-FR" dirty="0" err="1"/>
              <a:t>contexts</a:t>
            </a:r>
            <a:endParaRPr lang="fr-FR" dirty="0"/>
          </a:p>
        </p:txBody>
      </p:sp>
      <p:sp>
        <p:nvSpPr>
          <p:cNvPr id="17" name="Rectangle 16">
            <a:extLst>
              <a:ext uri="{FF2B5EF4-FFF2-40B4-BE49-F238E27FC236}">
                <a16:creationId xmlns:a16="http://schemas.microsoft.com/office/drawing/2014/main" id="{061115F2-CCC6-4108-A896-54330A42231F}"/>
              </a:ext>
            </a:extLst>
          </p:cNvPr>
          <p:cNvSpPr/>
          <p:nvPr/>
        </p:nvSpPr>
        <p:spPr>
          <a:xfrm>
            <a:off x="2151087" y="1190501"/>
            <a:ext cx="1079293" cy="3869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Hello</a:t>
            </a:r>
          </a:p>
        </p:txBody>
      </p:sp>
      <p:sp>
        <p:nvSpPr>
          <p:cNvPr id="18" name="Rectangle 17">
            <a:extLst>
              <a:ext uri="{FF2B5EF4-FFF2-40B4-BE49-F238E27FC236}">
                <a16:creationId xmlns:a16="http://schemas.microsoft.com/office/drawing/2014/main" id="{31FCE04E-1DE4-4D86-AC50-813A5265436B}"/>
              </a:ext>
            </a:extLst>
          </p:cNvPr>
          <p:cNvSpPr/>
          <p:nvPr/>
        </p:nvSpPr>
        <p:spPr>
          <a:xfrm>
            <a:off x="865678" y="2201501"/>
            <a:ext cx="1633929" cy="3869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err="1">
                <a:solidFill>
                  <a:schemeClr val="bg1"/>
                </a:solidFill>
              </a:rPr>
              <a:t>Order</a:t>
            </a:r>
            <a:r>
              <a:rPr lang="fr-FR" sz="1200" dirty="0">
                <a:solidFill>
                  <a:schemeClr val="bg1"/>
                </a:solidFill>
              </a:rPr>
              <a:t> a pizza</a:t>
            </a:r>
          </a:p>
        </p:txBody>
      </p:sp>
      <p:sp>
        <p:nvSpPr>
          <p:cNvPr id="19" name="Rectangle 18">
            <a:extLst>
              <a:ext uri="{FF2B5EF4-FFF2-40B4-BE49-F238E27FC236}">
                <a16:creationId xmlns:a16="http://schemas.microsoft.com/office/drawing/2014/main" id="{BBEB1ECD-8AF1-40BC-8D7C-F4AFC28C0CA9}"/>
              </a:ext>
            </a:extLst>
          </p:cNvPr>
          <p:cNvSpPr/>
          <p:nvPr/>
        </p:nvSpPr>
        <p:spPr>
          <a:xfrm>
            <a:off x="1682643" y="3212502"/>
            <a:ext cx="1727619" cy="3869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Question about the pizza</a:t>
            </a:r>
          </a:p>
        </p:txBody>
      </p:sp>
      <p:sp>
        <p:nvSpPr>
          <p:cNvPr id="20" name="Rectangle 19">
            <a:extLst>
              <a:ext uri="{FF2B5EF4-FFF2-40B4-BE49-F238E27FC236}">
                <a16:creationId xmlns:a16="http://schemas.microsoft.com/office/drawing/2014/main" id="{3BF74629-DC8E-4D4E-A1F3-E372B68230AF}"/>
              </a:ext>
            </a:extLst>
          </p:cNvPr>
          <p:cNvSpPr/>
          <p:nvPr/>
        </p:nvSpPr>
        <p:spPr>
          <a:xfrm>
            <a:off x="194872" y="3212502"/>
            <a:ext cx="1142999" cy="3869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Good bye</a:t>
            </a:r>
          </a:p>
        </p:txBody>
      </p:sp>
      <p:sp>
        <p:nvSpPr>
          <p:cNvPr id="21" name="Rectangle 20">
            <a:extLst>
              <a:ext uri="{FF2B5EF4-FFF2-40B4-BE49-F238E27FC236}">
                <a16:creationId xmlns:a16="http://schemas.microsoft.com/office/drawing/2014/main" id="{F4E549DF-6CEC-48DC-B583-6EA1396007AD}"/>
              </a:ext>
            </a:extLst>
          </p:cNvPr>
          <p:cNvSpPr/>
          <p:nvPr/>
        </p:nvSpPr>
        <p:spPr>
          <a:xfrm>
            <a:off x="3507698" y="2201501"/>
            <a:ext cx="1142999" cy="3869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Good Bye</a:t>
            </a:r>
          </a:p>
        </p:txBody>
      </p:sp>
      <p:cxnSp>
        <p:nvCxnSpPr>
          <p:cNvPr id="22" name="Connecteur droit avec flèche 21">
            <a:extLst>
              <a:ext uri="{FF2B5EF4-FFF2-40B4-BE49-F238E27FC236}">
                <a16:creationId xmlns:a16="http://schemas.microsoft.com/office/drawing/2014/main" id="{69E0792E-C336-4D37-95C5-D6F06C94FE47}"/>
              </a:ext>
            </a:extLst>
          </p:cNvPr>
          <p:cNvCxnSpPr>
            <a:cxnSpLocks/>
            <a:stCxn id="17" idx="2"/>
            <a:endCxn id="18" idx="0"/>
          </p:cNvCxnSpPr>
          <p:nvPr/>
        </p:nvCxnSpPr>
        <p:spPr>
          <a:xfrm flipH="1">
            <a:off x="1682643" y="1577432"/>
            <a:ext cx="1008091" cy="624069"/>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eur droit avec flèche 22">
            <a:extLst>
              <a:ext uri="{FF2B5EF4-FFF2-40B4-BE49-F238E27FC236}">
                <a16:creationId xmlns:a16="http://schemas.microsoft.com/office/drawing/2014/main" id="{2798C59F-2F39-4555-ADB3-7FB7062FC973}"/>
              </a:ext>
            </a:extLst>
          </p:cNvPr>
          <p:cNvCxnSpPr>
            <a:cxnSpLocks/>
            <a:endCxn id="20" idx="0"/>
          </p:cNvCxnSpPr>
          <p:nvPr/>
        </p:nvCxnSpPr>
        <p:spPr>
          <a:xfrm flipH="1">
            <a:off x="766372" y="2588432"/>
            <a:ext cx="858178" cy="62407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5F2B1D89-53E1-4714-B8AA-075C0D2E9A37}"/>
              </a:ext>
            </a:extLst>
          </p:cNvPr>
          <p:cNvCxnSpPr>
            <a:cxnSpLocks/>
            <a:endCxn id="21" idx="0"/>
          </p:cNvCxnSpPr>
          <p:nvPr/>
        </p:nvCxnSpPr>
        <p:spPr>
          <a:xfrm>
            <a:off x="2690732" y="1573631"/>
            <a:ext cx="1388466" cy="62787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eur droit avec flèche 24">
            <a:extLst>
              <a:ext uri="{FF2B5EF4-FFF2-40B4-BE49-F238E27FC236}">
                <a16:creationId xmlns:a16="http://schemas.microsoft.com/office/drawing/2014/main" id="{53A69366-9A71-41C5-830B-F1F0E973C849}"/>
              </a:ext>
            </a:extLst>
          </p:cNvPr>
          <p:cNvCxnSpPr>
            <a:cxnSpLocks/>
            <a:stCxn id="18" idx="2"/>
            <a:endCxn id="19" idx="0"/>
          </p:cNvCxnSpPr>
          <p:nvPr/>
        </p:nvCxnSpPr>
        <p:spPr>
          <a:xfrm>
            <a:off x="1682643" y="2588432"/>
            <a:ext cx="863810" cy="62407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D5EC3187-24E2-4CAC-B2DC-428E0E924645}"/>
              </a:ext>
            </a:extLst>
          </p:cNvPr>
          <p:cNvSpPr/>
          <p:nvPr/>
        </p:nvSpPr>
        <p:spPr>
          <a:xfrm>
            <a:off x="5209440" y="676490"/>
            <a:ext cx="1142999" cy="3869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Hello</a:t>
            </a:r>
          </a:p>
        </p:txBody>
      </p:sp>
      <p:sp>
        <p:nvSpPr>
          <p:cNvPr id="27" name="Rectangle 26">
            <a:extLst>
              <a:ext uri="{FF2B5EF4-FFF2-40B4-BE49-F238E27FC236}">
                <a16:creationId xmlns:a16="http://schemas.microsoft.com/office/drawing/2014/main" id="{A7222F5D-8C0E-4187-B60C-D4D7459A465F}"/>
              </a:ext>
            </a:extLst>
          </p:cNvPr>
          <p:cNvSpPr/>
          <p:nvPr/>
        </p:nvSpPr>
        <p:spPr>
          <a:xfrm>
            <a:off x="5209439" y="1381099"/>
            <a:ext cx="1142999" cy="3869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Good bye</a:t>
            </a:r>
          </a:p>
        </p:txBody>
      </p:sp>
      <p:sp>
        <p:nvSpPr>
          <p:cNvPr id="28" name="Rectangle 27">
            <a:extLst>
              <a:ext uri="{FF2B5EF4-FFF2-40B4-BE49-F238E27FC236}">
                <a16:creationId xmlns:a16="http://schemas.microsoft.com/office/drawing/2014/main" id="{55E84D65-908E-47FA-A48C-7A5E0CA43183}"/>
              </a:ext>
            </a:extLst>
          </p:cNvPr>
          <p:cNvSpPr/>
          <p:nvPr/>
        </p:nvSpPr>
        <p:spPr>
          <a:xfrm>
            <a:off x="5209439" y="2085708"/>
            <a:ext cx="1674215" cy="3869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err="1">
                <a:solidFill>
                  <a:schemeClr val="bg1"/>
                </a:solidFill>
              </a:rPr>
              <a:t>Order</a:t>
            </a:r>
            <a:r>
              <a:rPr lang="fr-FR" sz="1200" dirty="0">
                <a:solidFill>
                  <a:schemeClr val="bg1"/>
                </a:solidFill>
              </a:rPr>
              <a:t> a pizza</a:t>
            </a:r>
          </a:p>
        </p:txBody>
      </p:sp>
      <p:sp>
        <p:nvSpPr>
          <p:cNvPr id="29" name="Rectangle 28">
            <a:extLst>
              <a:ext uri="{FF2B5EF4-FFF2-40B4-BE49-F238E27FC236}">
                <a16:creationId xmlns:a16="http://schemas.microsoft.com/office/drawing/2014/main" id="{FB432952-7DDD-447A-87E3-22E433B2707B}"/>
              </a:ext>
            </a:extLst>
          </p:cNvPr>
          <p:cNvSpPr/>
          <p:nvPr/>
        </p:nvSpPr>
        <p:spPr>
          <a:xfrm>
            <a:off x="5209439" y="3196845"/>
            <a:ext cx="1692018" cy="3869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Question about the pizza</a:t>
            </a:r>
          </a:p>
        </p:txBody>
      </p:sp>
      <p:sp>
        <p:nvSpPr>
          <p:cNvPr id="30" name="Ellipse 29">
            <a:extLst>
              <a:ext uri="{FF2B5EF4-FFF2-40B4-BE49-F238E27FC236}">
                <a16:creationId xmlns:a16="http://schemas.microsoft.com/office/drawing/2014/main" id="{7F5447BE-AA6E-461A-B30E-83FAA3DFAB59}"/>
              </a:ext>
            </a:extLst>
          </p:cNvPr>
          <p:cNvSpPr/>
          <p:nvPr/>
        </p:nvSpPr>
        <p:spPr>
          <a:xfrm>
            <a:off x="6639059" y="2313928"/>
            <a:ext cx="682198" cy="317422"/>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t>Type pizza</a:t>
            </a:r>
          </a:p>
        </p:txBody>
      </p:sp>
      <p:sp>
        <p:nvSpPr>
          <p:cNvPr id="31" name="Ellipse 30">
            <a:extLst>
              <a:ext uri="{FF2B5EF4-FFF2-40B4-BE49-F238E27FC236}">
                <a16:creationId xmlns:a16="http://schemas.microsoft.com/office/drawing/2014/main" id="{CC1FB141-CD19-4D2E-A937-F880BCCFCA84}"/>
              </a:ext>
            </a:extLst>
          </p:cNvPr>
          <p:cNvSpPr/>
          <p:nvPr/>
        </p:nvSpPr>
        <p:spPr>
          <a:xfrm>
            <a:off x="6639059" y="2986757"/>
            <a:ext cx="682198" cy="317422"/>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t>Type pizza</a:t>
            </a:r>
          </a:p>
        </p:txBody>
      </p:sp>
      <p:sp>
        <p:nvSpPr>
          <p:cNvPr id="32" name="Ellipse 31">
            <a:extLst>
              <a:ext uri="{FF2B5EF4-FFF2-40B4-BE49-F238E27FC236}">
                <a16:creationId xmlns:a16="http://schemas.microsoft.com/office/drawing/2014/main" id="{319E28B2-7E43-4C61-8656-8E3525BB74C8}"/>
              </a:ext>
            </a:extLst>
          </p:cNvPr>
          <p:cNvSpPr/>
          <p:nvPr/>
        </p:nvSpPr>
        <p:spPr>
          <a:xfrm>
            <a:off x="6645838" y="3481810"/>
            <a:ext cx="682198" cy="317422"/>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t>Type pizza</a:t>
            </a:r>
          </a:p>
        </p:txBody>
      </p:sp>
      <p:sp>
        <p:nvSpPr>
          <p:cNvPr id="33" name="ZoneTexte 32">
            <a:extLst>
              <a:ext uri="{FF2B5EF4-FFF2-40B4-BE49-F238E27FC236}">
                <a16:creationId xmlns:a16="http://schemas.microsoft.com/office/drawing/2014/main" id="{C66E7F08-F677-4F35-B9F8-9CBC448C3AFB}"/>
              </a:ext>
            </a:extLst>
          </p:cNvPr>
          <p:cNvSpPr txBox="1"/>
          <p:nvPr/>
        </p:nvSpPr>
        <p:spPr>
          <a:xfrm>
            <a:off x="194872" y="4378388"/>
            <a:ext cx="4455825" cy="338554"/>
          </a:xfrm>
          <a:prstGeom prst="rect">
            <a:avLst/>
          </a:prstGeom>
          <a:noFill/>
        </p:spPr>
        <p:txBody>
          <a:bodyPr wrap="square" rtlCol="0">
            <a:spAutoFit/>
          </a:bodyPr>
          <a:lstStyle/>
          <a:p>
            <a:pPr algn="ctr"/>
            <a:r>
              <a:rPr lang="fr-FR" sz="1600" dirty="0"/>
              <a:t>Graph</a:t>
            </a:r>
          </a:p>
        </p:txBody>
      </p:sp>
      <p:sp>
        <p:nvSpPr>
          <p:cNvPr id="34" name="ZoneTexte 33">
            <a:extLst>
              <a:ext uri="{FF2B5EF4-FFF2-40B4-BE49-F238E27FC236}">
                <a16:creationId xmlns:a16="http://schemas.microsoft.com/office/drawing/2014/main" id="{5CCAB170-9AAF-44EB-9149-76ECDDFE0244}"/>
              </a:ext>
            </a:extLst>
          </p:cNvPr>
          <p:cNvSpPr txBox="1"/>
          <p:nvPr/>
        </p:nvSpPr>
        <p:spPr>
          <a:xfrm>
            <a:off x="5011657" y="4363324"/>
            <a:ext cx="4067818" cy="338554"/>
          </a:xfrm>
          <a:prstGeom prst="rect">
            <a:avLst/>
          </a:prstGeom>
          <a:noFill/>
        </p:spPr>
        <p:txBody>
          <a:bodyPr wrap="square" rtlCol="0">
            <a:spAutoFit/>
          </a:bodyPr>
          <a:lstStyle/>
          <a:p>
            <a:pPr algn="ctr"/>
            <a:r>
              <a:rPr lang="fr-FR" sz="1600" dirty="0" err="1"/>
              <a:t>Contexts</a:t>
            </a:r>
            <a:endParaRPr lang="fr-FR" sz="1600" dirty="0"/>
          </a:p>
        </p:txBody>
      </p:sp>
      <p:sp>
        <p:nvSpPr>
          <p:cNvPr id="35" name="ZoneTexte 34">
            <a:extLst>
              <a:ext uri="{FF2B5EF4-FFF2-40B4-BE49-F238E27FC236}">
                <a16:creationId xmlns:a16="http://schemas.microsoft.com/office/drawing/2014/main" id="{0A750030-A3EF-4770-9B04-65533F3F7471}"/>
              </a:ext>
            </a:extLst>
          </p:cNvPr>
          <p:cNvSpPr txBox="1"/>
          <p:nvPr/>
        </p:nvSpPr>
        <p:spPr>
          <a:xfrm>
            <a:off x="7291131" y="1836773"/>
            <a:ext cx="1810640" cy="830997"/>
          </a:xfrm>
          <a:prstGeom prst="rect">
            <a:avLst/>
          </a:prstGeom>
          <a:noFill/>
        </p:spPr>
        <p:txBody>
          <a:bodyPr wrap="square" rtlCol="0">
            <a:spAutoFit/>
          </a:bodyPr>
          <a:lstStyle/>
          <a:p>
            <a:r>
              <a:rPr lang="fr-FR" sz="1200" dirty="0"/>
              <a:t>At the end of the </a:t>
            </a:r>
            <a:r>
              <a:rPr lang="fr-FR" sz="1200" dirty="0" err="1"/>
              <a:t>intent</a:t>
            </a:r>
            <a:r>
              <a:rPr lang="fr-FR" sz="1200" dirty="0"/>
              <a:t> : </a:t>
            </a:r>
            <a:r>
              <a:rPr lang="fr-FR" sz="1200" dirty="0" err="1"/>
              <a:t>creation</a:t>
            </a:r>
            <a:r>
              <a:rPr lang="fr-FR" sz="1200" dirty="0"/>
              <a:t> of a </a:t>
            </a:r>
            <a:r>
              <a:rPr lang="fr-FR" sz="1200" dirty="0" err="1"/>
              <a:t>contex</a:t>
            </a:r>
            <a:r>
              <a:rPr lang="fr-FR" sz="1200" dirty="0"/>
              <a:t>, </a:t>
            </a:r>
            <a:r>
              <a:rPr lang="fr-FR" sz="1200" dirty="0" err="1"/>
              <a:t>with</a:t>
            </a:r>
            <a:r>
              <a:rPr lang="fr-FR" sz="1200" dirty="0"/>
              <a:t> a </a:t>
            </a:r>
            <a:r>
              <a:rPr lang="fr-FR" sz="1200" dirty="0" err="1"/>
              <a:t>lifetime</a:t>
            </a:r>
            <a:endParaRPr lang="fr-FR" sz="1200" dirty="0"/>
          </a:p>
        </p:txBody>
      </p:sp>
      <p:sp>
        <p:nvSpPr>
          <p:cNvPr id="36" name="ZoneTexte 35">
            <a:extLst>
              <a:ext uri="{FF2B5EF4-FFF2-40B4-BE49-F238E27FC236}">
                <a16:creationId xmlns:a16="http://schemas.microsoft.com/office/drawing/2014/main" id="{CA4D1B97-93DC-4A46-8BD5-6DFC7ECEC3B8}"/>
              </a:ext>
            </a:extLst>
          </p:cNvPr>
          <p:cNvSpPr txBox="1"/>
          <p:nvPr/>
        </p:nvSpPr>
        <p:spPr>
          <a:xfrm>
            <a:off x="7442546" y="2815411"/>
            <a:ext cx="1566544" cy="830997"/>
          </a:xfrm>
          <a:prstGeom prst="rect">
            <a:avLst/>
          </a:prstGeom>
          <a:noFill/>
        </p:spPr>
        <p:txBody>
          <a:bodyPr wrap="square" rtlCol="0">
            <a:spAutoFit/>
          </a:bodyPr>
          <a:lstStyle/>
          <a:p>
            <a:r>
              <a:rPr lang="fr-FR" sz="1200" dirty="0"/>
              <a:t>A </a:t>
            </a:r>
            <a:r>
              <a:rPr lang="fr-FR" sz="1200" dirty="0" err="1"/>
              <a:t>context</a:t>
            </a:r>
            <a:r>
              <a:rPr lang="fr-FR" sz="1200" dirty="0"/>
              <a:t> can </a:t>
            </a:r>
            <a:r>
              <a:rPr lang="fr-FR" sz="1200" dirty="0" err="1"/>
              <a:t>be</a:t>
            </a:r>
            <a:r>
              <a:rPr lang="fr-FR" sz="1200" dirty="0"/>
              <a:t> </a:t>
            </a:r>
            <a:r>
              <a:rPr lang="fr-FR" sz="1200" dirty="0" err="1"/>
              <a:t>required</a:t>
            </a:r>
            <a:r>
              <a:rPr lang="fr-FR" sz="1200" dirty="0"/>
              <a:t> to run </a:t>
            </a:r>
            <a:r>
              <a:rPr lang="fr-FR" sz="1200" dirty="0" err="1"/>
              <a:t>into</a:t>
            </a:r>
            <a:r>
              <a:rPr lang="fr-FR" sz="1200" dirty="0"/>
              <a:t> an </a:t>
            </a:r>
            <a:r>
              <a:rPr lang="fr-FR" sz="1200" dirty="0" err="1"/>
              <a:t>other</a:t>
            </a:r>
            <a:r>
              <a:rPr lang="fr-FR" sz="1200" dirty="0"/>
              <a:t> </a:t>
            </a:r>
            <a:r>
              <a:rPr lang="fr-FR" sz="1200" dirty="0" err="1"/>
              <a:t>intent</a:t>
            </a:r>
            <a:endParaRPr lang="fr-FR" sz="1200" dirty="0"/>
          </a:p>
        </p:txBody>
      </p:sp>
      <p:cxnSp>
        <p:nvCxnSpPr>
          <p:cNvPr id="37" name="Connecteur droit avec flèche 36">
            <a:extLst>
              <a:ext uri="{FF2B5EF4-FFF2-40B4-BE49-F238E27FC236}">
                <a16:creationId xmlns:a16="http://schemas.microsoft.com/office/drawing/2014/main" id="{1AA7AFC3-8928-4E60-A8D7-1913F47C9B61}"/>
              </a:ext>
            </a:extLst>
          </p:cNvPr>
          <p:cNvCxnSpPr>
            <a:cxnSpLocks/>
          </p:cNvCxnSpPr>
          <p:nvPr/>
        </p:nvCxnSpPr>
        <p:spPr>
          <a:xfrm flipV="1">
            <a:off x="7133800" y="2031356"/>
            <a:ext cx="220460" cy="287959"/>
          </a:xfrm>
          <a:prstGeom prst="straightConnector1">
            <a:avLst/>
          </a:prstGeom>
          <a:ln w="1905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eur droit avec flèche 37">
            <a:extLst>
              <a:ext uri="{FF2B5EF4-FFF2-40B4-BE49-F238E27FC236}">
                <a16:creationId xmlns:a16="http://schemas.microsoft.com/office/drawing/2014/main" id="{327AC9EA-464E-4B29-A50D-5DE83E5E1ED7}"/>
              </a:ext>
            </a:extLst>
          </p:cNvPr>
          <p:cNvCxnSpPr>
            <a:cxnSpLocks/>
          </p:cNvCxnSpPr>
          <p:nvPr/>
        </p:nvCxnSpPr>
        <p:spPr>
          <a:xfrm flipV="1">
            <a:off x="7169364" y="2982898"/>
            <a:ext cx="344876" cy="4041"/>
          </a:xfrm>
          <a:prstGeom prst="straightConnector1">
            <a:avLst/>
          </a:prstGeom>
          <a:ln w="1905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Connecteur droit avec flèche 41">
            <a:extLst>
              <a:ext uri="{FF2B5EF4-FFF2-40B4-BE49-F238E27FC236}">
                <a16:creationId xmlns:a16="http://schemas.microsoft.com/office/drawing/2014/main" id="{90A79A37-1527-4EA0-8701-1590DA81B607}"/>
              </a:ext>
            </a:extLst>
          </p:cNvPr>
          <p:cNvCxnSpPr>
            <a:cxnSpLocks/>
          </p:cNvCxnSpPr>
          <p:nvPr/>
        </p:nvCxnSpPr>
        <p:spPr>
          <a:xfrm>
            <a:off x="5011657" y="600075"/>
            <a:ext cx="0" cy="4043363"/>
          </a:xfrm>
          <a:prstGeom prst="straightConnector1">
            <a:avLst/>
          </a:prstGeom>
          <a:noFill/>
          <a:ln w="50800">
            <a:solidFill>
              <a:schemeClr val="accent2">
                <a:alpha val="60000"/>
              </a:schemeClr>
            </a:solidFill>
            <a:headEnd type="none"/>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85875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DF91A2-0728-45B8-AEDE-C8AEFF8FA9BC}"/>
              </a:ext>
            </a:extLst>
          </p:cNvPr>
          <p:cNvSpPr>
            <a:spLocks noGrp="1"/>
          </p:cNvSpPr>
          <p:nvPr>
            <p:ph type="title"/>
          </p:nvPr>
        </p:nvSpPr>
        <p:spPr/>
        <p:txBody>
          <a:bodyPr/>
          <a:lstStyle/>
          <a:p>
            <a:r>
              <a:rPr lang="fr-FR" dirty="0" err="1"/>
              <a:t>Contexts</a:t>
            </a:r>
            <a:r>
              <a:rPr lang="fr-FR" dirty="0"/>
              <a:t> in a few </a:t>
            </a:r>
            <a:r>
              <a:rPr lang="fr-FR" dirty="0" err="1"/>
              <a:t>words</a:t>
            </a:r>
            <a:endParaRPr lang="fr-FR" dirty="0"/>
          </a:p>
        </p:txBody>
      </p:sp>
      <p:sp>
        <p:nvSpPr>
          <p:cNvPr id="3" name="Text Placeholder 16">
            <a:extLst>
              <a:ext uri="{FF2B5EF4-FFF2-40B4-BE49-F238E27FC236}">
                <a16:creationId xmlns:a16="http://schemas.microsoft.com/office/drawing/2014/main" id="{23D04FC7-8713-4AC8-BE16-56680A27207F}"/>
              </a:ext>
            </a:extLst>
          </p:cNvPr>
          <p:cNvSpPr txBox="1">
            <a:spLocks/>
          </p:cNvSpPr>
          <p:nvPr/>
        </p:nvSpPr>
        <p:spPr>
          <a:xfrm>
            <a:off x="228600" y="668889"/>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t>Contexts let you control conversation flows by letting you define specific states that a conversation must be in for an intent to match. Normally, </a:t>
            </a:r>
            <a:r>
              <a:rPr lang="en-US" sz="1600" dirty="0" err="1"/>
              <a:t>Dialogflow</a:t>
            </a:r>
            <a:r>
              <a:rPr lang="en-US" sz="1600" dirty="0"/>
              <a:t> matches an intent if its training phrases closely resemble the end-user expression. However, when you apply contexts to an intent, </a:t>
            </a:r>
            <a:r>
              <a:rPr lang="en-US" sz="1600" dirty="0" err="1"/>
              <a:t>Dialogflow</a:t>
            </a:r>
            <a:r>
              <a:rPr lang="en-US" sz="1600" dirty="0"/>
              <a:t> will only consider that intent for matching if the context is active.</a:t>
            </a:r>
          </a:p>
          <a:p>
            <a:endParaRPr lang="en-US" sz="1600" dirty="0"/>
          </a:p>
          <a:p>
            <a:r>
              <a:rPr lang="en-US" sz="1600" dirty="0"/>
              <a:t>There are two types of context that let you activate and deactivate contexts and can control the flow of your conversation:</a:t>
            </a:r>
          </a:p>
          <a:p>
            <a:pPr marL="285750" indent="-285750">
              <a:buFont typeface="Arial" panose="020B0604020202020204" pitchFamily="34" charset="0"/>
              <a:buChar char="•"/>
            </a:pPr>
            <a:r>
              <a:rPr lang="en-US" sz="1600" dirty="0">
                <a:solidFill>
                  <a:schemeClr val="accent2"/>
                </a:solidFill>
              </a:rPr>
              <a:t>Input contexts: </a:t>
            </a:r>
            <a:r>
              <a:rPr lang="en-US" sz="1600" dirty="0"/>
              <a:t>When applied to an intent, an input context tells </a:t>
            </a:r>
            <a:r>
              <a:rPr lang="en-US" sz="1600" dirty="0" err="1"/>
              <a:t>Dialogflow</a:t>
            </a:r>
            <a:r>
              <a:rPr lang="en-US" sz="1600" dirty="0"/>
              <a:t> to match the intent only if the end-user expression is a close match and if the context is active.</a:t>
            </a:r>
          </a:p>
          <a:p>
            <a:pPr marL="285750" indent="-285750">
              <a:buFont typeface="Arial" panose="020B0604020202020204" pitchFamily="34" charset="0"/>
              <a:buChar char="•"/>
            </a:pPr>
            <a:r>
              <a:rPr lang="en-US" sz="1600" dirty="0">
                <a:solidFill>
                  <a:schemeClr val="accent2"/>
                </a:solidFill>
              </a:rPr>
              <a:t>Output contexts: </a:t>
            </a:r>
            <a:r>
              <a:rPr lang="en-US" sz="1600" dirty="0"/>
              <a:t>When applied to an intent, an output context tells </a:t>
            </a:r>
            <a:r>
              <a:rPr lang="en-US" sz="1600" dirty="0" err="1"/>
              <a:t>Dialogflow</a:t>
            </a:r>
            <a:r>
              <a:rPr lang="en-US" sz="1600" dirty="0"/>
              <a:t> to activate a context if it's not already active or to maintain the context after the intent is matched.</a:t>
            </a:r>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3235820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DF91A2-0728-45B8-AEDE-C8AEFF8FA9BC}"/>
              </a:ext>
            </a:extLst>
          </p:cNvPr>
          <p:cNvSpPr>
            <a:spLocks noGrp="1"/>
          </p:cNvSpPr>
          <p:nvPr>
            <p:ph type="title"/>
          </p:nvPr>
        </p:nvSpPr>
        <p:spPr/>
        <p:txBody>
          <a:bodyPr/>
          <a:lstStyle/>
          <a:p>
            <a:r>
              <a:rPr lang="fr-FR" dirty="0" err="1"/>
              <a:t>Contexts</a:t>
            </a:r>
            <a:r>
              <a:rPr lang="fr-FR" dirty="0"/>
              <a:t> in a few </a:t>
            </a:r>
            <a:r>
              <a:rPr lang="fr-FR" dirty="0" err="1"/>
              <a:t>words</a:t>
            </a:r>
            <a:endParaRPr lang="fr-FR" dirty="0"/>
          </a:p>
        </p:txBody>
      </p:sp>
      <p:sp>
        <p:nvSpPr>
          <p:cNvPr id="3" name="Text Placeholder 16">
            <a:extLst>
              <a:ext uri="{FF2B5EF4-FFF2-40B4-BE49-F238E27FC236}">
                <a16:creationId xmlns:a16="http://schemas.microsoft.com/office/drawing/2014/main" id="{23D04FC7-8713-4AC8-BE16-56680A27207F}"/>
              </a:ext>
            </a:extLst>
          </p:cNvPr>
          <p:cNvSpPr txBox="1">
            <a:spLocks/>
          </p:cNvSpPr>
          <p:nvPr/>
        </p:nvSpPr>
        <p:spPr>
          <a:xfrm>
            <a:off x="228600" y="668889"/>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00" dirty="0"/>
              <a:t>Some use cases where contexts are helpful include:</a:t>
            </a:r>
          </a:p>
          <a:p>
            <a:endParaRPr lang="en-US" sz="1400" dirty="0"/>
          </a:p>
          <a:p>
            <a:pPr marL="285750" indent="-285750">
              <a:buFont typeface="Arial" panose="020B0604020202020204" pitchFamily="34" charset="0"/>
              <a:buChar char="•"/>
            </a:pPr>
            <a:r>
              <a:rPr lang="en-US" sz="1400" dirty="0">
                <a:solidFill>
                  <a:schemeClr val="accent2"/>
                </a:solidFill>
              </a:rPr>
              <a:t>Controlling order </a:t>
            </a:r>
            <a:r>
              <a:rPr lang="en-US" sz="1400" dirty="0"/>
              <a:t>of intent matching.</a:t>
            </a:r>
          </a:p>
          <a:p>
            <a:pPr marL="690563" lvl="1" indent="-285750"/>
            <a:r>
              <a:rPr lang="en-US" sz="1400" dirty="0"/>
              <a:t>In a conversation, some intents may not be activated at the beginning</a:t>
            </a:r>
          </a:p>
          <a:p>
            <a:pPr marL="690563" lvl="1" indent="-285750"/>
            <a:endParaRPr lang="en-US" sz="1400" dirty="0"/>
          </a:p>
          <a:p>
            <a:pPr marL="285750" indent="-285750">
              <a:buClr>
                <a:schemeClr val="accent2"/>
              </a:buClr>
              <a:buFont typeface="Arial" panose="020B0604020202020204" pitchFamily="34" charset="0"/>
              <a:buChar char="•"/>
            </a:pPr>
            <a:r>
              <a:rPr lang="en-US" sz="1400" dirty="0"/>
              <a:t>Creating different outcomes for intents with </a:t>
            </a:r>
            <a:r>
              <a:rPr lang="en-US" sz="1400" dirty="0">
                <a:solidFill>
                  <a:schemeClr val="accent2"/>
                </a:solidFill>
              </a:rPr>
              <a:t>the same training phrases</a:t>
            </a:r>
            <a:r>
              <a:rPr lang="en-US" sz="1400" dirty="0"/>
              <a:t>.</a:t>
            </a:r>
          </a:p>
          <a:p>
            <a:pPr marL="690563" lvl="1" indent="-285750"/>
            <a:r>
              <a:rPr lang="en-US" sz="1400" dirty="0"/>
              <a:t>A classic use case : confirmation intents (“yes”, “I agree”…)</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solidFill>
                  <a:schemeClr val="accent2"/>
                </a:solidFill>
              </a:rPr>
              <a:t>Restricting the choices </a:t>
            </a:r>
            <a:r>
              <a:rPr lang="en-US" sz="1400" dirty="0"/>
              <a:t>available to the dialogue manager, and thus optimize the recognition rate of the good intention</a:t>
            </a:r>
          </a:p>
        </p:txBody>
      </p:sp>
    </p:spTree>
    <p:extLst>
      <p:ext uri="{BB962C8B-B14F-4D97-AF65-F5344CB8AC3E}">
        <p14:creationId xmlns:p14="http://schemas.microsoft.com/office/powerpoint/2010/main" val="2820244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27BB8-D6EA-2A4B-9E29-4B163BA076AA}"/>
              </a:ext>
            </a:extLst>
          </p:cNvPr>
          <p:cNvSpPr>
            <a:spLocks noGrp="1"/>
          </p:cNvSpPr>
          <p:nvPr>
            <p:ph type="title"/>
          </p:nvPr>
        </p:nvSpPr>
        <p:spPr/>
        <p:txBody>
          <a:bodyPr/>
          <a:lstStyle/>
          <a:p>
            <a:r>
              <a:rPr lang="en-US" dirty="0"/>
              <a:t>Managing the output context</a:t>
            </a:r>
          </a:p>
        </p:txBody>
      </p:sp>
      <p:cxnSp>
        <p:nvCxnSpPr>
          <p:cNvPr id="7" name="Connecteur droit avec flèche 6">
            <a:extLst>
              <a:ext uri="{FF2B5EF4-FFF2-40B4-BE49-F238E27FC236}">
                <a16:creationId xmlns:a16="http://schemas.microsoft.com/office/drawing/2014/main" id="{25ADCB13-BC5B-40C2-9F19-917E79565738}"/>
              </a:ext>
            </a:extLst>
          </p:cNvPr>
          <p:cNvCxnSpPr>
            <a:cxnSpLocks/>
          </p:cNvCxnSpPr>
          <p:nvPr/>
        </p:nvCxnSpPr>
        <p:spPr>
          <a:xfrm flipH="1" flipV="1">
            <a:off x="1489043" y="2280745"/>
            <a:ext cx="704088" cy="691055"/>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pic>
        <p:nvPicPr>
          <p:cNvPr id="6" name="Image 5">
            <a:extLst>
              <a:ext uri="{FF2B5EF4-FFF2-40B4-BE49-F238E27FC236}">
                <a16:creationId xmlns:a16="http://schemas.microsoft.com/office/drawing/2014/main" id="{2F451FFE-7C70-49B3-A86A-389F11786FE3}"/>
              </a:ext>
            </a:extLst>
          </p:cNvPr>
          <p:cNvPicPr>
            <a:picLocks noChangeAspect="1"/>
          </p:cNvPicPr>
          <p:nvPr/>
        </p:nvPicPr>
        <p:blipFill>
          <a:blip r:embed="rId2"/>
          <a:stretch>
            <a:fillRect/>
          </a:stretch>
        </p:blipFill>
        <p:spPr>
          <a:xfrm>
            <a:off x="468916" y="652978"/>
            <a:ext cx="6343650" cy="1483640"/>
          </a:xfrm>
          <a:prstGeom prst="rect">
            <a:avLst/>
          </a:prstGeom>
        </p:spPr>
      </p:pic>
      <p:sp>
        <p:nvSpPr>
          <p:cNvPr id="5" name="Ellipse 4">
            <a:extLst>
              <a:ext uri="{FF2B5EF4-FFF2-40B4-BE49-F238E27FC236}">
                <a16:creationId xmlns:a16="http://schemas.microsoft.com/office/drawing/2014/main" id="{5DB32328-D2D1-41BA-95AE-D363E4116405}"/>
              </a:ext>
            </a:extLst>
          </p:cNvPr>
          <p:cNvSpPr/>
          <p:nvPr/>
        </p:nvSpPr>
        <p:spPr>
          <a:xfrm>
            <a:off x="373190" y="1634569"/>
            <a:ext cx="1645920" cy="646176"/>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Text Placeholder 16">
            <a:extLst>
              <a:ext uri="{FF2B5EF4-FFF2-40B4-BE49-F238E27FC236}">
                <a16:creationId xmlns:a16="http://schemas.microsoft.com/office/drawing/2014/main" id="{B7468BBC-BE60-4818-A2A9-892967B7A08B}"/>
              </a:ext>
            </a:extLst>
          </p:cNvPr>
          <p:cNvSpPr txBox="1">
            <a:spLocks/>
          </p:cNvSpPr>
          <p:nvPr/>
        </p:nvSpPr>
        <p:spPr>
          <a:xfrm>
            <a:off x="2255389" y="2779079"/>
            <a:ext cx="3706499" cy="1483640"/>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00" dirty="0"/>
              <a:t>Output context :</a:t>
            </a:r>
          </a:p>
          <a:p>
            <a:pPr marL="285750" indent="-285750">
              <a:buClr>
                <a:schemeClr val="accent2"/>
              </a:buClr>
              <a:buFont typeface="Arial" panose="020B0604020202020204" pitchFamily="34" charset="0"/>
              <a:buChar char="•"/>
            </a:pPr>
            <a:r>
              <a:rPr lang="en-US" sz="1400" dirty="0"/>
              <a:t>Name = “</a:t>
            </a:r>
            <a:r>
              <a:rPr lang="en-US" sz="1400" dirty="0" err="1"/>
              <a:t>Appointment_ok</a:t>
            </a:r>
            <a:r>
              <a:rPr lang="en-US" sz="1400" dirty="0"/>
              <a:t>”</a:t>
            </a:r>
          </a:p>
          <a:p>
            <a:pPr marL="285750" indent="-285750">
              <a:buClr>
                <a:schemeClr val="accent2"/>
              </a:buClr>
              <a:buFont typeface="Arial" panose="020B0604020202020204" pitchFamily="34" charset="0"/>
              <a:buChar char="•"/>
            </a:pPr>
            <a:r>
              <a:rPr lang="en-US" sz="1400" dirty="0"/>
              <a:t>Lifespan = 5</a:t>
            </a:r>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1849781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27BB8-D6EA-2A4B-9E29-4B163BA076AA}"/>
              </a:ext>
            </a:extLst>
          </p:cNvPr>
          <p:cNvSpPr>
            <a:spLocks noGrp="1"/>
          </p:cNvSpPr>
          <p:nvPr>
            <p:ph type="title"/>
          </p:nvPr>
        </p:nvSpPr>
        <p:spPr/>
        <p:txBody>
          <a:bodyPr/>
          <a:lstStyle/>
          <a:p>
            <a:r>
              <a:rPr lang="en-US" dirty="0"/>
              <a:t>Managing the input context</a:t>
            </a:r>
          </a:p>
        </p:txBody>
      </p:sp>
      <p:cxnSp>
        <p:nvCxnSpPr>
          <p:cNvPr id="7" name="Connecteur droit avec flèche 6">
            <a:extLst>
              <a:ext uri="{FF2B5EF4-FFF2-40B4-BE49-F238E27FC236}">
                <a16:creationId xmlns:a16="http://schemas.microsoft.com/office/drawing/2014/main" id="{25ADCB13-BC5B-40C2-9F19-917E79565738}"/>
              </a:ext>
            </a:extLst>
          </p:cNvPr>
          <p:cNvCxnSpPr>
            <a:cxnSpLocks/>
          </p:cNvCxnSpPr>
          <p:nvPr/>
        </p:nvCxnSpPr>
        <p:spPr>
          <a:xfrm flipH="1" flipV="1">
            <a:off x="2698794" y="3217926"/>
            <a:ext cx="704088" cy="691055"/>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11" name="Text Placeholder 16">
            <a:extLst>
              <a:ext uri="{FF2B5EF4-FFF2-40B4-BE49-F238E27FC236}">
                <a16:creationId xmlns:a16="http://schemas.microsoft.com/office/drawing/2014/main" id="{B7468BBC-BE60-4818-A2A9-892967B7A08B}"/>
              </a:ext>
            </a:extLst>
          </p:cNvPr>
          <p:cNvSpPr txBox="1">
            <a:spLocks/>
          </p:cNvSpPr>
          <p:nvPr/>
        </p:nvSpPr>
        <p:spPr>
          <a:xfrm>
            <a:off x="373190" y="734156"/>
            <a:ext cx="7973453" cy="1483640"/>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00" dirty="0"/>
              <a:t>An input context can lock an intent. Without this context, the intent is not executed.</a:t>
            </a:r>
          </a:p>
          <a:p>
            <a:r>
              <a:rPr lang="en-US" sz="1400" i="1" dirty="0"/>
              <a:t>For example : an intent “</a:t>
            </a:r>
            <a:r>
              <a:rPr lang="en-US" sz="1400" i="1" dirty="0" err="1"/>
              <a:t>confirm_appointment</a:t>
            </a:r>
            <a:r>
              <a:rPr lang="en-US" sz="1400" i="1" dirty="0"/>
              <a:t>”</a:t>
            </a:r>
          </a:p>
          <a:p>
            <a:pPr marL="285750" indent="-285750">
              <a:buFont typeface="Arial" panose="020B0604020202020204" pitchFamily="34" charset="0"/>
              <a:buChar char="•"/>
            </a:pPr>
            <a:endParaRPr lang="en-US" sz="1600" dirty="0"/>
          </a:p>
        </p:txBody>
      </p:sp>
      <p:pic>
        <p:nvPicPr>
          <p:cNvPr id="2" name="Image 1">
            <a:extLst>
              <a:ext uri="{FF2B5EF4-FFF2-40B4-BE49-F238E27FC236}">
                <a16:creationId xmlns:a16="http://schemas.microsoft.com/office/drawing/2014/main" id="{26D218CD-7310-4966-AAB2-903AFA8D2DBC}"/>
              </a:ext>
            </a:extLst>
          </p:cNvPr>
          <p:cNvPicPr>
            <a:picLocks noChangeAspect="1"/>
          </p:cNvPicPr>
          <p:nvPr/>
        </p:nvPicPr>
        <p:blipFill>
          <a:blip r:embed="rId2"/>
          <a:stretch>
            <a:fillRect/>
          </a:stretch>
        </p:blipFill>
        <p:spPr>
          <a:xfrm>
            <a:off x="1792224" y="1515947"/>
            <a:ext cx="6554419" cy="1552213"/>
          </a:xfrm>
          <a:prstGeom prst="rect">
            <a:avLst/>
          </a:prstGeom>
        </p:spPr>
      </p:pic>
      <p:sp>
        <p:nvSpPr>
          <p:cNvPr id="5" name="Ellipse 4">
            <a:extLst>
              <a:ext uri="{FF2B5EF4-FFF2-40B4-BE49-F238E27FC236}">
                <a16:creationId xmlns:a16="http://schemas.microsoft.com/office/drawing/2014/main" id="{5DB32328-D2D1-41BA-95AE-D363E4116405}"/>
              </a:ext>
            </a:extLst>
          </p:cNvPr>
          <p:cNvSpPr/>
          <p:nvPr/>
        </p:nvSpPr>
        <p:spPr>
          <a:xfrm>
            <a:off x="1639004" y="2571750"/>
            <a:ext cx="1645920" cy="646176"/>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Text Placeholder 16">
            <a:extLst>
              <a:ext uri="{FF2B5EF4-FFF2-40B4-BE49-F238E27FC236}">
                <a16:creationId xmlns:a16="http://schemas.microsoft.com/office/drawing/2014/main" id="{E0CF2B08-F91F-4EEC-8E40-1B0FB3945EDE}"/>
              </a:ext>
            </a:extLst>
          </p:cNvPr>
          <p:cNvSpPr txBox="1">
            <a:spLocks/>
          </p:cNvSpPr>
          <p:nvPr/>
        </p:nvSpPr>
        <p:spPr>
          <a:xfrm>
            <a:off x="3402882" y="3659860"/>
            <a:ext cx="3706499" cy="1483640"/>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00" dirty="0"/>
              <a:t>By default, the input context is also an output context.</a:t>
            </a:r>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1799120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48F5AAA-7215-48AC-AD16-E158631E66F5}"/>
              </a:ext>
            </a:extLst>
          </p:cNvPr>
          <p:cNvSpPr>
            <a:spLocks noGrp="1"/>
          </p:cNvSpPr>
          <p:nvPr>
            <p:ph type="title"/>
          </p:nvPr>
        </p:nvSpPr>
        <p:spPr/>
        <p:txBody>
          <a:bodyPr/>
          <a:lstStyle/>
          <a:p>
            <a:r>
              <a:rPr lang="fr-FR" dirty="0" err="1"/>
              <a:t>Managing</a:t>
            </a:r>
            <a:r>
              <a:rPr lang="fr-FR" dirty="0"/>
              <a:t> the </a:t>
            </a:r>
            <a:r>
              <a:rPr lang="fr-FR" dirty="0" err="1"/>
              <a:t>context</a:t>
            </a:r>
            <a:r>
              <a:rPr lang="fr-FR" dirty="0"/>
              <a:t> : </a:t>
            </a:r>
            <a:r>
              <a:rPr lang="fr-FR" dirty="0" err="1"/>
              <a:t>demo</a:t>
            </a:r>
            <a:endParaRPr lang="fr-FR" dirty="0"/>
          </a:p>
        </p:txBody>
      </p:sp>
      <p:pic>
        <p:nvPicPr>
          <p:cNvPr id="3" name="Image 2">
            <a:extLst>
              <a:ext uri="{FF2B5EF4-FFF2-40B4-BE49-F238E27FC236}">
                <a16:creationId xmlns:a16="http://schemas.microsoft.com/office/drawing/2014/main" id="{3D8969DD-32E6-42AC-94AE-5E77A96088D6}"/>
              </a:ext>
            </a:extLst>
          </p:cNvPr>
          <p:cNvPicPr>
            <a:picLocks noChangeAspect="1"/>
          </p:cNvPicPr>
          <p:nvPr/>
        </p:nvPicPr>
        <p:blipFill>
          <a:blip r:embed="rId2"/>
          <a:stretch>
            <a:fillRect/>
          </a:stretch>
        </p:blipFill>
        <p:spPr>
          <a:xfrm>
            <a:off x="701402" y="1277937"/>
            <a:ext cx="3001441" cy="2364581"/>
          </a:xfrm>
          <a:prstGeom prst="rect">
            <a:avLst/>
          </a:prstGeom>
        </p:spPr>
      </p:pic>
      <p:cxnSp>
        <p:nvCxnSpPr>
          <p:cNvPr id="4" name="Connecteur droit avec flèche 3">
            <a:extLst>
              <a:ext uri="{FF2B5EF4-FFF2-40B4-BE49-F238E27FC236}">
                <a16:creationId xmlns:a16="http://schemas.microsoft.com/office/drawing/2014/main" id="{A1CE1553-4D59-4B4E-A5D1-F931B6CDC86B}"/>
              </a:ext>
            </a:extLst>
          </p:cNvPr>
          <p:cNvCxnSpPr>
            <a:cxnSpLocks/>
          </p:cNvCxnSpPr>
          <p:nvPr/>
        </p:nvCxnSpPr>
        <p:spPr>
          <a:xfrm flipH="1">
            <a:off x="3802856" y="1653444"/>
            <a:ext cx="1069182" cy="1"/>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cxnSp>
        <p:nvCxnSpPr>
          <p:cNvPr id="6" name="Connecteur droit avec flèche 5">
            <a:extLst>
              <a:ext uri="{FF2B5EF4-FFF2-40B4-BE49-F238E27FC236}">
                <a16:creationId xmlns:a16="http://schemas.microsoft.com/office/drawing/2014/main" id="{BF808007-B3C8-4EA4-9CAA-E099E5325C5B}"/>
              </a:ext>
            </a:extLst>
          </p:cNvPr>
          <p:cNvCxnSpPr>
            <a:cxnSpLocks/>
          </p:cNvCxnSpPr>
          <p:nvPr/>
        </p:nvCxnSpPr>
        <p:spPr>
          <a:xfrm flipH="1">
            <a:off x="3802856" y="2460227"/>
            <a:ext cx="1069182" cy="1"/>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cxnSp>
        <p:nvCxnSpPr>
          <p:cNvPr id="7" name="Connecteur droit avec flèche 6">
            <a:extLst>
              <a:ext uri="{FF2B5EF4-FFF2-40B4-BE49-F238E27FC236}">
                <a16:creationId xmlns:a16="http://schemas.microsoft.com/office/drawing/2014/main" id="{3DB79539-63D6-4421-AC1E-0ED85827BBE8}"/>
              </a:ext>
            </a:extLst>
          </p:cNvPr>
          <p:cNvCxnSpPr>
            <a:cxnSpLocks/>
          </p:cNvCxnSpPr>
          <p:nvPr/>
        </p:nvCxnSpPr>
        <p:spPr>
          <a:xfrm flipH="1">
            <a:off x="3802856" y="3267010"/>
            <a:ext cx="1069182" cy="1"/>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8" name="Text Placeholder 16">
            <a:extLst>
              <a:ext uri="{FF2B5EF4-FFF2-40B4-BE49-F238E27FC236}">
                <a16:creationId xmlns:a16="http://schemas.microsoft.com/office/drawing/2014/main" id="{4D497428-1763-43B5-836D-D5897452B94D}"/>
              </a:ext>
            </a:extLst>
          </p:cNvPr>
          <p:cNvSpPr txBox="1">
            <a:spLocks/>
          </p:cNvSpPr>
          <p:nvPr/>
        </p:nvSpPr>
        <p:spPr>
          <a:xfrm>
            <a:off x="4872038" y="1494173"/>
            <a:ext cx="3706499" cy="1483640"/>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00" dirty="0"/>
              <a:t>Fallback intent : no context “</a:t>
            </a:r>
            <a:r>
              <a:rPr lang="en-US" sz="1400" i="1" dirty="0" err="1"/>
              <a:t>appointment_ok</a:t>
            </a:r>
            <a:r>
              <a:rPr lang="en-US" sz="1400" dirty="0"/>
              <a:t>” available</a:t>
            </a:r>
          </a:p>
          <a:p>
            <a:endParaRPr lang="en-US" sz="1400" dirty="0"/>
          </a:p>
          <a:p>
            <a:r>
              <a:rPr lang="en-US" sz="1400" dirty="0"/>
              <a:t>Output context “</a:t>
            </a:r>
            <a:r>
              <a:rPr lang="en-US" sz="1400" i="1" dirty="0" err="1"/>
              <a:t>appointment_ok</a:t>
            </a:r>
            <a:r>
              <a:rPr lang="en-US" sz="1400" dirty="0"/>
              <a:t>” created</a:t>
            </a:r>
          </a:p>
          <a:p>
            <a:endParaRPr lang="en-US" sz="600" dirty="0"/>
          </a:p>
          <a:p>
            <a:endParaRPr lang="en-US" sz="600" dirty="0"/>
          </a:p>
          <a:p>
            <a:r>
              <a:rPr lang="en-US" sz="1400" dirty="0"/>
              <a:t>Ok, the required context exists </a:t>
            </a:r>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3212396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27BB8-D6EA-2A4B-9E29-4B163BA076AA}"/>
              </a:ext>
            </a:extLst>
          </p:cNvPr>
          <p:cNvSpPr>
            <a:spLocks noGrp="1"/>
          </p:cNvSpPr>
          <p:nvPr>
            <p:ph type="title"/>
          </p:nvPr>
        </p:nvSpPr>
        <p:spPr/>
        <p:txBody>
          <a:bodyPr/>
          <a:lstStyle/>
          <a:p>
            <a:r>
              <a:rPr lang="en-US" dirty="0"/>
              <a:t>Lifetime / lifespan</a:t>
            </a:r>
          </a:p>
        </p:txBody>
      </p:sp>
      <p:sp>
        <p:nvSpPr>
          <p:cNvPr id="8" name="Text Placeholder 16">
            <a:extLst>
              <a:ext uri="{FF2B5EF4-FFF2-40B4-BE49-F238E27FC236}">
                <a16:creationId xmlns:a16="http://schemas.microsoft.com/office/drawing/2014/main" id="{2B96CD2A-DCAC-4064-B1FB-7E82256150A3}"/>
              </a:ext>
            </a:extLst>
          </p:cNvPr>
          <p:cNvSpPr txBox="1">
            <a:spLocks/>
          </p:cNvSpPr>
          <p:nvPr/>
        </p:nvSpPr>
        <p:spPr>
          <a:xfrm>
            <a:off x="228600" y="668889"/>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600" dirty="0">
              <a:solidFill>
                <a:schemeClr val="accent2"/>
              </a:solidFill>
            </a:endParaRPr>
          </a:p>
          <a:p>
            <a:pPr marL="285750" indent="-285750">
              <a:buClr>
                <a:schemeClr val="accent2"/>
              </a:buClr>
              <a:buFont typeface="Arial" panose="020B0604020202020204" pitchFamily="34" charset="0"/>
              <a:buChar char="•"/>
            </a:pPr>
            <a:r>
              <a:rPr lang="en-US" sz="1400" dirty="0"/>
              <a:t>By default, output contexts expire after either </a:t>
            </a:r>
            <a:r>
              <a:rPr lang="en-US" sz="1400" dirty="0">
                <a:solidFill>
                  <a:schemeClr val="accent2"/>
                </a:solidFill>
              </a:rPr>
              <a:t>five requests </a:t>
            </a:r>
            <a:r>
              <a:rPr lang="en-US" sz="1400" dirty="0"/>
              <a:t>or </a:t>
            </a:r>
            <a:r>
              <a:rPr lang="en-US" sz="1400" dirty="0">
                <a:solidFill>
                  <a:schemeClr val="accent2"/>
                </a:solidFill>
              </a:rPr>
              <a:t>20 minutes </a:t>
            </a:r>
            <a:r>
              <a:rPr lang="en-US" sz="1400" dirty="0"/>
              <a:t>after its corresponding intent is matched. If the same output context is included in another intent, the context resets the counter and clock to five requests and 20 minutes. Contexts in follow-up intents have a default lifespan of two requests.</a:t>
            </a:r>
          </a:p>
          <a:p>
            <a:pPr marL="285750" indent="-285750">
              <a:buClr>
                <a:schemeClr val="accent2"/>
              </a:buClr>
              <a:buFont typeface="Arial" panose="020B0604020202020204" pitchFamily="34" charset="0"/>
              <a:buChar char="•"/>
            </a:pPr>
            <a:endParaRPr lang="en-US" sz="1400" dirty="0"/>
          </a:p>
          <a:p>
            <a:pPr marL="285750" indent="-285750">
              <a:buClr>
                <a:schemeClr val="accent2"/>
              </a:buClr>
              <a:buFont typeface="Arial" panose="020B0604020202020204" pitchFamily="34" charset="0"/>
              <a:buChar char="•"/>
            </a:pPr>
            <a:r>
              <a:rPr lang="en-US" sz="1400" dirty="0"/>
              <a:t>If the “like pizzas" context has a </a:t>
            </a:r>
            <a:r>
              <a:rPr lang="en-US" sz="1400" dirty="0">
                <a:solidFill>
                  <a:schemeClr val="accent2"/>
                </a:solidFill>
              </a:rPr>
              <a:t>lifespan</a:t>
            </a:r>
            <a:r>
              <a:rPr lang="en-US" sz="1400" dirty="0"/>
              <a:t> of two and the context's lifespan isn't reset by its related output, the agent could only observe "like pizzas" for two conversational turns:</a:t>
            </a:r>
          </a:p>
          <a:p>
            <a:pPr marL="690563" lvl="1" indent="-285750">
              <a:buClr>
                <a:schemeClr val="accent2"/>
              </a:buClr>
            </a:pPr>
            <a:r>
              <a:rPr lang="en-US" sz="1300" dirty="0"/>
              <a:t>"Do you like pizzas?" - </a:t>
            </a:r>
            <a:r>
              <a:rPr lang="en-US" sz="1300" i="1" dirty="0"/>
              <a:t>Context is attached to this intent.</a:t>
            </a:r>
          </a:p>
          <a:p>
            <a:pPr marL="690563" lvl="1" indent="-285750">
              <a:buClr>
                <a:schemeClr val="accent2"/>
              </a:buClr>
            </a:pPr>
            <a:r>
              <a:rPr lang="en-US" sz="1300" dirty="0"/>
              <a:t>"Yes, I do." - </a:t>
            </a:r>
            <a:r>
              <a:rPr lang="en-US" sz="1300" i="1" dirty="0"/>
              <a:t>Context is set and activated.</a:t>
            </a:r>
          </a:p>
          <a:p>
            <a:pPr marL="690563" lvl="1" indent="-285750">
              <a:buClr>
                <a:schemeClr val="accent2"/>
              </a:buClr>
            </a:pPr>
            <a:r>
              <a:rPr lang="en-US" sz="1300" dirty="0"/>
              <a:t>"Do you want to see a pizza picture?" - </a:t>
            </a:r>
            <a:r>
              <a:rPr lang="en-US" sz="1300" i="1" dirty="0"/>
              <a:t>Turn 1.</a:t>
            </a:r>
          </a:p>
          <a:p>
            <a:pPr marL="690563" lvl="1" indent="-285750">
              <a:buClr>
                <a:schemeClr val="accent2"/>
              </a:buClr>
            </a:pPr>
            <a:r>
              <a:rPr lang="en-US" sz="1300" dirty="0"/>
              <a:t>"Sure!" - </a:t>
            </a:r>
            <a:r>
              <a:rPr lang="en-US" sz="1300" i="1" dirty="0"/>
              <a:t>Turn 1.</a:t>
            </a:r>
          </a:p>
          <a:p>
            <a:pPr marL="690563" lvl="1" indent="-285750">
              <a:buClr>
                <a:schemeClr val="accent2"/>
              </a:buClr>
            </a:pPr>
            <a:r>
              <a:rPr lang="en-US" sz="1300" dirty="0"/>
              <a:t>"Here's a pizza picture." - </a:t>
            </a:r>
            <a:r>
              <a:rPr lang="en-US" sz="1300" i="1" dirty="0"/>
              <a:t>Turn 2 and context is removed.</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3366797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F3A6981-411C-44B6-ABB1-BC197A7CDA06}"/>
              </a:ext>
            </a:extLst>
          </p:cNvPr>
          <p:cNvSpPr>
            <a:spLocks noGrp="1"/>
          </p:cNvSpPr>
          <p:nvPr>
            <p:ph type="title"/>
          </p:nvPr>
        </p:nvSpPr>
        <p:spPr/>
        <p:txBody>
          <a:bodyPr/>
          <a:lstStyle/>
          <a:p>
            <a:r>
              <a:rPr lang="fr-FR" dirty="0"/>
              <a:t>Follow-up </a:t>
            </a:r>
            <a:r>
              <a:rPr lang="fr-FR" dirty="0" err="1"/>
              <a:t>intent</a:t>
            </a:r>
            <a:r>
              <a:rPr lang="fr-FR" dirty="0"/>
              <a:t> </a:t>
            </a:r>
          </a:p>
        </p:txBody>
      </p:sp>
      <p:pic>
        <p:nvPicPr>
          <p:cNvPr id="3" name="Image 2">
            <a:extLst>
              <a:ext uri="{FF2B5EF4-FFF2-40B4-BE49-F238E27FC236}">
                <a16:creationId xmlns:a16="http://schemas.microsoft.com/office/drawing/2014/main" id="{925CAFD7-E7F2-49E3-A633-D6FEE9E082EF}"/>
              </a:ext>
            </a:extLst>
          </p:cNvPr>
          <p:cNvPicPr>
            <a:picLocks noChangeAspect="1"/>
          </p:cNvPicPr>
          <p:nvPr/>
        </p:nvPicPr>
        <p:blipFill>
          <a:blip r:embed="rId2"/>
          <a:stretch>
            <a:fillRect/>
          </a:stretch>
        </p:blipFill>
        <p:spPr>
          <a:xfrm>
            <a:off x="557213" y="624811"/>
            <a:ext cx="7836694" cy="2065075"/>
          </a:xfrm>
          <a:prstGeom prst="rect">
            <a:avLst/>
          </a:prstGeom>
        </p:spPr>
      </p:pic>
      <p:sp>
        <p:nvSpPr>
          <p:cNvPr id="4" name="Ellipse 3">
            <a:extLst>
              <a:ext uri="{FF2B5EF4-FFF2-40B4-BE49-F238E27FC236}">
                <a16:creationId xmlns:a16="http://schemas.microsoft.com/office/drawing/2014/main" id="{75CF118D-2559-45CC-9A72-FE29CD9C1D6E}"/>
              </a:ext>
            </a:extLst>
          </p:cNvPr>
          <p:cNvSpPr/>
          <p:nvPr/>
        </p:nvSpPr>
        <p:spPr>
          <a:xfrm>
            <a:off x="6579394" y="1585913"/>
            <a:ext cx="1277530" cy="350043"/>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Text Placeholder 16">
            <a:extLst>
              <a:ext uri="{FF2B5EF4-FFF2-40B4-BE49-F238E27FC236}">
                <a16:creationId xmlns:a16="http://schemas.microsoft.com/office/drawing/2014/main" id="{89556848-E322-4FFB-BE1A-8F4015E58B1D}"/>
              </a:ext>
            </a:extLst>
          </p:cNvPr>
          <p:cNvSpPr txBox="1">
            <a:spLocks/>
          </p:cNvSpPr>
          <p:nvPr/>
        </p:nvSpPr>
        <p:spPr>
          <a:xfrm>
            <a:off x="557213" y="3014662"/>
            <a:ext cx="5657850" cy="513219"/>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00" dirty="0"/>
              <a:t>With a follow-up intent, It’s easy to :</a:t>
            </a:r>
          </a:p>
          <a:p>
            <a:pPr marL="285750" indent="-285750">
              <a:buFont typeface="Arial" panose="020B0604020202020204" pitchFamily="34" charset="0"/>
              <a:buChar char="•"/>
            </a:pPr>
            <a:r>
              <a:rPr lang="en-US" sz="1400" dirty="0"/>
              <a:t>Build quickly a subsequent dialog (with input / output context)</a:t>
            </a:r>
          </a:p>
          <a:p>
            <a:pPr marL="285750" indent="-285750">
              <a:buFont typeface="Arial" panose="020B0604020202020204" pitchFamily="34" charset="0"/>
              <a:buChar char="•"/>
            </a:pPr>
            <a:r>
              <a:rPr lang="en-US" sz="1400" dirty="0"/>
              <a:t>Add a prebuild intent (yes / no / later / repeat…)</a:t>
            </a:r>
          </a:p>
          <a:p>
            <a:pPr marL="285750" indent="-285750">
              <a:buFont typeface="Arial" panose="020B0604020202020204" pitchFamily="34" charset="0"/>
              <a:buChar char="•"/>
            </a:pPr>
            <a:endParaRPr lang="en-US" sz="1600" dirty="0"/>
          </a:p>
        </p:txBody>
      </p:sp>
      <p:pic>
        <p:nvPicPr>
          <p:cNvPr id="6" name="Image 5">
            <a:extLst>
              <a:ext uri="{FF2B5EF4-FFF2-40B4-BE49-F238E27FC236}">
                <a16:creationId xmlns:a16="http://schemas.microsoft.com/office/drawing/2014/main" id="{60D2C675-FB06-478A-AB2D-E075BA1BFF80}"/>
              </a:ext>
            </a:extLst>
          </p:cNvPr>
          <p:cNvPicPr>
            <a:picLocks noChangeAspect="1"/>
          </p:cNvPicPr>
          <p:nvPr/>
        </p:nvPicPr>
        <p:blipFill>
          <a:blip r:embed="rId3"/>
          <a:stretch>
            <a:fillRect/>
          </a:stretch>
        </p:blipFill>
        <p:spPr>
          <a:xfrm>
            <a:off x="7218159" y="2852798"/>
            <a:ext cx="1475379" cy="2193131"/>
          </a:xfrm>
          <a:prstGeom prst="rect">
            <a:avLst/>
          </a:prstGeom>
        </p:spPr>
      </p:pic>
      <p:cxnSp>
        <p:nvCxnSpPr>
          <p:cNvPr id="7" name="Connecteur droit avec flèche 6">
            <a:extLst>
              <a:ext uri="{FF2B5EF4-FFF2-40B4-BE49-F238E27FC236}">
                <a16:creationId xmlns:a16="http://schemas.microsoft.com/office/drawing/2014/main" id="{A230D401-8BAE-4597-9D68-96ADC942E743}"/>
              </a:ext>
            </a:extLst>
          </p:cNvPr>
          <p:cNvCxnSpPr>
            <a:cxnSpLocks/>
          </p:cNvCxnSpPr>
          <p:nvPr/>
        </p:nvCxnSpPr>
        <p:spPr>
          <a:xfrm flipH="1">
            <a:off x="5521842" y="3939410"/>
            <a:ext cx="1610173" cy="0"/>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144473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F3A6981-411C-44B6-ABB1-BC197A7CDA06}"/>
              </a:ext>
            </a:extLst>
          </p:cNvPr>
          <p:cNvSpPr>
            <a:spLocks noGrp="1"/>
          </p:cNvSpPr>
          <p:nvPr>
            <p:ph type="title"/>
          </p:nvPr>
        </p:nvSpPr>
        <p:spPr/>
        <p:txBody>
          <a:bodyPr/>
          <a:lstStyle/>
          <a:p>
            <a:r>
              <a:rPr lang="fr-FR" dirty="0"/>
              <a:t>Follow-up </a:t>
            </a:r>
            <a:r>
              <a:rPr lang="fr-FR" dirty="0" err="1"/>
              <a:t>intent</a:t>
            </a:r>
            <a:r>
              <a:rPr lang="fr-FR" dirty="0"/>
              <a:t> </a:t>
            </a:r>
          </a:p>
        </p:txBody>
      </p:sp>
      <p:sp>
        <p:nvSpPr>
          <p:cNvPr id="5" name="Text Placeholder 16">
            <a:extLst>
              <a:ext uri="{FF2B5EF4-FFF2-40B4-BE49-F238E27FC236}">
                <a16:creationId xmlns:a16="http://schemas.microsoft.com/office/drawing/2014/main" id="{89556848-E322-4FFB-BE1A-8F4015E58B1D}"/>
              </a:ext>
            </a:extLst>
          </p:cNvPr>
          <p:cNvSpPr txBox="1">
            <a:spLocks/>
          </p:cNvSpPr>
          <p:nvPr/>
        </p:nvSpPr>
        <p:spPr>
          <a:xfrm>
            <a:off x="3427808" y="4430507"/>
            <a:ext cx="2731295" cy="766763"/>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1400" dirty="0"/>
              <a:t>with automatic input context</a:t>
            </a:r>
          </a:p>
          <a:p>
            <a:pPr marL="285750" indent="-285750">
              <a:buFont typeface="Arial" panose="020B0604020202020204" pitchFamily="34" charset="0"/>
              <a:buChar char="•"/>
            </a:pPr>
            <a:endParaRPr lang="en-US" sz="1600" dirty="0"/>
          </a:p>
        </p:txBody>
      </p:sp>
      <p:pic>
        <p:nvPicPr>
          <p:cNvPr id="7" name="Image 6">
            <a:extLst>
              <a:ext uri="{FF2B5EF4-FFF2-40B4-BE49-F238E27FC236}">
                <a16:creationId xmlns:a16="http://schemas.microsoft.com/office/drawing/2014/main" id="{4280981C-56E4-4CF2-8F62-172F7200D4E2}"/>
              </a:ext>
            </a:extLst>
          </p:cNvPr>
          <p:cNvPicPr>
            <a:picLocks noChangeAspect="1"/>
          </p:cNvPicPr>
          <p:nvPr/>
        </p:nvPicPr>
        <p:blipFill>
          <a:blip r:embed="rId2"/>
          <a:stretch>
            <a:fillRect/>
          </a:stretch>
        </p:blipFill>
        <p:spPr>
          <a:xfrm>
            <a:off x="346959" y="947738"/>
            <a:ext cx="4057650" cy="1181100"/>
          </a:xfrm>
          <a:prstGeom prst="rect">
            <a:avLst/>
          </a:prstGeom>
        </p:spPr>
      </p:pic>
      <p:sp>
        <p:nvSpPr>
          <p:cNvPr id="4" name="Ellipse 3">
            <a:extLst>
              <a:ext uri="{FF2B5EF4-FFF2-40B4-BE49-F238E27FC236}">
                <a16:creationId xmlns:a16="http://schemas.microsoft.com/office/drawing/2014/main" id="{75CF118D-2559-45CC-9A72-FE29CD9C1D6E}"/>
              </a:ext>
            </a:extLst>
          </p:cNvPr>
          <p:cNvSpPr/>
          <p:nvPr/>
        </p:nvSpPr>
        <p:spPr>
          <a:xfrm>
            <a:off x="579844" y="1340215"/>
            <a:ext cx="2041911" cy="481441"/>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Image 7">
            <a:extLst>
              <a:ext uri="{FF2B5EF4-FFF2-40B4-BE49-F238E27FC236}">
                <a16:creationId xmlns:a16="http://schemas.microsoft.com/office/drawing/2014/main" id="{A7FE0B37-8AE2-474D-8CA3-E648C01CF86F}"/>
              </a:ext>
            </a:extLst>
          </p:cNvPr>
          <p:cNvPicPr>
            <a:picLocks noChangeAspect="1"/>
          </p:cNvPicPr>
          <p:nvPr/>
        </p:nvPicPr>
        <p:blipFill>
          <a:blip r:embed="rId3"/>
          <a:stretch>
            <a:fillRect/>
          </a:stretch>
        </p:blipFill>
        <p:spPr>
          <a:xfrm>
            <a:off x="3427809" y="2571750"/>
            <a:ext cx="2731294" cy="1753983"/>
          </a:xfrm>
          <a:prstGeom prst="rect">
            <a:avLst/>
          </a:prstGeom>
        </p:spPr>
      </p:pic>
      <p:sp>
        <p:nvSpPr>
          <p:cNvPr id="9" name="Text Placeholder 16">
            <a:extLst>
              <a:ext uri="{FF2B5EF4-FFF2-40B4-BE49-F238E27FC236}">
                <a16:creationId xmlns:a16="http://schemas.microsoft.com/office/drawing/2014/main" id="{F4273E3F-4BB5-4472-86F7-B8746C4E26A1}"/>
              </a:ext>
            </a:extLst>
          </p:cNvPr>
          <p:cNvSpPr txBox="1">
            <a:spLocks/>
          </p:cNvSpPr>
          <p:nvPr/>
        </p:nvSpPr>
        <p:spPr>
          <a:xfrm>
            <a:off x="6400800" y="4430507"/>
            <a:ext cx="2088356" cy="766763"/>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1400" dirty="0"/>
              <a:t>with default corpus</a:t>
            </a:r>
          </a:p>
          <a:p>
            <a:pPr marL="285750" indent="-285750">
              <a:buFont typeface="Arial" panose="020B0604020202020204" pitchFamily="34" charset="0"/>
              <a:buChar char="•"/>
            </a:pPr>
            <a:endParaRPr lang="en-US" sz="1600" dirty="0"/>
          </a:p>
        </p:txBody>
      </p:sp>
      <p:pic>
        <p:nvPicPr>
          <p:cNvPr id="10" name="Image 9">
            <a:extLst>
              <a:ext uri="{FF2B5EF4-FFF2-40B4-BE49-F238E27FC236}">
                <a16:creationId xmlns:a16="http://schemas.microsoft.com/office/drawing/2014/main" id="{D89A43A8-5111-46FB-9FF3-37B461F09522}"/>
              </a:ext>
            </a:extLst>
          </p:cNvPr>
          <p:cNvPicPr>
            <a:picLocks noChangeAspect="1"/>
          </p:cNvPicPr>
          <p:nvPr/>
        </p:nvPicPr>
        <p:blipFill>
          <a:blip r:embed="rId4"/>
          <a:stretch>
            <a:fillRect/>
          </a:stretch>
        </p:blipFill>
        <p:spPr>
          <a:xfrm>
            <a:off x="6400800" y="1740449"/>
            <a:ext cx="2088356" cy="2585284"/>
          </a:xfrm>
          <a:prstGeom prst="rect">
            <a:avLst/>
          </a:prstGeom>
        </p:spPr>
      </p:pic>
      <p:cxnSp>
        <p:nvCxnSpPr>
          <p:cNvPr id="11" name="Connecteur droit avec flèche 10">
            <a:extLst>
              <a:ext uri="{FF2B5EF4-FFF2-40B4-BE49-F238E27FC236}">
                <a16:creationId xmlns:a16="http://schemas.microsoft.com/office/drawing/2014/main" id="{372DE790-C198-49E9-95EF-7965069D1A0E}"/>
              </a:ext>
            </a:extLst>
          </p:cNvPr>
          <p:cNvCxnSpPr>
            <a:cxnSpLocks/>
          </p:cNvCxnSpPr>
          <p:nvPr/>
        </p:nvCxnSpPr>
        <p:spPr>
          <a:xfrm flipH="1" flipV="1">
            <a:off x="2500312" y="1658196"/>
            <a:ext cx="2254930" cy="839949"/>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cxnSp>
        <p:nvCxnSpPr>
          <p:cNvPr id="13" name="Connecteur droit avec flèche 12">
            <a:extLst>
              <a:ext uri="{FF2B5EF4-FFF2-40B4-BE49-F238E27FC236}">
                <a16:creationId xmlns:a16="http://schemas.microsoft.com/office/drawing/2014/main" id="{4DDC5D42-E1D6-4B82-83E4-5C3D62D2DC85}"/>
              </a:ext>
            </a:extLst>
          </p:cNvPr>
          <p:cNvCxnSpPr>
            <a:cxnSpLocks/>
          </p:cNvCxnSpPr>
          <p:nvPr/>
        </p:nvCxnSpPr>
        <p:spPr>
          <a:xfrm flipH="1" flipV="1">
            <a:off x="2621755" y="1573792"/>
            <a:ext cx="3824765" cy="690776"/>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16" name="Text Placeholder 16">
            <a:extLst>
              <a:ext uri="{FF2B5EF4-FFF2-40B4-BE49-F238E27FC236}">
                <a16:creationId xmlns:a16="http://schemas.microsoft.com/office/drawing/2014/main" id="{4E91E918-83E9-4288-83AF-5107CE81BAD6}"/>
              </a:ext>
            </a:extLst>
          </p:cNvPr>
          <p:cNvSpPr txBox="1">
            <a:spLocks/>
          </p:cNvSpPr>
          <p:nvPr/>
        </p:nvSpPr>
        <p:spPr>
          <a:xfrm>
            <a:off x="3186112" y="1988129"/>
            <a:ext cx="2731295" cy="766763"/>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1400" dirty="0"/>
              <a:t>New intent</a:t>
            </a:r>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421625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E7E76CC-B048-49E4-811A-D49AED713EF9}"/>
              </a:ext>
            </a:extLst>
          </p:cNvPr>
          <p:cNvSpPr>
            <a:spLocks noGrp="1"/>
          </p:cNvSpPr>
          <p:nvPr>
            <p:ph type="title"/>
          </p:nvPr>
        </p:nvSpPr>
        <p:spPr/>
        <p:txBody>
          <a:bodyPr/>
          <a:lstStyle/>
          <a:p>
            <a:r>
              <a:rPr lang="fr-FR" dirty="0" err="1"/>
              <a:t>Testing</a:t>
            </a:r>
            <a:r>
              <a:rPr lang="fr-FR" dirty="0"/>
              <a:t> </a:t>
            </a:r>
            <a:r>
              <a:rPr lang="fr-FR" dirty="0" err="1"/>
              <a:t>with</a:t>
            </a:r>
            <a:r>
              <a:rPr lang="fr-FR" dirty="0"/>
              <a:t> </a:t>
            </a:r>
            <a:r>
              <a:rPr lang="fr-FR" dirty="0" err="1"/>
              <a:t>contexts</a:t>
            </a:r>
            <a:endParaRPr lang="fr-FR" dirty="0"/>
          </a:p>
        </p:txBody>
      </p:sp>
      <p:pic>
        <p:nvPicPr>
          <p:cNvPr id="3" name="Image 2">
            <a:extLst>
              <a:ext uri="{FF2B5EF4-FFF2-40B4-BE49-F238E27FC236}">
                <a16:creationId xmlns:a16="http://schemas.microsoft.com/office/drawing/2014/main" id="{01817F5F-A972-4095-8155-2A27F52DAE13}"/>
              </a:ext>
            </a:extLst>
          </p:cNvPr>
          <p:cNvPicPr>
            <a:picLocks noChangeAspect="1"/>
          </p:cNvPicPr>
          <p:nvPr/>
        </p:nvPicPr>
        <p:blipFill>
          <a:blip r:embed="rId2"/>
          <a:stretch>
            <a:fillRect/>
          </a:stretch>
        </p:blipFill>
        <p:spPr>
          <a:xfrm>
            <a:off x="764380" y="863898"/>
            <a:ext cx="1643383" cy="3650951"/>
          </a:xfrm>
          <a:prstGeom prst="rect">
            <a:avLst/>
          </a:prstGeom>
        </p:spPr>
      </p:pic>
      <p:sp>
        <p:nvSpPr>
          <p:cNvPr id="4" name="Text Placeholder 16">
            <a:extLst>
              <a:ext uri="{FF2B5EF4-FFF2-40B4-BE49-F238E27FC236}">
                <a16:creationId xmlns:a16="http://schemas.microsoft.com/office/drawing/2014/main" id="{4A93DD4D-C528-49BE-BE1D-E80AB8CBECE3}"/>
              </a:ext>
            </a:extLst>
          </p:cNvPr>
          <p:cNvSpPr txBox="1">
            <a:spLocks/>
          </p:cNvSpPr>
          <p:nvPr/>
        </p:nvSpPr>
        <p:spPr>
          <a:xfrm>
            <a:off x="2843212" y="1257300"/>
            <a:ext cx="5657850" cy="513219"/>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00" dirty="0"/>
              <a:t>When testing a dialog :</a:t>
            </a:r>
          </a:p>
          <a:p>
            <a:endParaRPr lang="en-US" sz="1400" dirty="0"/>
          </a:p>
          <a:p>
            <a:pPr marL="285750" indent="-285750">
              <a:buClr>
                <a:schemeClr val="accent2"/>
              </a:buClr>
              <a:buFont typeface="Arial" panose="020B0604020202020204" pitchFamily="34" charset="0"/>
              <a:buChar char="•"/>
            </a:pPr>
            <a:r>
              <a:rPr lang="en-US" sz="1400" dirty="0"/>
              <a:t>You can visualize the active contexts</a:t>
            </a:r>
          </a:p>
          <a:p>
            <a:pPr marL="285750" indent="-285750">
              <a:buClr>
                <a:schemeClr val="accent2"/>
              </a:buClr>
              <a:buFont typeface="Arial" panose="020B0604020202020204" pitchFamily="34" charset="0"/>
              <a:buChar char="•"/>
            </a:pPr>
            <a:endParaRPr lang="en-US" sz="1400" dirty="0"/>
          </a:p>
          <a:p>
            <a:pPr marL="285750" indent="-285750">
              <a:buClr>
                <a:schemeClr val="accent2"/>
              </a:buClr>
              <a:buFont typeface="Arial" panose="020B0604020202020204" pitchFamily="34" charset="0"/>
              <a:buChar char="•"/>
            </a:pPr>
            <a:r>
              <a:rPr lang="en-US" sz="1400" dirty="0"/>
              <a:t>And you can reset all the contexts</a:t>
            </a:r>
          </a:p>
          <a:p>
            <a:pPr marL="285750" indent="-285750">
              <a:buFont typeface="Arial" panose="020B0604020202020204" pitchFamily="34" charset="0"/>
              <a:buChar char="•"/>
            </a:pPr>
            <a:endParaRPr lang="en-US" sz="1600" dirty="0"/>
          </a:p>
        </p:txBody>
      </p:sp>
      <p:sp>
        <p:nvSpPr>
          <p:cNvPr id="6" name="Ellipse 5">
            <a:extLst>
              <a:ext uri="{FF2B5EF4-FFF2-40B4-BE49-F238E27FC236}">
                <a16:creationId xmlns:a16="http://schemas.microsoft.com/office/drawing/2014/main" id="{EBC75B31-8B78-4858-A6EF-666BD64E8C3B}"/>
              </a:ext>
            </a:extLst>
          </p:cNvPr>
          <p:cNvSpPr/>
          <p:nvPr/>
        </p:nvSpPr>
        <p:spPr>
          <a:xfrm>
            <a:off x="764380" y="2857500"/>
            <a:ext cx="1014414" cy="578644"/>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 name="Connecteur droit avec flèche 6">
            <a:extLst>
              <a:ext uri="{FF2B5EF4-FFF2-40B4-BE49-F238E27FC236}">
                <a16:creationId xmlns:a16="http://schemas.microsoft.com/office/drawing/2014/main" id="{8444E924-E465-41B4-8BB6-A73475316A0D}"/>
              </a:ext>
            </a:extLst>
          </p:cNvPr>
          <p:cNvCxnSpPr>
            <a:cxnSpLocks/>
          </p:cNvCxnSpPr>
          <p:nvPr/>
        </p:nvCxnSpPr>
        <p:spPr>
          <a:xfrm flipH="1">
            <a:off x="1482860" y="2041451"/>
            <a:ext cx="1302870" cy="816050"/>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
        <p:nvSpPr>
          <p:cNvPr id="9" name="Ellipse 8">
            <a:extLst>
              <a:ext uri="{FF2B5EF4-FFF2-40B4-BE49-F238E27FC236}">
                <a16:creationId xmlns:a16="http://schemas.microsoft.com/office/drawing/2014/main" id="{332ACB56-BB84-46DD-9350-891EB1179AC0}"/>
              </a:ext>
            </a:extLst>
          </p:cNvPr>
          <p:cNvSpPr/>
          <p:nvPr/>
        </p:nvSpPr>
        <p:spPr>
          <a:xfrm>
            <a:off x="1744352" y="2707398"/>
            <a:ext cx="617455" cy="375381"/>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0" name="Connecteur droit avec flèche 9">
            <a:extLst>
              <a:ext uri="{FF2B5EF4-FFF2-40B4-BE49-F238E27FC236}">
                <a16:creationId xmlns:a16="http://schemas.microsoft.com/office/drawing/2014/main" id="{4BE9484F-0D4C-4D95-9667-408C400C8A90}"/>
              </a:ext>
            </a:extLst>
          </p:cNvPr>
          <p:cNvCxnSpPr>
            <a:cxnSpLocks/>
            <a:endCxn id="9" idx="6"/>
          </p:cNvCxnSpPr>
          <p:nvPr/>
        </p:nvCxnSpPr>
        <p:spPr>
          <a:xfrm flipH="1">
            <a:off x="2361807" y="2629786"/>
            <a:ext cx="481405" cy="265303"/>
          </a:xfrm>
          <a:prstGeom prst="straightConnector1">
            <a:avLst/>
          </a:prstGeom>
          <a:noFill/>
          <a:ln w="50800">
            <a:solidFill>
              <a:schemeClr val="accent2">
                <a:alpha val="60000"/>
              </a:schemeClr>
            </a:solidFill>
            <a:headEnd type="arrow"/>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829423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CE417E-42E4-4D1E-B00D-DF63064939B6}"/>
              </a:ext>
            </a:extLst>
          </p:cNvPr>
          <p:cNvSpPr>
            <a:spLocks noGrp="1"/>
          </p:cNvSpPr>
          <p:nvPr>
            <p:ph type="title"/>
          </p:nvPr>
        </p:nvSpPr>
        <p:spPr/>
        <p:txBody>
          <a:bodyPr/>
          <a:lstStyle/>
          <a:p>
            <a:r>
              <a:rPr lang="fr-FR" dirty="0"/>
              <a:t>Global native architecture</a:t>
            </a:r>
          </a:p>
        </p:txBody>
      </p:sp>
      <p:pic>
        <p:nvPicPr>
          <p:cNvPr id="52" name="Image 51">
            <a:extLst>
              <a:ext uri="{FF2B5EF4-FFF2-40B4-BE49-F238E27FC236}">
                <a16:creationId xmlns:a16="http://schemas.microsoft.com/office/drawing/2014/main" id="{373CA4AE-3887-49B3-B13A-8C6A44C9CC13}"/>
              </a:ext>
            </a:extLst>
          </p:cNvPr>
          <p:cNvPicPr>
            <a:picLocks noChangeAspect="1"/>
          </p:cNvPicPr>
          <p:nvPr/>
        </p:nvPicPr>
        <p:blipFill>
          <a:blip r:embed="rId2"/>
          <a:stretch>
            <a:fillRect/>
          </a:stretch>
        </p:blipFill>
        <p:spPr>
          <a:xfrm>
            <a:off x="573437" y="629146"/>
            <a:ext cx="7997125" cy="4148723"/>
          </a:xfrm>
          <a:prstGeom prst="rect">
            <a:avLst/>
          </a:prstGeom>
          <a:solidFill>
            <a:schemeClr val="bg1"/>
          </a:solidFill>
        </p:spPr>
      </p:pic>
    </p:spTree>
    <p:extLst>
      <p:ext uri="{BB962C8B-B14F-4D97-AF65-F5344CB8AC3E}">
        <p14:creationId xmlns:p14="http://schemas.microsoft.com/office/powerpoint/2010/main" val="3083561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555E42D-92A4-44D9-8B9E-08D3BE214399}"/>
              </a:ext>
            </a:extLst>
          </p:cNvPr>
          <p:cNvSpPr>
            <a:spLocks noGrp="1"/>
          </p:cNvSpPr>
          <p:nvPr>
            <p:ph type="title"/>
          </p:nvPr>
        </p:nvSpPr>
        <p:spPr/>
        <p:txBody>
          <a:bodyPr/>
          <a:lstStyle/>
          <a:p>
            <a:r>
              <a:rPr lang="fr-FR" dirty="0" err="1"/>
              <a:t>Managing</a:t>
            </a:r>
            <a:r>
              <a:rPr lang="fr-FR" dirty="0"/>
              <a:t> </a:t>
            </a:r>
            <a:r>
              <a:rPr lang="fr-FR" dirty="0" err="1"/>
              <a:t>precisely</a:t>
            </a:r>
            <a:r>
              <a:rPr lang="fr-FR" dirty="0"/>
              <a:t> the </a:t>
            </a:r>
            <a:r>
              <a:rPr lang="fr-FR" dirty="0" err="1"/>
              <a:t>contexts</a:t>
            </a:r>
            <a:endParaRPr lang="fr-FR" dirty="0"/>
          </a:p>
        </p:txBody>
      </p:sp>
      <p:pic>
        <p:nvPicPr>
          <p:cNvPr id="3" name="Image 2">
            <a:extLst>
              <a:ext uri="{FF2B5EF4-FFF2-40B4-BE49-F238E27FC236}">
                <a16:creationId xmlns:a16="http://schemas.microsoft.com/office/drawing/2014/main" id="{CF5AC87C-80A6-4060-93B7-2C1E38139A62}"/>
              </a:ext>
            </a:extLst>
          </p:cNvPr>
          <p:cNvPicPr>
            <a:picLocks noChangeAspect="1"/>
          </p:cNvPicPr>
          <p:nvPr/>
        </p:nvPicPr>
        <p:blipFill>
          <a:blip r:embed="rId2"/>
          <a:stretch>
            <a:fillRect/>
          </a:stretch>
        </p:blipFill>
        <p:spPr>
          <a:xfrm>
            <a:off x="457199" y="1058068"/>
            <a:ext cx="1723587" cy="970756"/>
          </a:xfrm>
          <a:prstGeom prst="rect">
            <a:avLst/>
          </a:prstGeom>
        </p:spPr>
      </p:pic>
      <p:pic>
        <p:nvPicPr>
          <p:cNvPr id="5" name="Image 4">
            <a:extLst>
              <a:ext uri="{FF2B5EF4-FFF2-40B4-BE49-F238E27FC236}">
                <a16:creationId xmlns:a16="http://schemas.microsoft.com/office/drawing/2014/main" id="{15A2A04D-2183-420C-B742-20A100A5353E}"/>
              </a:ext>
            </a:extLst>
          </p:cNvPr>
          <p:cNvPicPr>
            <a:picLocks noChangeAspect="1"/>
          </p:cNvPicPr>
          <p:nvPr/>
        </p:nvPicPr>
        <p:blipFill>
          <a:blip r:embed="rId3"/>
          <a:stretch>
            <a:fillRect/>
          </a:stretch>
        </p:blipFill>
        <p:spPr>
          <a:xfrm>
            <a:off x="475613" y="2493963"/>
            <a:ext cx="1705173" cy="1049337"/>
          </a:xfrm>
          <a:prstGeom prst="rect">
            <a:avLst/>
          </a:prstGeom>
        </p:spPr>
      </p:pic>
      <p:sp>
        <p:nvSpPr>
          <p:cNvPr id="6" name="Text Placeholder 16">
            <a:extLst>
              <a:ext uri="{FF2B5EF4-FFF2-40B4-BE49-F238E27FC236}">
                <a16:creationId xmlns:a16="http://schemas.microsoft.com/office/drawing/2014/main" id="{D40357A9-109B-42F0-B4CB-F7116DB7AC02}"/>
              </a:ext>
            </a:extLst>
          </p:cNvPr>
          <p:cNvSpPr txBox="1">
            <a:spLocks/>
          </p:cNvSpPr>
          <p:nvPr/>
        </p:nvSpPr>
        <p:spPr>
          <a:xfrm>
            <a:off x="2491977" y="1058068"/>
            <a:ext cx="5894786" cy="766763"/>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00" dirty="0"/>
              <a:t>Output context = input context. </a:t>
            </a:r>
          </a:p>
          <a:p>
            <a:r>
              <a:rPr lang="en-US" sz="1400" dirty="0"/>
              <a:t>The context is still active, and the lifespan is the same.</a:t>
            </a:r>
          </a:p>
          <a:p>
            <a:endParaRPr lang="en-US" sz="1400" dirty="0"/>
          </a:p>
          <a:p>
            <a:endParaRPr lang="en-US" sz="1400" dirty="0"/>
          </a:p>
          <a:p>
            <a:endParaRPr lang="en-US" sz="1400" dirty="0"/>
          </a:p>
          <a:p>
            <a:r>
              <a:rPr lang="en-US" sz="1400" dirty="0"/>
              <a:t>No output context.</a:t>
            </a:r>
          </a:p>
          <a:p>
            <a:r>
              <a:rPr lang="en-US" sz="1400" dirty="0"/>
              <a:t>The lifespan of the context is decremented.</a:t>
            </a:r>
          </a:p>
          <a:p>
            <a:endParaRPr lang="en-US" sz="1400" dirty="0"/>
          </a:p>
          <a:p>
            <a:r>
              <a:rPr lang="en-US" sz="1400" dirty="0">
                <a:solidFill>
                  <a:schemeClr val="accent2"/>
                </a:solidFill>
              </a:rPr>
              <a:t>The context is not deleted all the time !</a:t>
            </a:r>
          </a:p>
          <a:p>
            <a:r>
              <a:rPr lang="en-US" sz="1400" dirty="0">
                <a:solidFill>
                  <a:schemeClr val="accent1"/>
                </a:solidFill>
              </a:rPr>
              <a:t>If you want to delete it, you must use a “0” lifespan</a:t>
            </a:r>
            <a:r>
              <a:rPr lang="en-US" sz="1400" dirty="0">
                <a:solidFill>
                  <a:schemeClr val="accent2"/>
                </a:solidFill>
              </a:rPr>
              <a:t>.</a:t>
            </a:r>
          </a:p>
          <a:p>
            <a:endParaRPr lang="en-US" sz="1400" dirty="0"/>
          </a:p>
          <a:p>
            <a:endParaRPr lang="en-US" sz="1400" dirty="0"/>
          </a:p>
          <a:p>
            <a:pPr marL="285750" indent="-285750">
              <a:buFont typeface="Arial" panose="020B0604020202020204" pitchFamily="34" charset="0"/>
              <a:buChar char="•"/>
            </a:pPr>
            <a:endParaRPr lang="en-US" sz="1600" dirty="0"/>
          </a:p>
        </p:txBody>
      </p:sp>
      <p:cxnSp>
        <p:nvCxnSpPr>
          <p:cNvPr id="7" name="Connecteur droit avec flèche 6">
            <a:extLst>
              <a:ext uri="{FF2B5EF4-FFF2-40B4-BE49-F238E27FC236}">
                <a16:creationId xmlns:a16="http://schemas.microsoft.com/office/drawing/2014/main" id="{A868562C-7816-42F3-A49E-9915C0F4803C}"/>
              </a:ext>
            </a:extLst>
          </p:cNvPr>
          <p:cNvCxnSpPr>
            <a:cxnSpLocks/>
          </p:cNvCxnSpPr>
          <p:nvPr/>
        </p:nvCxnSpPr>
        <p:spPr>
          <a:xfrm flipH="1">
            <a:off x="2180786" y="1271588"/>
            <a:ext cx="369534" cy="0"/>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cxnSp>
        <p:nvCxnSpPr>
          <p:cNvPr id="11" name="Connecteur droit avec flèche 10">
            <a:extLst>
              <a:ext uri="{FF2B5EF4-FFF2-40B4-BE49-F238E27FC236}">
                <a16:creationId xmlns:a16="http://schemas.microsoft.com/office/drawing/2014/main" id="{362ED55F-2387-492D-ACB6-6F4967402B16}"/>
              </a:ext>
            </a:extLst>
          </p:cNvPr>
          <p:cNvCxnSpPr>
            <a:cxnSpLocks/>
          </p:cNvCxnSpPr>
          <p:nvPr/>
        </p:nvCxnSpPr>
        <p:spPr>
          <a:xfrm flipH="1">
            <a:off x="2180786" y="2693194"/>
            <a:ext cx="369534" cy="0"/>
          </a:xfrm>
          <a:prstGeom prst="straightConnector1">
            <a:avLst/>
          </a:prstGeom>
          <a:noFill/>
          <a:ln w="50800">
            <a:solidFill>
              <a:schemeClr val="accent2"/>
            </a:solidFill>
            <a:headEnd type="arrow"/>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267593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0AE5A0-92A1-4351-B6CF-17AB076FCB17}"/>
              </a:ext>
            </a:extLst>
          </p:cNvPr>
          <p:cNvSpPr>
            <a:spLocks noGrp="1"/>
          </p:cNvSpPr>
          <p:nvPr>
            <p:ph type="title"/>
          </p:nvPr>
        </p:nvSpPr>
        <p:spPr/>
        <p:txBody>
          <a:bodyPr/>
          <a:lstStyle/>
          <a:p>
            <a:r>
              <a:rPr lang="fr-FR" dirty="0" err="1"/>
              <a:t>Some</a:t>
            </a:r>
            <a:r>
              <a:rPr lang="fr-FR" dirty="0"/>
              <a:t> </a:t>
            </a:r>
            <a:r>
              <a:rPr lang="fr-FR" dirty="0" err="1"/>
              <a:t>hints</a:t>
            </a:r>
            <a:r>
              <a:rPr lang="fr-FR" dirty="0"/>
              <a:t>…</a:t>
            </a:r>
          </a:p>
        </p:txBody>
      </p:sp>
      <p:sp>
        <p:nvSpPr>
          <p:cNvPr id="3" name="Text Placeholder 16">
            <a:extLst>
              <a:ext uri="{FF2B5EF4-FFF2-40B4-BE49-F238E27FC236}">
                <a16:creationId xmlns:a16="http://schemas.microsoft.com/office/drawing/2014/main" id="{D66B6D52-9EC3-4511-B09C-A547C195B14A}"/>
              </a:ext>
            </a:extLst>
          </p:cNvPr>
          <p:cNvSpPr txBox="1">
            <a:spLocks/>
          </p:cNvSpPr>
          <p:nvPr/>
        </p:nvSpPr>
        <p:spPr>
          <a:xfrm>
            <a:off x="228600" y="668889"/>
            <a:ext cx="8497955" cy="4012441"/>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Clr>
                <a:schemeClr val="accent2"/>
              </a:buClr>
              <a:buFont typeface="Arial" panose="020B0604020202020204" pitchFamily="34" charset="0"/>
              <a:buChar char="•"/>
            </a:pPr>
            <a:r>
              <a:rPr lang="en-US" sz="1400" dirty="0"/>
              <a:t>Remember : a fallback decrement the lifespan on 1 (like any others intents)</a:t>
            </a:r>
          </a:p>
          <a:p>
            <a:pPr marL="285750" indent="-285750">
              <a:buClr>
                <a:schemeClr val="accent2"/>
              </a:buClr>
              <a:buFont typeface="Arial" panose="020B0604020202020204" pitchFamily="34" charset="0"/>
              <a:buChar char="•"/>
            </a:pPr>
            <a:endParaRPr lang="en-US" sz="1400" dirty="0"/>
          </a:p>
          <a:p>
            <a:pPr marL="285750" indent="-285750">
              <a:buClr>
                <a:schemeClr val="accent2"/>
              </a:buClr>
              <a:buFont typeface="Arial" panose="020B0604020202020204" pitchFamily="34" charset="0"/>
              <a:buChar char="•"/>
            </a:pPr>
            <a:r>
              <a:rPr lang="en-US" sz="1400" dirty="0"/>
              <a:t>Never use a lifespan of 1 : in case of fallback, you loose your context. Usually, a lifespan is between 3 and 5.</a:t>
            </a:r>
          </a:p>
          <a:p>
            <a:pPr marL="285750" indent="-285750">
              <a:buClr>
                <a:schemeClr val="accent2"/>
              </a:buClr>
              <a:buFont typeface="Arial" panose="020B0604020202020204" pitchFamily="34" charset="0"/>
              <a:buChar char="•"/>
            </a:pPr>
            <a:endParaRPr lang="en-US" sz="1400" dirty="0"/>
          </a:p>
          <a:p>
            <a:pPr marL="285750" indent="-285750">
              <a:buClr>
                <a:schemeClr val="accent2"/>
              </a:buClr>
              <a:buFont typeface="Arial" panose="020B0604020202020204" pitchFamily="34" charset="0"/>
              <a:buChar char="•"/>
            </a:pPr>
            <a:r>
              <a:rPr lang="en-US" sz="1400" dirty="0"/>
              <a:t>If you use </a:t>
            </a:r>
            <a:r>
              <a:rPr lang="en-US" sz="1400" dirty="0" err="1"/>
              <a:t>smalltalks</a:t>
            </a:r>
            <a:r>
              <a:rPr lang="en-US" sz="1400" dirty="0"/>
              <a:t>, it’s better to increase the lifespan.</a:t>
            </a:r>
          </a:p>
          <a:p>
            <a:pPr marL="285750" indent="-285750">
              <a:buClr>
                <a:schemeClr val="accent2"/>
              </a:buClr>
              <a:buFont typeface="Arial" panose="020B0604020202020204" pitchFamily="34" charset="0"/>
              <a:buChar char="•"/>
            </a:pPr>
            <a:endParaRPr lang="en-US" sz="1400" dirty="0"/>
          </a:p>
          <a:p>
            <a:pPr marL="285750" indent="-285750">
              <a:buClr>
                <a:schemeClr val="accent2"/>
              </a:buClr>
              <a:buFont typeface="Arial" panose="020B0604020202020204" pitchFamily="34" charset="0"/>
              <a:buChar char="•"/>
            </a:pPr>
            <a:r>
              <a:rPr lang="en-US" sz="1400" dirty="0"/>
              <a:t>If you are in a </a:t>
            </a:r>
            <a:r>
              <a:rPr lang="en-US" sz="1400" dirty="0" err="1"/>
              <a:t>callbot</a:t>
            </a:r>
            <a:r>
              <a:rPr lang="en-US" sz="1400" dirty="0"/>
              <a:t>, it’s better to increase the lifespan also.</a:t>
            </a:r>
            <a:endParaRPr lang="en-US" dirty="0">
              <a:solidFill>
                <a:schemeClr val="accent2"/>
              </a:solidFill>
            </a:endParaRPr>
          </a:p>
          <a:p>
            <a:pPr marL="960835" lvl="2" indent="-285750"/>
            <a:endParaRPr lang="en-US" sz="1400" dirty="0"/>
          </a:p>
          <a:p>
            <a:pPr marL="285750" indent="-285750">
              <a:buClr>
                <a:schemeClr val="accent2"/>
              </a:buClr>
              <a:buFont typeface="Arial" panose="020B0604020202020204" pitchFamily="34" charset="0"/>
              <a:buChar char="•"/>
            </a:pPr>
            <a:r>
              <a:rPr lang="en-US" sz="1400" dirty="0"/>
              <a:t>An intent becomes useless ? Do not hesitate to delete the input context to avoid misunderstanding. </a:t>
            </a:r>
          </a:p>
          <a:p>
            <a:pPr marL="960835" lvl="2" indent="-285750"/>
            <a:endParaRPr lang="en-US" sz="850" dirty="0"/>
          </a:p>
          <a:p>
            <a:pPr marL="960835" lvl="2" indent="-285750"/>
            <a:endParaRPr lang="en-US" sz="850" dirty="0"/>
          </a:p>
          <a:p>
            <a:pPr marL="690563" lvl="1" indent="-285750"/>
            <a:endParaRPr lang="en-US" sz="1000" dirty="0"/>
          </a:p>
          <a:p>
            <a:pPr marL="690563" lvl="1" indent="-285750"/>
            <a:endParaRPr lang="en-US" sz="1000" dirty="0"/>
          </a:p>
          <a:p>
            <a:pPr marL="690563" lvl="1" indent="-285750"/>
            <a:endParaRPr lang="en-US" sz="1300" i="1"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321031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544E057-DF3E-47F7-A03E-D728444C6F76}"/>
              </a:ext>
            </a:extLst>
          </p:cNvPr>
          <p:cNvSpPr>
            <a:spLocks noGrp="1"/>
          </p:cNvSpPr>
          <p:nvPr>
            <p:ph type="title"/>
          </p:nvPr>
        </p:nvSpPr>
        <p:spPr>
          <a:xfrm>
            <a:off x="0" y="58301"/>
            <a:ext cx="6975475" cy="808037"/>
          </a:xfrm>
        </p:spPr>
        <p:txBody>
          <a:bodyPr/>
          <a:lstStyle/>
          <a:p>
            <a:r>
              <a:rPr lang="fr-FR" dirty="0"/>
              <a:t>Workshop : build a </a:t>
            </a:r>
            <a:r>
              <a:rPr lang="fr-FR" dirty="0" err="1"/>
              <a:t>mind</a:t>
            </a:r>
            <a:r>
              <a:rPr lang="fr-FR" dirty="0"/>
              <a:t> </a:t>
            </a:r>
            <a:r>
              <a:rPr lang="fr-FR" dirty="0" err="1"/>
              <a:t>reader</a:t>
            </a:r>
            <a:r>
              <a:rPr lang="fr-FR" dirty="0"/>
              <a:t> bot</a:t>
            </a:r>
          </a:p>
        </p:txBody>
      </p:sp>
      <p:sp>
        <p:nvSpPr>
          <p:cNvPr id="17" name="Rectangle 16">
            <a:extLst>
              <a:ext uri="{FF2B5EF4-FFF2-40B4-BE49-F238E27FC236}">
                <a16:creationId xmlns:a16="http://schemas.microsoft.com/office/drawing/2014/main" id="{061115F2-CCC6-4108-A896-54330A42231F}"/>
              </a:ext>
            </a:extLst>
          </p:cNvPr>
          <p:cNvSpPr/>
          <p:nvPr/>
        </p:nvSpPr>
        <p:spPr>
          <a:xfrm>
            <a:off x="1348346" y="1552581"/>
            <a:ext cx="2442106" cy="71109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err="1">
                <a:solidFill>
                  <a:schemeClr val="bg1"/>
                </a:solidFill>
              </a:rPr>
              <a:t>Think</a:t>
            </a:r>
            <a:r>
              <a:rPr lang="fr-FR" sz="1200" dirty="0">
                <a:solidFill>
                  <a:schemeClr val="bg1"/>
                </a:solidFill>
              </a:rPr>
              <a:t> to a </a:t>
            </a:r>
            <a:r>
              <a:rPr lang="fr-FR" sz="1200" dirty="0" err="1">
                <a:solidFill>
                  <a:schemeClr val="bg1"/>
                </a:solidFill>
              </a:rPr>
              <a:t>number</a:t>
            </a:r>
            <a:r>
              <a:rPr lang="fr-FR" sz="1200" dirty="0">
                <a:solidFill>
                  <a:schemeClr val="bg1"/>
                </a:solidFill>
              </a:rPr>
              <a:t> </a:t>
            </a:r>
            <a:r>
              <a:rPr lang="fr-FR" sz="1200" dirty="0" err="1">
                <a:solidFill>
                  <a:schemeClr val="bg1"/>
                </a:solidFill>
              </a:rPr>
              <a:t>between</a:t>
            </a:r>
            <a:r>
              <a:rPr lang="fr-FR" sz="1200" dirty="0">
                <a:solidFill>
                  <a:schemeClr val="bg1"/>
                </a:solidFill>
              </a:rPr>
              <a:t> 1 and 4 (</a:t>
            </a:r>
            <a:r>
              <a:rPr lang="fr-FR" sz="1200" dirty="0" err="1">
                <a:solidFill>
                  <a:schemeClr val="bg1"/>
                </a:solidFill>
              </a:rPr>
              <a:t>included</a:t>
            </a:r>
            <a:r>
              <a:rPr lang="fr-FR" sz="1200" dirty="0">
                <a:solidFill>
                  <a:schemeClr val="bg1"/>
                </a:solidFill>
              </a:rPr>
              <a:t>). Is </a:t>
            </a:r>
            <a:r>
              <a:rPr lang="fr-FR" sz="1200" dirty="0" err="1">
                <a:solidFill>
                  <a:schemeClr val="bg1"/>
                </a:solidFill>
              </a:rPr>
              <a:t>it</a:t>
            </a:r>
            <a:r>
              <a:rPr lang="fr-FR" sz="1200" dirty="0">
                <a:solidFill>
                  <a:schemeClr val="bg1"/>
                </a:solidFill>
              </a:rPr>
              <a:t> a pair </a:t>
            </a:r>
            <a:r>
              <a:rPr lang="fr-FR" sz="1200" dirty="0" err="1">
                <a:solidFill>
                  <a:schemeClr val="bg1"/>
                </a:solidFill>
              </a:rPr>
              <a:t>number</a:t>
            </a:r>
            <a:r>
              <a:rPr lang="fr-FR" sz="1200" dirty="0">
                <a:solidFill>
                  <a:schemeClr val="bg1"/>
                </a:solidFill>
              </a:rPr>
              <a:t> ?</a:t>
            </a:r>
          </a:p>
        </p:txBody>
      </p:sp>
      <p:sp>
        <p:nvSpPr>
          <p:cNvPr id="18" name="Rectangle 17">
            <a:extLst>
              <a:ext uri="{FF2B5EF4-FFF2-40B4-BE49-F238E27FC236}">
                <a16:creationId xmlns:a16="http://schemas.microsoft.com/office/drawing/2014/main" id="{31FCE04E-1DE4-4D86-AC50-813A5265436B}"/>
              </a:ext>
            </a:extLst>
          </p:cNvPr>
          <p:cNvSpPr/>
          <p:nvPr/>
        </p:nvSpPr>
        <p:spPr>
          <a:xfrm>
            <a:off x="685907" y="2951616"/>
            <a:ext cx="1448897" cy="429217"/>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It </a:t>
            </a:r>
            <a:r>
              <a:rPr lang="fr-FR" sz="1200" dirty="0" err="1">
                <a:solidFill>
                  <a:schemeClr val="bg1"/>
                </a:solidFill>
              </a:rPr>
              <a:t>is</a:t>
            </a:r>
            <a:r>
              <a:rPr lang="fr-FR" sz="1200" dirty="0">
                <a:solidFill>
                  <a:schemeClr val="bg1"/>
                </a:solidFill>
              </a:rPr>
              <a:t> </a:t>
            </a:r>
            <a:r>
              <a:rPr lang="fr-FR" sz="1200" dirty="0" err="1">
                <a:solidFill>
                  <a:schemeClr val="bg1"/>
                </a:solidFill>
              </a:rPr>
              <a:t>lower</a:t>
            </a:r>
            <a:r>
              <a:rPr lang="fr-FR" sz="1200" dirty="0">
                <a:solidFill>
                  <a:schemeClr val="bg1"/>
                </a:solidFill>
              </a:rPr>
              <a:t> to 3 ?</a:t>
            </a:r>
          </a:p>
        </p:txBody>
      </p:sp>
      <p:sp>
        <p:nvSpPr>
          <p:cNvPr id="19" name="Rectangle 18">
            <a:extLst>
              <a:ext uri="{FF2B5EF4-FFF2-40B4-BE49-F238E27FC236}">
                <a16:creationId xmlns:a16="http://schemas.microsoft.com/office/drawing/2014/main" id="{BBEB1ECD-8AF1-40BC-8D7C-F4AFC28C0CA9}"/>
              </a:ext>
            </a:extLst>
          </p:cNvPr>
          <p:cNvSpPr/>
          <p:nvPr/>
        </p:nvSpPr>
        <p:spPr>
          <a:xfrm>
            <a:off x="1660273" y="3962617"/>
            <a:ext cx="909126" cy="3869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err="1">
                <a:solidFill>
                  <a:schemeClr val="bg1"/>
                </a:solidFill>
              </a:rPr>
              <a:t>It’s</a:t>
            </a:r>
            <a:r>
              <a:rPr lang="fr-FR" sz="1200" dirty="0">
                <a:solidFill>
                  <a:schemeClr val="bg1"/>
                </a:solidFill>
              </a:rPr>
              <a:t> 4 !</a:t>
            </a:r>
          </a:p>
        </p:txBody>
      </p:sp>
      <p:sp>
        <p:nvSpPr>
          <p:cNvPr id="20" name="Rectangle 19">
            <a:extLst>
              <a:ext uri="{FF2B5EF4-FFF2-40B4-BE49-F238E27FC236}">
                <a16:creationId xmlns:a16="http://schemas.microsoft.com/office/drawing/2014/main" id="{3BF74629-DC8E-4D4E-A1F3-E372B68230AF}"/>
              </a:ext>
            </a:extLst>
          </p:cNvPr>
          <p:cNvSpPr/>
          <p:nvPr/>
        </p:nvSpPr>
        <p:spPr>
          <a:xfrm>
            <a:off x="475114" y="3962617"/>
            <a:ext cx="917202" cy="3869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err="1">
                <a:solidFill>
                  <a:schemeClr val="bg1"/>
                </a:solidFill>
              </a:rPr>
              <a:t>It’s</a:t>
            </a:r>
            <a:r>
              <a:rPr lang="fr-FR" sz="1200" dirty="0">
                <a:solidFill>
                  <a:schemeClr val="bg1"/>
                </a:solidFill>
              </a:rPr>
              <a:t> 2 !</a:t>
            </a:r>
          </a:p>
        </p:txBody>
      </p:sp>
      <p:sp>
        <p:nvSpPr>
          <p:cNvPr id="21" name="Rectangle 20">
            <a:extLst>
              <a:ext uri="{FF2B5EF4-FFF2-40B4-BE49-F238E27FC236}">
                <a16:creationId xmlns:a16="http://schemas.microsoft.com/office/drawing/2014/main" id="{F4E549DF-6CEC-48DC-B583-6EA1396007AD}"/>
              </a:ext>
            </a:extLst>
          </p:cNvPr>
          <p:cNvSpPr/>
          <p:nvPr/>
        </p:nvSpPr>
        <p:spPr>
          <a:xfrm>
            <a:off x="3225804" y="2942431"/>
            <a:ext cx="1500071" cy="429217"/>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a:solidFill>
                  <a:schemeClr val="bg1"/>
                </a:solidFill>
              </a:rPr>
              <a:t>It </a:t>
            </a:r>
            <a:r>
              <a:rPr lang="fr-FR" sz="1200" dirty="0" err="1">
                <a:solidFill>
                  <a:schemeClr val="bg1"/>
                </a:solidFill>
              </a:rPr>
              <a:t>is</a:t>
            </a:r>
            <a:r>
              <a:rPr lang="fr-FR" sz="1200" dirty="0">
                <a:solidFill>
                  <a:schemeClr val="bg1"/>
                </a:solidFill>
              </a:rPr>
              <a:t> </a:t>
            </a:r>
            <a:r>
              <a:rPr lang="fr-FR" sz="1200" dirty="0" err="1">
                <a:solidFill>
                  <a:schemeClr val="bg1"/>
                </a:solidFill>
              </a:rPr>
              <a:t>lower</a:t>
            </a:r>
            <a:r>
              <a:rPr lang="fr-FR" sz="1200" dirty="0">
                <a:solidFill>
                  <a:schemeClr val="bg1"/>
                </a:solidFill>
              </a:rPr>
              <a:t> to 2 ?</a:t>
            </a:r>
          </a:p>
        </p:txBody>
      </p:sp>
      <p:cxnSp>
        <p:nvCxnSpPr>
          <p:cNvPr id="22" name="Connecteur droit avec flèche 21">
            <a:extLst>
              <a:ext uri="{FF2B5EF4-FFF2-40B4-BE49-F238E27FC236}">
                <a16:creationId xmlns:a16="http://schemas.microsoft.com/office/drawing/2014/main" id="{69E0792E-C336-4D37-95C5-D6F06C94FE47}"/>
              </a:ext>
            </a:extLst>
          </p:cNvPr>
          <p:cNvCxnSpPr>
            <a:cxnSpLocks/>
            <a:endCxn id="18" idx="0"/>
          </p:cNvCxnSpPr>
          <p:nvPr/>
        </p:nvCxnSpPr>
        <p:spPr>
          <a:xfrm flipH="1">
            <a:off x="1410356" y="2247076"/>
            <a:ext cx="1100606" cy="70454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eur droit avec flèche 22">
            <a:extLst>
              <a:ext uri="{FF2B5EF4-FFF2-40B4-BE49-F238E27FC236}">
                <a16:creationId xmlns:a16="http://schemas.microsoft.com/office/drawing/2014/main" id="{2798C59F-2F39-4555-ADB3-7FB7062FC973}"/>
              </a:ext>
            </a:extLst>
          </p:cNvPr>
          <p:cNvCxnSpPr>
            <a:cxnSpLocks/>
            <a:stCxn id="18" idx="2"/>
            <a:endCxn id="20" idx="0"/>
          </p:cNvCxnSpPr>
          <p:nvPr/>
        </p:nvCxnSpPr>
        <p:spPr>
          <a:xfrm flipH="1">
            <a:off x="933715" y="3380833"/>
            <a:ext cx="476641" cy="581784"/>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5F2B1D89-53E1-4714-B8AA-075C0D2E9A37}"/>
              </a:ext>
            </a:extLst>
          </p:cNvPr>
          <p:cNvCxnSpPr>
            <a:cxnSpLocks/>
            <a:endCxn id="21" idx="0"/>
          </p:cNvCxnSpPr>
          <p:nvPr/>
        </p:nvCxnSpPr>
        <p:spPr>
          <a:xfrm>
            <a:off x="2633694" y="2256106"/>
            <a:ext cx="1342146" cy="686325"/>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eur droit avec flèche 24">
            <a:extLst>
              <a:ext uri="{FF2B5EF4-FFF2-40B4-BE49-F238E27FC236}">
                <a16:creationId xmlns:a16="http://schemas.microsoft.com/office/drawing/2014/main" id="{53A69366-9A71-41C5-830B-F1F0E973C849}"/>
              </a:ext>
            </a:extLst>
          </p:cNvPr>
          <p:cNvCxnSpPr>
            <a:cxnSpLocks/>
            <a:stCxn id="18" idx="2"/>
            <a:endCxn id="19" idx="0"/>
          </p:cNvCxnSpPr>
          <p:nvPr/>
        </p:nvCxnSpPr>
        <p:spPr>
          <a:xfrm>
            <a:off x="1410356" y="3380833"/>
            <a:ext cx="704480" cy="581784"/>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3" name="ZoneTexte 32">
            <a:extLst>
              <a:ext uri="{FF2B5EF4-FFF2-40B4-BE49-F238E27FC236}">
                <a16:creationId xmlns:a16="http://schemas.microsoft.com/office/drawing/2014/main" id="{C66E7F08-F677-4F35-B9F8-9CBC448C3AFB}"/>
              </a:ext>
            </a:extLst>
          </p:cNvPr>
          <p:cNvSpPr txBox="1"/>
          <p:nvPr/>
        </p:nvSpPr>
        <p:spPr>
          <a:xfrm>
            <a:off x="5301883" y="1271124"/>
            <a:ext cx="3379107" cy="2215991"/>
          </a:xfrm>
          <a:prstGeom prst="rect">
            <a:avLst/>
          </a:prstGeom>
          <a:noFill/>
        </p:spPr>
        <p:txBody>
          <a:bodyPr wrap="square" rtlCol="0">
            <a:spAutoFit/>
          </a:bodyPr>
          <a:lstStyle/>
          <a:p>
            <a:pPr marL="342900" indent="-342900">
              <a:buClr>
                <a:schemeClr val="accent2"/>
              </a:buClr>
              <a:buAutoNum type="arabicParenR"/>
            </a:pPr>
            <a:r>
              <a:rPr lang="fr-FR" sz="1600" dirty="0"/>
              <a:t>Build </a:t>
            </a:r>
            <a:r>
              <a:rPr lang="fr-FR" sz="1600" dirty="0" err="1"/>
              <a:t>this</a:t>
            </a:r>
            <a:r>
              <a:rPr lang="fr-FR" sz="1600" dirty="0"/>
              <a:t> </a:t>
            </a:r>
            <a:r>
              <a:rPr lang="fr-FR" sz="1600" dirty="0" err="1"/>
              <a:t>dialog</a:t>
            </a:r>
            <a:r>
              <a:rPr lang="fr-FR" sz="1600" dirty="0"/>
              <a:t> (</a:t>
            </a:r>
            <a:r>
              <a:rPr lang="fr-FR" sz="1600" dirty="0" err="1"/>
              <a:t>with</a:t>
            </a:r>
            <a:r>
              <a:rPr lang="fr-FR" sz="1600" dirty="0"/>
              <a:t> </a:t>
            </a:r>
            <a:r>
              <a:rPr lang="fr-FR" sz="1600" dirty="0" err="1"/>
              <a:t>only</a:t>
            </a:r>
            <a:r>
              <a:rPr lang="fr-FR" sz="1600" dirty="0"/>
              <a:t> follow-up </a:t>
            </a:r>
            <a:r>
              <a:rPr lang="fr-FR" sz="1600" dirty="0" err="1"/>
              <a:t>intents</a:t>
            </a:r>
            <a:r>
              <a:rPr lang="fr-FR" sz="1600" dirty="0"/>
              <a:t> or </a:t>
            </a:r>
            <a:r>
              <a:rPr lang="fr-FR" sz="1600" dirty="0" err="1"/>
              <a:t>intents</a:t>
            </a:r>
            <a:r>
              <a:rPr lang="fr-FR" sz="1600" dirty="0"/>
              <a:t> </a:t>
            </a:r>
            <a:r>
              <a:rPr lang="fr-FR" sz="1600" dirty="0" err="1"/>
              <a:t>with</a:t>
            </a:r>
            <a:r>
              <a:rPr lang="fr-FR" sz="1600" dirty="0"/>
              <a:t> input/output </a:t>
            </a:r>
            <a:r>
              <a:rPr lang="fr-FR" sz="1600" dirty="0" err="1"/>
              <a:t>contexts</a:t>
            </a:r>
            <a:r>
              <a:rPr lang="fr-FR" sz="1600" dirty="0"/>
              <a:t>)</a:t>
            </a:r>
          </a:p>
          <a:p>
            <a:pPr marL="342900" indent="-342900">
              <a:buAutoNum type="arabicParenR"/>
            </a:pPr>
            <a:endParaRPr lang="fr-FR" sz="1600" dirty="0"/>
          </a:p>
          <a:p>
            <a:pPr marL="342900" indent="-342900">
              <a:buClr>
                <a:schemeClr val="accent2"/>
              </a:buClr>
              <a:buAutoNum type="arabicParenR"/>
            </a:pPr>
            <a:r>
              <a:rPr lang="fr-FR" sz="1600" dirty="0"/>
              <a:t>Test : </a:t>
            </a:r>
          </a:p>
          <a:p>
            <a:pPr marL="685800" lvl="1" indent="-342900">
              <a:buClr>
                <a:schemeClr val="accent2"/>
              </a:buClr>
              <a:buFont typeface="Arial" panose="020B0604020202020204" pitchFamily="34" charset="0"/>
              <a:buChar char="•"/>
            </a:pPr>
            <a:r>
              <a:rPr lang="fr-FR" sz="1400" dirty="0"/>
              <a:t>« I </a:t>
            </a:r>
            <a:r>
              <a:rPr lang="fr-FR" sz="1400" dirty="0" err="1"/>
              <a:t>want</a:t>
            </a:r>
            <a:r>
              <a:rPr lang="fr-FR" sz="1400" dirty="0"/>
              <a:t> to </a:t>
            </a:r>
            <a:r>
              <a:rPr lang="fr-FR" sz="1400" dirty="0" err="1"/>
              <a:t>play</a:t>
            </a:r>
            <a:r>
              <a:rPr lang="fr-FR" sz="1400" dirty="0"/>
              <a:t> »</a:t>
            </a:r>
          </a:p>
          <a:p>
            <a:pPr marL="685800" lvl="1" indent="-342900">
              <a:buClr>
                <a:schemeClr val="accent2"/>
              </a:buClr>
              <a:buFont typeface="Arial" panose="020B0604020202020204" pitchFamily="34" charset="0"/>
              <a:buChar char="•"/>
            </a:pPr>
            <a:r>
              <a:rPr lang="fr-FR" sz="1400" dirty="0"/>
              <a:t>« yes »</a:t>
            </a:r>
          </a:p>
          <a:p>
            <a:pPr marL="685800" lvl="1" indent="-342900">
              <a:buClr>
                <a:schemeClr val="accent2"/>
              </a:buClr>
              <a:buFont typeface="Arial" panose="020B0604020202020204" pitchFamily="34" charset="0"/>
              <a:buChar char="•"/>
            </a:pPr>
            <a:r>
              <a:rPr lang="fr-FR" sz="1400" dirty="0"/>
              <a:t>« yes »</a:t>
            </a:r>
          </a:p>
          <a:p>
            <a:pPr marL="685800" lvl="1" indent="-342900">
              <a:buClr>
                <a:schemeClr val="accent2"/>
              </a:buClr>
              <a:buAutoNum type="arabicParenR"/>
            </a:pPr>
            <a:endParaRPr lang="fr-FR" sz="1600" dirty="0"/>
          </a:p>
        </p:txBody>
      </p:sp>
      <p:sp>
        <p:nvSpPr>
          <p:cNvPr id="39" name="ZoneTexte 38">
            <a:extLst>
              <a:ext uri="{FF2B5EF4-FFF2-40B4-BE49-F238E27FC236}">
                <a16:creationId xmlns:a16="http://schemas.microsoft.com/office/drawing/2014/main" id="{5EFFB315-F553-49F4-9CAE-D78B3ABC6C75}"/>
              </a:ext>
            </a:extLst>
          </p:cNvPr>
          <p:cNvSpPr txBox="1"/>
          <p:nvPr/>
        </p:nvSpPr>
        <p:spPr>
          <a:xfrm>
            <a:off x="1158100" y="2397410"/>
            <a:ext cx="910655" cy="338554"/>
          </a:xfrm>
          <a:prstGeom prst="rect">
            <a:avLst/>
          </a:prstGeom>
          <a:solidFill>
            <a:schemeClr val="accent2"/>
          </a:solidFill>
        </p:spPr>
        <p:txBody>
          <a:bodyPr wrap="square" rtlCol="0">
            <a:spAutoFit/>
          </a:bodyPr>
          <a:lstStyle/>
          <a:p>
            <a:pPr algn="ctr"/>
            <a:r>
              <a:rPr lang="fr-FR" sz="1600" dirty="0">
                <a:solidFill>
                  <a:schemeClr val="bg2"/>
                </a:solidFill>
              </a:rPr>
              <a:t>Yes</a:t>
            </a:r>
          </a:p>
        </p:txBody>
      </p:sp>
      <p:sp>
        <p:nvSpPr>
          <p:cNvPr id="40" name="ZoneTexte 39">
            <a:extLst>
              <a:ext uri="{FF2B5EF4-FFF2-40B4-BE49-F238E27FC236}">
                <a16:creationId xmlns:a16="http://schemas.microsoft.com/office/drawing/2014/main" id="{9B4946D4-4E47-41A6-B2F7-418E46C8F4A9}"/>
              </a:ext>
            </a:extLst>
          </p:cNvPr>
          <p:cNvSpPr txBox="1"/>
          <p:nvPr/>
        </p:nvSpPr>
        <p:spPr>
          <a:xfrm>
            <a:off x="3291206" y="2394509"/>
            <a:ext cx="910655" cy="338554"/>
          </a:xfrm>
          <a:prstGeom prst="rect">
            <a:avLst/>
          </a:prstGeom>
          <a:solidFill>
            <a:schemeClr val="accent2"/>
          </a:solidFill>
        </p:spPr>
        <p:txBody>
          <a:bodyPr wrap="square" rtlCol="0">
            <a:spAutoFit/>
          </a:bodyPr>
          <a:lstStyle>
            <a:defPPr>
              <a:defRPr lang="pt-PT"/>
            </a:defPPr>
            <a:lvl1pPr algn="ctr">
              <a:defRPr sz="1600">
                <a:solidFill>
                  <a:schemeClr val="bg2"/>
                </a:solidFill>
              </a:defRPr>
            </a:lvl1pPr>
          </a:lstStyle>
          <a:p>
            <a:r>
              <a:rPr lang="fr-FR" dirty="0"/>
              <a:t>No</a:t>
            </a:r>
          </a:p>
        </p:txBody>
      </p:sp>
      <p:sp>
        <p:nvSpPr>
          <p:cNvPr id="41" name="Rectangle 40">
            <a:extLst>
              <a:ext uri="{FF2B5EF4-FFF2-40B4-BE49-F238E27FC236}">
                <a16:creationId xmlns:a16="http://schemas.microsoft.com/office/drawing/2014/main" id="{EE749136-9E73-456E-B8DA-D5B0B95B6614}"/>
              </a:ext>
            </a:extLst>
          </p:cNvPr>
          <p:cNvSpPr/>
          <p:nvPr/>
        </p:nvSpPr>
        <p:spPr>
          <a:xfrm>
            <a:off x="4161521" y="3972101"/>
            <a:ext cx="947896" cy="3869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err="1">
                <a:solidFill>
                  <a:schemeClr val="bg1"/>
                </a:solidFill>
              </a:rPr>
              <a:t>It’s</a:t>
            </a:r>
            <a:r>
              <a:rPr lang="fr-FR" sz="1200" dirty="0">
                <a:solidFill>
                  <a:schemeClr val="bg1"/>
                </a:solidFill>
              </a:rPr>
              <a:t> 3 !</a:t>
            </a:r>
          </a:p>
        </p:txBody>
      </p:sp>
      <p:sp>
        <p:nvSpPr>
          <p:cNvPr id="43" name="Rectangle 42">
            <a:extLst>
              <a:ext uri="{FF2B5EF4-FFF2-40B4-BE49-F238E27FC236}">
                <a16:creationId xmlns:a16="http://schemas.microsoft.com/office/drawing/2014/main" id="{C1411158-1363-4E60-9B05-9C2EAB0D8FB6}"/>
              </a:ext>
            </a:extLst>
          </p:cNvPr>
          <p:cNvSpPr/>
          <p:nvPr/>
        </p:nvSpPr>
        <p:spPr>
          <a:xfrm>
            <a:off x="2937594" y="3972101"/>
            <a:ext cx="910654" cy="3869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err="1">
                <a:solidFill>
                  <a:schemeClr val="bg1"/>
                </a:solidFill>
              </a:rPr>
              <a:t>It’s</a:t>
            </a:r>
            <a:r>
              <a:rPr lang="fr-FR" sz="1200" dirty="0">
                <a:solidFill>
                  <a:schemeClr val="bg1"/>
                </a:solidFill>
              </a:rPr>
              <a:t> 1 !</a:t>
            </a:r>
          </a:p>
        </p:txBody>
      </p:sp>
      <p:cxnSp>
        <p:nvCxnSpPr>
          <p:cNvPr id="44" name="Connecteur droit avec flèche 43">
            <a:extLst>
              <a:ext uri="{FF2B5EF4-FFF2-40B4-BE49-F238E27FC236}">
                <a16:creationId xmlns:a16="http://schemas.microsoft.com/office/drawing/2014/main" id="{820F1488-934D-4243-8227-8A8B116F399C}"/>
              </a:ext>
            </a:extLst>
          </p:cNvPr>
          <p:cNvCxnSpPr>
            <a:cxnSpLocks/>
            <a:endCxn id="43" idx="0"/>
          </p:cNvCxnSpPr>
          <p:nvPr/>
        </p:nvCxnSpPr>
        <p:spPr>
          <a:xfrm flipH="1">
            <a:off x="3392921" y="3348031"/>
            <a:ext cx="611200" cy="62407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Connecteur droit avec flèche 44">
            <a:extLst>
              <a:ext uri="{FF2B5EF4-FFF2-40B4-BE49-F238E27FC236}">
                <a16:creationId xmlns:a16="http://schemas.microsoft.com/office/drawing/2014/main" id="{E35C9144-D2BF-479D-96A8-64B9CE19D8E6}"/>
              </a:ext>
            </a:extLst>
          </p:cNvPr>
          <p:cNvCxnSpPr>
            <a:cxnSpLocks/>
            <a:endCxn id="41" idx="0"/>
          </p:cNvCxnSpPr>
          <p:nvPr/>
        </p:nvCxnSpPr>
        <p:spPr>
          <a:xfrm>
            <a:off x="4004120" y="3348031"/>
            <a:ext cx="631349" cy="62407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6" name="ZoneTexte 45">
            <a:extLst>
              <a:ext uri="{FF2B5EF4-FFF2-40B4-BE49-F238E27FC236}">
                <a16:creationId xmlns:a16="http://schemas.microsoft.com/office/drawing/2014/main" id="{EE1D19FD-F7FB-4FF8-B437-5EA495096D6F}"/>
              </a:ext>
            </a:extLst>
          </p:cNvPr>
          <p:cNvSpPr txBox="1"/>
          <p:nvPr/>
        </p:nvSpPr>
        <p:spPr>
          <a:xfrm>
            <a:off x="481661" y="3446938"/>
            <a:ext cx="910655" cy="338554"/>
          </a:xfrm>
          <a:prstGeom prst="rect">
            <a:avLst/>
          </a:prstGeom>
          <a:solidFill>
            <a:schemeClr val="accent2"/>
          </a:solidFill>
        </p:spPr>
        <p:txBody>
          <a:bodyPr wrap="square" rtlCol="0">
            <a:spAutoFit/>
          </a:bodyPr>
          <a:lstStyle>
            <a:defPPr>
              <a:defRPr lang="pt-PT"/>
            </a:defPPr>
            <a:lvl1pPr algn="ctr">
              <a:defRPr sz="1600">
                <a:solidFill>
                  <a:schemeClr val="bg2"/>
                </a:solidFill>
              </a:defRPr>
            </a:lvl1pPr>
          </a:lstStyle>
          <a:p>
            <a:r>
              <a:rPr lang="fr-FR" dirty="0"/>
              <a:t>Yes</a:t>
            </a:r>
          </a:p>
        </p:txBody>
      </p:sp>
      <p:sp>
        <p:nvSpPr>
          <p:cNvPr id="47" name="ZoneTexte 46">
            <a:extLst>
              <a:ext uri="{FF2B5EF4-FFF2-40B4-BE49-F238E27FC236}">
                <a16:creationId xmlns:a16="http://schemas.microsoft.com/office/drawing/2014/main" id="{31CB11F6-7CF5-4A51-BE3A-CF7BBCF6BDDE}"/>
              </a:ext>
            </a:extLst>
          </p:cNvPr>
          <p:cNvSpPr txBox="1"/>
          <p:nvPr/>
        </p:nvSpPr>
        <p:spPr>
          <a:xfrm>
            <a:off x="2937593" y="3479335"/>
            <a:ext cx="910655" cy="338554"/>
          </a:xfrm>
          <a:prstGeom prst="rect">
            <a:avLst/>
          </a:prstGeom>
          <a:solidFill>
            <a:schemeClr val="accent2"/>
          </a:solidFill>
        </p:spPr>
        <p:txBody>
          <a:bodyPr wrap="square" rtlCol="0">
            <a:spAutoFit/>
          </a:bodyPr>
          <a:lstStyle>
            <a:defPPr>
              <a:defRPr lang="pt-PT"/>
            </a:defPPr>
            <a:lvl1pPr algn="ctr">
              <a:defRPr sz="1600">
                <a:solidFill>
                  <a:schemeClr val="bg2"/>
                </a:solidFill>
              </a:defRPr>
            </a:lvl1pPr>
          </a:lstStyle>
          <a:p>
            <a:r>
              <a:rPr lang="fr-FR" dirty="0"/>
              <a:t>Yes</a:t>
            </a:r>
          </a:p>
        </p:txBody>
      </p:sp>
      <p:sp>
        <p:nvSpPr>
          <p:cNvPr id="48" name="ZoneTexte 47">
            <a:extLst>
              <a:ext uri="{FF2B5EF4-FFF2-40B4-BE49-F238E27FC236}">
                <a16:creationId xmlns:a16="http://schemas.microsoft.com/office/drawing/2014/main" id="{9ADE4703-8E7E-46CD-8DAF-8FD993CE67C5}"/>
              </a:ext>
            </a:extLst>
          </p:cNvPr>
          <p:cNvSpPr txBox="1"/>
          <p:nvPr/>
        </p:nvSpPr>
        <p:spPr>
          <a:xfrm>
            <a:off x="1658744" y="3451557"/>
            <a:ext cx="910655" cy="338554"/>
          </a:xfrm>
          <a:prstGeom prst="rect">
            <a:avLst/>
          </a:prstGeom>
          <a:solidFill>
            <a:schemeClr val="accent2"/>
          </a:solidFill>
        </p:spPr>
        <p:txBody>
          <a:bodyPr wrap="square" rtlCol="0">
            <a:spAutoFit/>
          </a:bodyPr>
          <a:lstStyle>
            <a:defPPr>
              <a:defRPr lang="pt-PT"/>
            </a:defPPr>
            <a:lvl1pPr algn="ctr">
              <a:defRPr sz="1600">
                <a:solidFill>
                  <a:schemeClr val="bg2"/>
                </a:solidFill>
              </a:defRPr>
            </a:lvl1pPr>
          </a:lstStyle>
          <a:p>
            <a:r>
              <a:rPr lang="fr-FR" dirty="0"/>
              <a:t>No</a:t>
            </a:r>
          </a:p>
        </p:txBody>
      </p:sp>
      <p:sp>
        <p:nvSpPr>
          <p:cNvPr id="49" name="ZoneTexte 48">
            <a:extLst>
              <a:ext uri="{FF2B5EF4-FFF2-40B4-BE49-F238E27FC236}">
                <a16:creationId xmlns:a16="http://schemas.microsoft.com/office/drawing/2014/main" id="{3A686DA4-2EA2-4CA7-B3FE-BB3ADD7548CB}"/>
              </a:ext>
            </a:extLst>
          </p:cNvPr>
          <p:cNvSpPr txBox="1"/>
          <p:nvPr/>
        </p:nvSpPr>
        <p:spPr>
          <a:xfrm>
            <a:off x="4201861" y="3479335"/>
            <a:ext cx="910655" cy="338554"/>
          </a:xfrm>
          <a:prstGeom prst="rect">
            <a:avLst/>
          </a:prstGeom>
          <a:solidFill>
            <a:schemeClr val="accent2"/>
          </a:solidFill>
        </p:spPr>
        <p:txBody>
          <a:bodyPr wrap="square" rtlCol="0">
            <a:spAutoFit/>
          </a:bodyPr>
          <a:lstStyle>
            <a:defPPr>
              <a:defRPr lang="pt-PT"/>
            </a:defPPr>
            <a:lvl1pPr algn="ctr">
              <a:defRPr sz="1600">
                <a:solidFill>
                  <a:schemeClr val="bg2"/>
                </a:solidFill>
              </a:defRPr>
            </a:lvl1pPr>
          </a:lstStyle>
          <a:p>
            <a:r>
              <a:rPr lang="fr-FR" dirty="0"/>
              <a:t>No</a:t>
            </a:r>
          </a:p>
        </p:txBody>
      </p:sp>
      <p:sp>
        <p:nvSpPr>
          <p:cNvPr id="26" name="Bande diagonale 25">
            <a:extLst>
              <a:ext uri="{FF2B5EF4-FFF2-40B4-BE49-F238E27FC236}">
                <a16:creationId xmlns:a16="http://schemas.microsoft.com/office/drawing/2014/main" id="{1E8B9FEB-C4CF-4C5D-BDBE-F1910A5814ED}"/>
              </a:ext>
            </a:extLst>
          </p:cNvPr>
          <p:cNvSpPr/>
          <p:nvPr/>
        </p:nvSpPr>
        <p:spPr>
          <a:xfrm rot="5400000">
            <a:off x="7236889" y="-6860"/>
            <a:ext cx="1908000" cy="1906223"/>
          </a:xfrm>
          <a:prstGeom prst="diagStripe">
            <a:avLst>
              <a:gd name="adj" fmla="val 6268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27" name="ZoneTexte 26">
            <a:extLst>
              <a:ext uri="{FF2B5EF4-FFF2-40B4-BE49-F238E27FC236}">
                <a16:creationId xmlns:a16="http://schemas.microsoft.com/office/drawing/2014/main" id="{81F090A6-9626-48F9-B5E1-80DEFCB61894}"/>
              </a:ext>
            </a:extLst>
          </p:cNvPr>
          <p:cNvSpPr txBox="1"/>
          <p:nvPr/>
        </p:nvSpPr>
        <p:spPr>
          <a:xfrm rot="2735380">
            <a:off x="7539304" y="520290"/>
            <a:ext cx="1712736" cy="480819"/>
          </a:xfrm>
          <a:prstGeom prst="rect">
            <a:avLst/>
          </a:prstGeom>
        </p:spPr>
        <p:txBody>
          <a:bodyPr wrap="square" lIns="72000" tIns="72000" rIns="72000" bIns="72000" rtlCol="0">
            <a:spAutoFit/>
          </a:bodyPr>
          <a:lstStyle/>
          <a:p>
            <a:pPr algn="ctr">
              <a:lnSpc>
                <a:spcPct val="120000"/>
              </a:lnSpc>
              <a:spcAft>
                <a:spcPts val="600"/>
              </a:spcAft>
            </a:pPr>
            <a:r>
              <a:rPr lang="fr-FR" sz="2000" b="1" dirty="0">
                <a:solidFill>
                  <a:schemeClr val="bg1"/>
                </a:solidFill>
                <a:latin typeface="Arial" panose="020B0604020202020204" pitchFamily="34" charset="0"/>
                <a:cs typeface="Arial" panose="020B0604020202020204" pitchFamily="34" charset="0"/>
              </a:rPr>
              <a:t>WORKSHOP</a:t>
            </a:r>
          </a:p>
        </p:txBody>
      </p:sp>
      <p:sp>
        <p:nvSpPr>
          <p:cNvPr id="28" name="ZoneTexte 27">
            <a:extLst>
              <a:ext uri="{FF2B5EF4-FFF2-40B4-BE49-F238E27FC236}">
                <a16:creationId xmlns:a16="http://schemas.microsoft.com/office/drawing/2014/main" id="{4A58FA47-DAA0-4898-B543-0842EA2E455C}"/>
              </a:ext>
            </a:extLst>
          </p:cNvPr>
          <p:cNvSpPr txBox="1"/>
          <p:nvPr/>
        </p:nvSpPr>
        <p:spPr>
          <a:xfrm>
            <a:off x="1716714" y="914082"/>
            <a:ext cx="1705369" cy="338554"/>
          </a:xfrm>
          <a:prstGeom prst="rect">
            <a:avLst/>
          </a:prstGeom>
          <a:solidFill>
            <a:schemeClr val="accent2"/>
          </a:solidFill>
        </p:spPr>
        <p:txBody>
          <a:bodyPr wrap="square" rtlCol="0">
            <a:spAutoFit/>
          </a:bodyPr>
          <a:lstStyle/>
          <a:p>
            <a:pPr algn="ctr"/>
            <a:r>
              <a:rPr lang="fr-FR" sz="1600" dirty="0">
                <a:solidFill>
                  <a:schemeClr val="bg2"/>
                </a:solidFill>
              </a:rPr>
              <a:t>I </a:t>
            </a:r>
            <a:r>
              <a:rPr lang="fr-FR" sz="1600" dirty="0" err="1">
                <a:solidFill>
                  <a:schemeClr val="bg2"/>
                </a:solidFill>
              </a:rPr>
              <a:t>want</a:t>
            </a:r>
            <a:r>
              <a:rPr lang="fr-FR" sz="1600" dirty="0">
                <a:solidFill>
                  <a:schemeClr val="bg2"/>
                </a:solidFill>
              </a:rPr>
              <a:t> to </a:t>
            </a:r>
            <a:r>
              <a:rPr lang="fr-FR" sz="1600" dirty="0" err="1">
                <a:solidFill>
                  <a:schemeClr val="bg2"/>
                </a:solidFill>
              </a:rPr>
              <a:t>play</a:t>
            </a:r>
            <a:endParaRPr lang="fr-FR" sz="1600" dirty="0">
              <a:solidFill>
                <a:schemeClr val="bg2"/>
              </a:solidFill>
            </a:endParaRPr>
          </a:p>
        </p:txBody>
      </p:sp>
      <p:cxnSp>
        <p:nvCxnSpPr>
          <p:cNvPr id="29" name="Connecteur droit avec flèche 28">
            <a:extLst>
              <a:ext uri="{FF2B5EF4-FFF2-40B4-BE49-F238E27FC236}">
                <a16:creationId xmlns:a16="http://schemas.microsoft.com/office/drawing/2014/main" id="{4E9DB468-45F5-4841-9D8A-0898A47AB3EC}"/>
              </a:ext>
            </a:extLst>
          </p:cNvPr>
          <p:cNvCxnSpPr>
            <a:cxnSpLocks/>
            <a:stCxn id="28" idx="2"/>
            <a:endCxn id="17" idx="0"/>
          </p:cNvCxnSpPr>
          <p:nvPr/>
        </p:nvCxnSpPr>
        <p:spPr>
          <a:xfrm>
            <a:off x="2569399" y="1252636"/>
            <a:ext cx="0" cy="299945"/>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025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llipse 5">
            <a:extLst>
              <a:ext uri="{FF2B5EF4-FFF2-40B4-BE49-F238E27FC236}">
                <a16:creationId xmlns:a16="http://schemas.microsoft.com/office/drawing/2014/main" id="{0C04EDAC-5594-49D9-A348-ADF93F2EC4EE}"/>
              </a:ext>
            </a:extLst>
          </p:cNvPr>
          <p:cNvSpPr/>
          <p:nvPr/>
        </p:nvSpPr>
        <p:spPr>
          <a:xfrm>
            <a:off x="3418087" y="1021162"/>
            <a:ext cx="5311361" cy="5254433"/>
          </a:xfrm>
          <a:prstGeom prst="ellipse">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le 1">
            <a:extLst>
              <a:ext uri="{FF2B5EF4-FFF2-40B4-BE49-F238E27FC236}">
                <a16:creationId xmlns:a16="http://schemas.microsoft.com/office/drawing/2014/main" id="{A58C9069-A253-0946-846F-2D00A4204D95}"/>
              </a:ext>
            </a:extLst>
          </p:cNvPr>
          <p:cNvSpPr>
            <a:spLocks noGrp="1"/>
          </p:cNvSpPr>
          <p:nvPr>
            <p:ph type="title"/>
          </p:nvPr>
        </p:nvSpPr>
        <p:spPr/>
        <p:txBody>
          <a:bodyPr/>
          <a:lstStyle/>
          <a:p>
            <a:r>
              <a:rPr lang="en-US" dirty="0" err="1"/>
              <a:t>Dialogflow</a:t>
            </a:r>
            <a:br>
              <a:rPr lang="en-US" dirty="0"/>
            </a:br>
            <a:r>
              <a:rPr lang="en-US" dirty="0"/>
              <a:t>Training</a:t>
            </a:r>
          </a:p>
        </p:txBody>
      </p:sp>
      <p:sp>
        <p:nvSpPr>
          <p:cNvPr id="3" name="Text Placeholder 2">
            <a:extLst>
              <a:ext uri="{FF2B5EF4-FFF2-40B4-BE49-F238E27FC236}">
                <a16:creationId xmlns:a16="http://schemas.microsoft.com/office/drawing/2014/main" id="{F52F02E1-A4DC-B244-BCC1-26DDC889B5C3}"/>
              </a:ext>
            </a:extLst>
          </p:cNvPr>
          <p:cNvSpPr>
            <a:spLocks noGrp="1"/>
          </p:cNvSpPr>
          <p:nvPr>
            <p:ph type="body" sz="quarter" idx="10"/>
          </p:nvPr>
        </p:nvSpPr>
        <p:spPr/>
        <p:txBody>
          <a:bodyPr/>
          <a:lstStyle/>
          <a:p>
            <a:r>
              <a:rPr lang="en-US" dirty="0"/>
              <a:t>Module 8 : Firebase Cloud Functions</a:t>
            </a:r>
          </a:p>
        </p:txBody>
      </p:sp>
      <p:sp>
        <p:nvSpPr>
          <p:cNvPr id="7" name="Freeform 1">
            <a:extLst>
              <a:ext uri="{FF2B5EF4-FFF2-40B4-BE49-F238E27FC236}">
                <a16:creationId xmlns:a16="http://schemas.microsoft.com/office/drawing/2014/main" id="{C009C2CB-0D45-244B-8254-95D0D9E3683C}"/>
              </a:ext>
            </a:extLst>
          </p:cNvPr>
          <p:cNvSpPr>
            <a:spLocks noChangeArrowheads="1"/>
          </p:cNvSpPr>
          <p:nvPr/>
        </p:nvSpPr>
        <p:spPr bwMode="auto">
          <a:xfrm>
            <a:off x="6799803" y="0"/>
            <a:ext cx="2747583" cy="2612551"/>
          </a:xfrm>
          <a:custGeom>
            <a:avLst/>
            <a:gdLst>
              <a:gd name="T0" fmla="*/ 0 w 2063"/>
              <a:gd name="T1" fmla="*/ 0 h 1964"/>
              <a:gd name="T2" fmla="*/ 0 w 2063"/>
              <a:gd name="T3" fmla="*/ 860 h 1964"/>
              <a:gd name="T4" fmla="*/ 1135 w 2063"/>
              <a:gd name="T5" fmla="*/ 860 h 1964"/>
              <a:gd name="T6" fmla="*/ 1135 w 2063"/>
              <a:gd name="T7" fmla="*/ 1963 h 1964"/>
              <a:gd name="T8" fmla="*/ 2062 w 2063"/>
              <a:gd name="T9" fmla="*/ 1963 h 1964"/>
              <a:gd name="T10" fmla="*/ 2062 w 2063"/>
              <a:gd name="T11" fmla="*/ 0 h 1964"/>
              <a:gd name="T12" fmla="*/ 0 w 2063"/>
              <a:gd name="T13" fmla="*/ 0 h 1964"/>
            </a:gdLst>
            <a:ahLst/>
            <a:cxnLst>
              <a:cxn ang="0">
                <a:pos x="T0" y="T1"/>
              </a:cxn>
              <a:cxn ang="0">
                <a:pos x="T2" y="T3"/>
              </a:cxn>
              <a:cxn ang="0">
                <a:pos x="T4" y="T5"/>
              </a:cxn>
              <a:cxn ang="0">
                <a:pos x="T6" y="T7"/>
              </a:cxn>
              <a:cxn ang="0">
                <a:pos x="T8" y="T9"/>
              </a:cxn>
              <a:cxn ang="0">
                <a:pos x="T10" y="T11"/>
              </a:cxn>
              <a:cxn ang="0">
                <a:pos x="T12" y="T13"/>
              </a:cxn>
            </a:cxnLst>
            <a:rect l="0" t="0" r="r" b="b"/>
            <a:pathLst>
              <a:path w="2063" h="1964">
                <a:moveTo>
                  <a:pt x="0" y="0"/>
                </a:moveTo>
                <a:lnTo>
                  <a:pt x="0" y="860"/>
                </a:lnTo>
                <a:lnTo>
                  <a:pt x="1135" y="860"/>
                </a:lnTo>
                <a:lnTo>
                  <a:pt x="1135" y="1963"/>
                </a:lnTo>
                <a:lnTo>
                  <a:pt x="2062" y="1963"/>
                </a:lnTo>
                <a:lnTo>
                  <a:pt x="2062" y="0"/>
                </a:lnTo>
                <a:lnTo>
                  <a:pt x="0" y="0"/>
                </a:lnTo>
              </a:path>
            </a:pathLst>
          </a:custGeom>
          <a:solidFill>
            <a:srgbClr val="FF346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Tree>
    <p:extLst>
      <p:ext uri="{BB962C8B-B14F-4D97-AF65-F5344CB8AC3E}">
        <p14:creationId xmlns:p14="http://schemas.microsoft.com/office/powerpoint/2010/main" val="2714461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27BB8-D6EA-2A4B-9E29-4B163BA076AA}"/>
              </a:ext>
            </a:extLst>
          </p:cNvPr>
          <p:cNvSpPr>
            <a:spLocks noGrp="1"/>
          </p:cNvSpPr>
          <p:nvPr>
            <p:ph type="title"/>
          </p:nvPr>
        </p:nvSpPr>
        <p:spPr/>
        <p:txBody>
          <a:bodyPr/>
          <a:lstStyle/>
          <a:p>
            <a:r>
              <a:rPr lang="en-US" dirty="0"/>
              <a:t>Cloud Functions for Firebase</a:t>
            </a:r>
          </a:p>
        </p:txBody>
      </p:sp>
      <p:sp>
        <p:nvSpPr>
          <p:cNvPr id="9" name="Text Placeholder 16">
            <a:extLst>
              <a:ext uri="{FF2B5EF4-FFF2-40B4-BE49-F238E27FC236}">
                <a16:creationId xmlns:a16="http://schemas.microsoft.com/office/drawing/2014/main" id="{3BB3A0CB-2068-448E-A87D-D6F4E55852EB}"/>
              </a:ext>
            </a:extLst>
          </p:cNvPr>
          <p:cNvSpPr txBox="1">
            <a:spLocks/>
          </p:cNvSpPr>
          <p:nvPr/>
        </p:nvSpPr>
        <p:spPr>
          <a:xfrm>
            <a:off x="288235" y="808037"/>
            <a:ext cx="8488017" cy="3475727"/>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solidFill>
                <a:srgbClr val="202124"/>
              </a:solidFill>
              <a:latin typeface="Roboto"/>
            </a:endParaRPr>
          </a:p>
          <a:p>
            <a:endParaRPr lang="en-US" dirty="0">
              <a:solidFill>
                <a:srgbClr val="202124"/>
              </a:solidFill>
              <a:latin typeface="Roboto"/>
            </a:endParaRPr>
          </a:p>
          <a:p>
            <a:r>
              <a:rPr lang="en-US" sz="1600" dirty="0"/>
              <a:t>Cloud Functions for Firebase let you automatically run backend code in response to events triggered by Firebase features and HTTPS requests. </a:t>
            </a:r>
          </a:p>
          <a:p>
            <a:r>
              <a:rPr lang="en-US" sz="1600" dirty="0"/>
              <a:t>Your code is stored in Google's cloud and runs in a managed environment. There's no need to manage and scale your own servers.</a:t>
            </a:r>
          </a:p>
          <a:p>
            <a:endParaRPr lang="en-US" dirty="0">
              <a:solidFill>
                <a:srgbClr val="202124"/>
              </a:solidFill>
              <a:latin typeface="Roboto"/>
            </a:endParaRPr>
          </a:p>
          <a:p>
            <a:pPr algn="r"/>
            <a:r>
              <a:rPr lang="fr-FR" dirty="0">
                <a:hlinkClick r:id="rId2"/>
              </a:rPr>
              <a:t>https://firebase.google.com/docs/functions</a:t>
            </a:r>
            <a:endParaRPr lang="fr-FR" dirty="0"/>
          </a:p>
          <a:p>
            <a:endParaRPr lang="en-US" dirty="0"/>
          </a:p>
        </p:txBody>
      </p:sp>
    </p:spTree>
    <p:extLst>
      <p:ext uri="{BB962C8B-B14F-4D97-AF65-F5344CB8AC3E}">
        <p14:creationId xmlns:p14="http://schemas.microsoft.com/office/powerpoint/2010/main" val="1537877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EB7E99A-181C-4B5F-BE1E-EE772FCCE757}"/>
              </a:ext>
            </a:extLst>
          </p:cNvPr>
          <p:cNvSpPr>
            <a:spLocks noGrp="1"/>
          </p:cNvSpPr>
          <p:nvPr>
            <p:ph type="title"/>
          </p:nvPr>
        </p:nvSpPr>
        <p:spPr/>
        <p:txBody>
          <a:bodyPr/>
          <a:lstStyle/>
          <a:p>
            <a:r>
              <a:rPr lang="fr-FR" dirty="0"/>
              <a:t>Node.js in brief</a:t>
            </a:r>
          </a:p>
        </p:txBody>
      </p:sp>
      <p:sp>
        <p:nvSpPr>
          <p:cNvPr id="3" name="Rectangle 2">
            <a:extLst>
              <a:ext uri="{FF2B5EF4-FFF2-40B4-BE49-F238E27FC236}">
                <a16:creationId xmlns:a16="http://schemas.microsoft.com/office/drawing/2014/main" id="{A302257A-46EE-41F2-8208-B6181BF500DB}"/>
              </a:ext>
            </a:extLst>
          </p:cNvPr>
          <p:cNvSpPr/>
          <p:nvPr/>
        </p:nvSpPr>
        <p:spPr>
          <a:xfrm>
            <a:off x="311726" y="531704"/>
            <a:ext cx="8260774" cy="4563813"/>
          </a:xfrm>
          <a:prstGeom prst="rect">
            <a:avLst/>
          </a:prstGeom>
        </p:spPr>
        <p:txBody>
          <a:bodyPr wrap="square">
            <a:spAutoFit/>
          </a:bodyPr>
          <a:lstStyle/>
          <a:p>
            <a:endParaRPr lang="en-US" dirty="0"/>
          </a:p>
          <a:p>
            <a:pPr marL="285750" indent="-285750">
              <a:lnSpc>
                <a:spcPct val="90000"/>
              </a:lnSpc>
              <a:spcBef>
                <a:spcPts val="750"/>
              </a:spcBef>
              <a:buClr>
                <a:schemeClr val="accent2"/>
              </a:buClr>
              <a:buFont typeface="Arial" panose="020B0604020202020204" pitchFamily="34" charset="0"/>
              <a:buChar char="•"/>
            </a:pPr>
            <a:r>
              <a:rPr lang="en-US" sz="1600" dirty="0">
                <a:latin typeface="+mj-lt"/>
              </a:rPr>
              <a:t>Node.js is an open-source and cross-platform JavaScript runtime environment. </a:t>
            </a:r>
          </a:p>
          <a:p>
            <a:pPr marL="285750" indent="-285750">
              <a:lnSpc>
                <a:spcPct val="90000"/>
              </a:lnSpc>
              <a:spcBef>
                <a:spcPts val="750"/>
              </a:spcBef>
              <a:buClr>
                <a:schemeClr val="accent2"/>
              </a:buClr>
              <a:buFont typeface="Arial" panose="020B0604020202020204" pitchFamily="34" charset="0"/>
              <a:buChar char="•"/>
            </a:pPr>
            <a:r>
              <a:rPr lang="en-US" sz="1600" dirty="0">
                <a:latin typeface="+mj-lt"/>
              </a:rPr>
              <a:t>Node.js runs the JavaScript engine, the core of Google Chrome, outside of the browser. </a:t>
            </a:r>
          </a:p>
          <a:p>
            <a:pPr marL="285750" indent="-285750">
              <a:lnSpc>
                <a:spcPct val="90000"/>
              </a:lnSpc>
              <a:spcBef>
                <a:spcPts val="750"/>
              </a:spcBef>
              <a:buClr>
                <a:schemeClr val="accent2"/>
              </a:buClr>
              <a:buFont typeface="Arial" panose="020B0604020202020204" pitchFamily="34" charset="0"/>
              <a:buChar char="•"/>
            </a:pPr>
            <a:r>
              <a:rPr lang="en-US" sz="1600" dirty="0">
                <a:latin typeface="+mj-lt"/>
              </a:rPr>
              <a:t>A Node.js app is run in a single process, without creating a new thread for every request. Node.js provides a set of asynchronous I/O primitives in its standard library that prevent JavaScript code from blocking and generally, libraries in Node.js are written using non-blocking paradigms, making blocking behavior the exception rather than the norm.</a:t>
            </a:r>
          </a:p>
          <a:p>
            <a:pPr marL="285750" indent="-285750">
              <a:lnSpc>
                <a:spcPct val="90000"/>
              </a:lnSpc>
              <a:spcBef>
                <a:spcPts val="750"/>
              </a:spcBef>
              <a:buClr>
                <a:schemeClr val="accent2"/>
              </a:buClr>
              <a:buFont typeface="Arial" panose="020B0604020202020204" pitchFamily="34" charset="0"/>
              <a:buChar char="•"/>
            </a:pPr>
            <a:r>
              <a:rPr lang="en-US" sz="1600" dirty="0">
                <a:latin typeface="+mj-lt"/>
              </a:rPr>
              <a:t>When Node.js needs to perform an I/O operation, like reading from the network, accessing a database or the filesystem, instead of blocking the thread and wasting CPU cycles waiting, Node.js will resume the operations when the response comes back.</a:t>
            </a:r>
          </a:p>
          <a:p>
            <a:pPr algn="r">
              <a:lnSpc>
                <a:spcPct val="90000"/>
              </a:lnSpc>
              <a:spcBef>
                <a:spcPts val="750"/>
              </a:spcBef>
            </a:pPr>
            <a:r>
              <a:rPr lang="en-US" sz="1600" dirty="0">
                <a:latin typeface="+mj-lt"/>
                <a:hlinkClick r:id="rId2"/>
              </a:rPr>
              <a:t>https://nodejs.dev/</a:t>
            </a:r>
            <a:endParaRPr lang="en-US" sz="1600" dirty="0">
              <a:latin typeface="+mj-lt"/>
            </a:endParaRPr>
          </a:p>
          <a:p>
            <a:pPr marL="285750" indent="-285750">
              <a:lnSpc>
                <a:spcPct val="90000"/>
              </a:lnSpc>
              <a:spcBef>
                <a:spcPts val="750"/>
              </a:spcBef>
              <a:buFont typeface="Arial" panose="020B0604020202020204" pitchFamily="34" charset="0"/>
              <a:buChar char="•"/>
            </a:pPr>
            <a:endParaRPr lang="en-US" sz="1600" dirty="0">
              <a:latin typeface="+mj-lt"/>
            </a:endParaRPr>
          </a:p>
          <a:p>
            <a:pPr>
              <a:lnSpc>
                <a:spcPct val="90000"/>
              </a:lnSpc>
              <a:spcBef>
                <a:spcPts val="750"/>
              </a:spcBef>
            </a:pPr>
            <a:endParaRPr lang="en-US" sz="1600" dirty="0">
              <a:latin typeface="+mj-lt"/>
            </a:endParaRPr>
          </a:p>
        </p:txBody>
      </p:sp>
    </p:spTree>
    <p:extLst>
      <p:ext uri="{BB962C8B-B14F-4D97-AF65-F5344CB8AC3E}">
        <p14:creationId xmlns:p14="http://schemas.microsoft.com/office/powerpoint/2010/main" val="503756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27BB8-D6EA-2A4B-9E29-4B163BA076AA}"/>
              </a:ext>
            </a:extLst>
          </p:cNvPr>
          <p:cNvSpPr>
            <a:spLocks noGrp="1"/>
          </p:cNvSpPr>
          <p:nvPr>
            <p:ph type="title"/>
          </p:nvPr>
        </p:nvSpPr>
        <p:spPr/>
        <p:txBody>
          <a:bodyPr/>
          <a:lstStyle/>
          <a:p>
            <a:r>
              <a:rPr lang="en-US" dirty="0"/>
              <a:t>Why node.js ?</a:t>
            </a:r>
          </a:p>
        </p:txBody>
      </p:sp>
      <p:sp>
        <p:nvSpPr>
          <p:cNvPr id="3" name="Rectangle 2">
            <a:extLst>
              <a:ext uri="{FF2B5EF4-FFF2-40B4-BE49-F238E27FC236}">
                <a16:creationId xmlns:a16="http://schemas.microsoft.com/office/drawing/2014/main" id="{250562BE-3867-40D2-8E04-67DE10D2D8AE}"/>
              </a:ext>
            </a:extLst>
          </p:cNvPr>
          <p:cNvSpPr/>
          <p:nvPr/>
        </p:nvSpPr>
        <p:spPr>
          <a:xfrm>
            <a:off x="707537" y="1581302"/>
            <a:ext cx="3761795" cy="23268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b="1" dirty="0">
                <a:solidFill>
                  <a:schemeClr val="bg1"/>
                </a:solidFill>
              </a:rPr>
              <a:t>AWS (Lambda)</a:t>
            </a:r>
          </a:p>
          <a:p>
            <a:pPr algn="ctr"/>
            <a:endParaRPr lang="fr-FR" dirty="0">
              <a:solidFill>
                <a:schemeClr val="bg1"/>
              </a:solidFill>
            </a:endParaRPr>
          </a:p>
          <a:p>
            <a:pPr marL="285750" indent="-285750">
              <a:buFont typeface="Arial" panose="020B0604020202020204" pitchFamily="34" charset="0"/>
              <a:buChar char="•"/>
            </a:pPr>
            <a:r>
              <a:rPr lang="fr-FR" dirty="0">
                <a:solidFill>
                  <a:schemeClr val="bg1"/>
                </a:solidFill>
              </a:rPr>
              <a:t>Java, </a:t>
            </a:r>
          </a:p>
          <a:p>
            <a:pPr marL="285750" indent="-285750">
              <a:buFont typeface="Arial" panose="020B0604020202020204" pitchFamily="34" charset="0"/>
              <a:buChar char="•"/>
            </a:pPr>
            <a:r>
              <a:rPr lang="fr-FR" dirty="0">
                <a:solidFill>
                  <a:schemeClr val="bg1"/>
                </a:solidFill>
              </a:rPr>
              <a:t>Node.js</a:t>
            </a:r>
          </a:p>
          <a:p>
            <a:pPr marL="285750" indent="-285750">
              <a:buFont typeface="Arial" panose="020B0604020202020204" pitchFamily="34" charset="0"/>
              <a:buChar char="•"/>
            </a:pPr>
            <a:r>
              <a:rPr lang="fr-FR" dirty="0">
                <a:solidFill>
                  <a:schemeClr val="bg1"/>
                </a:solidFill>
              </a:rPr>
              <a:t>C# </a:t>
            </a:r>
          </a:p>
          <a:p>
            <a:pPr marL="285750" indent="-285750">
              <a:buFont typeface="Arial" panose="020B0604020202020204" pitchFamily="34" charset="0"/>
              <a:buChar char="•"/>
            </a:pPr>
            <a:r>
              <a:rPr lang="fr-FR" dirty="0">
                <a:solidFill>
                  <a:schemeClr val="bg1"/>
                </a:solidFill>
              </a:rPr>
              <a:t>Python</a:t>
            </a:r>
          </a:p>
          <a:p>
            <a:pPr marL="285750" indent="-285750">
              <a:buFont typeface="Arial" panose="020B0604020202020204" pitchFamily="34" charset="0"/>
              <a:buChar char="•"/>
            </a:pPr>
            <a:r>
              <a:rPr lang="fr-FR" dirty="0">
                <a:solidFill>
                  <a:schemeClr val="bg1"/>
                </a:solidFill>
              </a:rPr>
              <a:t>(</a:t>
            </a:r>
            <a:r>
              <a:rPr lang="fr-FR" dirty="0" err="1">
                <a:solidFill>
                  <a:schemeClr val="bg1"/>
                </a:solidFill>
              </a:rPr>
              <a:t>others</a:t>
            </a:r>
            <a:r>
              <a:rPr lang="fr-FR" dirty="0">
                <a:solidFill>
                  <a:schemeClr val="bg1"/>
                </a:solidFill>
              </a:rPr>
              <a:t> </a:t>
            </a:r>
            <a:r>
              <a:rPr lang="fr-FR" dirty="0" err="1">
                <a:solidFill>
                  <a:schemeClr val="bg1"/>
                </a:solidFill>
              </a:rPr>
              <a:t>languages</a:t>
            </a:r>
            <a:r>
              <a:rPr lang="fr-FR" dirty="0">
                <a:solidFill>
                  <a:schemeClr val="bg1"/>
                </a:solidFill>
              </a:rPr>
              <a:t> on roadmap</a:t>
            </a:r>
            <a:r>
              <a:rPr lang="fr-FR" dirty="0">
                <a:solidFill>
                  <a:schemeClr val="tx1"/>
                </a:solidFill>
              </a:rPr>
              <a:t>)</a:t>
            </a:r>
          </a:p>
        </p:txBody>
      </p:sp>
      <p:sp>
        <p:nvSpPr>
          <p:cNvPr id="5" name="Rectangle 4">
            <a:extLst>
              <a:ext uri="{FF2B5EF4-FFF2-40B4-BE49-F238E27FC236}">
                <a16:creationId xmlns:a16="http://schemas.microsoft.com/office/drawing/2014/main" id="{A0699C43-1DA1-491C-958B-C7E0F16D4352}"/>
              </a:ext>
            </a:extLst>
          </p:cNvPr>
          <p:cNvSpPr/>
          <p:nvPr/>
        </p:nvSpPr>
        <p:spPr>
          <a:xfrm>
            <a:off x="4723773" y="1581302"/>
            <a:ext cx="3761795" cy="23268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b="1" dirty="0">
                <a:solidFill>
                  <a:schemeClr val="bg1"/>
                </a:solidFill>
              </a:rPr>
              <a:t>GCP (</a:t>
            </a:r>
            <a:r>
              <a:rPr lang="fr-FR" b="1" dirty="0" err="1">
                <a:solidFill>
                  <a:schemeClr val="bg1"/>
                </a:solidFill>
              </a:rPr>
              <a:t>Firebase</a:t>
            </a:r>
            <a:r>
              <a:rPr lang="fr-FR" b="1" dirty="0">
                <a:solidFill>
                  <a:schemeClr val="bg1"/>
                </a:solidFill>
              </a:rPr>
              <a:t> </a:t>
            </a:r>
            <a:r>
              <a:rPr lang="fr-FR" b="1" dirty="0" err="1">
                <a:solidFill>
                  <a:schemeClr val="bg1"/>
                </a:solidFill>
              </a:rPr>
              <a:t>functions</a:t>
            </a:r>
            <a:r>
              <a:rPr lang="fr-FR" b="1" dirty="0">
                <a:solidFill>
                  <a:schemeClr val="bg1"/>
                </a:solidFill>
              </a:rPr>
              <a:t>)</a:t>
            </a:r>
          </a:p>
          <a:p>
            <a:pPr algn="ctr"/>
            <a:endParaRPr lang="fr-FR" dirty="0">
              <a:solidFill>
                <a:schemeClr val="bg1"/>
              </a:solidFill>
            </a:endParaRPr>
          </a:p>
          <a:p>
            <a:pPr marL="285750" indent="-285750">
              <a:buFont typeface="Arial" panose="020B0604020202020204" pitchFamily="34" charset="0"/>
              <a:buChar char="•"/>
            </a:pPr>
            <a:r>
              <a:rPr lang="fr-FR" dirty="0">
                <a:solidFill>
                  <a:schemeClr val="bg1"/>
                </a:solidFill>
              </a:rPr>
              <a:t>Node.js. </a:t>
            </a:r>
            <a:r>
              <a:rPr lang="fr-FR" dirty="0" err="1">
                <a:solidFill>
                  <a:schemeClr val="bg1"/>
                </a:solidFill>
              </a:rPr>
              <a:t>That’s</a:t>
            </a:r>
            <a:r>
              <a:rPr lang="fr-FR" dirty="0">
                <a:solidFill>
                  <a:schemeClr val="bg1"/>
                </a:solidFill>
              </a:rPr>
              <a:t> all !</a:t>
            </a:r>
          </a:p>
          <a:p>
            <a:pPr marL="285750" indent="-285750">
              <a:buFont typeface="Arial" panose="020B0604020202020204" pitchFamily="34" charset="0"/>
              <a:buChar char="•"/>
            </a:pPr>
            <a:endParaRPr lang="fr-FR" dirty="0">
              <a:solidFill>
                <a:schemeClr val="bg1"/>
              </a:solidFill>
            </a:endParaRPr>
          </a:p>
          <a:p>
            <a:endParaRPr lang="en-US" sz="1400" i="1" dirty="0">
              <a:solidFill>
                <a:schemeClr val="bg1"/>
              </a:solidFill>
            </a:endParaRPr>
          </a:p>
          <a:p>
            <a:r>
              <a:rPr lang="en-US" sz="1400" i="1" dirty="0">
                <a:solidFill>
                  <a:schemeClr val="bg1"/>
                </a:solidFill>
              </a:rPr>
              <a:t>Cloud functions includes also Python. But DF is natively interfaced with "Firebase functions“ only… Wait &amp; see !</a:t>
            </a:r>
            <a:endParaRPr lang="fr-FR" dirty="0">
              <a:solidFill>
                <a:schemeClr val="tx1"/>
              </a:solidFill>
            </a:endParaRPr>
          </a:p>
        </p:txBody>
      </p:sp>
      <p:pic>
        <p:nvPicPr>
          <p:cNvPr id="7" name="Image 6">
            <a:extLst>
              <a:ext uri="{FF2B5EF4-FFF2-40B4-BE49-F238E27FC236}">
                <a16:creationId xmlns:a16="http://schemas.microsoft.com/office/drawing/2014/main" id="{BBD7E165-D126-4F7C-8A6E-A6ACDEBBA346}"/>
              </a:ext>
            </a:extLst>
          </p:cNvPr>
          <p:cNvPicPr>
            <a:picLocks noChangeAspect="1"/>
          </p:cNvPicPr>
          <p:nvPr/>
        </p:nvPicPr>
        <p:blipFill>
          <a:blip r:embed="rId2"/>
          <a:stretch>
            <a:fillRect/>
          </a:stretch>
        </p:blipFill>
        <p:spPr>
          <a:xfrm>
            <a:off x="375923" y="1316950"/>
            <a:ext cx="1134061" cy="595382"/>
          </a:xfrm>
          <a:prstGeom prst="rect">
            <a:avLst/>
          </a:prstGeom>
          <a:ln>
            <a:solidFill>
              <a:schemeClr val="tx1"/>
            </a:solidFill>
          </a:ln>
        </p:spPr>
      </p:pic>
      <p:pic>
        <p:nvPicPr>
          <p:cNvPr id="12" name="Image 11" descr="Une image contenant stationnaire, enveloppe&#10;&#10;Description générée automatiquement">
            <a:extLst>
              <a:ext uri="{FF2B5EF4-FFF2-40B4-BE49-F238E27FC236}">
                <a16:creationId xmlns:a16="http://schemas.microsoft.com/office/drawing/2014/main" id="{0F2BFD80-2D65-45A0-8CAF-FCD00F651E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29187" y="1124921"/>
            <a:ext cx="912761" cy="912761"/>
          </a:xfrm>
          <a:prstGeom prst="rect">
            <a:avLst/>
          </a:prstGeom>
        </p:spPr>
      </p:pic>
    </p:spTree>
    <p:extLst>
      <p:ext uri="{BB962C8B-B14F-4D97-AF65-F5344CB8AC3E}">
        <p14:creationId xmlns:p14="http://schemas.microsoft.com/office/powerpoint/2010/main" val="3596741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11FA20E-31AE-4CD6-8F34-24F8582C9826}"/>
              </a:ext>
            </a:extLst>
          </p:cNvPr>
          <p:cNvSpPr>
            <a:spLocks noGrp="1"/>
          </p:cNvSpPr>
          <p:nvPr>
            <p:ph type="title"/>
          </p:nvPr>
        </p:nvSpPr>
        <p:spPr/>
        <p:txBody>
          <a:bodyPr/>
          <a:lstStyle/>
          <a:p>
            <a:r>
              <a:rPr lang="fr-FR" dirty="0"/>
              <a:t>Limitations</a:t>
            </a:r>
          </a:p>
        </p:txBody>
      </p:sp>
      <p:sp>
        <p:nvSpPr>
          <p:cNvPr id="3" name="Rectangle 2">
            <a:extLst>
              <a:ext uri="{FF2B5EF4-FFF2-40B4-BE49-F238E27FC236}">
                <a16:creationId xmlns:a16="http://schemas.microsoft.com/office/drawing/2014/main" id="{DE35AEF6-019E-4D17-8A77-5783DA13D5CE}"/>
              </a:ext>
            </a:extLst>
          </p:cNvPr>
          <p:cNvSpPr/>
          <p:nvPr/>
        </p:nvSpPr>
        <p:spPr>
          <a:xfrm>
            <a:off x="311726" y="538792"/>
            <a:ext cx="3377047" cy="3076227"/>
          </a:xfrm>
          <a:prstGeom prst="rect">
            <a:avLst/>
          </a:prstGeom>
        </p:spPr>
        <p:txBody>
          <a:bodyPr wrap="square">
            <a:spAutoFit/>
          </a:bodyPr>
          <a:lstStyle/>
          <a:p>
            <a:endParaRPr lang="en-US" dirty="0"/>
          </a:p>
          <a:p>
            <a:pPr>
              <a:lnSpc>
                <a:spcPct val="90000"/>
              </a:lnSpc>
              <a:spcBef>
                <a:spcPts val="750"/>
              </a:spcBef>
            </a:pPr>
            <a:r>
              <a:rPr lang="en-US" sz="1400" dirty="0">
                <a:latin typeface="+mj-lt"/>
              </a:rPr>
              <a:t>Remember to change the billing mode of Firebase :</a:t>
            </a:r>
          </a:p>
          <a:p>
            <a:pPr marL="285750" indent="-285750">
              <a:lnSpc>
                <a:spcPct val="90000"/>
              </a:lnSpc>
              <a:spcBef>
                <a:spcPts val="750"/>
              </a:spcBef>
              <a:buClr>
                <a:schemeClr val="accent2"/>
              </a:buClr>
              <a:buFont typeface="Arial" panose="020B0604020202020204" pitchFamily="34" charset="0"/>
              <a:buChar char="•"/>
            </a:pPr>
            <a:r>
              <a:rPr lang="en-US" sz="1400" dirty="0">
                <a:latin typeface="+mj-lt"/>
              </a:rPr>
              <a:t>A WS call is primarily an outgoing stream</a:t>
            </a:r>
          </a:p>
          <a:p>
            <a:pPr marL="285750" indent="-285750">
              <a:lnSpc>
                <a:spcPct val="90000"/>
              </a:lnSpc>
              <a:spcBef>
                <a:spcPts val="750"/>
              </a:spcBef>
              <a:buClr>
                <a:schemeClr val="accent2"/>
              </a:buClr>
              <a:buFont typeface="Arial" panose="020B0604020202020204" pitchFamily="34" charset="0"/>
              <a:buChar char="•"/>
            </a:pPr>
            <a:r>
              <a:rPr lang="en-US" sz="1400" dirty="0">
                <a:latin typeface="+mj-lt"/>
              </a:rPr>
              <a:t>Google charges outflows ($ 0.12 / GB).</a:t>
            </a:r>
          </a:p>
          <a:p>
            <a:pPr marL="285750" indent="-285750">
              <a:lnSpc>
                <a:spcPct val="90000"/>
              </a:lnSpc>
              <a:spcBef>
                <a:spcPts val="750"/>
              </a:spcBef>
              <a:buClr>
                <a:schemeClr val="accent2"/>
              </a:buClr>
              <a:buFont typeface="Arial" panose="020B0604020202020204" pitchFamily="34" charset="0"/>
              <a:buChar char="•"/>
            </a:pPr>
            <a:r>
              <a:rPr lang="en-US" sz="1400" dirty="0">
                <a:latin typeface="+mj-lt"/>
              </a:rPr>
              <a:t>The "</a:t>
            </a:r>
            <a:r>
              <a:rPr lang="en-US" sz="1400" dirty="0">
                <a:solidFill>
                  <a:schemeClr val="accent2"/>
                </a:solidFill>
                <a:latin typeface="+mj-lt"/>
              </a:rPr>
              <a:t>free</a:t>
            </a:r>
            <a:r>
              <a:rPr lang="en-US" sz="1400" dirty="0">
                <a:latin typeface="+mj-lt"/>
              </a:rPr>
              <a:t>" mode of Firebase is not enough anymore.</a:t>
            </a:r>
          </a:p>
          <a:p>
            <a:pPr marL="285750" indent="-285750">
              <a:lnSpc>
                <a:spcPct val="90000"/>
              </a:lnSpc>
              <a:spcBef>
                <a:spcPts val="750"/>
              </a:spcBef>
              <a:buClr>
                <a:schemeClr val="accent2"/>
              </a:buClr>
              <a:buFont typeface="Arial" panose="020B0604020202020204" pitchFamily="34" charset="0"/>
              <a:buChar char="•"/>
            </a:pPr>
            <a:r>
              <a:rPr lang="en-US" sz="1400" dirty="0">
                <a:latin typeface="+mj-lt"/>
              </a:rPr>
              <a:t>The “</a:t>
            </a:r>
            <a:r>
              <a:rPr lang="en-US" sz="1400" dirty="0">
                <a:solidFill>
                  <a:schemeClr val="accent2"/>
                </a:solidFill>
                <a:latin typeface="+mj-lt"/>
              </a:rPr>
              <a:t>Blaze Formula</a:t>
            </a:r>
            <a:r>
              <a:rPr lang="en-US" sz="1400" dirty="0">
                <a:latin typeface="+mj-lt"/>
              </a:rPr>
              <a:t>” is recommended</a:t>
            </a:r>
          </a:p>
          <a:p>
            <a:pPr marL="285750" indent="-285750">
              <a:lnSpc>
                <a:spcPct val="90000"/>
              </a:lnSpc>
              <a:spcBef>
                <a:spcPts val="750"/>
              </a:spcBef>
              <a:buFont typeface="Arial" panose="020B0604020202020204" pitchFamily="34" charset="0"/>
              <a:buChar char="•"/>
            </a:pPr>
            <a:endParaRPr lang="fr-FR" sz="1600" dirty="0">
              <a:latin typeface="+mj-lt"/>
            </a:endParaRPr>
          </a:p>
        </p:txBody>
      </p:sp>
      <p:pic>
        <p:nvPicPr>
          <p:cNvPr id="7" name="Image 6">
            <a:extLst>
              <a:ext uri="{FF2B5EF4-FFF2-40B4-BE49-F238E27FC236}">
                <a16:creationId xmlns:a16="http://schemas.microsoft.com/office/drawing/2014/main" id="{EE1C5861-4CCF-4BB8-9183-C866DB905F07}"/>
              </a:ext>
            </a:extLst>
          </p:cNvPr>
          <p:cNvPicPr>
            <a:picLocks noChangeAspect="1"/>
          </p:cNvPicPr>
          <p:nvPr/>
        </p:nvPicPr>
        <p:blipFill>
          <a:blip r:embed="rId2"/>
          <a:stretch>
            <a:fillRect/>
          </a:stretch>
        </p:blipFill>
        <p:spPr>
          <a:xfrm>
            <a:off x="3688773" y="735980"/>
            <a:ext cx="3812505" cy="3671539"/>
          </a:xfrm>
          <a:prstGeom prst="rect">
            <a:avLst/>
          </a:prstGeom>
        </p:spPr>
      </p:pic>
      <p:sp>
        <p:nvSpPr>
          <p:cNvPr id="5" name="Ellipse 4">
            <a:extLst>
              <a:ext uri="{FF2B5EF4-FFF2-40B4-BE49-F238E27FC236}">
                <a16:creationId xmlns:a16="http://schemas.microsoft.com/office/drawing/2014/main" id="{858B77A6-C046-4E55-8DFB-20C7C268CEDC}"/>
              </a:ext>
            </a:extLst>
          </p:cNvPr>
          <p:cNvSpPr/>
          <p:nvPr/>
        </p:nvSpPr>
        <p:spPr>
          <a:xfrm>
            <a:off x="5388178" y="797083"/>
            <a:ext cx="2276427" cy="3893863"/>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Tree>
    <p:extLst>
      <p:ext uri="{BB962C8B-B14F-4D97-AF65-F5344CB8AC3E}">
        <p14:creationId xmlns:p14="http://schemas.microsoft.com/office/powerpoint/2010/main" val="1135943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DAC4395-5853-4DC6-8BD7-143056F0C1AF}"/>
              </a:ext>
            </a:extLst>
          </p:cNvPr>
          <p:cNvSpPr>
            <a:spLocks noGrp="1"/>
          </p:cNvSpPr>
          <p:nvPr>
            <p:ph type="title"/>
          </p:nvPr>
        </p:nvSpPr>
        <p:spPr/>
        <p:txBody>
          <a:bodyPr/>
          <a:lstStyle/>
          <a:p>
            <a:r>
              <a:rPr lang="fr-FR" dirty="0" err="1"/>
              <a:t>Integration</a:t>
            </a:r>
            <a:r>
              <a:rPr lang="fr-FR" dirty="0"/>
              <a:t> </a:t>
            </a:r>
            <a:r>
              <a:rPr lang="fr-FR" dirty="0" err="1"/>
              <a:t>with</a:t>
            </a:r>
            <a:r>
              <a:rPr lang="fr-FR" dirty="0"/>
              <a:t> </a:t>
            </a:r>
            <a:r>
              <a:rPr lang="fr-FR" dirty="0" err="1"/>
              <a:t>Dialogflow</a:t>
            </a:r>
            <a:endParaRPr lang="fr-FR" dirty="0"/>
          </a:p>
        </p:txBody>
      </p:sp>
      <p:pic>
        <p:nvPicPr>
          <p:cNvPr id="3" name="Image 2">
            <a:extLst>
              <a:ext uri="{FF2B5EF4-FFF2-40B4-BE49-F238E27FC236}">
                <a16:creationId xmlns:a16="http://schemas.microsoft.com/office/drawing/2014/main" id="{F164C927-E05A-4A3B-A1CD-132840D01354}"/>
              </a:ext>
            </a:extLst>
          </p:cNvPr>
          <p:cNvPicPr>
            <a:picLocks noChangeAspect="1"/>
          </p:cNvPicPr>
          <p:nvPr/>
        </p:nvPicPr>
        <p:blipFill>
          <a:blip r:embed="rId2"/>
          <a:stretch>
            <a:fillRect/>
          </a:stretch>
        </p:blipFill>
        <p:spPr>
          <a:xfrm>
            <a:off x="3127664" y="784403"/>
            <a:ext cx="5870864" cy="1958620"/>
          </a:xfrm>
          <a:prstGeom prst="rect">
            <a:avLst/>
          </a:prstGeom>
        </p:spPr>
      </p:pic>
      <p:pic>
        <p:nvPicPr>
          <p:cNvPr id="4" name="Image 3">
            <a:extLst>
              <a:ext uri="{FF2B5EF4-FFF2-40B4-BE49-F238E27FC236}">
                <a16:creationId xmlns:a16="http://schemas.microsoft.com/office/drawing/2014/main" id="{6E8A2B49-22B4-4CA2-A476-19CC9A7EB10B}"/>
              </a:ext>
            </a:extLst>
          </p:cNvPr>
          <p:cNvPicPr>
            <a:picLocks noChangeAspect="1"/>
          </p:cNvPicPr>
          <p:nvPr/>
        </p:nvPicPr>
        <p:blipFill>
          <a:blip r:embed="rId3"/>
          <a:stretch>
            <a:fillRect/>
          </a:stretch>
        </p:blipFill>
        <p:spPr>
          <a:xfrm>
            <a:off x="3127664" y="2902686"/>
            <a:ext cx="5870864" cy="1918452"/>
          </a:xfrm>
          <a:prstGeom prst="rect">
            <a:avLst/>
          </a:prstGeom>
        </p:spPr>
      </p:pic>
      <p:sp>
        <p:nvSpPr>
          <p:cNvPr id="5" name="Rectangle 4">
            <a:extLst>
              <a:ext uri="{FF2B5EF4-FFF2-40B4-BE49-F238E27FC236}">
                <a16:creationId xmlns:a16="http://schemas.microsoft.com/office/drawing/2014/main" id="{3DC11819-14B9-4E87-B639-E312597F4ECC}"/>
              </a:ext>
            </a:extLst>
          </p:cNvPr>
          <p:cNvSpPr/>
          <p:nvPr/>
        </p:nvSpPr>
        <p:spPr>
          <a:xfrm>
            <a:off x="311726" y="531704"/>
            <a:ext cx="2576947" cy="3503010"/>
          </a:xfrm>
          <a:prstGeom prst="rect">
            <a:avLst/>
          </a:prstGeom>
        </p:spPr>
        <p:txBody>
          <a:bodyPr wrap="square">
            <a:spAutoFit/>
          </a:bodyPr>
          <a:lstStyle/>
          <a:p>
            <a:endParaRPr lang="en-US" dirty="0"/>
          </a:p>
          <a:p>
            <a:pPr>
              <a:lnSpc>
                <a:spcPct val="90000"/>
              </a:lnSpc>
              <a:spcBef>
                <a:spcPts val="750"/>
              </a:spcBef>
            </a:pPr>
            <a:r>
              <a:rPr lang="en-US" sz="1400" dirty="0">
                <a:latin typeface="+mj-lt"/>
              </a:rPr>
              <a:t>Two files :</a:t>
            </a:r>
          </a:p>
          <a:p>
            <a:pPr marL="342900" indent="-342900">
              <a:lnSpc>
                <a:spcPct val="90000"/>
              </a:lnSpc>
              <a:spcBef>
                <a:spcPts val="750"/>
              </a:spcBef>
              <a:buClr>
                <a:schemeClr val="accent2"/>
              </a:buClr>
              <a:buFont typeface="Arial" panose="020B0604020202020204" pitchFamily="34" charset="0"/>
              <a:buChar char="•"/>
            </a:pPr>
            <a:r>
              <a:rPr lang="en-US" sz="1400" b="1" dirty="0">
                <a:solidFill>
                  <a:schemeClr val="accent2"/>
                </a:solidFill>
                <a:latin typeface="+mj-lt"/>
              </a:rPr>
              <a:t>index.js </a:t>
            </a:r>
            <a:r>
              <a:rPr lang="en-US" sz="1400" dirty="0">
                <a:latin typeface="+mj-lt"/>
              </a:rPr>
              <a:t>: all the functions</a:t>
            </a:r>
          </a:p>
          <a:p>
            <a:pPr marL="342900" indent="-342900">
              <a:lnSpc>
                <a:spcPct val="90000"/>
              </a:lnSpc>
              <a:spcBef>
                <a:spcPts val="750"/>
              </a:spcBef>
              <a:buClr>
                <a:schemeClr val="accent2"/>
              </a:buClr>
              <a:buFont typeface="Arial" panose="020B0604020202020204" pitchFamily="34" charset="0"/>
              <a:buChar char="•"/>
            </a:pPr>
            <a:r>
              <a:rPr lang="en-US" sz="1400" b="1" dirty="0" err="1">
                <a:solidFill>
                  <a:schemeClr val="accent2"/>
                </a:solidFill>
                <a:latin typeface="+mj-lt"/>
              </a:rPr>
              <a:t>package.json</a:t>
            </a:r>
            <a:r>
              <a:rPr lang="en-US" sz="1400" b="1" dirty="0">
                <a:solidFill>
                  <a:schemeClr val="accent2"/>
                </a:solidFill>
                <a:latin typeface="+mj-lt"/>
              </a:rPr>
              <a:t> </a:t>
            </a:r>
            <a:r>
              <a:rPr lang="en-US" sz="1400" dirty="0">
                <a:latin typeface="+mj-lt"/>
              </a:rPr>
              <a:t>: all the dependencies</a:t>
            </a:r>
          </a:p>
          <a:p>
            <a:pPr marL="285750" indent="-285750">
              <a:lnSpc>
                <a:spcPct val="90000"/>
              </a:lnSpc>
              <a:spcBef>
                <a:spcPts val="750"/>
              </a:spcBef>
              <a:buFontTx/>
              <a:buChar char="-"/>
            </a:pPr>
            <a:endParaRPr lang="en-US" sz="1400" dirty="0">
              <a:latin typeface="+mj-lt"/>
            </a:endParaRPr>
          </a:p>
          <a:p>
            <a:pPr marL="285750" indent="-285750">
              <a:lnSpc>
                <a:spcPct val="90000"/>
              </a:lnSpc>
              <a:spcBef>
                <a:spcPts val="750"/>
              </a:spcBef>
              <a:buFontTx/>
              <a:buChar char="-"/>
            </a:pPr>
            <a:endParaRPr lang="en-US" sz="1400" dirty="0">
              <a:latin typeface="+mj-lt"/>
            </a:endParaRPr>
          </a:p>
          <a:p>
            <a:pPr marL="285750" indent="-285750">
              <a:lnSpc>
                <a:spcPct val="90000"/>
              </a:lnSpc>
              <a:spcBef>
                <a:spcPts val="750"/>
              </a:spcBef>
              <a:buFontTx/>
              <a:buChar char="-"/>
            </a:pPr>
            <a:endParaRPr lang="en-US" sz="1400" dirty="0">
              <a:latin typeface="+mj-lt"/>
            </a:endParaRPr>
          </a:p>
          <a:p>
            <a:pPr>
              <a:lnSpc>
                <a:spcPct val="90000"/>
              </a:lnSpc>
              <a:spcBef>
                <a:spcPts val="750"/>
              </a:spcBef>
            </a:pPr>
            <a:r>
              <a:rPr lang="en-US" sz="1400" dirty="0">
                <a:latin typeface="+mj-lt"/>
              </a:rPr>
              <a:t>Default “index” and “package” files are created automatically</a:t>
            </a:r>
            <a:r>
              <a:rPr lang="en-US" sz="1600" dirty="0">
                <a:latin typeface="+mj-lt"/>
              </a:rPr>
              <a:t>.</a:t>
            </a:r>
          </a:p>
          <a:p>
            <a:pPr marL="285750" indent="-285750">
              <a:lnSpc>
                <a:spcPct val="90000"/>
              </a:lnSpc>
              <a:spcBef>
                <a:spcPts val="750"/>
              </a:spcBef>
              <a:buFont typeface="Arial" panose="020B0604020202020204" pitchFamily="34" charset="0"/>
              <a:buChar char="•"/>
            </a:pPr>
            <a:endParaRPr lang="fr-FR" sz="1600" dirty="0">
              <a:latin typeface="+mj-lt"/>
            </a:endParaRPr>
          </a:p>
        </p:txBody>
      </p:sp>
    </p:spTree>
    <p:extLst>
      <p:ext uri="{BB962C8B-B14F-4D97-AF65-F5344CB8AC3E}">
        <p14:creationId xmlns:p14="http://schemas.microsoft.com/office/powerpoint/2010/main" val="713217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C976363-7987-4F9C-81EF-33E519EB7C21}"/>
              </a:ext>
            </a:extLst>
          </p:cNvPr>
          <p:cNvSpPr>
            <a:spLocks noGrp="1"/>
          </p:cNvSpPr>
          <p:nvPr>
            <p:ph type="title"/>
          </p:nvPr>
        </p:nvSpPr>
        <p:spPr>
          <a:xfrm>
            <a:off x="9525" y="-15497"/>
            <a:ext cx="6975475" cy="808037"/>
          </a:xfrm>
        </p:spPr>
        <p:txBody>
          <a:bodyPr/>
          <a:lstStyle/>
          <a:p>
            <a:r>
              <a:rPr lang="fr-FR" dirty="0"/>
              <a:t>Warning : the default versions of </a:t>
            </a:r>
            <a:r>
              <a:rPr lang="fr-FR" dirty="0" err="1"/>
              <a:t>dependencies</a:t>
            </a:r>
            <a:r>
              <a:rPr lang="fr-FR" dirty="0"/>
              <a:t> </a:t>
            </a:r>
            <a:r>
              <a:rPr lang="fr-FR" dirty="0" err="1"/>
              <a:t>could</a:t>
            </a:r>
            <a:r>
              <a:rPr lang="fr-FR" dirty="0"/>
              <a:t> </a:t>
            </a:r>
            <a:r>
              <a:rPr lang="fr-FR" dirty="0" err="1"/>
              <a:t>be</a:t>
            </a:r>
            <a:r>
              <a:rPr lang="fr-FR" dirty="0"/>
              <a:t> </a:t>
            </a:r>
            <a:r>
              <a:rPr lang="fr-FR" dirty="0" err="1"/>
              <a:t>older</a:t>
            </a:r>
            <a:endParaRPr lang="fr-FR" dirty="0"/>
          </a:p>
        </p:txBody>
      </p:sp>
      <p:pic>
        <p:nvPicPr>
          <p:cNvPr id="4" name="Image 3">
            <a:extLst>
              <a:ext uri="{FF2B5EF4-FFF2-40B4-BE49-F238E27FC236}">
                <a16:creationId xmlns:a16="http://schemas.microsoft.com/office/drawing/2014/main" id="{020A7DA8-6175-4B21-86DD-28C1C0890E79}"/>
              </a:ext>
            </a:extLst>
          </p:cNvPr>
          <p:cNvPicPr>
            <a:picLocks noChangeAspect="1"/>
          </p:cNvPicPr>
          <p:nvPr/>
        </p:nvPicPr>
        <p:blipFill>
          <a:blip r:embed="rId2"/>
          <a:stretch>
            <a:fillRect/>
          </a:stretch>
        </p:blipFill>
        <p:spPr>
          <a:xfrm>
            <a:off x="226502" y="792540"/>
            <a:ext cx="5057651" cy="3165332"/>
          </a:xfrm>
          <a:prstGeom prst="rect">
            <a:avLst/>
          </a:prstGeom>
        </p:spPr>
      </p:pic>
      <p:pic>
        <p:nvPicPr>
          <p:cNvPr id="3" name="Image 2">
            <a:extLst>
              <a:ext uri="{FF2B5EF4-FFF2-40B4-BE49-F238E27FC236}">
                <a16:creationId xmlns:a16="http://schemas.microsoft.com/office/drawing/2014/main" id="{D879A80A-8440-4E67-879E-BDADADF1D3FC}"/>
              </a:ext>
            </a:extLst>
          </p:cNvPr>
          <p:cNvPicPr>
            <a:picLocks noChangeAspect="1"/>
          </p:cNvPicPr>
          <p:nvPr/>
        </p:nvPicPr>
        <p:blipFill>
          <a:blip r:embed="rId3"/>
          <a:stretch>
            <a:fillRect/>
          </a:stretch>
        </p:blipFill>
        <p:spPr>
          <a:xfrm>
            <a:off x="3698893" y="971738"/>
            <a:ext cx="5122213" cy="3182678"/>
          </a:xfrm>
          <a:prstGeom prst="rect">
            <a:avLst/>
          </a:prstGeom>
        </p:spPr>
      </p:pic>
      <p:sp>
        <p:nvSpPr>
          <p:cNvPr id="5" name="Text Placeholder 16">
            <a:extLst>
              <a:ext uri="{FF2B5EF4-FFF2-40B4-BE49-F238E27FC236}">
                <a16:creationId xmlns:a16="http://schemas.microsoft.com/office/drawing/2014/main" id="{C956D8A4-B67D-4101-9E23-7BE32A6BA6E6}"/>
              </a:ext>
            </a:extLst>
          </p:cNvPr>
          <p:cNvSpPr txBox="1">
            <a:spLocks/>
          </p:cNvSpPr>
          <p:nvPr/>
        </p:nvSpPr>
        <p:spPr>
          <a:xfrm>
            <a:off x="5718875" y="3903101"/>
            <a:ext cx="1635071" cy="861026"/>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r>
              <a:rPr lang="en-US" sz="1200" dirty="0"/>
              <a:t>Default file</a:t>
            </a:r>
            <a:endParaRPr lang="en-US" sz="1200" dirty="0">
              <a:solidFill>
                <a:schemeClr val="accent2"/>
              </a:solidFill>
            </a:endParaRPr>
          </a:p>
          <a:p>
            <a:pPr marL="285750" indent="-285750">
              <a:buFont typeface="Arial" panose="020B0604020202020204" pitchFamily="34" charset="0"/>
              <a:buChar char="•"/>
            </a:pPr>
            <a:endParaRPr lang="en-US" sz="1600" dirty="0"/>
          </a:p>
        </p:txBody>
      </p:sp>
      <p:sp>
        <p:nvSpPr>
          <p:cNvPr id="6" name="Text Placeholder 16">
            <a:extLst>
              <a:ext uri="{FF2B5EF4-FFF2-40B4-BE49-F238E27FC236}">
                <a16:creationId xmlns:a16="http://schemas.microsoft.com/office/drawing/2014/main" id="{7F617C1C-7E51-47F0-BB98-3D3749E65970}"/>
              </a:ext>
            </a:extLst>
          </p:cNvPr>
          <p:cNvSpPr txBox="1">
            <a:spLocks/>
          </p:cNvSpPr>
          <p:nvPr/>
        </p:nvSpPr>
        <p:spPr>
          <a:xfrm>
            <a:off x="1524000" y="3723903"/>
            <a:ext cx="1635071" cy="861026"/>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404813" indent="-134541"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j-lt"/>
                <a:ea typeface="+mn-ea"/>
                <a:cs typeface="+mn-cs"/>
              </a:defRPr>
            </a:lvl2pPr>
            <a:lvl3pPr marL="675085" indent="-134541"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945356" indent="-134541" algn="l" defTabSz="685800" rtl="0" eaLnBrk="1" latinLnBrk="0" hangingPunct="1">
              <a:lnSpc>
                <a:spcPct val="90000"/>
              </a:lnSpc>
              <a:spcBef>
                <a:spcPts val="375"/>
              </a:spcBef>
              <a:buClr>
                <a:schemeClr val="accent3"/>
              </a:buClr>
              <a:buFont typeface="Arial" panose="020B0604020202020204" pitchFamily="34" charset="0"/>
              <a:buChar char="•"/>
              <a:defRPr sz="1050" kern="1200">
                <a:solidFill>
                  <a:schemeClr val="tx1"/>
                </a:solidFill>
                <a:latin typeface="+mj-lt"/>
                <a:ea typeface="+mn-ea"/>
                <a:cs typeface="+mn-cs"/>
              </a:defRPr>
            </a:lvl4pPr>
            <a:lvl5pPr marL="1215629" indent="-134541"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sz="1450" i="1" dirty="0"/>
          </a:p>
          <a:p>
            <a:r>
              <a:rPr lang="en-US" sz="1200" dirty="0"/>
              <a:t>A recent file</a:t>
            </a:r>
          </a:p>
          <a:p>
            <a:pPr marL="285750" indent="-285750">
              <a:buFont typeface="Arial" panose="020B0604020202020204" pitchFamily="34" charset="0"/>
              <a:buChar char="•"/>
            </a:pPr>
            <a:endParaRPr lang="en-US" sz="1600" dirty="0"/>
          </a:p>
        </p:txBody>
      </p:sp>
      <p:sp>
        <p:nvSpPr>
          <p:cNvPr id="7" name="Ellipse 6">
            <a:extLst>
              <a:ext uri="{FF2B5EF4-FFF2-40B4-BE49-F238E27FC236}">
                <a16:creationId xmlns:a16="http://schemas.microsoft.com/office/drawing/2014/main" id="{C7873C11-D412-4365-BFF2-D5E6A04F50E3}"/>
              </a:ext>
            </a:extLst>
          </p:cNvPr>
          <p:cNvSpPr/>
          <p:nvPr/>
        </p:nvSpPr>
        <p:spPr>
          <a:xfrm>
            <a:off x="5657127" y="2692796"/>
            <a:ext cx="959648" cy="263295"/>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llipse 7">
            <a:extLst>
              <a:ext uri="{FF2B5EF4-FFF2-40B4-BE49-F238E27FC236}">
                <a16:creationId xmlns:a16="http://schemas.microsoft.com/office/drawing/2014/main" id="{9A78D854-173D-47C9-B29E-DF6D4177A129}"/>
              </a:ext>
            </a:extLst>
          </p:cNvPr>
          <p:cNvSpPr/>
          <p:nvPr/>
        </p:nvSpPr>
        <p:spPr>
          <a:xfrm>
            <a:off x="6033102" y="3395711"/>
            <a:ext cx="959648" cy="263295"/>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llipse 8">
            <a:extLst>
              <a:ext uri="{FF2B5EF4-FFF2-40B4-BE49-F238E27FC236}">
                <a16:creationId xmlns:a16="http://schemas.microsoft.com/office/drawing/2014/main" id="{534C6140-F73C-4FB0-B7D1-904A0E347EE4}"/>
              </a:ext>
            </a:extLst>
          </p:cNvPr>
          <p:cNvSpPr/>
          <p:nvPr/>
        </p:nvSpPr>
        <p:spPr>
          <a:xfrm>
            <a:off x="2545364" y="2329685"/>
            <a:ext cx="959648" cy="263295"/>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llipse 9">
            <a:extLst>
              <a:ext uri="{FF2B5EF4-FFF2-40B4-BE49-F238E27FC236}">
                <a16:creationId xmlns:a16="http://schemas.microsoft.com/office/drawing/2014/main" id="{D4F48F32-FD74-4AE4-8D13-DCB89F5708C6}"/>
              </a:ext>
            </a:extLst>
          </p:cNvPr>
          <p:cNvSpPr/>
          <p:nvPr/>
        </p:nvSpPr>
        <p:spPr>
          <a:xfrm>
            <a:off x="2199423" y="1651554"/>
            <a:ext cx="959648" cy="263295"/>
          </a:xfrm>
          <a:prstGeom prst="ellipse">
            <a:avLst/>
          </a:prstGeom>
          <a:noFill/>
          <a:ln w="50800">
            <a:solidFill>
              <a:schemeClr val="accent2">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F6BFBF67-EBD5-4FFA-8CFC-39D42B7D55B8}"/>
              </a:ext>
            </a:extLst>
          </p:cNvPr>
          <p:cNvSpPr txBox="1"/>
          <p:nvPr/>
        </p:nvSpPr>
        <p:spPr>
          <a:xfrm>
            <a:off x="226502" y="4385266"/>
            <a:ext cx="8594604" cy="343537"/>
          </a:xfrm>
          <a:prstGeom prst="rect">
            <a:avLst/>
          </a:prstGeom>
        </p:spPr>
        <p:txBody>
          <a:bodyPr wrap="square" lIns="72000" tIns="72000" rIns="72000" bIns="72000" rtlCol="0">
            <a:spAutoFit/>
          </a:bodyPr>
          <a:lstStyle/>
          <a:p>
            <a:pPr algn="l">
              <a:lnSpc>
                <a:spcPct val="120000"/>
              </a:lnSpc>
              <a:spcAft>
                <a:spcPts val="600"/>
              </a:spcAft>
            </a:pPr>
            <a:r>
              <a:rPr lang="fr-FR" sz="1200" b="1" dirty="0" err="1">
                <a:solidFill>
                  <a:schemeClr val="accent2"/>
                </a:solidFill>
              </a:rPr>
              <a:t>Some</a:t>
            </a:r>
            <a:r>
              <a:rPr lang="fr-FR" sz="1200" b="1" dirty="0">
                <a:solidFill>
                  <a:schemeClr val="accent2"/>
                </a:solidFill>
              </a:rPr>
              <a:t> </a:t>
            </a:r>
            <a:r>
              <a:rPr lang="fr-FR" sz="1200" b="1" dirty="0" err="1">
                <a:solidFill>
                  <a:schemeClr val="accent2"/>
                </a:solidFill>
              </a:rPr>
              <a:t>functions</a:t>
            </a:r>
            <a:r>
              <a:rPr lang="fr-FR" sz="1200" b="1" dirty="0">
                <a:solidFill>
                  <a:schemeClr val="accent2"/>
                </a:solidFill>
              </a:rPr>
              <a:t> can </a:t>
            </a:r>
            <a:r>
              <a:rPr lang="fr-FR" sz="1200" b="1" dirty="0" err="1">
                <a:solidFill>
                  <a:schemeClr val="accent2"/>
                </a:solidFill>
              </a:rPr>
              <a:t>be</a:t>
            </a:r>
            <a:r>
              <a:rPr lang="fr-FR" sz="1200" b="1" dirty="0">
                <a:solidFill>
                  <a:schemeClr val="accent2"/>
                </a:solidFill>
              </a:rPr>
              <a:t> </a:t>
            </a:r>
            <a:r>
              <a:rPr lang="fr-FR" sz="1200" b="1" dirty="0" err="1">
                <a:solidFill>
                  <a:schemeClr val="accent2"/>
                </a:solidFill>
              </a:rPr>
              <a:t>deprecated</a:t>
            </a:r>
            <a:r>
              <a:rPr lang="fr-FR" sz="1200" b="1" dirty="0">
                <a:solidFill>
                  <a:schemeClr val="accent2"/>
                </a:solidFill>
              </a:rPr>
              <a:t> (like « </a:t>
            </a:r>
            <a:r>
              <a:rPr lang="fr-FR" sz="1200" b="1" dirty="0" err="1">
                <a:solidFill>
                  <a:schemeClr val="accent2"/>
                </a:solidFill>
              </a:rPr>
              <a:t>setContext</a:t>
            </a:r>
            <a:r>
              <a:rPr lang="fr-FR" sz="1200" b="1" dirty="0">
                <a:solidFill>
                  <a:schemeClr val="accent2"/>
                </a:solidFill>
              </a:rPr>
              <a:t> »).</a:t>
            </a:r>
          </a:p>
        </p:txBody>
      </p:sp>
    </p:spTree>
    <p:extLst>
      <p:ext uri="{BB962C8B-B14F-4D97-AF65-F5344CB8AC3E}">
        <p14:creationId xmlns:p14="http://schemas.microsoft.com/office/powerpoint/2010/main" val="24403269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digo-Cover">
  <a:themeElements>
    <a:clrScheme name="Custom 41">
      <a:dk1>
        <a:srgbClr val="000000"/>
      </a:dk1>
      <a:lt1>
        <a:srgbClr val="FFFFFF"/>
      </a:lt1>
      <a:dk2>
        <a:srgbClr val="2A3045"/>
      </a:dk2>
      <a:lt2>
        <a:srgbClr val="ECECEC"/>
      </a:lt2>
      <a:accent1>
        <a:srgbClr val="2A3045"/>
      </a:accent1>
      <a:accent2>
        <a:srgbClr val="FF3466"/>
      </a:accent2>
      <a:accent3>
        <a:srgbClr val="009CDE"/>
      </a:accent3>
      <a:accent4>
        <a:srgbClr val="FFB200"/>
      </a:accent4>
      <a:accent5>
        <a:srgbClr val="FF7300"/>
      </a:accent5>
      <a:accent6>
        <a:srgbClr val="13D9B5"/>
      </a:accent6>
      <a:hlink>
        <a:srgbClr val="6866C1"/>
      </a:hlink>
      <a:folHlink>
        <a:srgbClr val="8C365D"/>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digo-color-theme" id="{208D0BA3-B9A3-C94E-BC34-ADE9684A003D}" vid="{6981010B-F6DB-044E-ADEB-5BEE2C10CB49}"/>
    </a:ext>
  </a:extLst>
</a:theme>
</file>

<file path=ppt/theme/theme2.xml><?xml version="1.0" encoding="utf-8"?>
<a:theme xmlns:a="http://schemas.openxmlformats.org/drawingml/2006/main" name="Odigo-Divider">
  <a:themeElements>
    <a:clrScheme name="Odigo 1">
      <a:dk1>
        <a:srgbClr val="000000"/>
      </a:dk1>
      <a:lt1>
        <a:srgbClr val="FFFFFF"/>
      </a:lt1>
      <a:dk2>
        <a:srgbClr val="2A3045"/>
      </a:dk2>
      <a:lt2>
        <a:srgbClr val="ECECEC"/>
      </a:lt2>
      <a:accent1>
        <a:srgbClr val="2A3045"/>
      </a:accent1>
      <a:accent2>
        <a:srgbClr val="FF3466"/>
      </a:accent2>
      <a:accent3>
        <a:srgbClr val="3396FF"/>
      </a:accent3>
      <a:accent4>
        <a:srgbClr val="FFB200"/>
      </a:accent4>
      <a:accent5>
        <a:srgbClr val="FF7300"/>
      </a:accent5>
      <a:accent6>
        <a:srgbClr val="13D9B5"/>
      </a:accent6>
      <a:hlink>
        <a:srgbClr val="6866C1"/>
      </a:hlink>
      <a:folHlink>
        <a:srgbClr val="8C365D"/>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digo-color-theme" id="{208D0BA3-B9A3-C94E-BC34-ADE9684A003D}" vid="{6981010B-F6DB-044E-ADEB-5BEE2C10CB49}"/>
    </a:ext>
  </a:extLst>
</a:theme>
</file>

<file path=ppt/theme/theme3.xml><?xml version="1.0" encoding="utf-8"?>
<a:theme xmlns:a="http://schemas.openxmlformats.org/drawingml/2006/main" name="Odigo-Content">
  <a:themeElements>
    <a:clrScheme name="Odigo-color-palette">
      <a:dk1>
        <a:srgbClr val="000000"/>
      </a:dk1>
      <a:lt1>
        <a:srgbClr val="FFFFFF"/>
      </a:lt1>
      <a:dk2>
        <a:srgbClr val="2A3045"/>
      </a:dk2>
      <a:lt2>
        <a:srgbClr val="ECECEC"/>
      </a:lt2>
      <a:accent1>
        <a:srgbClr val="2A3045"/>
      </a:accent1>
      <a:accent2>
        <a:srgbClr val="FF3466"/>
      </a:accent2>
      <a:accent3>
        <a:srgbClr val="009CDE"/>
      </a:accent3>
      <a:accent4>
        <a:srgbClr val="FFB200"/>
      </a:accent4>
      <a:accent5>
        <a:srgbClr val="FF7300"/>
      </a:accent5>
      <a:accent6>
        <a:srgbClr val="13D9B5"/>
      </a:accent6>
      <a:hlink>
        <a:srgbClr val="6866C1"/>
      </a:hlink>
      <a:folHlink>
        <a:srgbClr val="8C365D"/>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72000" tIns="72000" rIns="72000" bIns="72000" rtlCol="0">
        <a:spAutoFit/>
      </a:bodyPr>
      <a:lstStyle>
        <a:defPPr algn="l">
          <a:lnSpc>
            <a:spcPct val="120000"/>
          </a:lnSpc>
          <a:spcAft>
            <a:spcPts val="600"/>
          </a:spcAft>
          <a:defRPr sz="1000" dirty="0" err="1" smtClean="0">
            <a:solidFill>
              <a:schemeClr val="tx2"/>
            </a:solidFill>
          </a:defRPr>
        </a:defPPr>
      </a:lstStyle>
    </a:txDef>
  </a:objectDefaults>
  <a:extraClrSchemeLst/>
  <a:extLst>
    <a:ext uri="{05A4C25C-085E-4340-85A3-A5531E510DB2}">
      <thm15:themeFamily xmlns:thm15="http://schemas.microsoft.com/office/thememl/2012/main" name="Odigo-color-theme" id="{208D0BA3-B9A3-C94E-BC34-ADE9684A003D}" vid="{6981010B-F6DB-044E-ADEB-5BEE2C10CB49}"/>
    </a:ext>
  </a:extLst>
</a:theme>
</file>

<file path=ppt/theme/theme4.xml><?xml version="1.0" encoding="utf-8"?>
<a:theme xmlns:a="http://schemas.openxmlformats.org/drawingml/2006/main" name="Odigo-Back-cover">
  <a:themeElements>
    <a:clrScheme name="Odigo 1">
      <a:dk1>
        <a:srgbClr val="000000"/>
      </a:dk1>
      <a:lt1>
        <a:srgbClr val="FFFFFF"/>
      </a:lt1>
      <a:dk2>
        <a:srgbClr val="2A3045"/>
      </a:dk2>
      <a:lt2>
        <a:srgbClr val="ECECEC"/>
      </a:lt2>
      <a:accent1>
        <a:srgbClr val="2A3045"/>
      </a:accent1>
      <a:accent2>
        <a:srgbClr val="FF3466"/>
      </a:accent2>
      <a:accent3>
        <a:srgbClr val="3396FF"/>
      </a:accent3>
      <a:accent4>
        <a:srgbClr val="FFB200"/>
      </a:accent4>
      <a:accent5>
        <a:srgbClr val="FF7300"/>
      </a:accent5>
      <a:accent6>
        <a:srgbClr val="13D9B5"/>
      </a:accent6>
      <a:hlink>
        <a:srgbClr val="6866C1"/>
      </a:hlink>
      <a:folHlink>
        <a:srgbClr val="8C365D"/>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72000" tIns="72000" rIns="72000" bIns="72000" rtlCol="0">
        <a:spAutoFit/>
      </a:bodyPr>
      <a:lstStyle>
        <a:defPPr algn="l">
          <a:lnSpc>
            <a:spcPct val="120000"/>
          </a:lnSpc>
          <a:spcAft>
            <a:spcPts val="600"/>
          </a:spcAft>
          <a:defRPr sz="1000" dirty="0" err="1" smtClean="0">
            <a:solidFill>
              <a:schemeClr val="tx2"/>
            </a:solidFill>
          </a:defRPr>
        </a:defPPr>
      </a:lstStyle>
    </a:txDef>
  </a:objectDefaults>
  <a:extraClrSchemeLst/>
  <a:extLst>
    <a:ext uri="{05A4C25C-085E-4340-85A3-A5531E510DB2}">
      <thm15:themeFamily xmlns:thm15="http://schemas.microsoft.com/office/thememl/2012/main" name="Odigo-color-theme" id="{208D0BA3-B9A3-C94E-BC34-ADE9684A003D}" vid="{6981010B-F6DB-044E-ADEB-5BEE2C10CB49}"/>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ACEC4398DC9145ABAE4FA9AED3E451" ma:contentTypeVersion="1" ma:contentTypeDescription="Create a new document." ma:contentTypeScope="" ma:versionID="714b41b7c0b4b43e3e9637e5edb4eafd">
  <xsd:schema xmlns:xsd="http://www.w3.org/2001/XMLSchema" xmlns:xs="http://www.w3.org/2001/XMLSchema" xmlns:p="http://schemas.microsoft.com/office/2006/metadata/properties" xmlns:ns2="dd6ad565-99f9-4418-904d-c4e2930c08ea" targetNamespace="http://schemas.microsoft.com/office/2006/metadata/properties" ma:root="true" ma:fieldsID="0d70c575a9917cd4f1449a9763c47ca0" ns2:_="">
    <xsd:import namespace="dd6ad565-99f9-4418-904d-c4e2930c08e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6ad565-99f9-4418-904d-c4e2930c08ea"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BF0920-DCFC-4DC2-9DC3-F160D89B7D89}">
  <ds:schemaRefs>
    <ds:schemaRef ds:uri="http://purl.org/dc/elements/1.1/"/>
    <ds:schemaRef ds:uri="http://schemas.microsoft.com/office/2006/metadata/properties"/>
    <ds:schemaRef ds:uri="dd6ad565-99f9-4418-904d-c4e2930c08ea"/>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D0DC97BD-7B9E-4306-A506-709E296AB6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d6ad565-99f9-4418-904d-c4e2930c08e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C81FF70-7A99-4E01-914F-B137615ABDB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8136</TotalTime>
  <Words>7308</Words>
  <Application>Microsoft Office PowerPoint</Application>
  <PresentationFormat>Affichage à l'écran (16:9)</PresentationFormat>
  <Paragraphs>1239</Paragraphs>
  <Slides>153</Slides>
  <Notes>28</Notes>
  <HiddenSlides>0</HiddenSlides>
  <MMClips>0</MMClips>
  <ScaleCrop>false</ScaleCrop>
  <HeadingPairs>
    <vt:vector size="8" baseType="variant">
      <vt:variant>
        <vt:lpstr>Polices utilisées</vt:lpstr>
      </vt:variant>
      <vt:variant>
        <vt:i4>6</vt:i4>
      </vt:variant>
      <vt:variant>
        <vt:lpstr>Thème</vt:lpstr>
      </vt:variant>
      <vt:variant>
        <vt:i4>4</vt:i4>
      </vt:variant>
      <vt:variant>
        <vt:lpstr>Serveurs OLE incorporés</vt:lpstr>
      </vt:variant>
      <vt:variant>
        <vt:i4>1</vt:i4>
      </vt:variant>
      <vt:variant>
        <vt:lpstr>Titres des diapositives</vt:lpstr>
      </vt:variant>
      <vt:variant>
        <vt:i4>153</vt:i4>
      </vt:variant>
    </vt:vector>
  </HeadingPairs>
  <TitlesOfParts>
    <vt:vector size="164" baseType="lpstr">
      <vt:lpstr>Arial</vt:lpstr>
      <vt:lpstr>Calibri</vt:lpstr>
      <vt:lpstr>Roboto</vt:lpstr>
      <vt:lpstr>System Font Regular</vt:lpstr>
      <vt:lpstr>Verdana</vt:lpstr>
      <vt:lpstr>Wingdings</vt:lpstr>
      <vt:lpstr>Odigo-Cover</vt:lpstr>
      <vt:lpstr>Odigo-Divider</vt:lpstr>
      <vt:lpstr>Odigo-Content</vt:lpstr>
      <vt:lpstr>Odigo-Back-cover</vt:lpstr>
      <vt:lpstr>think-cell Slide</vt:lpstr>
      <vt:lpstr>Dialogflow Training</vt:lpstr>
      <vt:lpstr>Target</vt:lpstr>
      <vt:lpstr>Target</vt:lpstr>
      <vt:lpstr>Dialogflow training</vt:lpstr>
      <vt:lpstr>Dialogflow Training</vt:lpstr>
      <vt:lpstr>Dialogflow in a few words</vt:lpstr>
      <vt:lpstr>Dialogflow is not only for Google Home</vt:lpstr>
      <vt:lpstr>Internal architecture</vt:lpstr>
      <vt:lpstr>Global native architecture</vt:lpstr>
      <vt:lpstr>Dialogflow + Odigo IVR</vt:lpstr>
      <vt:lpstr>Dialogflow + Odigo Concierge</vt:lpstr>
      <vt:lpstr>Beta options</vt:lpstr>
      <vt:lpstr>Pricing Plans : Dialogflow ES</vt:lpstr>
      <vt:lpstr>Pricing Plans : Dialogflow CX</vt:lpstr>
      <vt:lpstr>Dialogflow vs Alexa Skills</vt:lpstr>
      <vt:lpstr>Dialogflow Training</vt:lpstr>
      <vt:lpstr>Google STT and TTS </vt:lpstr>
      <vt:lpstr>STT – Speech To Text</vt:lpstr>
      <vt:lpstr>STT – Speech To Text</vt:lpstr>
      <vt:lpstr>STT – Speech To Text</vt:lpstr>
      <vt:lpstr>STT – Speech To Text - Benchmark</vt:lpstr>
      <vt:lpstr>TTS – Text To Speech</vt:lpstr>
      <vt:lpstr>TTS – Text To Speech</vt:lpstr>
      <vt:lpstr>TTS – Text To Speech</vt:lpstr>
      <vt:lpstr>Google : STT Billing</vt:lpstr>
      <vt:lpstr>Google : TTS Billing</vt:lpstr>
      <vt:lpstr>Dialogflow Training</vt:lpstr>
      <vt:lpstr>Basic concepts</vt:lpstr>
      <vt:lpstr>Additional concepts</vt:lpstr>
      <vt:lpstr>Elements of a conversation</vt:lpstr>
      <vt:lpstr>Elements of a conversation</vt:lpstr>
      <vt:lpstr>Classification of intents</vt:lpstr>
      <vt:lpstr>How to write training phrases </vt:lpstr>
      <vt:lpstr>How to write training phrases </vt:lpstr>
      <vt:lpstr>Dialogflow Training</vt:lpstr>
      <vt:lpstr>Create a new agent</vt:lpstr>
      <vt:lpstr>Default Welcome Intent / Default Fallback Intent </vt:lpstr>
      <vt:lpstr>Use case</vt:lpstr>
      <vt:lpstr>Create a new intent : training phrases </vt:lpstr>
      <vt:lpstr>Create a new intent : responses</vt:lpstr>
      <vt:lpstr>Save &amp; Test</vt:lpstr>
      <vt:lpstr>Add system entities</vt:lpstr>
      <vt:lpstr>Tag / untag with an entity</vt:lpstr>
      <vt:lpstr>Add custom entities</vt:lpstr>
      <vt:lpstr>Add custom entities</vt:lpstr>
      <vt:lpstr>Secondary questions to get the entities</vt:lpstr>
      <vt:lpstr>Small talks</vt:lpstr>
      <vt:lpstr>Small talks</vt:lpstr>
      <vt:lpstr>Beta : knowledge base</vt:lpstr>
      <vt:lpstr>Fallback / Negative exemples</vt:lpstr>
      <vt:lpstr>Agent limits</vt:lpstr>
      <vt:lpstr>Workshop : ordering a pizza</vt:lpstr>
      <vt:lpstr>Dialogflow Training</vt:lpstr>
      <vt:lpstr>Global native architecture</vt:lpstr>
      <vt:lpstr>Limitations with GCP projects</vt:lpstr>
      <vt:lpstr>Create a new project in Google Assistant </vt:lpstr>
      <vt:lpstr>Parameter the project</vt:lpstr>
      <vt:lpstr>1 - Invocation</vt:lpstr>
      <vt:lpstr>2 - Actions</vt:lpstr>
      <vt:lpstr>3 – Theme customization</vt:lpstr>
      <vt:lpstr>4 – Directory information</vt:lpstr>
      <vt:lpstr>The simulator</vt:lpstr>
      <vt:lpstr>Granting acces to the bot to users</vt:lpstr>
      <vt:lpstr>Granting acces to the bot to users alpha release</vt:lpstr>
      <vt:lpstr>Granting acces to the bot to users add new owner</vt:lpstr>
      <vt:lpstr>Granting acces to the bot to users add new owner</vt:lpstr>
      <vt:lpstr>Deep links</vt:lpstr>
      <vt:lpstr>Deep links</vt:lpstr>
      <vt:lpstr>Workshop : migrate you bot « Ordering Pizza » to Google Assistant</vt:lpstr>
      <vt:lpstr>Dialogflow Training</vt:lpstr>
      <vt:lpstr>How DF computes a classification</vt:lpstr>
      <vt:lpstr>Sentence Encoder / Semantic Textual Similarity</vt:lpstr>
      <vt:lpstr>Tuning</vt:lpstr>
      <vt:lpstr>Learning</vt:lpstr>
      <vt:lpstr>Analyzing the quality of training phrases</vt:lpstr>
      <vt:lpstr>Analyzing the quality of training phrases</vt:lpstr>
      <vt:lpstr>Analyzing the quality of training phrases</vt:lpstr>
      <vt:lpstr>Analyzing the quality of training phrases</vt:lpstr>
      <vt:lpstr>Dialogflow Training</vt:lpstr>
      <vt:lpstr>Ordering a dialog : graphs and contexts</vt:lpstr>
      <vt:lpstr>Contexts in a few words</vt:lpstr>
      <vt:lpstr>Contexts in a few words</vt:lpstr>
      <vt:lpstr>Managing the output context</vt:lpstr>
      <vt:lpstr>Managing the input context</vt:lpstr>
      <vt:lpstr>Managing the context : demo</vt:lpstr>
      <vt:lpstr>Lifetime / lifespan</vt:lpstr>
      <vt:lpstr>Follow-up intent </vt:lpstr>
      <vt:lpstr>Follow-up intent </vt:lpstr>
      <vt:lpstr>Testing with contexts</vt:lpstr>
      <vt:lpstr>Managing precisely the contexts</vt:lpstr>
      <vt:lpstr>Some hints…</vt:lpstr>
      <vt:lpstr>Workshop : build a mind reader bot</vt:lpstr>
      <vt:lpstr>Dialogflow Training</vt:lpstr>
      <vt:lpstr>Cloud Functions for Firebase</vt:lpstr>
      <vt:lpstr>Node.js in brief</vt:lpstr>
      <vt:lpstr>Why node.js ?</vt:lpstr>
      <vt:lpstr>Limitations</vt:lpstr>
      <vt:lpstr>Integration with Dialogflow</vt:lpstr>
      <vt:lpstr>Warning : the default versions of dependencies could be older</vt:lpstr>
      <vt:lpstr>Focus on dependencies</vt:lpstr>
      <vt:lpstr>Consulting the logs</vt:lpstr>
      <vt:lpstr>Firebase status dashboard</vt:lpstr>
      <vt:lpstr>Dialogflow Training</vt:lpstr>
      <vt:lpstr>Fulfillment definition</vt:lpstr>
      <vt:lpstr>Fulfillment definition</vt:lpstr>
      <vt:lpstr>Enabling webhook</vt:lpstr>
      <vt:lpstr>Enabling inline editor</vt:lpstr>
      <vt:lpstr>Mapping intent / code</vt:lpstr>
      <vt:lpstr>Mapping intent / code</vt:lpstr>
      <vt:lpstr>Some usefull functions</vt:lpstr>
      <vt:lpstr>Example of REST request</vt:lpstr>
      <vt:lpstr>Workshop : adding numbers</vt:lpstr>
      <vt:lpstr>Managing contexts with node.js</vt:lpstr>
      <vt:lpstr>Some hints…</vt:lpstr>
      <vt:lpstr>Keeping information across conversations</vt:lpstr>
      <vt:lpstr>Keeping information across conversations</vt:lpstr>
      <vt:lpstr>Workshop : using context storage</vt:lpstr>
      <vt:lpstr>Dialogflow Training</vt:lpstr>
      <vt:lpstr>Natural language API</vt:lpstr>
      <vt:lpstr>Natural language API</vt:lpstr>
      <vt:lpstr>Natural language API</vt:lpstr>
      <vt:lpstr>Firebase Realtime Database</vt:lpstr>
      <vt:lpstr>Firebase realtime database</vt:lpstr>
      <vt:lpstr>Firebase Realtime Database</vt:lpstr>
      <vt:lpstr>Cloud DLP API – Data Loss Prevention </vt:lpstr>
      <vt:lpstr>Cloud DLP API – Data Loss Prevention </vt:lpstr>
      <vt:lpstr>Cloud DLP API – Data Loss Prevention </vt:lpstr>
      <vt:lpstr>Dialogflow Training</vt:lpstr>
      <vt:lpstr>Dialogflow + Odigo Concierge</vt:lpstr>
      <vt:lpstr>Exemple of integration</vt:lpstr>
      <vt:lpstr>How to create a voice bot with Concierge</vt:lpstr>
      <vt:lpstr>Welcome / good bye messages</vt:lpstr>
      <vt:lpstr>Creating the .json</vt:lpstr>
      <vt:lpstr>Creating the .json</vt:lpstr>
      <vt:lpstr>Silence management</vt:lpstr>
      <vt:lpstr>End of conversation</vt:lpstr>
      <vt:lpstr>Dialogflow Training</vt:lpstr>
      <vt:lpstr>Sending SMS with Odigo Campaign</vt:lpstr>
      <vt:lpstr>Asking a callBack</vt:lpstr>
      <vt:lpstr>Add a conversation widget</vt:lpstr>
      <vt:lpstr>Add a conversation widget</vt:lpstr>
      <vt:lpstr>Add a conversation widget</vt:lpstr>
      <vt:lpstr>Add a conversation widget</vt:lpstr>
      <vt:lpstr>Add a conversation widget</vt:lpstr>
      <vt:lpstr>Add a conversation widget</vt:lpstr>
      <vt:lpstr>Workshop</vt:lpstr>
      <vt:lpstr>Dialogflow Training</vt:lpstr>
      <vt:lpstr>Saving and restoring agents</vt:lpstr>
      <vt:lpstr>Sentences to use</vt:lpstr>
      <vt:lpstr>Dates</vt:lpstr>
      <vt:lpstr>Mega Agents</vt:lpstr>
      <vt:lpstr>Links</vt:lpstr>
      <vt:lpstr>Présentation PowerPoint</vt:lpstr>
    </vt:vector>
  </TitlesOfParts>
  <Manager/>
  <Company>Odigo</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digo Presentation</dc:title>
  <dc:subject/>
  <dc:creator>Odigo</dc:creator>
  <cp:keywords/>
  <dc:description/>
  <cp:lastModifiedBy>Mame Coumba NDAO</cp:lastModifiedBy>
  <cp:revision>430</cp:revision>
  <dcterms:created xsi:type="dcterms:W3CDTF">2017-11-02T14:01:05Z</dcterms:created>
  <dcterms:modified xsi:type="dcterms:W3CDTF">2021-12-06T07:05:1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ACEC4398DC9145ABAE4FA9AED3E451</vt:lpwstr>
  </property>
</Properties>
</file>